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heme/themeOverride2.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6.xml" ContentType="application/vnd.openxmlformats-officedocument.presentationml.tags+xml"/>
  <Override PartName="/ppt/notesSlides/notesSlide10.xml" ContentType="application/vnd.openxmlformats-officedocument.presentationml.notesSlide+xml"/>
  <Override PartName="/ppt/tags/tag7.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8.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9.xml" ContentType="application/vnd.openxmlformats-officedocument.presentationml.tags+xml"/>
  <Override PartName="/ppt/notesSlides/notesSlide17.xml" ContentType="application/vnd.openxmlformats-officedocument.presentationml.notesSlide+xml"/>
  <Override PartName="/ppt/tags/tag10.xml" ContentType="application/vnd.openxmlformats-officedocument.presentationml.tags+xml"/>
  <Override PartName="/ppt/notesSlides/notesSlide18.xml" ContentType="application/vnd.openxmlformats-officedocument.presentationml.notesSlide+xml"/>
  <Override PartName="/ppt/tags/tag11.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2.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3.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14.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15.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16.xml" ContentType="application/vnd.openxmlformats-officedocument.presentationml.tags+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0.xml" ContentType="application/vnd.openxmlformats-officedocument.presentationml.notesSlide+xml"/>
  <Override PartName="/ppt/tags/tag17.xml" ContentType="application/vnd.openxmlformats-officedocument.presentationml.tags+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tags/tag18.xml" ContentType="application/vnd.openxmlformats-officedocument.presentationml.tags+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tags/tag19.xml" ContentType="application/vnd.openxmlformats-officedocument.presentationml.tags+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webextensions/webextension1.xml" ContentType="application/vnd.ms-office.webextension+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tags/tag22.xml" ContentType="application/vnd.openxmlformats-officedocument.presentationml.tags+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tags/tag25.xml" ContentType="application/vnd.openxmlformats-officedocument.presentationml.tags+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theme/themeOverride3.xml" ContentType="application/vnd.openxmlformats-officedocument.themeOverride+xml"/>
  <Override PartName="/ppt/tags/tag26.xml" ContentType="application/vnd.openxmlformats-officedocument.presentationml.tags+xml"/>
  <Override PartName="/ppt/tags/tag27.xml" ContentType="application/vnd.openxmlformats-officedocument.presentationml.tags+xml"/>
  <Override PartName="/ppt/notesSlides/notesSlide1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2">
  <p:sldMasterIdLst>
    <p:sldMasterId id="2147483648" r:id="rId1"/>
  </p:sldMasterIdLst>
  <p:notesMasterIdLst>
    <p:notesMasterId r:id="rId123"/>
  </p:notesMasterIdLst>
  <p:sldIdLst>
    <p:sldId id="256" r:id="rId2"/>
    <p:sldId id="434" r:id="rId3"/>
    <p:sldId id="436" r:id="rId4"/>
    <p:sldId id="555" r:id="rId5"/>
    <p:sldId id="437" r:id="rId6"/>
    <p:sldId id="258" r:id="rId7"/>
    <p:sldId id="286" r:id="rId8"/>
    <p:sldId id="557" r:id="rId9"/>
    <p:sldId id="559" r:id="rId10"/>
    <p:sldId id="556" r:id="rId11"/>
    <p:sldId id="438" r:id="rId12"/>
    <p:sldId id="439" r:id="rId13"/>
    <p:sldId id="406" r:id="rId14"/>
    <p:sldId id="553" r:id="rId15"/>
    <p:sldId id="411" r:id="rId16"/>
    <p:sldId id="444" r:id="rId17"/>
    <p:sldId id="484" r:id="rId18"/>
    <p:sldId id="422" r:id="rId19"/>
    <p:sldId id="445" r:id="rId20"/>
    <p:sldId id="446" r:id="rId21"/>
    <p:sldId id="423" r:id="rId22"/>
    <p:sldId id="552" r:id="rId23"/>
    <p:sldId id="424" r:id="rId24"/>
    <p:sldId id="447" r:id="rId25"/>
    <p:sldId id="425" r:id="rId26"/>
    <p:sldId id="428" r:id="rId27"/>
    <p:sldId id="440" r:id="rId28"/>
    <p:sldId id="560" r:id="rId29"/>
    <p:sldId id="442" r:id="rId30"/>
    <p:sldId id="470" r:id="rId31"/>
    <p:sldId id="489" r:id="rId32"/>
    <p:sldId id="471" r:id="rId33"/>
    <p:sldId id="472" r:id="rId34"/>
    <p:sldId id="485" r:id="rId35"/>
    <p:sldId id="473" r:id="rId36"/>
    <p:sldId id="474" r:id="rId37"/>
    <p:sldId id="488" r:id="rId38"/>
    <p:sldId id="528" r:id="rId39"/>
    <p:sldId id="529" r:id="rId40"/>
    <p:sldId id="475" r:id="rId41"/>
    <p:sldId id="486" r:id="rId42"/>
    <p:sldId id="477" r:id="rId43"/>
    <p:sldId id="554" r:id="rId44"/>
    <p:sldId id="443" r:id="rId45"/>
    <p:sldId id="479" r:id="rId46"/>
    <p:sldId id="520" r:id="rId47"/>
    <p:sldId id="480" r:id="rId48"/>
    <p:sldId id="481" r:id="rId49"/>
    <p:sldId id="482" r:id="rId50"/>
    <p:sldId id="483" r:id="rId51"/>
    <p:sldId id="562" r:id="rId52"/>
    <p:sldId id="563" r:id="rId53"/>
    <p:sldId id="550" r:id="rId54"/>
    <p:sldId id="561" r:id="rId55"/>
    <p:sldId id="564" r:id="rId56"/>
    <p:sldId id="459" r:id="rId57"/>
    <p:sldId id="460" r:id="rId58"/>
    <p:sldId id="461" r:id="rId59"/>
    <p:sldId id="462" r:id="rId60"/>
    <p:sldId id="463" r:id="rId61"/>
    <p:sldId id="464" r:id="rId62"/>
    <p:sldId id="465" r:id="rId63"/>
    <p:sldId id="466" r:id="rId64"/>
    <p:sldId id="467" r:id="rId65"/>
    <p:sldId id="468" r:id="rId66"/>
    <p:sldId id="469" r:id="rId67"/>
    <p:sldId id="493" r:id="rId68"/>
    <p:sldId id="448" r:id="rId69"/>
    <p:sldId id="449" r:id="rId70"/>
    <p:sldId id="451" r:id="rId71"/>
    <p:sldId id="535" r:id="rId72"/>
    <p:sldId id="495" r:id="rId73"/>
    <p:sldId id="503" r:id="rId74"/>
    <p:sldId id="536" r:id="rId75"/>
    <p:sldId id="537" r:id="rId76"/>
    <p:sldId id="538" r:id="rId77"/>
    <p:sldId id="539" r:id="rId78"/>
    <p:sldId id="540" r:id="rId79"/>
    <p:sldId id="542" r:id="rId80"/>
    <p:sldId id="452" r:id="rId81"/>
    <p:sldId id="541" r:id="rId82"/>
    <p:sldId id="453" r:id="rId83"/>
    <p:sldId id="454" r:id="rId84"/>
    <p:sldId id="455" r:id="rId85"/>
    <p:sldId id="498" r:id="rId86"/>
    <p:sldId id="505" r:id="rId87"/>
    <p:sldId id="497" r:id="rId88"/>
    <p:sldId id="549" r:id="rId89"/>
    <p:sldId id="501" r:id="rId90"/>
    <p:sldId id="499" r:id="rId91"/>
    <p:sldId id="502" r:id="rId92"/>
    <p:sldId id="496" r:id="rId93"/>
    <p:sldId id="512" r:id="rId94"/>
    <p:sldId id="506" r:id="rId95"/>
    <p:sldId id="456" r:id="rId96"/>
    <p:sldId id="517" r:id="rId97"/>
    <p:sldId id="509" r:id="rId98"/>
    <p:sldId id="457" r:id="rId99"/>
    <p:sldId id="508" r:id="rId100"/>
    <p:sldId id="514" r:id="rId101"/>
    <p:sldId id="515" r:id="rId102"/>
    <p:sldId id="516" r:id="rId103"/>
    <p:sldId id="548" r:id="rId104"/>
    <p:sldId id="510" r:id="rId105"/>
    <p:sldId id="519" r:id="rId106"/>
    <p:sldId id="543" r:id="rId107"/>
    <p:sldId id="547" r:id="rId108"/>
    <p:sldId id="544" r:id="rId109"/>
    <p:sldId id="545" r:id="rId110"/>
    <p:sldId id="491" r:id="rId111"/>
    <p:sldId id="492" r:id="rId112"/>
    <p:sldId id="458" r:id="rId113"/>
    <p:sldId id="526" r:id="rId114"/>
    <p:sldId id="524" r:id="rId115"/>
    <p:sldId id="522" r:id="rId116"/>
    <p:sldId id="527" r:id="rId117"/>
    <p:sldId id="521" r:id="rId118"/>
    <p:sldId id="523" r:id="rId119"/>
    <p:sldId id="333" r:id="rId120"/>
    <p:sldId id="490" r:id="rId121"/>
    <p:sldId id="261" r:id="rId122"/>
  </p:sldIdLst>
  <p:sldSz cx="12192000" cy="6858000"/>
  <p:notesSz cx="6858000" cy="9144000"/>
  <p:custDataLst>
    <p:tags r:id="rId124"/>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63" userDrawn="1">
          <p15:clr>
            <a:srgbClr val="A4A3A4"/>
          </p15:clr>
        </p15:guide>
        <p15:guide id="3" orient="horz"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CD7"/>
    <a:srgbClr val="CC3300"/>
    <a:srgbClr val="00A1E8"/>
    <a:srgbClr val="CACEC9"/>
    <a:srgbClr val="000000"/>
    <a:srgbClr val="DEDDD9"/>
    <a:srgbClr val="00659E"/>
    <a:srgbClr val="00659D"/>
    <a:srgbClr val="4EC1FF"/>
    <a:srgbClr val="ADADA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515" autoAdjust="0"/>
    <p:restoredTop sz="81332" autoAdjust="0"/>
  </p:normalViewPr>
  <p:slideViewPr>
    <p:cSldViewPr snapToGrid="0">
      <p:cViewPr varScale="1">
        <p:scale>
          <a:sx n="50" d="100"/>
          <a:sy n="50" d="100"/>
        </p:scale>
        <p:origin x="1356" y="48"/>
      </p:cViewPr>
      <p:guideLst>
        <p:guide pos="3863"/>
        <p:guide orient="horz" pos="2160"/>
      </p:guideLst>
    </p:cSldViewPr>
  </p:slideViewPr>
  <p:notesTextViewPr>
    <p:cViewPr>
      <p:scale>
        <a:sx n="3" d="2"/>
        <a:sy n="3" d="2"/>
      </p:scale>
      <p:origin x="0" y="0"/>
    </p:cViewPr>
  </p:notesTextViewPr>
  <p:sorterViewPr>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notesMaster" Target="notesMasters/notesMaster1.xml"/><Relationship Id="rId128" Type="http://schemas.openxmlformats.org/officeDocument/2006/relationships/tableStyles" Target="tableStyles.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13" Type="http://schemas.openxmlformats.org/officeDocument/2006/relationships/slide" Target="slides/slide112.xml"/><Relationship Id="rId118" Type="http://schemas.openxmlformats.org/officeDocument/2006/relationships/slide" Target="slides/slide117.xml"/><Relationship Id="rId126"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slide" Target="slides/slide102.xml"/><Relationship Id="rId108" Type="http://schemas.openxmlformats.org/officeDocument/2006/relationships/slide" Target="slides/slide107.xml"/><Relationship Id="rId116" Type="http://schemas.openxmlformats.org/officeDocument/2006/relationships/slide" Target="slides/slide115.xml"/><Relationship Id="rId124" Type="http://schemas.openxmlformats.org/officeDocument/2006/relationships/tags" Target="tags/tag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11" Type="http://schemas.openxmlformats.org/officeDocument/2006/relationships/slide" Target="slides/slide110.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openxmlformats.org/officeDocument/2006/relationships/slide" Target="slides/slide113.xml"/><Relationship Id="rId119" Type="http://schemas.openxmlformats.org/officeDocument/2006/relationships/slide" Target="slides/slide118.xml"/><Relationship Id="rId127" Type="http://schemas.openxmlformats.org/officeDocument/2006/relationships/theme" Target="theme/theme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61" Type="http://schemas.openxmlformats.org/officeDocument/2006/relationships/slide" Target="slides/slide60.xml"/><Relationship Id="rId82" Type="http://schemas.openxmlformats.org/officeDocument/2006/relationships/slide" Target="slides/slide8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B275349-E5FA-4653-8C84-E95DFD74AB7E}" type="doc">
      <dgm:prSet loTypeId="urn:microsoft.com/office/officeart/2005/8/layout/cycle6" loCatId="cycle" qsTypeId="urn:microsoft.com/office/officeart/2005/8/quickstyle/simple1" qsCatId="simple" csTypeId="urn:microsoft.com/office/officeart/2005/8/colors/accent1_2" csCatId="accent1" phldr="1"/>
      <dgm:spPr/>
      <dgm:t>
        <a:bodyPr/>
        <a:lstStyle/>
        <a:p>
          <a:endParaRPr lang="zh-CN" altLang="en-US"/>
        </a:p>
      </dgm:t>
    </dgm:pt>
    <dgm:pt modelId="{FA6CBF56-EBC8-43CC-9333-C69069A6C2F7}">
      <dgm:prSet phldrT="[文本]"/>
      <dgm:spPr/>
      <dgm:t>
        <a:bodyPr/>
        <a:lstStyle/>
        <a:p>
          <a:r>
            <a:rPr lang="zh-CN" altLang="en-US" dirty="0" smtClean="0"/>
            <a:t>产品</a:t>
          </a:r>
          <a:endParaRPr lang="zh-CN" altLang="en-US" dirty="0"/>
        </a:p>
      </dgm:t>
    </dgm:pt>
    <dgm:pt modelId="{5B8E1167-FDD1-46BC-B88D-01A6402F0E97}" type="parTrans" cxnId="{A14E9C97-657B-4F7B-98AD-A98F109192F5}">
      <dgm:prSet/>
      <dgm:spPr/>
      <dgm:t>
        <a:bodyPr/>
        <a:lstStyle/>
        <a:p>
          <a:endParaRPr lang="zh-CN" altLang="en-US"/>
        </a:p>
      </dgm:t>
    </dgm:pt>
    <dgm:pt modelId="{5F921993-DDFC-4FD3-BE70-B6298602F55B}" type="sibTrans" cxnId="{A14E9C97-657B-4F7B-98AD-A98F109192F5}">
      <dgm:prSet/>
      <dgm:spPr/>
      <dgm:t>
        <a:bodyPr/>
        <a:lstStyle/>
        <a:p>
          <a:endParaRPr lang="zh-CN" altLang="en-US"/>
        </a:p>
      </dgm:t>
    </dgm:pt>
    <dgm:pt modelId="{9D2A79CF-A543-4CD7-8486-7E63EA7A6D64}">
      <dgm:prSet phldrT="[文本]"/>
      <dgm:spPr/>
      <dgm:t>
        <a:bodyPr/>
        <a:lstStyle/>
        <a:p>
          <a:r>
            <a:rPr lang="zh-CN" altLang="en-US" dirty="0" smtClean="0"/>
            <a:t>开发</a:t>
          </a:r>
          <a:endParaRPr lang="zh-CN" altLang="en-US" dirty="0"/>
        </a:p>
      </dgm:t>
    </dgm:pt>
    <dgm:pt modelId="{79CFCB3C-4B39-4145-B3CA-EA683557C75F}" type="parTrans" cxnId="{F192A733-FB27-4AFA-88CD-7E76C91FE9C2}">
      <dgm:prSet/>
      <dgm:spPr/>
      <dgm:t>
        <a:bodyPr/>
        <a:lstStyle/>
        <a:p>
          <a:endParaRPr lang="zh-CN" altLang="en-US"/>
        </a:p>
      </dgm:t>
    </dgm:pt>
    <dgm:pt modelId="{E05D90D0-A124-4E0C-9B3A-3FF6D8445ED2}" type="sibTrans" cxnId="{F192A733-FB27-4AFA-88CD-7E76C91FE9C2}">
      <dgm:prSet/>
      <dgm:spPr/>
      <dgm:t>
        <a:bodyPr/>
        <a:lstStyle/>
        <a:p>
          <a:endParaRPr lang="zh-CN" altLang="en-US"/>
        </a:p>
      </dgm:t>
    </dgm:pt>
    <dgm:pt modelId="{36A92840-BC21-498F-8AB3-6316D54000C0}">
      <dgm:prSet phldrT="[文本]"/>
      <dgm:spPr/>
      <dgm:t>
        <a:bodyPr/>
        <a:lstStyle/>
        <a:p>
          <a:r>
            <a:rPr lang="zh-CN" altLang="en-US" dirty="0" smtClean="0"/>
            <a:t>测试</a:t>
          </a:r>
          <a:endParaRPr lang="zh-CN" altLang="en-US" dirty="0"/>
        </a:p>
      </dgm:t>
    </dgm:pt>
    <dgm:pt modelId="{A3266623-CDE0-4C27-9C0D-5FA0299680B8}" type="parTrans" cxnId="{4DCF6F80-76B1-4294-ADD8-EC467B7C27F7}">
      <dgm:prSet/>
      <dgm:spPr/>
      <dgm:t>
        <a:bodyPr/>
        <a:lstStyle/>
        <a:p>
          <a:endParaRPr lang="zh-CN" altLang="en-US"/>
        </a:p>
      </dgm:t>
    </dgm:pt>
    <dgm:pt modelId="{057A6AC0-A0F9-468B-8E71-F4F37844B8FF}" type="sibTrans" cxnId="{4DCF6F80-76B1-4294-ADD8-EC467B7C27F7}">
      <dgm:prSet/>
      <dgm:spPr/>
      <dgm:t>
        <a:bodyPr/>
        <a:lstStyle/>
        <a:p>
          <a:endParaRPr lang="zh-CN" altLang="en-US"/>
        </a:p>
      </dgm:t>
    </dgm:pt>
    <dgm:pt modelId="{EAB60CAE-EAF7-483D-828D-88198D2F5D8D}">
      <dgm:prSet phldrT="[文本]"/>
      <dgm:spPr/>
      <dgm:t>
        <a:bodyPr/>
        <a:lstStyle/>
        <a:p>
          <a:r>
            <a:rPr lang="en-US" altLang="zh-CN" dirty="0" smtClean="0"/>
            <a:t>PM</a:t>
          </a:r>
          <a:endParaRPr lang="zh-CN" altLang="en-US" dirty="0"/>
        </a:p>
      </dgm:t>
    </dgm:pt>
    <dgm:pt modelId="{3DF3C8D8-7E01-4F00-93B9-D1129F1BE737}" type="parTrans" cxnId="{CE136785-3DF7-462C-B59F-AD725B39B8B2}">
      <dgm:prSet/>
      <dgm:spPr/>
      <dgm:t>
        <a:bodyPr/>
        <a:lstStyle/>
        <a:p>
          <a:endParaRPr lang="zh-CN" altLang="en-US"/>
        </a:p>
      </dgm:t>
    </dgm:pt>
    <dgm:pt modelId="{901EF8D9-6BA3-4230-8E44-3B50D7D4F875}" type="sibTrans" cxnId="{CE136785-3DF7-462C-B59F-AD725B39B8B2}">
      <dgm:prSet/>
      <dgm:spPr/>
      <dgm:t>
        <a:bodyPr/>
        <a:lstStyle/>
        <a:p>
          <a:endParaRPr lang="zh-CN" altLang="en-US"/>
        </a:p>
      </dgm:t>
    </dgm:pt>
    <dgm:pt modelId="{3FD7B1D2-CF83-4BE9-BD5C-48516317B523}">
      <dgm:prSet phldrT="[文本]"/>
      <dgm:spPr/>
      <dgm:t>
        <a:bodyPr/>
        <a:lstStyle/>
        <a:p>
          <a:r>
            <a:rPr lang="zh-CN" altLang="en-US" dirty="0" smtClean="0"/>
            <a:t>运营</a:t>
          </a:r>
          <a:endParaRPr lang="zh-CN" altLang="en-US" dirty="0"/>
        </a:p>
      </dgm:t>
    </dgm:pt>
    <dgm:pt modelId="{957C957D-38D2-48E1-92C9-EEDF416C7267}" type="parTrans" cxnId="{2A58DB87-33EB-4A96-BDEE-B6BA0FF833CD}">
      <dgm:prSet/>
      <dgm:spPr/>
      <dgm:t>
        <a:bodyPr/>
        <a:lstStyle/>
        <a:p>
          <a:endParaRPr lang="zh-CN" altLang="en-US"/>
        </a:p>
      </dgm:t>
    </dgm:pt>
    <dgm:pt modelId="{2FF42960-D3F0-4E8A-BFF3-EAB48D4ACCAB}" type="sibTrans" cxnId="{2A58DB87-33EB-4A96-BDEE-B6BA0FF833CD}">
      <dgm:prSet/>
      <dgm:spPr/>
      <dgm:t>
        <a:bodyPr/>
        <a:lstStyle/>
        <a:p>
          <a:endParaRPr lang="zh-CN" altLang="en-US"/>
        </a:p>
      </dgm:t>
    </dgm:pt>
    <dgm:pt modelId="{5E97DA09-E5CB-4505-BF58-2BF08B927367}" type="pres">
      <dgm:prSet presAssocID="{CB275349-E5FA-4653-8C84-E95DFD74AB7E}" presName="cycle" presStyleCnt="0">
        <dgm:presLayoutVars>
          <dgm:dir/>
          <dgm:resizeHandles val="exact"/>
        </dgm:presLayoutVars>
      </dgm:prSet>
      <dgm:spPr/>
      <dgm:t>
        <a:bodyPr/>
        <a:lstStyle/>
        <a:p>
          <a:endParaRPr lang="zh-CN" altLang="en-US"/>
        </a:p>
      </dgm:t>
    </dgm:pt>
    <dgm:pt modelId="{6EAC77BC-BF10-4FF3-A102-B0BF245FB41E}" type="pres">
      <dgm:prSet presAssocID="{FA6CBF56-EBC8-43CC-9333-C69069A6C2F7}" presName="node" presStyleLbl="node1" presStyleIdx="0" presStyleCnt="5">
        <dgm:presLayoutVars>
          <dgm:bulletEnabled val="1"/>
        </dgm:presLayoutVars>
      </dgm:prSet>
      <dgm:spPr/>
      <dgm:t>
        <a:bodyPr/>
        <a:lstStyle/>
        <a:p>
          <a:endParaRPr lang="zh-CN" altLang="en-US"/>
        </a:p>
      </dgm:t>
    </dgm:pt>
    <dgm:pt modelId="{17C103F9-4946-4E12-8B01-04EA24174E8F}" type="pres">
      <dgm:prSet presAssocID="{FA6CBF56-EBC8-43CC-9333-C69069A6C2F7}" presName="spNode" presStyleCnt="0"/>
      <dgm:spPr/>
    </dgm:pt>
    <dgm:pt modelId="{34373352-17D2-4B37-A586-070CD74592E0}" type="pres">
      <dgm:prSet presAssocID="{5F921993-DDFC-4FD3-BE70-B6298602F55B}" presName="sibTrans" presStyleLbl="sibTrans1D1" presStyleIdx="0" presStyleCnt="5"/>
      <dgm:spPr/>
      <dgm:t>
        <a:bodyPr/>
        <a:lstStyle/>
        <a:p>
          <a:endParaRPr lang="zh-CN" altLang="en-US"/>
        </a:p>
      </dgm:t>
    </dgm:pt>
    <dgm:pt modelId="{2DF039C2-C04D-4B1C-B15B-280CAE5A0806}" type="pres">
      <dgm:prSet presAssocID="{9D2A79CF-A543-4CD7-8486-7E63EA7A6D64}" presName="node" presStyleLbl="node1" presStyleIdx="1" presStyleCnt="5">
        <dgm:presLayoutVars>
          <dgm:bulletEnabled val="1"/>
        </dgm:presLayoutVars>
      </dgm:prSet>
      <dgm:spPr/>
      <dgm:t>
        <a:bodyPr/>
        <a:lstStyle/>
        <a:p>
          <a:endParaRPr lang="zh-CN" altLang="en-US"/>
        </a:p>
      </dgm:t>
    </dgm:pt>
    <dgm:pt modelId="{220ACB9E-D8DD-46C1-8C02-462ED03E1E4D}" type="pres">
      <dgm:prSet presAssocID="{9D2A79CF-A543-4CD7-8486-7E63EA7A6D64}" presName="spNode" presStyleCnt="0"/>
      <dgm:spPr/>
    </dgm:pt>
    <dgm:pt modelId="{9C680629-69AC-4964-A9A3-B0F7EB5DEA83}" type="pres">
      <dgm:prSet presAssocID="{E05D90D0-A124-4E0C-9B3A-3FF6D8445ED2}" presName="sibTrans" presStyleLbl="sibTrans1D1" presStyleIdx="1" presStyleCnt="5"/>
      <dgm:spPr/>
      <dgm:t>
        <a:bodyPr/>
        <a:lstStyle/>
        <a:p>
          <a:endParaRPr lang="zh-CN" altLang="en-US"/>
        </a:p>
      </dgm:t>
    </dgm:pt>
    <dgm:pt modelId="{46674EB9-8F6C-4AAD-AC0D-A91BDB336BBA}" type="pres">
      <dgm:prSet presAssocID="{36A92840-BC21-498F-8AB3-6316D54000C0}" presName="node" presStyleLbl="node1" presStyleIdx="2" presStyleCnt="5">
        <dgm:presLayoutVars>
          <dgm:bulletEnabled val="1"/>
        </dgm:presLayoutVars>
      </dgm:prSet>
      <dgm:spPr/>
      <dgm:t>
        <a:bodyPr/>
        <a:lstStyle/>
        <a:p>
          <a:endParaRPr lang="zh-CN" altLang="en-US"/>
        </a:p>
      </dgm:t>
    </dgm:pt>
    <dgm:pt modelId="{8910CF65-2627-4B3B-9A0F-E68253AF35ED}" type="pres">
      <dgm:prSet presAssocID="{36A92840-BC21-498F-8AB3-6316D54000C0}" presName="spNode" presStyleCnt="0"/>
      <dgm:spPr/>
    </dgm:pt>
    <dgm:pt modelId="{97AE82FD-5B54-4525-B6E1-6BF7865E9793}" type="pres">
      <dgm:prSet presAssocID="{057A6AC0-A0F9-468B-8E71-F4F37844B8FF}" presName="sibTrans" presStyleLbl="sibTrans1D1" presStyleIdx="2" presStyleCnt="5"/>
      <dgm:spPr/>
      <dgm:t>
        <a:bodyPr/>
        <a:lstStyle/>
        <a:p>
          <a:endParaRPr lang="zh-CN" altLang="en-US"/>
        </a:p>
      </dgm:t>
    </dgm:pt>
    <dgm:pt modelId="{E14DA4AB-D080-4F73-80D0-8826D334C374}" type="pres">
      <dgm:prSet presAssocID="{EAB60CAE-EAF7-483D-828D-88198D2F5D8D}" presName="node" presStyleLbl="node1" presStyleIdx="3" presStyleCnt="5">
        <dgm:presLayoutVars>
          <dgm:bulletEnabled val="1"/>
        </dgm:presLayoutVars>
      </dgm:prSet>
      <dgm:spPr/>
      <dgm:t>
        <a:bodyPr/>
        <a:lstStyle/>
        <a:p>
          <a:endParaRPr lang="zh-CN" altLang="en-US"/>
        </a:p>
      </dgm:t>
    </dgm:pt>
    <dgm:pt modelId="{6AC01D0A-2F6B-4FE6-A682-0976C866B20A}" type="pres">
      <dgm:prSet presAssocID="{EAB60CAE-EAF7-483D-828D-88198D2F5D8D}" presName="spNode" presStyleCnt="0"/>
      <dgm:spPr/>
    </dgm:pt>
    <dgm:pt modelId="{198B6EE1-F25C-4CEB-8784-5D06BF4E02D1}" type="pres">
      <dgm:prSet presAssocID="{901EF8D9-6BA3-4230-8E44-3B50D7D4F875}" presName="sibTrans" presStyleLbl="sibTrans1D1" presStyleIdx="3" presStyleCnt="5"/>
      <dgm:spPr/>
      <dgm:t>
        <a:bodyPr/>
        <a:lstStyle/>
        <a:p>
          <a:endParaRPr lang="zh-CN" altLang="en-US"/>
        </a:p>
      </dgm:t>
    </dgm:pt>
    <dgm:pt modelId="{AE052426-9E23-4EE4-8414-C967615E9BE3}" type="pres">
      <dgm:prSet presAssocID="{3FD7B1D2-CF83-4BE9-BD5C-48516317B523}" presName="node" presStyleLbl="node1" presStyleIdx="4" presStyleCnt="5">
        <dgm:presLayoutVars>
          <dgm:bulletEnabled val="1"/>
        </dgm:presLayoutVars>
      </dgm:prSet>
      <dgm:spPr/>
      <dgm:t>
        <a:bodyPr/>
        <a:lstStyle/>
        <a:p>
          <a:endParaRPr lang="zh-CN" altLang="en-US"/>
        </a:p>
      </dgm:t>
    </dgm:pt>
    <dgm:pt modelId="{5D91B63D-44CC-4A20-8A8A-8E681E660FA6}" type="pres">
      <dgm:prSet presAssocID="{3FD7B1D2-CF83-4BE9-BD5C-48516317B523}" presName="spNode" presStyleCnt="0"/>
      <dgm:spPr/>
    </dgm:pt>
    <dgm:pt modelId="{E809B6CB-198F-46FB-A737-E34DEF24DF9E}" type="pres">
      <dgm:prSet presAssocID="{2FF42960-D3F0-4E8A-BFF3-EAB48D4ACCAB}" presName="sibTrans" presStyleLbl="sibTrans1D1" presStyleIdx="4" presStyleCnt="5"/>
      <dgm:spPr/>
      <dgm:t>
        <a:bodyPr/>
        <a:lstStyle/>
        <a:p>
          <a:endParaRPr lang="zh-CN" altLang="en-US"/>
        </a:p>
      </dgm:t>
    </dgm:pt>
  </dgm:ptLst>
  <dgm:cxnLst>
    <dgm:cxn modelId="{1CD668E0-FCE7-4C51-9A91-91BF2C5A9A6F}" type="presOf" srcId="{9D2A79CF-A543-4CD7-8486-7E63EA7A6D64}" destId="{2DF039C2-C04D-4B1C-B15B-280CAE5A0806}" srcOrd="0" destOrd="0" presId="urn:microsoft.com/office/officeart/2005/8/layout/cycle6"/>
    <dgm:cxn modelId="{413B55CB-6604-4317-8957-37F523EFA2A9}" type="presOf" srcId="{FA6CBF56-EBC8-43CC-9333-C69069A6C2F7}" destId="{6EAC77BC-BF10-4FF3-A102-B0BF245FB41E}" srcOrd="0" destOrd="0" presId="urn:microsoft.com/office/officeart/2005/8/layout/cycle6"/>
    <dgm:cxn modelId="{F192A733-FB27-4AFA-88CD-7E76C91FE9C2}" srcId="{CB275349-E5FA-4653-8C84-E95DFD74AB7E}" destId="{9D2A79CF-A543-4CD7-8486-7E63EA7A6D64}" srcOrd="1" destOrd="0" parTransId="{79CFCB3C-4B39-4145-B3CA-EA683557C75F}" sibTransId="{E05D90D0-A124-4E0C-9B3A-3FF6D8445ED2}"/>
    <dgm:cxn modelId="{52024F2A-565E-4732-82F5-FC283432E284}" type="presOf" srcId="{5F921993-DDFC-4FD3-BE70-B6298602F55B}" destId="{34373352-17D2-4B37-A586-070CD74592E0}" srcOrd="0" destOrd="0" presId="urn:microsoft.com/office/officeart/2005/8/layout/cycle6"/>
    <dgm:cxn modelId="{5E81409F-8376-4AD6-AAE2-5A3FB540D2A6}" type="presOf" srcId="{E05D90D0-A124-4E0C-9B3A-3FF6D8445ED2}" destId="{9C680629-69AC-4964-A9A3-B0F7EB5DEA83}" srcOrd="0" destOrd="0" presId="urn:microsoft.com/office/officeart/2005/8/layout/cycle6"/>
    <dgm:cxn modelId="{4FDC910B-E3CF-476A-B909-010CDA630F25}" type="presOf" srcId="{057A6AC0-A0F9-468B-8E71-F4F37844B8FF}" destId="{97AE82FD-5B54-4525-B6E1-6BF7865E9793}" srcOrd="0" destOrd="0" presId="urn:microsoft.com/office/officeart/2005/8/layout/cycle6"/>
    <dgm:cxn modelId="{AECD13ED-50AD-414F-BA84-F078C8D05DA8}" type="presOf" srcId="{3FD7B1D2-CF83-4BE9-BD5C-48516317B523}" destId="{AE052426-9E23-4EE4-8414-C967615E9BE3}" srcOrd="0" destOrd="0" presId="urn:microsoft.com/office/officeart/2005/8/layout/cycle6"/>
    <dgm:cxn modelId="{2A58DB87-33EB-4A96-BDEE-B6BA0FF833CD}" srcId="{CB275349-E5FA-4653-8C84-E95DFD74AB7E}" destId="{3FD7B1D2-CF83-4BE9-BD5C-48516317B523}" srcOrd="4" destOrd="0" parTransId="{957C957D-38D2-48E1-92C9-EEDF416C7267}" sibTransId="{2FF42960-D3F0-4E8A-BFF3-EAB48D4ACCAB}"/>
    <dgm:cxn modelId="{8833231F-520B-4036-8D99-2738C99BD20A}" type="presOf" srcId="{2FF42960-D3F0-4E8A-BFF3-EAB48D4ACCAB}" destId="{E809B6CB-198F-46FB-A737-E34DEF24DF9E}" srcOrd="0" destOrd="0" presId="urn:microsoft.com/office/officeart/2005/8/layout/cycle6"/>
    <dgm:cxn modelId="{A14E9C97-657B-4F7B-98AD-A98F109192F5}" srcId="{CB275349-E5FA-4653-8C84-E95DFD74AB7E}" destId="{FA6CBF56-EBC8-43CC-9333-C69069A6C2F7}" srcOrd="0" destOrd="0" parTransId="{5B8E1167-FDD1-46BC-B88D-01A6402F0E97}" sibTransId="{5F921993-DDFC-4FD3-BE70-B6298602F55B}"/>
    <dgm:cxn modelId="{D742B82B-AC75-4262-9742-307DFC619D94}" type="presOf" srcId="{901EF8D9-6BA3-4230-8E44-3B50D7D4F875}" destId="{198B6EE1-F25C-4CEB-8784-5D06BF4E02D1}" srcOrd="0" destOrd="0" presId="urn:microsoft.com/office/officeart/2005/8/layout/cycle6"/>
    <dgm:cxn modelId="{BCF62971-728E-4ECA-B981-D111B4682F8E}" type="presOf" srcId="{CB275349-E5FA-4653-8C84-E95DFD74AB7E}" destId="{5E97DA09-E5CB-4505-BF58-2BF08B927367}" srcOrd="0" destOrd="0" presId="urn:microsoft.com/office/officeart/2005/8/layout/cycle6"/>
    <dgm:cxn modelId="{CE136785-3DF7-462C-B59F-AD725B39B8B2}" srcId="{CB275349-E5FA-4653-8C84-E95DFD74AB7E}" destId="{EAB60CAE-EAF7-483D-828D-88198D2F5D8D}" srcOrd="3" destOrd="0" parTransId="{3DF3C8D8-7E01-4F00-93B9-D1129F1BE737}" sibTransId="{901EF8D9-6BA3-4230-8E44-3B50D7D4F875}"/>
    <dgm:cxn modelId="{4DCF6F80-76B1-4294-ADD8-EC467B7C27F7}" srcId="{CB275349-E5FA-4653-8C84-E95DFD74AB7E}" destId="{36A92840-BC21-498F-8AB3-6316D54000C0}" srcOrd="2" destOrd="0" parTransId="{A3266623-CDE0-4C27-9C0D-5FA0299680B8}" sibTransId="{057A6AC0-A0F9-468B-8E71-F4F37844B8FF}"/>
    <dgm:cxn modelId="{955AD1FB-75C2-41E8-AA93-18BDFACDB639}" type="presOf" srcId="{36A92840-BC21-498F-8AB3-6316D54000C0}" destId="{46674EB9-8F6C-4AAD-AC0D-A91BDB336BBA}" srcOrd="0" destOrd="0" presId="urn:microsoft.com/office/officeart/2005/8/layout/cycle6"/>
    <dgm:cxn modelId="{59BD69A1-E445-4143-8966-EA1607BDCBB2}" type="presOf" srcId="{EAB60CAE-EAF7-483D-828D-88198D2F5D8D}" destId="{E14DA4AB-D080-4F73-80D0-8826D334C374}" srcOrd="0" destOrd="0" presId="urn:microsoft.com/office/officeart/2005/8/layout/cycle6"/>
    <dgm:cxn modelId="{94814E12-47FF-4F4F-AFFE-4C1637FF7232}" type="presParOf" srcId="{5E97DA09-E5CB-4505-BF58-2BF08B927367}" destId="{6EAC77BC-BF10-4FF3-A102-B0BF245FB41E}" srcOrd="0" destOrd="0" presId="urn:microsoft.com/office/officeart/2005/8/layout/cycle6"/>
    <dgm:cxn modelId="{9C9001DB-18F3-4E83-8E10-A2079269B654}" type="presParOf" srcId="{5E97DA09-E5CB-4505-BF58-2BF08B927367}" destId="{17C103F9-4946-4E12-8B01-04EA24174E8F}" srcOrd="1" destOrd="0" presId="urn:microsoft.com/office/officeart/2005/8/layout/cycle6"/>
    <dgm:cxn modelId="{22D41B63-E586-48A3-B07E-0388B8654DA8}" type="presParOf" srcId="{5E97DA09-E5CB-4505-BF58-2BF08B927367}" destId="{34373352-17D2-4B37-A586-070CD74592E0}" srcOrd="2" destOrd="0" presId="urn:microsoft.com/office/officeart/2005/8/layout/cycle6"/>
    <dgm:cxn modelId="{2D7FF8BE-4AD8-449C-8BDB-A009D3DF8916}" type="presParOf" srcId="{5E97DA09-E5CB-4505-BF58-2BF08B927367}" destId="{2DF039C2-C04D-4B1C-B15B-280CAE5A0806}" srcOrd="3" destOrd="0" presId="urn:microsoft.com/office/officeart/2005/8/layout/cycle6"/>
    <dgm:cxn modelId="{CE2D1807-EAFA-4687-B78A-BD62475C7AF8}" type="presParOf" srcId="{5E97DA09-E5CB-4505-BF58-2BF08B927367}" destId="{220ACB9E-D8DD-46C1-8C02-462ED03E1E4D}" srcOrd="4" destOrd="0" presId="urn:microsoft.com/office/officeart/2005/8/layout/cycle6"/>
    <dgm:cxn modelId="{86D6F4A0-5D10-4D02-B4AF-83EDAFB234C2}" type="presParOf" srcId="{5E97DA09-E5CB-4505-BF58-2BF08B927367}" destId="{9C680629-69AC-4964-A9A3-B0F7EB5DEA83}" srcOrd="5" destOrd="0" presId="urn:microsoft.com/office/officeart/2005/8/layout/cycle6"/>
    <dgm:cxn modelId="{232F11CA-C87A-41C7-BA50-4F0D342FE25D}" type="presParOf" srcId="{5E97DA09-E5CB-4505-BF58-2BF08B927367}" destId="{46674EB9-8F6C-4AAD-AC0D-A91BDB336BBA}" srcOrd="6" destOrd="0" presId="urn:microsoft.com/office/officeart/2005/8/layout/cycle6"/>
    <dgm:cxn modelId="{39D1BFEB-265E-4746-9597-03AFC9D29E14}" type="presParOf" srcId="{5E97DA09-E5CB-4505-BF58-2BF08B927367}" destId="{8910CF65-2627-4B3B-9A0F-E68253AF35ED}" srcOrd="7" destOrd="0" presId="urn:microsoft.com/office/officeart/2005/8/layout/cycle6"/>
    <dgm:cxn modelId="{A4AED5DB-3B79-4DFF-BD7F-52325839CA31}" type="presParOf" srcId="{5E97DA09-E5CB-4505-BF58-2BF08B927367}" destId="{97AE82FD-5B54-4525-B6E1-6BF7865E9793}" srcOrd="8" destOrd="0" presId="urn:microsoft.com/office/officeart/2005/8/layout/cycle6"/>
    <dgm:cxn modelId="{84C98639-A9E9-4B34-B93A-C3A64882D3FC}" type="presParOf" srcId="{5E97DA09-E5CB-4505-BF58-2BF08B927367}" destId="{E14DA4AB-D080-4F73-80D0-8826D334C374}" srcOrd="9" destOrd="0" presId="urn:microsoft.com/office/officeart/2005/8/layout/cycle6"/>
    <dgm:cxn modelId="{16879FEB-A0F0-4069-B9C7-7E5BE6B64196}" type="presParOf" srcId="{5E97DA09-E5CB-4505-BF58-2BF08B927367}" destId="{6AC01D0A-2F6B-4FE6-A682-0976C866B20A}" srcOrd="10" destOrd="0" presId="urn:microsoft.com/office/officeart/2005/8/layout/cycle6"/>
    <dgm:cxn modelId="{B48DDCCF-498E-4127-B21A-ABA2B54C0728}" type="presParOf" srcId="{5E97DA09-E5CB-4505-BF58-2BF08B927367}" destId="{198B6EE1-F25C-4CEB-8784-5D06BF4E02D1}" srcOrd="11" destOrd="0" presId="urn:microsoft.com/office/officeart/2005/8/layout/cycle6"/>
    <dgm:cxn modelId="{E3864362-5175-40D2-8C54-B78A19B56E01}" type="presParOf" srcId="{5E97DA09-E5CB-4505-BF58-2BF08B927367}" destId="{AE052426-9E23-4EE4-8414-C967615E9BE3}" srcOrd="12" destOrd="0" presId="urn:microsoft.com/office/officeart/2005/8/layout/cycle6"/>
    <dgm:cxn modelId="{8439F85C-2B39-4341-A3A2-6AD1D0EEABFA}" type="presParOf" srcId="{5E97DA09-E5CB-4505-BF58-2BF08B927367}" destId="{5D91B63D-44CC-4A20-8A8A-8E681E660FA6}" srcOrd="13" destOrd="0" presId="urn:microsoft.com/office/officeart/2005/8/layout/cycle6"/>
    <dgm:cxn modelId="{B90DE40D-6D2A-4FAB-AB80-051DBA388CB9}" type="presParOf" srcId="{5E97DA09-E5CB-4505-BF58-2BF08B927367}" destId="{E809B6CB-198F-46FB-A737-E34DEF24DF9E}" srcOrd="14" destOrd="0" presId="urn:microsoft.com/office/officeart/2005/8/layout/cycle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419D529-2D3C-4942-997D-027C5890AC53}" type="doc">
      <dgm:prSet loTypeId="urn:microsoft.com/office/officeart/2005/8/layout/pyramid1" loCatId="pyramid" qsTypeId="urn:microsoft.com/office/officeart/2005/8/quickstyle/simple1" qsCatId="simple" csTypeId="urn:microsoft.com/office/officeart/2005/8/colors/accent1_2" csCatId="accent1" phldr="1"/>
      <dgm:spPr/>
    </dgm:pt>
    <dgm:pt modelId="{0EF0E339-8962-4526-BECC-54A2B27283FB}">
      <dgm:prSet phldrT="[文本]"/>
      <dgm:spPr/>
      <dgm:t>
        <a:bodyPr/>
        <a:lstStyle/>
        <a:p>
          <a:r>
            <a:rPr lang="zh-CN" altLang="en-US" b="1" dirty="0" smtClean="0">
              <a:solidFill>
                <a:srgbClr val="FFFF00"/>
              </a:solidFill>
            </a:rPr>
            <a:t>遵守一定的设计原则</a:t>
          </a:r>
          <a:r>
            <a:rPr lang="zh-CN" altLang="en-US" b="1" dirty="0" smtClean="0">
              <a:solidFill>
                <a:schemeClr val="bg1"/>
              </a:solidFill>
            </a:rPr>
            <a:t>，整体结构、逻辑流程清晰，模块间拆分组合灵活，明确做什么和如何做</a:t>
          </a:r>
          <a:endParaRPr lang="zh-CN" altLang="en-US" b="1" dirty="0">
            <a:solidFill>
              <a:schemeClr val="bg1"/>
            </a:solidFill>
          </a:endParaRPr>
        </a:p>
      </dgm:t>
    </dgm:pt>
    <dgm:pt modelId="{2A0ECD4C-C876-49DF-BC07-3A82D35E4293}" type="parTrans" cxnId="{B82A564A-307E-4715-BAE4-E1760EE3A743}">
      <dgm:prSet/>
      <dgm:spPr/>
      <dgm:t>
        <a:bodyPr/>
        <a:lstStyle/>
        <a:p>
          <a:endParaRPr lang="zh-CN" altLang="en-US"/>
        </a:p>
      </dgm:t>
    </dgm:pt>
    <dgm:pt modelId="{8A5DDA55-EFB5-466F-AA28-9414B43539B5}" type="sibTrans" cxnId="{B82A564A-307E-4715-BAE4-E1760EE3A743}">
      <dgm:prSet/>
      <dgm:spPr/>
      <dgm:t>
        <a:bodyPr/>
        <a:lstStyle/>
        <a:p>
          <a:endParaRPr lang="zh-CN" altLang="en-US"/>
        </a:p>
      </dgm:t>
    </dgm:pt>
    <dgm:pt modelId="{9AF8358E-4E69-4C3C-A859-ABC8BDA7D3D7}">
      <dgm:prSet phldrT="[文本]"/>
      <dgm:spPr/>
      <dgm:t>
        <a:bodyPr/>
        <a:lstStyle/>
        <a:p>
          <a:r>
            <a:rPr lang="zh-CN" altLang="en-US" b="1" dirty="0" smtClean="0">
              <a:solidFill>
                <a:schemeClr val="bg1"/>
              </a:solidFill>
            </a:rPr>
            <a:t>由开发人员设计输出的，能基本</a:t>
          </a:r>
          <a:r>
            <a:rPr lang="zh-CN" altLang="en-US" b="1" dirty="0" smtClean="0">
              <a:solidFill>
                <a:srgbClr val="FFFF00"/>
              </a:solidFill>
            </a:rPr>
            <a:t>解决对应业务场景问题</a:t>
          </a:r>
          <a:r>
            <a:rPr lang="zh-CN" altLang="en-US" b="1" dirty="0" smtClean="0">
              <a:solidFill>
                <a:schemeClr val="bg1"/>
              </a:solidFill>
            </a:rPr>
            <a:t>的软件系统的结构与组成的描述，</a:t>
          </a:r>
          <a:endParaRPr lang="zh-CN" altLang="en-US" b="1" dirty="0">
            <a:solidFill>
              <a:schemeClr val="bg1"/>
            </a:solidFill>
          </a:endParaRPr>
        </a:p>
      </dgm:t>
    </dgm:pt>
    <dgm:pt modelId="{2816F642-4479-455E-99DD-8E83C674AD8C}" type="parTrans" cxnId="{91BFBEDD-2BA0-4DBA-85F0-BF5C326E9973}">
      <dgm:prSet/>
      <dgm:spPr/>
      <dgm:t>
        <a:bodyPr/>
        <a:lstStyle/>
        <a:p>
          <a:endParaRPr lang="zh-CN" altLang="en-US"/>
        </a:p>
      </dgm:t>
    </dgm:pt>
    <dgm:pt modelId="{D2803D19-AA53-4E90-9ADC-27A94FF11921}" type="sibTrans" cxnId="{91BFBEDD-2BA0-4DBA-85F0-BF5C326E9973}">
      <dgm:prSet/>
      <dgm:spPr/>
      <dgm:t>
        <a:bodyPr/>
        <a:lstStyle/>
        <a:p>
          <a:endParaRPr lang="zh-CN" altLang="en-US"/>
        </a:p>
      </dgm:t>
    </dgm:pt>
    <dgm:pt modelId="{0620BA0A-A739-490B-8ABE-55D40CE4F295}">
      <dgm:prSet/>
      <dgm:spPr/>
      <dgm:t>
        <a:bodyPr/>
        <a:lstStyle/>
        <a:p>
          <a:r>
            <a:rPr lang="zh-CN" altLang="en-US" b="1" dirty="0" smtClean="0">
              <a:solidFill>
                <a:schemeClr val="bg1"/>
              </a:solidFill>
            </a:rPr>
            <a:t>能很好的兼顾多数非功能性需求，以及能</a:t>
          </a:r>
          <a:r>
            <a:rPr lang="zh-CN" altLang="en-US" b="1" dirty="0" smtClean="0">
              <a:solidFill>
                <a:srgbClr val="FFFF00"/>
              </a:solidFill>
            </a:rPr>
            <a:t>满足各项利益相关者的需求</a:t>
          </a:r>
          <a:endParaRPr lang="zh-CN" altLang="en-US" b="1" dirty="0">
            <a:solidFill>
              <a:srgbClr val="FFFF00"/>
            </a:solidFill>
          </a:endParaRPr>
        </a:p>
      </dgm:t>
    </dgm:pt>
    <dgm:pt modelId="{FDB00395-28B9-4ADD-AE24-5994EA222C85}" type="parTrans" cxnId="{DE7D1514-3634-402D-B382-E422EA94662C}">
      <dgm:prSet/>
      <dgm:spPr/>
      <dgm:t>
        <a:bodyPr/>
        <a:lstStyle/>
        <a:p>
          <a:endParaRPr lang="zh-CN" altLang="en-US"/>
        </a:p>
      </dgm:t>
    </dgm:pt>
    <dgm:pt modelId="{8F53986F-050F-4EA6-891B-ADAA89D699A4}" type="sibTrans" cxnId="{DE7D1514-3634-402D-B382-E422EA94662C}">
      <dgm:prSet/>
      <dgm:spPr/>
      <dgm:t>
        <a:bodyPr/>
        <a:lstStyle/>
        <a:p>
          <a:endParaRPr lang="zh-CN" altLang="en-US"/>
        </a:p>
      </dgm:t>
    </dgm:pt>
    <dgm:pt modelId="{933BFF7C-4D63-4C9C-B943-C70D87E0475C}">
      <dgm:prSet phldrT="[文本]"/>
      <dgm:spPr/>
      <dgm:t>
        <a:bodyPr/>
        <a:lstStyle/>
        <a:p>
          <a:r>
            <a:rPr lang="en-US" altLang="zh-CN" dirty="0" smtClean="0"/>
            <a:t> </a:t>
          </a:r>
          <a:endParaRPr lang="zh-CN" altLang="en-US" dirty="0"/>
        </a:p>
      </dgm:t>
    </dgm:pt>
    <dgm:pt modelId="{5AC9A4D4-1670-4761-9ABA-813A01F14C11}" type="sibTrans" cxnId="{D5DBCFCB-A5CB-4B2B-9A28-7E760DA2289A}">
      <dgm:prSet/>
      <dgm:spPr/>
      <dgm:t>
        <a:bodyPr/>
        <a:lstStyle/>
        <a:p>
          <a:endParaRPr lang="zh-CN" altLang="en-US"/>
        </a:p>
      </dgm:t>
    </dgm:pt>
    <dgm:pt modelId="{90E1FC05-1F0B-4DAE-AECB-B7FC10DCDE95}" type="parTrans" cxnId="{D5DBCFCB-A5CB-4B2B-9A28-7E760DA2289A}">
      <dgm:prSet/>
      <dgm:spPr/>
      <dgm:t>
        <a:bodyPr/>
        <a:lstStyle/>
        <a:p>
          <a:endParaRPr lang="zh-CN" altLang="en-US"/>
        </a:p>
      </dgm:t>
    </dgm:pt>
    <dgm:pt modelId="{DC2FB2B1-F3FE-4623-BE06-E6BC9714B09D}">
      <dgm:prSet custT="1"/>
      <dgm:spPr/>
      <dgm:t>
        <a:bodyPr/>
        <a:lstStyle/>
        <a:p>
          <a:r>
            <a:rPr lang="zh-CN" altLang="en-US" sz="1800" b="1" dirty="0" smtClean="0">
              <a:solidFill>
                <a:schemeClr val="bg1"/>
              </a:solidFill>
            </a:rPr>
            <a:t>应对各项变化，能以</a:t>
          </a:r>
          <a:r>
            <a:rPr lang="zh-CN" altLang="en-US" sz="1800" b="1" dirty="0" smtClean="0">
              <a:solidFill>
                <a:srgbClr val="FFFF00"/>
              </a:solidFill>
            </a:rPr>
            <a:t>最小的代价进行调整</a:t>
          </a:r>
          <a:endParaRPr lang="zh-CN" altLang="en-US" sz="1800" b="1" dirty="0">
            <a:solidFill>
              <a:srgbClr val="FFFF00"/>
            </a:solidFill>
          </a:endParaRPr>
        </a:p>
      </dgm:t>
    </dgm:pt>
    <dgm:pt modelId="{143F4DA6-2234-4EC6-9B4E-3B4BDE945BB9}" type="parTrans" cxnId="{0DCB5FB2-2E16-4048-84E7-7835703F7890}">
      <dgm:prSet/>
      <dgm:spPr/>
      <dgm:t>
        <a:bodyPr/>
        <a:lstStyle/>
        <a:p>
          <a:endParaRPr lang="zh-CN" altLang="en-US"/>
        </a:p>
      </dgm:t>
    </dgm:pt>
    <dgm:pt modelId="{EE92C563-5526-44B9-8783-A056C00B77D8}" type="sibTrans" cxnId="{0DCB5FB2-2E16-4048-84E7-7835703F7890}">
      <dgm:prSet/>
      <dgm:spPr/>
      <dgm:t>
        <a:bodyPr/>
        <a:lstStyle/>
        <a:p>
          <a:endParaRPr lang="zh-CN" altLang="en-US"/>
        </a:p>
      </dgm:t>
    </dgm:pt>
    <dgm:pt modelId="{490603DC-C789-4F59-BDDC-44EBA3E23324}" type="pres">
      <dgm:prSet presAssocID="{A419D529-2D3C-4942-997D-027C5890AC53}" presName="Name0" presStyleCnt="0">
        <dgm:presLayoutVars>
          <dgm:dir/>
          <dgm:animLvl val="lvl"/>
          <dgm:resizeHandles val="exact"/>
        </dgm:presLayoutVars>
      </dgm:prSet>
      <dgm:spPr/>
    </dgm:pt>
    <dgm:pt modelId="{B7F979B8-B46F-422F-8425-C172CEBC7BA3}" type="pres">
      <dgm:prSet presAssocID="{933BFF7C-4D63-4C9C-B943-C70D87E0475C}" presName="Name8" presStyleCnt="0"/>
      <dgm:spPr/>
    </dgm:pt>
    <dgm:pt modelId="{2EFBB76F-D064-4181-838F-7443906EC3CE}" type="pres">
      <dgm:prSet presAssocID="{933BFF7C-4D63-4C9C-B943-C70D87E0475C}" presName="level" presStyleLbl="node1" presStyleIdx="0" presStyleCnt="5">
        <dgm:presLayoutVars>
          <dgm:chMax val="1"/>
          <dgm:bulletEnabled val="1"/>
        </dgm:presLayoutVars>
      </dgm:prSet>
      <dgm:spPr/>
      <dgm:t>
        <a:bodyPr/>
        <a:lstStyle/>
        <a:p>
          <a:endParaRPr lang="zh-CN" altLang="en-US"/>
        </a:p>
      </dgm:t>
    </dgm:pt>
    <dgm:pt modelId="{D7B6ACD9-551D-43E5-9C8F-5B0E73BA94B9}" type="pres">
      <dgm:prSet presAssocID="{933BFF7C-4D63-4C9C-B943-C70D87E0475C}" presName="levelTx" presStyleLbl="revTx" presStyleIdx="0" presStyleCnt="0">
        <dgm:presLayoutVars>
          <dgm:chMax val="1"/>
          <dgm:bulletEnabled val="1"/>
        </dgm:presLayoutVars>
      </dgm:prSet>
      <dgm:spPr/>
      <dgm:t>
        <a:bodyPr/>
        <a:lstStyle/>
        <a:p>
          <a:endParaRPr lang="zh-CN" altLang="en-US"/>
        </a:p>
      </dgm:t>
    </dgm:pt>
    <dgm:pt modelId="{B18249AC-72C3-4F05-B87C-C049389EA05F}" type="pres">
      <dgm:prSet presAssocID="{DC2FB2B1-F3FE-4623-BE06-E6BC9714B09D}" presName="Name8" presStyleCnt="0"/>
      <dgm:spPr/>
    </dgm:pt>
    <dgm:pt modelId="{162D197D-FD5E-44FD-98B8-9983B2308256}" type="pres">
      <dgm:prSet presAssocID="{DC2FB2B1-F3FE-4623-BE06-E6BC9714B09D}" presName="level" presStyleLbl="node1" presStyleIdx="1" presStyleCnt="5">
        <dgm:presLayoutVars>
          <dgm:chMax val="1"/>
          <dgm:bulletEnabled val="1"/>
        </dgm:presLayoutVars>
      </dgm:prSet>
      <dgm:spPr/>
      <dgm:t>
        <a:bodyPr/>
        <a:lstStyle/>
        <a:p>
          <a:endParaRPr lang="zh-CN" altLang="en-US"/>
        </a:p>
      </dgm:t>
    </dgm:pt>
    <dgm:pt modelId="{FF1EDD27-2D8B-4CC3-A617-AAA3314BD92C}" type="pres">
      <dgm:prSet presAssocID="{DC2FB2B1-F3FE-4623-BE06-E6BC9714B09D}" presName="levelTx" presStyleLbl="revTx" presStyleIdx="0" presStyleCnt="0">
        <dgm:presLayoutVars>
          <dgm:chMax val="1"/>
          <dgm:bulletEnabled val="1"/>
        </dgm:presLayoutVars>
      </dgm:prSet>
      <dgm:spPr/>
      <dgm:t>
        <a:bodyPr/>
        <a:lstStyle/>
        <a:p>
          <a:endParaRPr lang="zh-CN" altLang="en-US"/>
        </a:p>
      </dgm:t>
    </dgm:pt>
    <dgm:pt modelId="{5B3EAD7D-E30E-4917-8141-88394F6D315E}" type="pres">
      <dgm:prSet presAssocID="{0620BA0A-A739-490B-8ABE-55D40CE4F295}" presName="Name8" presStyleCnt="0"/>
      <dgm:spPr/>
    </dgm:pt>
    <dgm:pt modelId="{7F8080B5-55F6-455C-B7C3-35BEFC1AA1BB}" type="pres">
      <dgm:prSet presAssocID="{0620BA0A-A739-490B-8ABE-55D40CE4F295}" presName="level" presStyleLbl="node1" presStyleIdx="2" presStyleCnt="5">
        <dgm:presLayoutVars>
          <dgm:chMax val="1"/>
          <dgm:bulletEnabled val="1"/>
        </dgm:presLayoutVars>
      </dgm:prSet>
      <dgm:spPr/>
      <dgm:t>
        <a:bodyPr/>
        <a:lstStyle/>
        <a:p>
          <a:endParaRPr lang="zh-CN" altLang="en-US"/>
        </a:p>
      </dgm:t>
    </dgm:pt>
    <dgm:pt modelId="{BDD675EE-5408-48CC-A3F5-B66AB0A9761B}" type="pres">
      <dgm:prSet presAssocID="{0620BA0A-A739-490B-8ABE-55D40CE4F295}" presName="levelTx" presStyleLbl="revTx" presStyleIdx="0" presStyleCnt="0">
        <dgm:presLayoutVars>
          <dgm:chMax val="1"/>
          <dgm:bulletEnabled val="1"/>
        </dgm:presLayoutVars>
      </dgm:prSet>
      <dgm:spPr/>
      <dgm:t>
        <a:bodyPr/>
        <a:lstStyle/>
        <a:p>
          <a:endParaRPr lang="zh-CN" altLang="en-US"/>
        </a:p>
      </dgm:t>
    </dgm:pt>
    <dgm:pt modelId="{4DDFE4A7-00CB-437B-A3CB-152844C1B564}" type="pres">
      <dgm:prSet presAssocID="{0EF0E339-8962-4526-BECC-54A2B27283FB}" presName="Name8" presStyleCnt="0"/>
      <dgm:spPr/>
    </dgm:pt>
    <dgm:pt modelId="{0FB69563-F3AF-4F22-ADCC-3A0CB9FBD1F0}" type="pres">
      <dgm:prSet presAssocID="{0EF0E339-8962-4526-BECC-54A2B27283FB}" presName="level" presStyleLbl="node1" presStyleIdx="3" presStyleCnt="5">
        <dgm:presLayoutVars>
          <dgm:chMax val="1"/>
          <dgm:bulletEnabled val="1"/>
        </dgm:presLayoutVars>
      </dgm:prSet>
      <dgm:spPr/>
      <dgm:t>
        <a:bodyPr/>
        <a:lstStyle/>
        <a:p>
          <a:endParaRPr lang="zh-CN" altLang="en-US"/>
        </a:p>
      </dgm:t>
    </dgm:pt>
    <dgm:pt modelId="{E03F4E98-15E1-436E-9BD0-17891A3637D1}" type="pres">
      <dgm:prSet presAssocID="{0EF0E339-8962-4526-BECC-54A2B27283FB}" presName="levelTx" presStyleLbl="revTx" presStyleIdx="0" presStyleCnt="0">
        <dgm:presLayoutVars>
          <dgm:chMax val="1"/>
          <dgm:bulletEnabled val="1"/>
        </dgm:presLayoutVars>
      </dgm:prSet>
      <dgm:spPr/>
      <dgm:t>
        <a:bodyPr/>
        <a:lstStyle/>
        <a:p>
          <a:endParaRPr lang="zh-CN" altLang="en-US"/>
        </a:p>
      </dgm:t>
    </dgm:pt>
    <dgm:pt modelId="{F7A16C3C-61AF-4778-A234-42ED1386B639}" type="pres">
      <dgm:prSet presAssocID="{9AF8358E-4E69-4C3C-A859-ABC8BDA7D3D7}" presName="Name8" presStyleCnt="0"/>
      <dgm:spPr/>
    </dgm:pt>
    <dgm:pt modelId="{A590048D-ED6D-47E3-966E-50D4ED68065F}" type="pres">
      <dgm:prSet presAssocID="{9AF8358E-4E69-4C3C-A859-ABC8BDA7D3D7}" presName="level" presStyleLbl="node1" presStyleIdx="4" presStyleCnt="5">
        <dgm:presLayoutVars>
          <dgm:chMax val="1"/>
          <dgm:bulletEnabled val="1"/>
        </dgm:presLayoutVars>
      </dgm:prSet>
      <dgm:spPr/>
      <dgm:t>
        <a:bodyPr/>
        <a:lstStyle/>
        <a:p>
          <a:endParaRPr lang="zh-CN" altLang="en-US"/>
        </a:p>
      </dgm:t>
    </dgm:pt>
    <dgm:pt modelId="{C6A7D208-8FEE-4FC2-9CC9-260D4BBB4A26}" type="pres">
      <dgm:prSet presAssocID="{9AF8358E-4E69-4C3C-A859-ABC8BDA7D3D7}" presName="levelTx" presStyleLbl="revTx" presStyleIdx="0" presStyleCnt="0">
        <dgm:presLayoutVars>
          <dgm:chMax val="1"/>
          <dgm:bulletEnabled val="1"/>
        </dgm:presLayoutVars>
      </dgm:prSet>
      <dgm:spPr/>
      <dgm:t>
        <a:bodyPr/>
        <a:lstStyle/>
        <a:p>
          <a:endParaRPr lang="zh-CN" altLang="en-US"/>
        </a:p>
      </dgm:t>
    </dgm:pt>
  </dgm:ptLst>
  <dgm:cxnLst>
    <dgm:cxn modelId="{0247192A-EC95-4C3F-A122-C6950FAC672C}" type="presOf" srcId="{0620BA0A-A739-490B-8ABE-55D40CE4F295}" destId="{BDD675EE-5408-48CC-A3F5-B66AB0A9761B}" srcOrd="1" destOrd="0" presId="urn:microsoft.com/office/officeart/2005/8/layout/pyramid1"/>
    <dgm:cxn modelId="{20D825C7-24D5-4338-963F-1355A90A8CAA}" type="presOf" srcId="{A419D529-2D3C-4942-997D-027C5890AC53}" destId="{490603DC-C789-4F59-BDDC-44EBA3E23324}" srcOrd="0" destOrd="0" presId="urn:microsoft.com/office/officeart/2005/8/layout/pyramid1"/>
    <dgm:cxn modelId="{91BFBEDD-2BA0-4DBA-85F0-BF5C326E9973}" srcId="{A419D529-2D3C-4942-997D-027C5890AC53}" destId="{9AF8358E-4E69-4C3C-A859-ABC8BDA7D3D7}" srcOrd="4" destOrd="0" parTransId="{2816F642-4479-455E-99DD-8E83C674AD8C}" sibTransId="{D2803D19-AA53-4E90-9ADC-27A94FF11921}"/>
    <dgm:cxn modelId="{68628C7B-AB25-491E-B666-208202EFC061}" type="presOf" srcId="{DC2FB2B1-F3FE-4623-BE06-E6BC9714B09D}" destId="{FF1EDD27-2D8B-4CC3-A617-AAA3314BD92C}" srcOrd="1" destOrd="0" presId="urn:microsoft.com/office/officeart/2005/8/layout/pyramid1"/>
    <dgm:cxn modelId="{33FDAF8C-320D-49B4-8B9C-E39ABFAB9678}" type="presOf" srcId="{9AF8358E-4E69-4C3C-A859-ABC8BDA7D3D7}" destId="{A590048D-ED6D-47E3-966E-50D4ED68065F}" srcOrd="0" destOrd="0" presId="urn:microsoft.com/office/officeart/2005/8/layout/pyramid1"/>
    <dgm:cxn modelId="{0DCB5FB2-2E16-4048-84E7-7835703F7890}" srcId="{A419D529-2D3C-4942-997D-027C5890AC53}" destId="{DC2FB2B1-F3FE-4623-BE06-E6BC9714B09D}" srcOrd="1" destOrd="0" parTransId="{143F4DA6-2234-4EC6-9B4E-3B4BDE945BB9}" sibTransId="{EE92C563-5526-44B9-8783-A056C00B77D8}"/>
    <dgm:cxn modelId="{373F594D-C8D0-4309-8A2C-CA2F855E6B64}" type="presOf" srcId="{0EF0E339-8962-4526-BECC-54A2B27283FB}" destId="{E03F4E98-15E1-436E-9BD0-17891A3637D1}" srcOrd="1" destOrd="0" presId="urn:microsoft.com/office/officeart/2005/8/layout/pyramid1"/>
    <dgm:cxn modelId="{7588D9C3-A8E1-4DAB-B272-F2CB32C16459}" type="presOf" srcId="{0EF0E339-8962-4526-BECC-54A2B27283FB}" destId="{0FB69563-F3AF-4F22-ADCC-3A0CB9FBD1F0}" srcOrd="0" destOrd="0" presId="urn:microsoft.com/office/officeart/2005/8/layout/pyramid1"/>
    <dgm:cxn modelId="{39817741-13F3-4BBD-A431-687FBDA149BC}" type="presOf" srcId="{9AF8358E-4E69-4C3C-A859-ABC8BDA7D3D7}" destId="{C6A7D208-8FEE-4FC2-9CC9-260D4BBB4A26}" srcOrd="1" destOrd="0" presId="urn:microsoft.com/office/officeart/2005/8/layout/pyramid1"/>
    <dgm:cxn modelId="{B82A564A-307E-4715-BAE4-E1760EE3A743}" srcId="{A419D529-2D3C-4942-997D-027C5890AC53}" destId="{0EF0E339-8962-4526-BECC-54A2B27283FB}" srcOrd="3" destOrd="0" parTransId="{2A0ECD4C-C876-49DF-BC07-3A82D35E4293}" sibTransId="{8A5DDA55-EFB5-466F-AA28-9414B43539B5}"/>
    <dgm:cxn modelId="{A7FD3EFF-A3B5-4CBC-9F92-95843EB45619}" type="presOf" srcId="{DC2FB2B1-F3FE-4623-BE06-E6BC9714B09D}" destId="{162D197D-FD5E-44FD-98B8-9983B2308256}" srcOrd="0" destOrd="0" presId="urn:microsoft.com/office/officeart/2005/8/layout/pyramid1"/>
    <dgm:cxn modelId="{20084993-B62E-4E04-9B6C-748DC03F1C04}" type="presOf" srcId="{933BFF7C-4D63-4C9C-B943-C70D87E0475C}" destId="{D7B6ACD9-551D-43E5-9C8F-5B0E73BA94B9}" srcOrd="1" destOrd="0" presId="urn:microsoft.com/office/officeart/2005/8/layout/pyramid1"/>
    <dgm:cxn modelId="{DE7D1514-3634-402D-B382-E422EA94662C}" srcId="{A419D529-2D3C-4942-997D-027C5890AC53}" destId="{0620BA0A-A739-490B-8ABE-55D40CE4F295}" srcOrd="2" destOrd="0" parTransId="{FDB00395-28B9-4ADD-AE24-5994EA222C85}" sibTransId="{8F53986F-050F-4EA6-891B-ADAA89D699A4}"/>
    <dgm:cxn modelId="{D5DBCFCB-A5CB-4B2B-9A28-7E760DA2289A}" srcId="{A419D529-2D3C-4942-997D-027C5890AC53}" destId="{933BFF7C-4D63-4C9C-B943-C70D87E0475C}" srcOrd="0" destOrd="0" parTransId="{90E1FC05-1F0B-4DAE-AECB-B7FC10DCDE95}" sibTransId="{5AC9A4D4-1670-4761-9ABA-813A01F14C11}"/>
    <dgm:cxn modelId="{EF32E58F-1937-4BA1-B12A-4E77E4A1E930}" type="presOf" srcId="{933BFF7C-4D63-4C9C-B943-C70D87E0475C}" destId="{2EFBB76F-D064-4181-838F-7443906EC3CE}" srcOrd="0" destOrd="0" presId="urn:microsoft.com/office/officeart/2005/8/layout/pyramid1"/>
    <dgm:cxn modelId="{BFDCC4AE-8222-45A3-9E60-EC1CA5A33660}" type="presOf" srcId="{0620BA0A-A739-490B-8ABE-55D40CE4F295}" destId="{7F8080B5-55F6-455C-B7C3-35BEFC1AA1BB}" srcOrd="0" destOrd="0" presId="urn:microsoft.com/office/officeart/2005/8/layout/pyramid1"/>
    <dgm:cxn modelId="{86AF5602-F356-4C04-95DC-0BC1C91922E2}" type="presParOf" srcId="{490603DC-C789-4F59-BDDC-44EBA3E23324}" destId="{B7F979B8-B46F-422F-8425-C172CEBC7BA3}" srcOrd="0" destOrd="0" presId="urn:microsoft.com/office/officeart/2005/8/layout/pyramid1"/>
    <dgm:cxn modelId="{A6B84D01-6E18-4ADA-8FF1-62292CC0F62A}" type="presParOf" srcId="{B7F979B8-B46F-422F-8425-C172CEBC7BA3}" destId="{2EFBB76F-D064-4181-838F-7443906EC3CE}" srcOrd="0" destOrd="0" presId="urn:microsoft.com/office/officeart/2005/8/layout/pyramid1"/>
    <dgm:cxn modelId="{1D920A4B-EC01-4DE5-A6DF-BE789D18C7AF}" type="presParOf" srcId="{B7F979B8-B46F-422F-8425-C172CEBC7BA3}" destId="{D7B6ACD9-551D-43E5-9C8F-5B0E73BA94B9}" srcOrd="1" destOrd="0" presId="urn:microsoft.com/office/officeart/2005/8/layout/pyramid1"/>
    <dgm:cxn modelId="{42C61329-5B4A-436B-8BF8-F38B8FDCEDAD}" type="presParOf" srcId="{490603DC-C789-4F59-BDDC-44EBA3E23324}" destId="{B18249AC-72C3-4F05-B87C-C049389EA05F}" srcOrd="1" destOrd="0" presId="urn:microsoft.com/office/officeart/2005/8/layout/pyramid1"/>
    <dgm:cxn modelId="{56C6E6AD-F2E5-4B3F-9AF6-A91476337C50}" type="presParOf" srcId="{B18249AC-72C3-4F05-B87C-C049389EA05F}" destId="{162D197D-FD5E-44FD-98B8-9983B2308256}" srcOrd="0" destOrd="0" presId="urn:microsoft.com/office/officeart/2005/8/layout/pyramid1"/>
    <dgm:cxn modelId="{9C213918-075E-4E23-A1F9-33D084CE1465}" type="presParOf" srcId="{B18249AC-72C3-4F05-B87C-C049389EA05F}" destId="{FF1EDD27-2D8B-4CC3-A617-AAA3314BD92C}" srcOrd="1" destOrd="0" presId="urn:microsoft.com/office/officeart/2005/8/layout/pyramid1"/>
    <dgm:cxn modelId="{00B29A5E-7CEB-4D0D-B753-1BB0348F422A}" type="presParOf" srcId="{490603DC-C789-4F59-BDDC-44EBA3E23324}" destId="{5B3EAD7D-E30E-4917-8141-88394F6D315E}" srcOrd="2" destOrd="0" presId="urn:microsoft.com/office/officeart/2005/8/layout/pyramid1"/>
    <dgm:cxn modelId="{1F0ED8B5-9C91-4496-882F-D130085C376F}" type="presParOf" srcId="{5B3EAD7D-E30E-4917-8141-88394F6D315E}" destId="{7F8080B5-55F6-455C-B7C3-35BEFC1AA1BB}" srcOrd="0" destOrd="0" presId="urn:microsoft.com/office/officeart/2005/8/layout/pyramid1"/>
    <dgm:cxn modelId="{1F973F8D-669C-4407-BD50-2A35597F4835}" type="presParOf" srcId="{5B3EAD7D-E30E-4917-8141-88394F6D315E}" destId="{BDD675EE-5408-48CC-A3F5-B66AB0A9761B}" srcOrd="1" destOrd="0" presId="urn:microsoft.com/office/officeart/2005/8/layout/pyramid1"/>
    <dgm:cxn modelId="{B39049CF-B8F1-4E5B-B87F-A88CDE22FF7A}" type="presParOf" srcId="{490603DC-C789-4F59-BDDC-44EBA3E23324}" destId="{4DDFE4A7-00CB-437B-A3CB-152844C1B564}" srcOrd="3" destOrd="0" presId="urn:microsoft.com/office/officeart/2005/8/layout/pyramid1"/>
    <dgm:cxn modelId="{91E2613D-F63F-4E96-A1A0-06644A95D679}" type="presParOf" srcId="{4DDFE4A7-00CB-437B-A3CB-152844C1B564}" destId="{0FB69563-F3AF-4F22-ADCC-3A0CB9FBD1F0}" srcOrd="0" destOrd="0" presId="urn:microsoft.com/office/officeart/2005/8/layout/pyramid1"/>
    <dgm:cxn modelId="{C8458D1E-CA5C-4FC6-8E6C-DF8116DD968F}" type="presParOf" srcId="{4DDFE4A7-00CB-437B-A3CB-152844C1B564}" destId="{E03F4E98-15E1-436E-9BD0-17891A3637D1}" srcOrd="1" destOrd="0" presId="urn:microsoft.com/office/officeart/2005/8/layout/pyramid1"/>
    <dgm:cxn modelId="{16F64E75-0580-4258-A307-88D21BCB19C2}" type="presParOf" srcId="{490603DC-C789-4F59-BDDC-44EBA3E23324}" destId="{F7A16C3C-61AF-4778-A234-42ED1386B639}" srcOrd="4" destOrd="0" presId="urn:microsoft.com/office/officeart/2005/8/layout/pyramid1"/>
    <dgm:cxn modelId="{35BFD242-A95F-4085-B26F-67B399A74608}" type="presParOf" srcId="{F7A16C3C-61AF-4778-A234-42ED1386B639}" destId="{A590048D-ED6D-47E3-966E-50D4ED68065F}" srcOrd="0" destOrd="0" presId="urn:microsoft.com/office/officeart/2005/8/layout/pyramid1"/>
    <dgm:cxn modelId="{09BE89B3-4B25-49DB-9035-8C8AFB607E65}" type="presParOf" srcId="{F7A16C3C-61AF-4778-A234-42ED1386B639}" destId="{C6A7D208-8FEE-4FC2-9CC9-260D4BBB4A26}" srcOrd="1" destOrd="0" presId="urn:microsoft.com/office/officeart/2005/8/layout/pyramid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D65F552-A5E5-4249-9CBC-19D6D585B1C8}" type="doc">
      <dgm:prSet loTypeId="urn:microsoft.com/office/officeart/2005/8/layout/radial1" loCatId="cycle" qsTypeId="urn:microsoft.com/office/officeart/2005/8/quickstyle/simple1" qsCatId="simple" csTypeId="urn:microsoft.com/office/officeart/2005/8/colors/accent1_2" csCatId="accent1" phldr="1"/>
      <dgm:spPr/>
      <dgm:t>
        <a:bodyPr/>
        <a:lstStyle/>
        <a:p>
          <a:endParaRPr lang="zh-CN" altLang="en-US"/>
        </a:p>
      </dgm:t>
    </dgm:pt>
    <dgm:pt modelId="{1E64B62C-144F-4D7B-8394-A0D79EE3A616}">
      <dgm:prSet phldrT="[文本]"/>
      <dgm:spPr/>
      <dgm:t>
        <a:bodyPr/>
        <a:lstStyle/>
        <a:p>
          <a:r>
            <a:rPr lang="zh-CN" altLang="en-US" smtClean="0">
              <a:latin typeface="Arial"/>
              <a:ea typeface="Microsoft YaHei"/>
              <a:cs typeface="+mn-ea"/>
              <a:sym typeface="Arial"/>
            </a:rPr>
            <a:t>面向对象五大原则</a:t>
          </a:r>
          <a:endParaRPr lang="zh-CN" altLang="en-US" dirty="0">
            <a:latin typeface="Arial"/>
            <a:ea typeface="Microsoft YaHei"/>
            <a:cs typeface="+mn-ea"/>
            <a:sym typeface="Arial"/>
          </a:endParaRPr>
        </a:p>
      </dgm:t>
    </dgm:pt>
    <dgm:pt modelId="{9F746E25-DC4F-4313-90F8-CE12AD326A68}" type="parTrans" cxnId="{3A3152AB-7F7D-4D29-A6D9-3CD6E59CA9F8}">
      <dgm:prSet/>
      <dgm:spPr/>
      <dgm:t>
        <a:bodyPr/>
        <a:lstStyle/>
        <a:p>
          <a:endParaRPr lang="zh-CN" altLang="en-US"/>
        </a:p>
      </dgm:t>
    </dgm:pt>
    <dgm:pt modelId="{13273040-6197-475C-94B9-DAEC2CF7B27C}" type="sibTrans" cxnId="{3A3152AB-7F7D-4D29-A6D9-3CD6E59CA9F8}">
      <dgm:prSet/>
      <dgm:spPr/>
      <dgm:t>
        <a:bodyPr/>
        <a:lstStyle/>
        <a:p>
          <a:endParaRPr lang="zh-CN" altLang="en-US"/>
        </a:p>
      </dgm:t>
    </dgm:pt>
    <dgm:pt modelId="{65E27EEC-4CB1-4229-9E8A-9404D445671A}">
      <dgm:prSet phldrT="[文本]"/>
      <dgm:spPr/>
      <dgm:t>
        <a:bodyPr/>
        <a:lstStyle/>
        <a:p>
          <a:r>
            <a:rPr lang="en-US" altLang="zh-CN" dirty="0" smtClean="0">
              <a:latin typeface="Arial"/>
              <a:ea typeface="Microsoft YaHei"/>
              <a:cs typeface="+mn-ea"/>
              <a:sym typeface="Arial"/>
            </a:rPr>
            <a:t>S:</a:t>
          </a:r>
          <a:r>
            <a:rPr lang="zh-CN" altLang="en-US" dirty="0" smtClean="0">
              <a:latin typeface="Arial"/>
              <a:ea typeface="Microsoft YaHei"/>
              <a:cs typeface="+mn-ea"/>
              <a:sym typeface="Arial"/>
            </a:rPr>
            <a:t>单一职责</a:t>
          </a:r>
          <a:endParaRPr lang="zh-CN" altLang="en-US" dirty="0">
            <a:latin typeface="Arial"/>
            <a:ea typeface="Microsoft YaHei"/>
            <a:cs typeface="+mn-ea"/>
            <a:sym typeface="Arial"/>
          </a:endParaRPr>
        </a:p>
      </dgm:t>
    </dgm:pt>
    <dgm:pt modelId="{A353B85A-E0B6-4309-92B4-59E030F380D8}" type="parTrans" cxnId="{667DB87B-99D7-46A1-8056-5447C78A5567}">
      <dgm:prSet/>
      <dgm:spPr/>
      <dgm:t>
        <a:bodyPr/>
        <a:lstStyle/>
        <a:p>
          <a:endParaRPr lang="zh-CN" altLang="en-US"/>
        </a:p>
      </dgm:t>
    </dgm:pt>
    <dgm:pt modelId="{544F7EB0-AF5A-440F-92A4-97EBA3B767C0}" type="sibTrans" cxnId="{667DB87B-99D7-46A1-8056-5447C78A5567}">
      <dgm:prSet/>
      <dgm:spPr/>
      <dgm:t>
        <a:bodyPr/>
        <a:lstStyle/>
        <a:p>
          <a:endParaRPr lang="zh-CN" altLang="en-US"/>
        </a:p>
      </dgm:t>
    </dgm:pt>
    <dgm:pt modelId="{9A23AE7F-66FA-4FA4-8B2E-A7AD0185E9D8}">
      <dgm:prSet phldrT="[文本]"/>
      <dgm:spPr/>
      <dgm:t>
        <a:bodyPr/>
        <a:lstStyle/>
        <a:p>
          <a:r>
            <a:rPr lang="en-US" altLang="zh-CN" dirty="0" smtClean="0">
              <a:latin typeface="Arial"/>
              <a:ea typeface="Microsoft YaHei"/>
              <a:cs typeface="+mn-ea"/>
              <a:sym typeface="Arial"/>
            </a:rPr>
            <a:t>O:</a:t>
          </a:r>
          <a:r>
            <a:rPr lang="zh-CN" altLang="en-US" dirty="0" smtClean="0">
              <a:latin typeface="Arial"/>
              <a:ea typeface="Microsoft YaHei"/>
              <a:cs typeface="+mn-ea"/>
              <a:sym typeface="Arial"/>
            </a:rPr>
            <a:t>开闭</a:t>
          </a:r>
          <a:endParaRPr lang="zh-CN" altLang="en-US" dirty="0">
            <a:latin typeface="Arial"/>
            <a:ea typeface="Microsoft YaHei"/>
            <a:cs typeface="+mn-ea"/>
            <a:sym typeface="Arial"/>
          </a:endParaRPr>
        </a:p>
      </dgm:t>
    </dgm:pt>
    <dgm:pt modelId="{8212805D-95C8-4A54-A96D-BF7AFB13D530}" type="parTrans" cxnId="{5A5D4555-C238-4A33-BE30-7FAD1A670265}">
      <dgm:prSet/>
      <dgm:spPr/>
      <dgm:t>
        <a:bodyPr/>
        <a:lstStyle/>
        <a:p>
          <a:endParaRPr lang="zh-CN" altLang="en-US"/>
        </a:p>
      </dgm:t>
    </dgm:pt>
    <dgm:pt modelId="{02279DFD-4FD3-4EE8-B441-0F5DF60CC46B}" type="sibTrans" cxnId="{5A5D4555-C238-4A33-BE30-7FAD1A670265}">
      <dgm:prSet/>
      <dgm:spPr/>
      <dgm:t>
        <a:bodyPr/>
        <a:lstStyle/>
        <a:p>
          <a:endParaRPr lang="zh-CN" altLang="en-US"/>
        </a:p>
      </dgm:t>
    </dgm:pt>
    <dgm:pt modelId="{C6758C80-3110-4CA1-9C73-91BC095BB7AE}">
      <dgm:prSet phldrT="[文本]"/>
      <dgm:spPr/>
      <dgm:t>
        <a:bodyPr/>
        <a:lstStyle/>
        <a:p>
          <a:r>
            <a:rPr lang="en-US" altLang="zh-CN" dirty="0" smtClean="0">
              <a:latin typeface="Arial"/>
              <a:ea typeface="Microsoft YaHei"/>
              <a:cs typeface="+mn-ea"/>
              <a:sym typeface="Arial"/>
            </a:rPr>
            <a:t>L</a:t>
          </a:r>
          <a:r>
            <a:rPr lang="zh-CN" altLang="en-US" dirty="0" smtClean="0">
              <a:latin typeface="Arial"/>
              <a:ea typeface="Microsoft YaHei"/>
              <a:cs typeface="+mn-ea"/>
              <a:sym typeface="Arial"/>
            </a:rPr>
            <a:t>：里氏替换</a:t>
          </a:r>
          <a:endParaRPr lang="zh-CN" altLang="en-US" dirty="0">
            <a:latin typeface="Arial"/>
            <a:ea typeface="Microsoft YaHei"/>
            <a:cs typeface="+mn-ea"/>
            <a:sym typeface="Arial"/>
          </a:endParaRPr>
        </a:p>
      </dgm:t>
    </dgm:pt>
    <dgm:pt modelId="{E8F0D614-3BAB-4C98-9B8A-B33F801C0326}" type="parTrans" cxnId="{ADA1DA4A-D793-44CB-8719-BAB4D58CB21D}">
      <dgm:prSet/>
      <dgm:spPr/>
      <dgm:t>
        <a:bodyPr/>
        <a:lstStyle/>
        <a:p>
          <a:endParaRPr lang="zh-CN" altLang="en-US"/>
        </a:p>
      </dgm:t>
    </dgm:pt>
    <dgm:pt modelId="{6A7926F8-5235-42AE-86A1-D69E16A68B76}" type="sibTrans" cxnId="{ADA1DA4A-D793-44CB-8719-BAB4D58CB21D}">
      <dgm:prSet/>
      <dgm:spPr/>
      <dgm:t>
        <a:bodyPr/>
        <a:lstStyle/>
        <a:p>
          <a:endParaRPr lang="zh-CN" altLang="en-US"/>
        </a:p>
      </dgm:t>
    </dgm:pt>
    <dgm:pt modelId="{7B638EA0-321B-4FE1-ADE8-382F82C5FB87}">
      <dgm:prSet phldrT="[文本]"/>
      <dgm:spPr/>
      <dgm:t>
        <a:bodyPr/>
        <a:lstStyle/>
        <a:p>
          <a:r>
            <a:rPr lang="en-US" altLang="zh-CN" dirty="0" smtClean="0">
              <a:latin typeface="Arial"/>
              <a:ea typeface="Microsoft YaHei"/>
              <a:cs typeface="+mn-ea"/>
              <a:sym typeface="Arial"/>
            </a:rPr>
            <a:t>I</a:t>
          </a:r>
          <a:r>
            <a:rPr lang="zh-CN" altLang="en-US" dirty="0" smtClean="0">
              <a:latin typeface="Arial"/>
              <a:ea typeface="Microsoft YaHei"/>
              <a:cs typeface="+mn-ea"/>
              <a:sym typeface="Arial"/>
            </a:rPr>
            <a:t>：接口隔离</a:t>
          </a:r>
          <a:endParaRPr lang="zh-CN" altLang="en-US" dirty="0">
            <a:latin typeface="Arial"/>
            <a:ea typeface="Microsoft YaHei"/>
            <a:cs typeface="+mn-ea"/>
            <a:sym typeface="Arial"/>
          </a:endParaRPr>
        </a:p>
      </dgm:t>
    </dgm:pt>
    <dgm:pt modelId="{A877AF46-36C4-4BF1-A559-0BB6470BC891}" type="parTrans" cxnId="{4AC75D9F-BBAA-4973-8508-48EBD9878E8D}">
      <dgm:prSet/>
      <dgm:spPr/>
      <dgm:t>
        <a:bodyPr/>
        <a:lstStyle/>
        <a:p>
          <a:endParaRPr lang="zh-CN" altLang="en-US"/>
        </a:p>
      </dgm:t>
    </dgm:pt>
    <dgm:pt modelId="{BD6BFBE5-E72E-4D35-A9BE-7216C6C37DAE}" type="sibTrans" cxnId="{4AC75D9F-BBAA-4973-8508-48EBD9878E8D}">
      <dgm:prSet/>
      <dgm:spPr/>
      <dgm:t>
        <a:bodyPr/>
        <a:lstStyle/>
        <a:p>
          <a:endParaRPr lang="zh-CN" altLang="en-US"/>
        </a:p>
      </dgm:t>
    </dgm:pt>
    <dgm:pt modelId="{03B6FB22-55CE-4A94-AA6B-F87EC2B6CA43}">
      <dgm:prSet phldrT="[文本]"/>
      <dgm:spPr/>
      <dgm:t>
        <a:bodyPr/>
        <a:lstStyle/>
        <a:p>
          <a:r>
            <a:rPr lang="en-US" altLang="zh-CN" dirty="0" smtClean="0">
              <a:latin typeface="Arial"/>
              <a:ea typeface="Microsoft YaHei"/>
              <a:cs typeface="+mn-ea"/>
              <a:sym typeface="Arial"/>
            </a:rPr>
            <a:t>D:</a:t>
          </a:r>
          <a:r>
            <a:rPr lang="zh-CN" altLang="en-US" dirty="0" smtClean="0">
              <a:latin typeface="Arial"/>
              <a:ea typeface="Microsoft YaHei"/>
              <a:cs typeface="+mn-ea"/>
              <a:sym typeface="Arial"/>
            </a:rPr>
            <a:t>依赖倒置</a:t>
          </a:r>
          <a:endParaRPr lang="zh-CN" altLang="en-US" dirty="0">
            <a:latin typeface="Arial"/>
            <a:ea typeface="Microsoft YaHei"/>
            <a:cs typeface="+mn-ea"/>
            <a:sym typeface="Arial"/>
          </a:endParaRPr>
        </a:p>
      </dgm:t>
    </dgm:pt>
    <dgm:pt modelId="{B8A0D0B5-8CF5-4880-91FB-A701119AE6D1}" type="parTrans" cxnId="{74AC6039-3F09-482B-A213-11F583B47790}">
      <dgm:prSet/>
      <dgm:spPr/>
      <dgm:t>
        <a:bodyPr/>
        <a:lstStyle/>
        <a:p>
          <a:endParaRPr lang="zh-CN" altLang="en-US"/>
        </a:p>
      </dgm:t>
    </dgm:pt>
    <dgm:pt modelId="{38257F80-2D21-4D0B-8CE5-BA739EE06952}" type="sibTrans" cxnId="{74AC6039-3F09-482B-A213-11F583B47790}">
      <dgm:prSet/>
      <dgm:spPr/>
      <dgm:t>
        <a:bodyPr/>
        <a:lstStyle/>
        <a:p>
          <a:endParaRPr lang="zh-CN" altLang="en-US"/>
        </a:p>
      </dgm:t>
    </dgm:pt>
    <dgm:pt modelId="{0B6A2DBD-8620-40BF-AF4C-A7D1C15E6753}" type="pres">
      <dgm:prSet presAssocID="{BD65F552-A5E5-4249-9CBC-19D6D585B1C8}" presName="cycle" presStyleCnt="0">
        <dgm:presLayoutVars>
          <dgm:chMax val="1"/>
          <dgm:dir/>
          <dgm:animLvl val="ctr"/>
          <dgm:resizeHandles val="exact"/>
        </dgm:presLayoutVars>
      </dgm:prSet>
      <dgm:spPr/>
      <dgm:t>
        <a:bodyPr/>
        <a:lstStyle/>
        <a:p>
          <a:endParaRPr lang="zh-CN" altLang="en-US"/>
        </a:p>
      </dgm:t>
    </dgm:pt>
    <dgm:pt modelId="{E4638586-14CE-4551-AE94-5AD88F0A344A}" type="pres">
      <dgm:prSet presAssocID="{1E64B62C-144F-4D7B-8394-A0D79EE3A616}" presName="centerShape" presStyleLbl="node0" presStyleIdx="0" presStyleCnt="1"/>
      <dgm:spPr/>
      <dgm:t>
        <a:bodyPr/>
        <a:lstStyle/>
        <a:p>
          <a:endParaRPr lang="zh-CN" altLang="en-US"/>
        </a:p>
      </dgm:t>
    </dgm:pt>
    <dgm:pt modelId="{E559E437-2635-47DC-968E-E2A516FD7E58}" type="pres">
      <dgm:prSet presAssocID="{A353B85A-E0B6-4309-92B4-59E030F380D8}" presName="Name9" presStyleLbl="parChTrans1D2" presStyleIdx="0" presStyleCnt="5"/>
      <dgm:spPr/>
      <dgm:t>
        <a:bodyPr/>
        <a:lstStyle/>
        <a:p>
          <a:endParaRPr lang="zh-CN" altLang="en-US"/>
        </a:p>
      </dgm:t>
    </dgm:pt>
    <dgm:pt modelId="{82B74CD0-D63E-47A0-8432-BCB61BF8983C}" type="pres">
      <dgm:prSet presAssocID="{A353B85A-E0B6-4309-92B4-59E030F380D8}" presName="connTx" presStyleLbl="parChTrans1D2" presStyleIdx="0" presStyleCnt="5"/>
      <dgm:spPr/>
      <dgm:t>
        <a:bodyPr/>
        <a:lstStyle/>
        <a:p>
          <a:endParaRPr lang="zh-CN" altLang="en-US"/>
        </a:p>
      </dgm:t>
    </dgm:pt>
    <dgm:pt modelId="{C391FCC8-135A-4D5C-9118-329F3D583C84}" type="pres">
      <dgm:prSet presAssocID="{65E27EEC-4CB1-4229-9E8A-9404D445671A}" presName="node" presStyleLbl="node1" presStyleIdx="0" presStyleCnt="5">
        <dgm:presLayoutVars>
          <dgm:bulletEnabled val="1"/>
        </dgm:presLayoutVars>
      </dgm:prSet>
      <dgm:spPr/>
      <dgm:t>
        <a:bodyPr/>
        <a:lstStyle/>
        <a:p>
          <a:endParaRPr lang="zh-CN" altLang="en-US"/>
        </a:p>
      </dgm:t>
    </dgm:pt>
    <dgm:pt modelId="{3D7EB392-E32F-481C-8059-3113480CCC54}" type="pres">
      <dgm:prSet presAssocID="{8212805D-95C8-4A54-A96D-BF7AFB13D530}" presName="Name9" presStyleLbl="parChTrans1D2" presStyleIdx="1" presStyleCnt="5"/>
      <dgm:spPr/>
      <dgm:t>
        <a:bodyPr/>
        <a:lstStyle/>
        <a:p>
          <a:endParaRPr lang="zh-CN" altLang="en-US"/>
        </a:p>
      </dgm:t>
    </dgm:pt>
    <dgm:pt modelId="{82CA6B04-6FFB-4C49-842B-60722236E948}" type="pres">
      <dgm:prSet presAssocID="{8212805D-95C8-4A54-A96D-BF7AFB13D530}" presName="connTx" presStyleLbl="parChTrans1D2" presStyleIdx="1" presStyleCnt="5"/>
      <dgm:spPr/>
      <dgm:t>
        <a:bodyPr/>
        <a:lstStyle/>
        <a:p>
          <a:endParaRPr lang="zh-CN" altLang="en-US"/>
        </a:p>
      </dgm:t>
    </dgm:pt>
    <dgm:pt modelId="{3380F5E0-79AE-486A-ADC0-68527F1A95A8}" type="pres">
      <dgm:prSet presAssocID="{9A23AE7F-66FA-4FA4-8B2E-A7AD0185E9D8}" presName="node" presStyleLbl="node1" presStyleIdx="1" presStyleCnt="5">
        <dgm:presLayoutVars>
          <dgm:bulletEnabled val="1"/>
        </dgm:presLayoutVars>
      </dgm:prSet>
      <dgm:spPr/>
      <dgm:t>
        <a:bodyPr/>
        <a:lstStyle/>
        <a:p>
          <a:endParaRPr lang="zh-CN" altLang="en-US"/>
        </a:p>
      </dgm:t>
    </dgm:pt>
    <dgm:pt modelId="{E031A50B-1BD3-47C5-9F8B-94009E89C7BC}" type="pres">
      <dgm:prSet presAssocID="{E8F0D614-3BAB-4C98-9B8A-B33F801C0326}" presName="Name9" presStyleLbl="parChTrans1D2" presStyleIdx="2" presStyleCnt="5"/>
      <dgm:spPr/>
      <dgm:t>
        <a:bodyPr/>
        <a:lstStyle/>
        <a:p>
          <a:endParaRPr lang="zh-CN" altLang="en-US"/>
        </a:p>
      </dgm:t>
    </dgm:pt>
    <dgm:pt modelId="{C732DEE7-05B3-4E64-91AB-A774F899D78E}" type="pres">
      <dgm:prSet presAssocID="{E8F0D614-3BAB-4C98-9B8A-B33F801C0326}" presName="connTx" presStyleLbl="parChTrans1D2" presStyleIdx="2" presStyleCnt="5"/>
      <dgm:spPr/>
      <dgm:t>
        <a:bodyPr/>
        <a:lstStyle/>
        <a:p>
          <a:endParaRPr lang="zh-CN" altLang="en-US"/>
        </a:p>
      </dgm:t>
    </dgm:pt>
    <dgm:pt modelId="{CFD6F32A-117B-4A59-A711-CFF5A63BDB27}" type="pres">
      <dgm:prSet presAssocID="{C6758C80-3110-4CA1-9C73-91BC095BB7AE}" presName="node" presStyleLbl="node1" presStyleIdx="2" presStyleCnt="5">
        <dgm:presLayoutVars>
          <dgm:bulletEnabled val="1"/>
        </dgm:presLayoutVars>
      </dgm:prSet>
      <dgm:spPr/>
      <dgm:t>
        <a:bodyPr/>
        <a:lstStyle/>
        <a:p>
          <a:endParaRPr lang="zh-CN" altLang="en-US"/>
        </a:p>
      </dgm:t>
    </dgm:pt>
    <dgm:pt modelId="{1790F76A-DAD6-4589-BD16-0793ACA1709F}" type="pres">
      <dgm:prSet presAssocID="{A877AF46-36C4-4BF1-A559-0BB6470BC891}" presName="Name9" presStyleLbl="parChTrans1D2" presStyleIdx="3" presStyleCnt="5"/>
      <dgm:spPr/>
      <dgm:t>
        <a:bodyPr/>
        <a:lstStyle/>
        <a:p>
          <a:endParaRPr lang="zh-CN" altLang="en-US"/>
        </a:p>
      </dgm:t>
    </dgm:pt>
    <dgm:pt modelId="{5B9C6559-1236-4177-9757-01CB99CBAFC5}" type="pres">
      <dgm:prSet presAssocID="{A877AF46-36C4-4BF1-A559-0BB6470BC891}" presName="connTx" presStyleLbl="parChTrans1D2" presStyleIdx="3" presStyleCnt="5"/>
      <dgm:spPr/>
      <dgm:t>
        <a:bodyPr/>
        <a:lstStyle/>
        <a:p>
          <a:endParaRPr lang="zh-CN" altLang="en-US"/>
        </a:p>
      </dgm:t>
    </dgm:pt>
    <dgm:pt modelId="{3552867E-F905-4DBE-8048-CE61605746FF}" type="pres">
      <dgm:prSet presAssocID="{7B638EA0-321B-4FE1-ADE8-382F82C5FB87}" presName="node" presStyleLbl="node1" presStyleIdx="3" presStyleCnt="5">
        <dgm:presLayoutVars>
          <dgm:bulletEnabled val="1"/>
        </dgm:presLayoutVars>
      </dgm:prSet>
      <dgm:spPr/>
      <dgm:t>
        <a:bodyPr/>
        <a:lstStyle/>
        <a:p>
          <a:endParaRPr lang="zh-CN" altLang="en-US"/>
        </a:p>
      </dgm:t>
    </dgm:pt>
    <dgm:pt modelId="{B913C037-C59B-42F0-8D95-3BFCA544B912}" type="pres">
      <dgm:prSet presAssocID="{B8A0D0B5-8CF5-4880-91FB-A701119AE6D1}" presName="Name9" presStyleLbl="parChTrans1D2" presStyleIdx="4" presStyleCnt="5"/>
      <dgm:spPr/>
      <dgm:t>
        <a:bodyPr/>
        <a:lstStyle/>
        <a:p>
          <a:endParaRPr lang="zh-CN" altLang="en-US"/>
        </a:p>
      </dgm:t>
    </dgm:pt>
    <dgm:pt modelId="{FC73A008-D456-4BF3-A168-984DF430736B}" type="pres">
      <dgm:prSet presAssocID="{B8A0D0B5-8CF5-4880-91FB-A701119AE6D1}" presName="connTx" presStyleLbl="parChTrans1D2" presStyleIdx="4" presStyleCnt="5"/>
      <dgm:spPr/>
      <dgm:t>
        <a:bodyPr/>
        <a:lstStyle/>
        <a:p>
          <a:endParaRPr lang="zh-CN" altLang="en-US"/>
        </a:p>
      </dgm:t>
    </dgm:pt>
    <dgm:pt modelId="{7F569C10-8C60-4772-8736-E57A07D37081}" type="pres">
      <dgm:prSet presAssocID="{03B6FB22-55CE-4A94-AA6B-F87EC2B6CA43}" presName="node" presStyleLbl="node1" presStyleIdx="4" presStyleCnt="5">
        <dgm:presLayoutVars>
          <dgm:bulletEnabled val="1"/>
        </dgm:presLayoutVars>
      </dgm:prSet>
      <dgm:spPr/>
      <dgm:t>
        <a:bodyPr/>
        <a:lstStyle/>
        <a:p>
          <a:endParaRPr lang="zh-CN" altLang="en-US"/>
        </a:p>
      </dgm:t>
    </dgm:pt>
  </dgm:ptLst>
  <dgm:cxnLst>
    <dgm:cxn modelId="{21295FD2-994C-485B-A550-3A901C396078}" type="presOf" srcId="{C6758C80-3110-4CA1-9C73-91BC095BB7AE}" destId="{CFD6F32A-117B-4A59-A711-CFF5A63BDB27}" srcOrd="0" destOrd="0" presId="urn:microsoft.com/office/officeart/2005/8/layout/radial1"/>
    <dgm:cxn modelId="{C0703303-ECC1-45CB-907A-42F5A957620A}" type="presOf" srcId="{A353B85A-E0B6-4309-92B4-59E030F380D8}" destId="{E559E437-2635-47DC-968E-E2A516FD7E58}" srcOrd="0" destOrd="0" presId="urn:microsoft.com/office/officeart/2005/8/layout/radial1"/>
    <dgm:cxn modelId="{D33C65EF-08C4-4273-AEC1-7E752D71D1E5}" type="presOf" srcId="{1E64B62C-144F-4D7B-8394-A0D79EE3A616}" destId="{E4638586-14CE-4551-AE94-5AD88F0A344A}" srcOrd="0" destOrd="0" presId="urn:microsoft.com/office/officeart/2005/8/layout/radial1"/>
    <dgm:cxn modelId="{EE000EEC-D917-43F1-81CE-5DA1A4388D51}" type="presOf" srcId="{9A23AE7F-66FA-4FA4-8B2E-A7AD0185E9D8}" destId="{3380F5E0-79AE-486A-ADC0-68527F1A95A8}" srcOrd="0" destOrd="0" presId="urn:microsoft.com/office/officeart/2005/8/layout/radial1"/>
    <dgm:cxn modelId="{12A168D1-1BC7-4971-A7C2-026A05F52DBC}" type="presOf" srcId="{A877AF46-36C4-4BF1-A559-0BB6470BC891}" destId="{1790F76A-DAD6-4589-BD16-0793ACA1709F}" srcOrd="0" destOrd="0" presId="urn:microsoft.com/office/officeart/2005/8/layout/radial1"/>
    <dgm:cxn modelId="{74AC6039-3F09-482B-A213-11F583B47790}" srcId="{1E64B62C-144F-4D7B-8394-A0D79EE3A616}" destId="{03B6FB22-55CE-4A94-AA6B-F87EC2B6CA43}" srcOrd="4" destOrd="0" parTransId="{B8A0D0B5-8CF5-4880-91FB-A701119AE6D1}" sibTransId="{38257F80-2D21-4D0B-8CE5-BA739EE06952}"/>
    <dgm:cxn modelId="{C5506250-6889-4E2F-9A47-4878E6CB7AFB}" type="presOf" srcId="{E8F0D614-3BAB-4C98-9B8A-B33F801C0326}" destId="{E031A50B-1BD3-47C5-9F8B-94009E89C7BC}" srcOrd="0" destOrd="0" presId="urn:microsoft.com/office/officeart/2005/8/layout/radial1"/>
    <dgm:cxn modelId="{B105DA1E-677F-4301-BD74-0CF5403501DB}" type="presOf" srcId="{8212805D-95C8-4A54-A96D-BF7AFB13D530}" destId="{82CA6B04-6FFB-4C49-842B-60722236E948}" srcOrd="1" destOrd="0" presId="urn:microsoft.com/office/officeart/2005/8/layout/radial1"/>
    <dgm:cxn modelId="{C696B121-C8F4-4F5B-84CA-9314A887268C}" type="presOf" srcId="{A353B85A-E0B6-4309-92B4-59E030F380D8}" destId="{82B74CD0-D63E-47A0-8432-BCB61BF8983C}" srcOrd="1" destOrd="0" presId="urn:microsoft.com/office/officeart/2005/8/layout/radial1"/>
    <dgm:cxn modelId="{7B8C12A7-4287-48E8-BD9E-E48AA75EC010}" type="presOf" srcId="{BD65F552-A5E5-4249-9CBC-19D6D585B1C8}" destId="{0B6A2DBD-8620-40BF-AF4C-A7D1C15E6753}" srcOrd="0" destOrd="0" presId="urn:microsoft.com/office/officeart/2005/8/layout/radial1"/>
    <dgm:cxn modelId="{ADA1DA4A-D793-44CB-8719-BAB4D58CB21D}" srcId="{1E64B62C-144F-4D7B-8394-A0D79EE3A616}" destId="{C6758C80-3110-4CA1-9C73-91BC095BB7AE}" srcOrd="2" destOrd="0" parTransId="{E8F0D614-3BAB-4C98-9B8A-B33F801C0326}" sibTransId="{6A7926F8-5235-42AE-86A1-D69E16A68B76}"/>
    <dgm:cxn modelId="{12825821-BED0-4B8B-9DAE-605EBD20B556}" type="presOf" srcId="{B8A0D0B5-8CF5-4880-91FB-A701119AE6D1}" destId="{FC73A008-D456-4BF3-A168-984DF430736B}" srcOrd="1" destOrd="0" presId="urn:microsoft.com/office/officeart/2005/8/layout/radial1"/>
    <dgm:cxn modelId="{807190F9-73A1-4ECC-9809-F40481B0B225}" type="presOf" srcId="{E8F0D614-3BAB-4C98-9B8A-B33F801C0326}" destId="{C732DEE7-05B3-4E64-91AB-A774F899D78E}" srcOrd="1" destOrd="0" presId="urn:microsoft.com/office/officeart/2005/8/layout/radial1"/>
    <dgm:cxn modelId="{3A3152AB-7F7D-4D29-A6D9-3CD6E59CA9F8}" srcId="{BD65F552-A5E5-4249-9CBC-19D6D585B1C8}" destId="{1E64B62C-144F-4D7B-8394-A0D79EE3A616}" srcOrd="0" destOrd="0" parTransId="{9F746E25-DC4F-4313-90F8-CE12AD326A68}" sibTransId="{13273040-6197-475C-94B9-DAEC2CF7B27C}"/>
    <dgm:cxn modelId="{55941CCF-CAD5-4880-B6D5-213D65974A9F}" type="presOf" srcId="{7B638EA0-321B-4FE1-ADE8-382F82C5FB87}" destId="{3552867E-F905-4DBE-8048-CE61605746FF}" srcOrd="0" destOrd="0" presId="urn:microsoft.com/office/officeart/2005/8/layout/radial1"/>
    <dgm:cxn modelId="{4AC75D9F-BBAA-4973-8508-48EBD9878E8D}" srcId="{1E64B62C-144F-4D7B-8394-A0D79EE3A616}" destId="{7B638EA0-321B-4FE1-ADE8-382F82C5FB87}" srcOrd="3" destOrd="0" parTransId="{A877AF46-36C4-4BF1-A559-0BB6470BC891}" sibTransId="{BD6BFBE5-E72E-4D35-A9BE-7216C6C37DAE}"/>
    <dgm:cxn modelId="{66E6C87E-5225-498A-B31B-3F4D41FE2894}" type="presOf" srcId="{A877AF46-36C4-4BF1-A559-0BB6470BC891}" destId="{5B9C6559-1236-4177-9757-01CB99CBAFC5}" srcOrd="1" destOrd="0" presId="urn:microsoft.com/office/officeart/2005/8/layout/radial1"/>
    <dgm:cxn modelId="{5A5D4555-C238-4A33-BE30-7FAD1A670265}" srcId="{1E64B62C-144F-4D7B-8394-A0D79EE3A616}" destId="{9A23AE7F-66FA-4FA4-8B2E-A7AD0185E9D8}" srcOrd="1" destOrd="0" parTransId="{8212805D-95C8-4A54-A96D-BF7AFB13D530}" sibTransId="{02279DFD-4FD3-4EE8-B441-0F5DF60CC46B}"/>
    <dgm:cxn modelId="{FC4697FA-3E74-471A-85C5-2EDB805F1081}" type="presOf" srcId="{B8A0D0B5-8CF5-4880-91FB-A701119AE6D1}" destId="{B913C037-C59B-42F0-8D95-3BFCA544B912}" srcOrd="0" destOrd="0" presId="urn:microsoft.com/office/officeart/2005/8/layout/radial1"/>
    <dgm:cxn modelId="{B87D631C-E8B3-4F85-BD00-6653FA0A7F39}" type="presOf" srcId="{8212805D-95C8-4A54-A96D-BF7AFB13D530}" destId="{3D7EB392-E32F-481C-8059-3113480CCC54}" srcOrd="0" destOrd="0" presId="urn:microsoft.com/office/officeart/2005/8/layout/radial1"/>
    <dgm:cxn modelId="{01546ED4-0ADE-4FE5-893B-5ED5C88920AE}" type="presOf" srcId="{03B6FB22-55CE-4A94-AA6B-F87EC2B6CA43}" destId="{7F569C10-8C60-4772-8736-E57A07D37081}" srcOrd="0" destOrd="0" presId="urn:microsoft.com/office/officeart/2005/8/layout/radial1"/>
    <dgm:cxn modelId="{D4373F00-44E8-4BE0-B76C-5991B07182CE}" type="presOf" srcId="{65E27EEC-4CB1-4229-9E8A-9404D445671A}" destId="{C391FCC8-135A-4D5C-9118-329F3D583C84}" srcOrd="0" destOrd="0" presId="urn:microsoft.com/office/officeart/2005/8/layout/radial1"/>
    <dgm:cxn modelId="{667DB87B-99D7-46A1-8056-5447C78A5567}" srcId="{1E64B62C-144F-4D7B-8394-A0D79EE3A616}" destId="{65E27EEC-4CB1-4229-9E8A-9404D445671A}" srcOrd="0" destOrd="0" parTransId="{A353B85A-E0B6-4309-92B4-59E030F380D8}" sibTransId="{544F7EB0-AF5A-440F-92A4-97EBA3B767C0}"/>
    <dgm:cxn modelId="{0416143A-E32E-496F-8A43-73FC487AFEF1}" type="presParOf" srcId="{0B6A2DBD-8620-40BF-AF4C-A7D1C15E6753}" destId="{E4638586-14CE-4551-AE94-5AD88F0A344A}" srcOrd="0" destOrd="0" presId="urn:microsoft.com/office/officeart/2005/8/layout/radial1"/>
    <dgm:cxn modelId="{0BA3A7E4-F1E2-4103-A80D-FD6FD6F698CE}" type="presParOf" srcId="{0B6A2DBD-8620-40BF-AF4C-A7D1C15E6753}" destId="{E559E437-2635-47DC-968E-E2A516FD7E58}" srcOrd="1" destOrd="0" presId="urn:microsoft.com/office/officeart/2005/8/layout/radial1"/>
    <dgm:cxn modelId="{91BFE061-CE90-46CB-B9FC-2FC9443D360B}" type="presParOf" srcId="{E559E437-2635-47DC-968E-E2A516FD7E58}" destId="{82B74CD0-D63E-47A0-8432-BCB61BF8983C}" srcOrd="0" destOrd="0" presId="urn:microsoft.com/office/officeart/2005/8/layout/radial1"/>
    <dgm:cxn modelId="{02EE1FC3-E918-4CFE-AEE9-675547AC99A5}" type="presParOf" srcId="{0B6A2DBD-8620-40BF-AF4C-A7D1C15E6753}" destId="{C391FCC8-135A-4D5C-9118-329F3D583C84}" srcOrd="2" destOrd="0" presId="urn:microsoft.com/office/officeart/2005/8/layout/radial1"/>
    <dgm:cxn modelId="{85CA14DC-9295-449C-8DCC-D30300981774}" type="presParOf" srcId="{0B6A2DBD-8620-40BF-AF4C-A7D1C15E6753}" destId="{3D7EB392-E32F-481C-8059-3113480CCC54}" srcOrd="3" destOrd="0" presId="urn:microsoft.com/office/officeart/2005/8/layout/radial1"/>
    <dgm:cxn modelId="{445BF0F8-A52C-4D1E-9903-CFCA2A2E60FA}" type="presParOf" srcId="{3D7EB392-E32F-481C-8059-3113480CCC54}" destId="{82CA6B04-6FFB-4C49-842B-60722236E948}" srcOrd="0" destOrd="0" presId="urn:microsoft.com/office/officeart/2005/8/layout/radial1"/>
    <dgm:cxn modelId="{1CE79599-3EB7-4A8B-9900-7367502277D5}" type="presParOf" srcId="{0B6A2DBD-8620-40BF-AF4C-A7D1C15E6753}" destId="{3380F5E0-79AE-486A-ADC0-68527F1A95A8}" srcOrd="4" destOrd="0" presId="urn:microsoft.com/office/officeart/2005/8/layout/radial1"/>
    <dgm:cxn modelId="{F9C48CB3-7BAD-432D-8D4F-B5365C98826B}" type="presParOf" srcId="{0B6A2DBD-8620-40BF-AF4C-A7D1C15E6753}" destId="{E031A50B-1BD3-47C5-9F8B-94009E89C7BC}" srcOrd="5" destOrd="0" presId="urn:microsoft.com/office/officeart/2005/8/layout/radial1"/>
    <dgm:cxn modelId="{7EA64EAB-DB10-44BD-B15E-C48FCA13E0A3}" type="presParOf" srcId="{E031A50B-1BD3-47C5-9F8B-94009E89C7BC}" destId="{C732DEE7-05B3-4E64-91AB-A774F899D78E}" srcOrd="0" destOrd="0" presId="urn:microsoft.com/office/officeart/2005/8/layout/radial1"/>
    <dgm:cxn modelId="{28E37D79-F891-46BE-A4C9-20F8FC2D6BFA}" type="presParOf" srcId="{0B6A2DBD-8620-40BF-AF4C-A7D1C15E6753}" destId="{CFD6F32A-117B-4A59-A711-CFF5A63BDB27}" srcOrd="6" destOrd="0" presId="urn:microsoft.com/office/officeart/2005/8/layout/radial1"/>
    <dgm:cxn modelId="{16A6E429-C865-46CE-BE10-DC196B524251}" type="presParOf" srcId="{0B6A2DBD-8620-40BF-AF4C-A7D1C15E6753}" destId="{1790F76A-DAD6-4589-BD16-0793ACA1709F}" srcOrd="7" destOrd="0" presId="urn:microsoft.com/office/officeart/2005/8/layout/radial1"/>
    <dgm:cxn modelId="{24CC5A7B-E48B-4D25-A070-556EBA462F64}" type="presParOf" srcId="{1790F76A-DAD6-4589-BD16-0793ACA1709F}" destId="{5B9C6559-1236-4177-9757-01CB99CBAFC5}" srcOrd="0" destOrd="0" presId="urn:microsoft.com/office/officeart/2005/8/layout/radial1"/>
    <dgm:cxn modelId="{53996BE2-2339-438A-BE23-EC7A11841D7E}" type="presParOf" srcId="{0B6A2DBD-8620-40BF-AF4C-A7D1C15E6753}" destId="{3552867E-F905-4DBE-8048-CE61605746FF}" srcOrd="8" destOrd="0" presId="urn:microsoft.com/office/officeart/2005/8/layout/radial1"/>
    <dgm:cxn modelId="{50878BC7-34DF-4F16-A572-73487B891854}" type="presParOf" srcId="{0B6A2DBD-8620-40BF-AF4C-A7D1C15E6753}" destId="{B913C037-C59B-42F0-8D95-3BFCA544B912}" srcOrd="9" destOrd="0" presId="urn:microsoft.com/office/officeart/2005/8/layout/radial1"/>
    <dgm:cxn modelId="{93BA9639-4982-4818-8342-A12E26F0AE4B}" type="presParOf" srcId="{B913C037-C59B-42F0-8D95-3BFCA544B912}" destId="{FC73A008-D456-4BF3-A168-984DF430736B}" srcOrd="0" destOrd="0" presId="urn:microsoft.com/office/officeart/2005/8/layout/radial1"/>
    <dgm:cxn modelId="{C3938736-06E9-4D32-8871-DDBDDD218249}" type="presParOf" srcId="{0B6A2DBD-8620-40BF-AF4C-A7D1C15E6753}" destId="{7F569C10-8C60-4772-8736-E57A07D37081}" srcOrd="10" destOrd="0" presId="urn:microsoft.com/office/officeart/2005/8/layout/radia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AC77BC-BF10-4FF3-A102-B0BF245FB41E}">
      <dsp:nvSpPr>
        <dsp:cNvPr id="0" name=""/>
        <dsp:cNvSpPr/>
      </dsp:nvSpPr>
      <dsp:spPr>
        <a:xfrm>
          <a:off x="2570791" y="1736"/>
          <a:ext cx="953908" cy="62004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zh-CN" altLang="en-US" sz="2000" kern="1200" dirty="0" smtClean="0"/>
            <a:t>产品</a:t>
          </a:r>
          <a:endParaRPr lang="zh-CN" altLang="en-US" sz="2000" kern="1200" dirty="0"/>
        </a:p>
      </dsp:txBody>
      <dsp:txXfrm>
        <a:off x="2601059" y="32004"/>
        <a:ext cx="893372" cy="559504"/>
      </dsp:txXfrm>
    </dsp:sp>
    <dsp:sp modelId="{34373352-17D2-4B37-A586-070CD74592E0}">
      <dsp:nvSpPr>
        <dsp:cNvPr id="0" name=""/>
        <dsp:cNvSpPr/>
      </dsp:nvSpPr>
      <dsp:spPr>
        <a:xfrm>
          <a:off x="1809365" y="311756"/>
          <a:ext cx="2476760" cy="2476760"/>
        </a:xfrm>
        <a:custGeom>
          <a:avLst/>
          <a:gdLst/>
          <a:ahLst/>
          <a:cxnLst/>
          <a:rect l="0" t="0" r="0" b="0"/>
          <a:pathLst>
            <a:path>
              <a:moveTo>
                <a:pt x="1721882" y="98287"/>
              </a:moveTo>
              <a:arcTo wR="1238380" hR="1238380" stAng="17578881" swAng="1960704"/>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2DF039C2-C04D-4B1C-B15B-280CAE5A0806}">
      <dsp:nvSpPr>
        <dsp:cNvPr id="0" name=""/>
        <dsp:cNvSpPr/>
      </dsp:nvSpPr>
      <dsp:spPr>
        <a:xfrm>
          <a:off x="3748561" y="857435"/>
          <a:ext cx="953908" cy="62004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zh-CN" altLang="en-US" sz="2000" kern="1200" dirty="0" smtClean="0"/>
            <a:t>开发</a:t>
          </a:r>
          <a:endParaRPr lang="zh-CN" altLang="en-US" sz="2000" kern="1200" dirty="0"/>
        </a:p>
      </dsp:txBody>
      <dsp:txXfrm>
        <a:off x="3778829" y="887703"/>
        <a:ext cx="893372" cy="559504"/>
      </dsp:txXfrm>
    </dsp:sp>
    <dsp:sp modelId="{9C680629-69AC-4964-A9A3-B0F7EB5DEA83}">
      <dsp:nvSpPr>
        <dsp:cNvPr id="0" name=""/>
        <dsp:cNvSpPr/>
      </dsp:nvSpPr>
      <dsp:spPr>
        <a:xfrm>
          <a:off x="1809365" y="311756"/>
          <a:ext cx="2476760" cy="2476760"/>
        </a:xfrm>
        <a:custGeom>
          <a:avLst/>
          <a:gdLst/>
          <a:ahLst/>
          <a:cxnLst/>
          <a:rect l="0" t="0" r="0" b="0"/>
          <a:pathLst>
            <a:path>
              <a:moveTo>
                <a:pt x="2475066" y="1173633"/>
              </a:moveTo>
              <a:arcTo wR="1238380" hR="1238380" stAng="21420182" swAng="2195662"/>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46674EB9-8F6C-4AAD-AC0D-A91BDB336BBA}">
      <dsp:nvSpPr>
        <dsp:cNvPr id="0" name=""/>
        <dsp:cNvSpPr/>
      </dsp:nvSpPr>
      <dsp:spPr>
        <a:xfrm>
          <a:off x="3298693" y="2241986"/>
          <a:ext cx="953908" cy="62004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zh-CN" altLang="en-US" sz="2000" kern="1200" dirty="0" smtClean="0"/>
            <a:t>测试</a:t>
          </a:r>
          <a:endParaRPr lang="zh-CN" altLang="en-US" sz="2000" kern="1200" dirty="0"/>
        </a:p>
      </dsp:txBody>
      <dsp:txXfrm>
        <a:off x="3328961" y="2272254"/>
        <a:ext cx="893372" cy="559504"/>
      </dsp:txXfrm>
    </dsp:sp>
    <dsp:sp modelId="{97AE82FD-5B54-4525-B6E1-6BF7865E9793}">
      <dsp:nvSpPr>
        <dsp:cNvPr id="0" name=""/>
        <dsp:cNvSpPr/>
      </dsp:nvSpPr>
      <dsp:spPr>
        <a:xfrm>
          <a:off x="1809365" y="311756"/>
          <a:ext cx="2476760" cy="2476760"/>
        </a:xfrm>
        <a:custGeom>
          <a:avLst/>
          <a:gdLst/>
          <a:ahLst/>
          <a:cxnLst/>
          <a:rect l="0" t="0" r="0" b="0"/>
          <a:pathLst>
            <a:path>
              <a:moveTo>
                <a:pt x="1484410" y="2452074"/>
              </a:moveTo>
              <a:arcTo wR="1238380" hR="1238380" stAng="4712445" swAng="1375111"/>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E14DA4AB-D080-4F73-80D0-8826D334C374}">
      <dsp:nvSpPr>
        <dsp:cNvPr id="0" name=""/>
        <dsp:cNvSpPr/>
      </dsp:nvSpPr>
      <dsp:spPr>
        <a:xfrm>
          <a:off x="1842890" y="2241986"/>
          <a:ext cx="953908" cy="62004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altLang="zh-CN" sz="2000" kern="1200" dirty="0" smtClean="0"/>
            <a:t>PM</a:t>
          </a:r>
          <a:endParaRPr lang="zh-CN" altLang="en-US" sz="2000" kern="1200" dirty="0"/>
        </a:p>
      </dsp:txBody>
      <dsp:txXfrm>
        <a:off x="1873158" y="2272254"/>
        <a:ext cx="893372" cy="559504"/>
      </dsp:txXfrm>
    </dsp:sp>
    <dsp:sp modelId="{198B6EE1-F25C-4CEB-8784-5D06BF4E02D1}">
      <dsp:nvSpPr>
        <dsp:cNvPr id="0" name=""/>
        <dsp:cNvSpPr/>
      </dsp:nvSpPr>
      <dsp:spPr>
        <a:xfrm>
          <a:off x="1809365" y="311756"/>
          <a:ext cx="2476760" cy="2476760"/>
        </a:xfrm>
        <a:custGeom>
          <a:avLst/>
          <a:gdLst/>
          <a:ahLst/>
          <a:cxnLst/>
          <a:rect l="0" t="0" r="0" b="0"/>
          <a:pathLst>
            <a:path>
              <a:moveTo>
                <a:pt x="206875" y="1923642"/>
              </a:moveTo>
              <a:arcTo wR="1238380" hR="1238380" stAng="8784156" swAng="2195662"/>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AE052426-9E23-4EE4-8414-C967615E9BE3}">
      <dsp:nvSpPr>
        <dsp:cNvPr id="0" name=""/>
        <dsp:cNvSpPr/>
      </dsp:nvSpPr>
      <dsp:spPr>
        <a:xfrm>
          <a:off x="1393022" y="857435"/>
          <a:ext cx="953908" cy="62004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zh-CN" altLang="en-US" sz="2000" kern="1200" dirty="0" smtClean="0"/>
            <a:t>运营</a:t>
          </a:r>
          <a:endParaRPr lang="zh-CN" altLang="en-US" sz="2000" kern="1200" dirty="0"/>
        </a:p>
      </dsp:txBody>
      <dsp:txXfrm>
        <a:off x="1423290" y="887703"/>
        <a:ext cx="893372" cy="559504"/>
      </dsp:txXfrm>
    </dsp:sp>
    <dsp:sp modelId="{E809B6CB-198F-46FB-A737-E34DEF24DF9E}">
      <dsp:nvSpPr>
        <dsp:cNvPr id="0" name=""/>
        <dsp:cNvSpPr/>
      </dsp:nvSpPr>
      <dsp:spPr>
        <a:xfrm>
          <a:off x="1809365" y="311756"/>
          <a:ext cx="2476760" cy="2476760"/>
        </a:xfrm>
        <a:custGeom>
          <a:avLst/>
          <a:gdLst/>
          <a:ahLst/>
          <a:cxnLst/>
          <a:rect l="0" t="0" r="0" b="0"/>
          <a:pathLst>
            <a:path>
              <a:moveTo>
                <a:pt x="215846" y="539802"/>
              </a:moveTo>
              <a:arcTo wR="1238380" hR="1238380" stAng="12860415" swAng="1960704"/>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FBB76F-D064-4181-838F-7443906EC3CE}">
      <dsp:nvSpPr>
        <dsp:cNvPr id="0" name=""/>
        <dsp:cNvSpPr/>
      </dsp:nvSpPr>
      <dsp:spPr>
        <a:xfrm>
          <a:off x="3276422" y="0"/>
          <a:ext cx="1638211" cy="1117057"/>
        </a:xfrm>
        <a:prstGeom prst="trapezoid">
          <a:avLst>
            <a:gd name="adj" fmla="val 73327"/>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altLang="zh-CN" sz="1800" kern="1200" dirty="0" smtClean="0"/>
            <a:t> </a:t>
          </a:r>
          <a:endParaRPr lang="zh-CN" altLang="en-US" sz="1800" kern="1200" dirty="0"/>
        </a:p>
      </dsp:txBody>
      <dsp:txXfrm>
        <a:off x="3276422" y="0"/>
        <a:ext cx="1638211" cy="1117057"/>
      </dsp:txXfrm>
    </dsp:sp>
    <dsp:sp modelId="{162D197D-FD5E-44FD-98B8-9983B2308256}">
      <dsp:nvSpPr>
        <dsp:cNvPr id="0" name=""/>
        <dsp:cNvSpPr/>
      </dsp:nvSpPr>
      <dsp:spPr>
        <a:xfrm>
          <a:off x="2457316" y="1117057"/>
          <a:ext cx="3276422" cy="1117057"/>
        </a:xfrm>
        <a:prstGeom prst="trapezoid">
          <a:avLst>
            <a:gd name="adj" fmla="val 73327"/>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zh-CN" altLang="en-US" sz="1800" b="1" kern="1200" dirty="0" smtClean="0">
              <a:solidFill>
                <a:schemeClr val="bg1"/>
              </a:solidFill>
            </a:rPr>
            <a:t>应对各项变化，能以</a:t>
          </a:r>
          <a:r>
            <a:rPr lang="zh-CN" altLang="en-US" sz="1800" b="1" kern="1200" dirty="0" smtClean="0">
              <a:solidFill>
                <a:srgbClr val="FFFF00"/>
              </a:solidFill>
            </a:rPr>
            <a:t>最小的代价进行调整</a:t>
          </a:r>
          <a:endParaRPr lang="zh-CN" altLang="en-US" sz="1800" b="1" kern="1200" dirty="0">
            <a:solidFill>
              <a:srgbClr val="FFFF00"/>
            </a:solidFill>
          </a:endParaRPr>
        </a:p>
      </dsp:txBody>
      <dsp:txXfrm>
        <a:off x="3030690" y="1117057"/>
        <a:ext cx="2129674" cy="1117057"/>
      </dsp:txXfrm>
    </dsp:sp>
    <dsp:sp modelId="{7F8080B5-55F6-455C-B7C3-35BEFC1AA1BB}">
      <dsp:nvSpPr>
        <dsp:cNvPr id="0" name=""/>
        <dsp:cNvSpPr/>
      </dsp:nvSpPr>
      <dsp:spPr>
        <a:xfrm>
          <a:off x="1638211" y="2234114"/>
          <a:ext cx="4914633" cy="1117057"/>
        </a:xfrm>
        <a:prstGeom prst="trapezoid">
          <a:avLst>
            <a:gd name="adj" fmla="val 73327"/>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zh-CN" altLang="en-US" sz="1800" b="1" kern="1200" dirty="0" smtClean="0">
              <a:solidFill>
                <a:schemeClr val="bg1"/>
              </a:solidFill>
            </a:rPr>
            <a:t>能很好的兼顾多数非功能性需求，以及能</a:t>
          </a:r>
          <a:r>
            <a:rPr lang="zh-CN" altLang="en-US" sz="1800" b="1" kern="1200" dirty="0" smtClean="0">
              <a:solidFill>
                <a:srgbClr val="FFFF00"/>
              </a:solidFill>
            </a:rPr>
            <a:t>满足各项利益相关者的需求</a:t>
          </a:r>
          <a:endParaRPr lang="zh-CN" altLang="en-US" sz="1800" b="1" kern="1200" dirty="0">
            <a:solidFill>
              <a:srgbClr val="FFFF00"/>
            </a:solidFill>
          </a:endParaRPr>
        </a:p>
      </dsp:txBody>
      <dsp:txXfrm>
        <a:off x="2498271" y="2234114"/>
        <a:ext cx="3194511" cy="1117057"/>
      </dsp:txXfrm>
    </dsp:sp>
    <dsp:sp modelId="{0FB69563-F3AF-4F22-ADCC-3A0CB9FBD1F0}">
      <dsp:nvSpPr>
        <dsp:cNvPr id="0" name=""/>
        <dsp:cNvSpPr/>
      </dsp:nvSpPr>
      <dsp:spPr>
        <a:xfrm>
          <a:off x="819105" y="3351172"/>
          <a:ext cx="6552844" cy="1117057"/>
        </a:xfrm>
        <a:prstGeom prst="trapezoid">
          <a:avLst>
            <a:gd name="adj" fmla="val 73327"/>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zh-CN" altLang="en-US" sz="1800" b="1" kern="1200" dirty="0" smtClean="0">
              <a:solidFill>
                <a:srgbClr val="FFFF00"/>
              </a:solidFill>
            </a:rPr>
            <a:t>遵守一定的设计原则</a:t>
          </a:r>
          <a:r>
            <a:rPr lang="zh-CN" altLang="en-US" sz="1800" b="1" kern="1200" dirty="0" smtClean="0">
              <a:solidFill>
                <a:schemeClr val="bg1"/>
              </a:solidFill>
            </a:rPr>
            <a:t>，整体结构、逻辑流程清晰，模块间拆分组合灵活，明确做什么和如何做</a:t>
          </a:r>
          <a:endParaRPr lang="zh-CN" altLang="en-US" sz="1800" b="1" kern="1200" dirty="0">
            <a:solidFill>
              <a:schemeClr val="bg1"/>
            </a:solidFill>
          </a:endParaRPr>
        </a:p>
      </dsp:txBody>
      <dsp:txXfrm>
        <a:off x="1965853" y="3351172"/>
        <a:ext cx="4259348" cy="1117057"/>
      </dsp:txXfrm>
    </dsp:sp>
    <dsp:sp modelId="{A590048D-ED6D-47E3-966E-50D4ED68065F}">
      <dsp:nvSpPr>
        <dsp:cNvPr id="0" name=""/>
        <dsp:cNvSpPr/>
      </dsp:nvSpPr>
      <dsp:spPr>
        <a:xfrm>
          <a:off x="0" y="4468229"/>
          <a:ext cx="8191055" cy="1117057"/>
        </a:xfrm>
        <a:prstGeom prst="trapezoid">
          <a:avLst>
            <a:gd name="adj" fmla="val 73327"/>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zh-CN" altLang="en-US" sz="1800" b="1" kern="1200" dirty="0" smtClean="0">
              <a:solidFill>
                <a:schemeClr val="bg1"/>
              </a:solidFill>
            </a:rPr>
            <a:t>由开发人员设计输出的，能基本</a:t>
          </a:r>
          <a:r>
            <a:rPr lang="zh-CN" altLang="en-US" sz="1800" b="1" kern="1200" dirty="0" smtClean="0">
              <a:solidFill>
                <a:srgbClr val="FFFF00"/>
              </a:solidFill>
            </a:rPr>
            <a:t>解决对应业务场景问题</a:t>
          </a:r>
          <a:r>
            <a:rPr lang="zh-CN" altLang="en-US" sz="1800" b="1" kern="1200" dirty="0" smtClean="0">
              <a:solidFill>
                <a:schemeClr val="bg1"/>
              </a:solidFill>
            </a:rPr>
            <a:t>的软件系统的结构与组成的描述，</a:t>
          </a:r>
          <a:endParaRPr lang="zh-CN" altLang="en-US" sz="1800" b="1" kern="1200" dirty="0">
            <a:solidFill>
              <a:schemeClr val="bg1"/>
            </a:solidFill>
          </a:endParaRPr>
        </a:p>
      </dsp:txBody>
      <dsp:txXfrm>
        <a:off x="1433434" y="4468229"/>
        <a:ext cx="5324185" cy="111705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638586-14CE-4551-AE94-5AD88F0A344A}">
      <dsp:nvSpPr>
        <dsp:cNvPr id="0" name=""/>
        <dsp:cNvSpPr/>
      </dsp:nvSpPr>
      <dsp:spPr>
        <a:xfrm>
          <a:off x="3126840" y="1835865"/>
          <a:ext cx="1395161" cy="139516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zh-CN" altLang="en-US" sz="1800" kern="1200" smtClean="0">
              <a:latin typeface="Arial"/>
              <a:ea typeface="Microsoft YaHei"/>
              <a:cs typeface="+mn-ea"/>
              <a:sym typeface="Arial"/>
            </a:rPr>
            <a:t>面向对象五大原则</a:t>
          </a:r>
          <a:endParaRPr lang="zh-CN" altLang="en-US" sz="1800" kern="1200" dirty="0">
            <a:latin typeface="Arial"/>
            <a:ea typeface="Microsoft YaHei"/>
            <a:cs typeface="+mn-ea"/>
            <a:sym typeface="Arial"/>
          </a:endParaRPr>
        </a:p>
      </dsp:txBody>
      <dsp:txXfrm>
        <a:off x="3331157" y="2040182"/>
        <a:ext cx="986527" cy="986527"/>
      </dsp:txXfrm>
    </dsp:sp>
    <dsp:sp modelId="{E559E437-2635-47DC-968E-E2A516FD7E58}">
      <dsp:nvSpPr>
        <dsp:cNvPr id="0" name=""/>
        <dsp:cNvSpPr/>
      </dsp:nvSpPr>
      <dsp:spPr>
        <a:xfrm rot="16200000">
          <a:off x="3613603" y="1608632"/>
          <a:ext cx="421634" cy="32832"/>
        </a:xfrm>
        <a:custGeom>
          <a:avLst/>
          <a:gdLst/>
          <a:ahLst/>
          <a:cxnLst/>
          <a:rect l="0" t="0" r="0" b="0"/>
          <a:pathLst>
            <a:path>
              <a:moveTo>
                <a:pt x="0" y="16416"/>
              </a:moveTo>
              <a:lnTo>
                <a:pt x="421634" y="1641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a:off x="3813880" y="1614507"/>
        <a:ext cx="21081" cy="21081"/>
      </dsp:txXfrm>
    </dsp:sp>
    <dsp:sp modelId="{C391FCC8-135A-4D5C-9118-329F3D583C84}">
      <dsp:nvSpPr>
        <dsp:cNvPr id="0" name=""/>
        <dsp:cNvSpPr/>
      </dsp:nvSpPr>
      <dsp:spPr>
        <a:xfrm>
          <a:off x="3126840" y="19069"/>
          <a:ext cx="1395161" cy="139516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1066800">
            <a:lnSpc>
              <a:spcPct val="90000"/>
            </a:lnSpc>
            <a:spcBef>
              <a:spcPct val="0"/>
            </a:spcBef>
            <a:spcAft>
              <a:spcPct val="35000"/>
            </a:spcAft>
          </a:pPr>
          <a:r>
            <a:rPr lang="en-US" altLang="zh-CN" sz="2400" kern="1200" dirty="0" smtClean="0">
              <a:latin typeface="Arial"/>
              <a:ea typeface="Microsoft YaHei"/>
              <a:cs typeface="+mn-ea"/>
              <a:sym typeface="Arial"/>
            </a:rPr>
            <a:t>S:</a:t>
          </a:r>
          <a:r>
            <a:rPr lang="zh-CN" altLang="en-US" sz="2400" kern="1200" dirty="0" smtClean="0">
              <a:latin typeface="Arial"/>
              <a:ea typeface="Microsoft YaHei"/>
              <a:cs typeface="+mn-ea"/>
              <a:sym typeface="Arial"/>
            </a:rPr>
            <a:t>单一职责</a:t>
          </a:r>
          <a:endParaRPr lang="zh-CN" altLang="en-US" sz="2400" kern="1200" dirty="0">
            <a:latin typeface="Arial"/>
            <a:ea typeface="Microsoft YaHei"/>
            <a:cs typeface="+mn-ea"/>
            <a:sym typeface="Arial"/>
          </a:endParaRPr>
        </a:p>
      </dsp:txBody>
      <dsp:txXfrm>
        <a:off x="3331157" y="223386"/>
        <a:ext cx="986527" cy="986527"/>
      </dsp:txXfrm>
    </dsp:sp>
    <dsp:sp modelId="{3D7EB392-E32F-481C-8059-3113480CCC54}">
      <dsp:nvSpPr>
        <dsp:cNvPr id="0" name=""/>
        <dsp:cNvSpPr/>
      </dsp:nvSpPr>
      <dsp:spPr>
        <a:xfrm rot="20520000">
          <a:off x="4477541" y="2236320"/>
          <a:ext cx="421634" cy="32832"/>
        </a:xfrm>
        <a:custGeom>
          <a:avLst/>
          <a:gdLst/>
          <a:ahLst/>
          <a:cxnLst/>
          <a:rect l="0" t="0" r="0" b="0"/>
          <a:pathLst>
            <a:path>
              <a:moveTo>
                <a:pt x="0" y="16416"/>
              </a:moveTo>
              <a:lnTo>
                <a:pt x="421634" y="1641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a:off x="4677818" y="2242195"/>
        <a:ext cx="21081" cy="21081"/>
      </dsp:txXfrm>
    </dsp:sp>
    <dsp:sp modelId="{3380F5E0-79AE-486A-ADC0-68527F1A95A8}">
      <dsp:nvSpPr>
        <dsp:cNvPr id="0" name=""/>
        <dsp:cNvSpPr/>
      </dsp:nvSpPr>
      <dsp:spPr>
        <a:xfrm>
          <a:off x="4854716" y="1274444"/>
          <a:ext cx="1395161" cy="139516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1066800">
            <a:lnSpc>
              <a:spcPct val="90000"/>
            </a:lnSpc>
            <a:spcBef>
              <a:spcPct val="0"/>
            </a:spcBef>
            <a:spcAft>
              <a:spcPct val="35000"/>
            </a:spcAft>
          </a:pPr>
          <a:r>
            <a:rPr lang="en-US" altLang="zh-CN" sz="2400" kern="1200" dirty="0" smtClean="0">
              <a:latin typeface="Arial"/>
              <a:ea typeface="Microsoft YaHei"/>
              <a:cs typeface="+mn-ea"/>
              <a:sym typeface="Arial"/>
            </a:rPr>
            <a:t>O:</a:t>
          </a:r>
          <a:r>
            <a:rPr lang="zh-CN" altLang="en-US" sz="2400" kern="1200" dirty="0" smtClean="0">
              <a:latin typeface="Arial"/>
              <a:ea typeface="Microsoft YaHei"/>
              <a:cs typeface="+mn-ea"/>
              <a:sym typeface="Arial"/>
            </a:rPr>
            <a:t>开闭</a:t>
          </a:r>
          <a:endParaRPr lang="zh-CN" altLang="en-US" sz="2400" kern="1200" dirty="0">
            <a:latin typeface="Arial"/>
            <a:ea typeface="Microsoft YaHei"/>
            <a:cs typeface="+mn-ea"/>
            <a:sym typeface="Arial"/>
          </a:endParaRPr>
        </a:p>
      </dsp:txBody>
      <dsp:txXfrm>
        <a:off x="5059033" y="1478761"/>
        <a:ext cx="986527" cy="986527"/>
      </dsp:txXfrm>
    </dsp:sp>
    <dsp:sp modelId="{E031A50B-1BD3-47C5-9F8B-94009E89C7BC}">
      <dsp:nvSpPr>
        <dsp:cNvPr id="0" name=""/>
        <dsp:cNvSpPr/>
      </dsp:nvSpPr>
      <dsp:spPr>
        <a:xfrm rot="3240000">
          <a:off x="4147546" y="3251939"/>
          <a:ext cx="421634" cy="32832"/>
        </a:xfrm>
        <a:custGeom>
          <a:avLst/>
          <a:gdLst/>
          <a:ahLst/>
          <a:cxnLst/>
          <a:rect l="0" t="0" r="0" b="0"/>
          <a:pathLst>
            <a:path>
              <a:moveTo>
                <a:pt x="0" y="16416"/>
              </a:moveTo>
              <a:lnTo>
                <a:pt x="421634" y="1641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a:off x="4347823" y="3257815"/>
        <a:ext cx="21081" cy="21081"/>
      </dsp:txXfrm>
    </dsp:sp>
    <dsp:sp modelId="{CFD6F32A-117B-4A59-A711-CFF5A63BDB27}">
      <dsp:nvSpPr>
        <dsp:cNvPr id="0" name=""/>
        <dsp:cNvSpPr/>
      </dsp:nvSpPr>
      <dsp:spPr>
        <a:xfrm>
          <a:off x="4194726" y="3305684"/>
          <a:ext cx="1395161" cy="139516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1066800">
            <a:lnSpc>
              <a:spcPct val="90000"/>
            </a:lnSpc>
            <a:spcBef>
              <a:spcPct val="0"/>
            </a:spcBef>
            <a:spcAft>
              <a:spcPct val="35000"/>
            </a:spcAft>
          </a:pPr>
          <a:r>
            <a:rPr lang="en-US" altLang="zh-CN" sz="2400" kern="1200" dirty="0" smtClean="0">
              <a:latin typeface="Arial"/>
              <a:ea typeface="Microsoft YaHei"/>
              <a:cs typeface="+mn-ea"/>
              <a:sym typeface="Arial"/>
            </a:rPr>
            <a:t>L</a:t>
          </a:r>
          <a:r>
            <a:rPr lang="zh-CN" altLang="en-US" sz="2400" kern="1200" dirty="0" smtClean="0">
              <a:latin typeface="Arial"/>
              <a:ea typeface="Microsoft YaHei"/>
              <a:cs typeface="+mn-ea"/>
              <a:sym typeface="Arial"/>
            </a:rPr>
            <a:t>：里氏替换</a:t>
          </a:r>
          <a:endParaRPr lang="zh-CN" altLang="en-US" sz="2400" kern="1200" dirty="0">
            <a:latin typeface="Arial"/>
            <a:ea typeface="Microsoft YaHei"/>
            <a:cs typeface="+mn-ea"/>
            <a:sym typeface="Arial"/>
          </a:endParaRPr>
        </a:p>
      </dsp:txBody>
      <dsp:txXfrm>
        <a:off x="4399043" y="3510001"/>
        <a:ext cx="986527" cy="986527"/>
      </dsp:txXfrm>
    </dsp:sp>
    <dsp:sp modelId="{1790F76A-DAD6-4589-BD16-0793ACA1709F}">
      <dsp:nvSpPr>
        <dsp:cNvPr id="0" name=""/>
        <dsp:cNvSpPr/>
      </dsp:nvSpPr>
      <dsp:spPr>
        <a:xfrm rot="7560000">
          <a:off x="3079660" y="3251939"/>
          <a:ext cx="421634" cy="32832"/>
        </a:xfrm>
        <a:custGeom>
          <a:avLst/>
          <a:gdLst/>
          <a:ahLst/>
          <a:cxnLst/>
          <a:rect l="0" t="0" r="0" b="0"/>
          <a:pathLst>
            <a:path>
              <a:moveTo>
                <a:pt x="0" y="16416"/>
              </a:moveTo>
              <a:lnTo>
                <a:pt x="421634" y="1641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rot="10800000">
        <a:off x="3279937" y="3257815"/>
        <a:ext cx="21081" cy="21081"/>
      </dsp:txXfrm>
    </dsp:sp>
    <dsp:sp modelId="{3552867E-F905-4DBE-8048-CE61605746FF}">
      <dsp:nvSpPr>
        <dsp:cNvPr id="0" name=""/>
        <dsp:cNvSpPr/>
      </dsp:nvSpPr>
      <dsp:spPr>
        <a:xfrm>
          <a:off x="2058954" y="3305684"/>
          <a:ext cx="1395161" cy="139516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1066800">
            <a:lnSpc>
              <a:spcPct val="90000"/>
            </a:lnSpc>
            <a:spcBef>
              <a:spcPct val="0"/>
            </a:spcBef>
            <a:spcAft>
              <a:spcPct val="35000"/>
            </a:spcAft>
          </a:pPr>
          <a:r>
            <a:rPr lang="en-US" altLang="zh-CN" sz="2400" kern="1200" dirty="0" smtClean="0">
              <a:latin typeface="Arial"/>
              <a:ea typeface="Microsoft YaHei"/>
              <a:cs typeface="+mn-ea"/>
              <a:sym typeface="Arial"/>
            </a:rPr>
            <a:t>I</a:t>
          </a:r>
          <a:r>
            <a:rPr lang="zh-CN" altLang="en-US" sz="2400" kern="1200" dirty="0" smtClean="0">
              <a:latin typeface="Arial"/>
              <a:ea typeface="Microsoft YaHei"/>
              <a:cs typeface="+mn-ea"/>
              <a:sym typeface="Arial"/>
            </a:rPr>
            <a:t>：接口隔离</a:t>
          </a:r>
          <a:endParaRPr lang="zh-CN" altLang="en-US" sz="2400" kern="1200" dirty="0">
            <a:latin typeface="Arial"/>
            <a:ea typeface="Microsoft YaHei"/>
            <a:cs typeface="+mn-ea"/>
            <a:sym typeface="Arial"/>
          </a:endParaRPr>
        </a:p>
      </dsp:txBody>
      <dsp:txXfrm>
        <a:off x="2263271" y="3510001"/>
        <a:ext cx="986527" cy="986527"/>
      </dsp:txXfrm>
    </dsp:sp>
    <dsp:sp modelId="{B913C037-C59B-42F0-8D95-3BFCA544B912}">
      <dsp:nvSpPr>
        <dsp:cNvPr id="0" name=""/>
        <dsp:cNvSpPr/>
      </dsp:nvSpPr>
      <dsp:spPr>
        <a:xfrm rot="11880000">
          <a:off x="2749665" y="2236320"/>
          <a:ext cx="421634" cy="32832"/>
        </a:xfrm>
        <a:custGeom>
          <a:avLst/>
          <a:gdLst/>
          <a:ahLst/>
          <a:cxnLst/>
          <a:rect l="0" t="0" r="0" b="0"/>
          <a:pathLst>
            <a:path>
              <a:moveTo>
                <a:pt x="0" y="16416"/>
              </a:moveTo>
              <a:lnTo>
                <a:pt x="421634" y="1641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rot="10800000">
        <a:off x="2949942" y="2242195"/>
        <a:ext cx="21081" cy="21081"/>
      </dsp:txXfrm>
    </dsp:sp>
    <dsp:sp modelId="{7F569C10-8C60-4772-8736-E57A07D37081}">
      <dsp:nvSpPr>
        <dsp:cNvPr id="0" name=""/>
        <dsp:cNvSpPr/>
      </dsp:nvSpPr>
      <dsp:spPr>
        <a:xfrm>
          <a:off x="1398964" y="1274444"/>
          <a:ext cx="1395161" cy="139516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1066800">
            <a:lnSpc>
              <a:spcPct val="90000"/>
            </a:lnSpc>
            <a:spcBef>
              <a:spcPct val="0"/>
            </a:spcBef>
            <a:spcAft>
              <a:spcPct val="35000"/>
            </a:spcAft>
          </a:pPr>
          <a:r>
            <a:rPr lang="en-US" altLang="zh-CN" sz="2400" kern="1200" dirty="0" smtClean="0">
              <a:latin typeface="Arial"/>
              <a:ea typeface="Microsoft YaHei"/>
              <a:cs typeface="+mn-ea"/>
              <a:sym typeface="Arial"/>
            </a:rPr>
            <a:t>D:</a:t>
          </a:r>
          <a:r>
            <a:rPr lang="zh-CN" altLang="en-US" sz="2400" kern="1200" dirty="0" smtClean="0">
              <a:latin typeface="Arial"/>
              <a:ea typeface="Microsoft YaHei"/>
              <a:cs typeface="+mn-ea"/>
              <a:sym typeface="Arial"/>
            </a:rPr>
            <a:t>依赖倒置</a:t>
          </a:r>
          <a:endParaRPr lang="zh-CN" altLang="en-US" sz="2400" kern="1200" dirty="0">
            <a:latin typeface="Arial"/>
            <a:ea typeface="Microsoft YaHei"/>
            <a:cs typeface="+mn-ea"/>
            <a:sym typeface="Arial"/>
          </a:endParaRPr>
        </a:p>
      </dsp:txBody>
      <dsp:txXfrm>
        <a:off x="1603281" y="1478761"/>
        <a:ext cx="986527" cy="986527"/>
      </dsp:txXfrm>
    </dsp:sp>
  </dsp:spTree>
</dsp:drawing>
</file>

<file path=ppt/diagrams/layout1.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19/1/23</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3" Type="http://schemas.openxmlformats.org/officeDocument/2006/relationships/hyperlink" Target="https://en.wikipedia.org/wiki/Model%E2%80%93view%E2%80%93controller" TargetMode="External"/><Relationship Id="rId2" Type="http://schemas.openxmlformats.org/officeDocument/2006/relationships/slide" Target="../slides/slide114.xml"/><Relationship Id="rId1" Type="http://schemas.openxmlformats.org/officeDocument/2006/relationships/notesMaster" Target="../notesMasters/notesMaster1.xml"/><Relationship Id="rId4" Type="http://schemas.openxmlformats.org/officeDocument/2006/relationships/hyperlink" Target="https://en.wikipedia.org/wiki/Model%E2%80%93view%E2%80%93presenter" TargetMode="Externa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200" dirty="0" smtClean="0">
                <a:latin typeface="Arial" panose="020B0604020202020204" pitchFamily="34" charset="0"/>
                <a:ea typeface="Microsoft YaHei" panose="020B0503020204020204" pitchFamily="34" charset="-122"/>
                <a:cs typeface="+mn-ea"/>
                <a:sym typeface="Arial" panose="020B0604020202020204" pitchFamily="34" charset="0"/>
              </a:rPr>
              <a:t>程序猿的梦想：给出安全稳定的代码</a:t>
            </a:r>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1</a:t>
            </a:fld>
            <a:endParaRPr lang="zh-CN" altLang="en-US"/>
          </a:p>
        </p:txBody>
      </p:sp>
    </p:spTree>
    <p:extLst>
      <p:ext uri="{BB962C8B-B14F-4D97-AF65-F5344CB8AC3E}">
        <p14:creationId xmlns:p14="http://schemas.microsoft.com/office/powerpoint/2010/main" val="37980513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E6FDB6-6D2B-46C1-9FA1-D82906A37C3A}" type="slidenum">
              <a:rPr lang="zh-CN" altLang="en-US" smtClean="0"/>
              <a:t>12</a:t>
            </a:fld>
            <a:endParaRPr lang="zh-CN" altLang="en-US"/>
          </a:p>
        </p:txBody>
      </p:sp>
    </p:spTree>
    <p:extLst>
      <p:ext uri="{BB962C8B-B14F-4D97-AF65-F5344CB8AC3E}">
        <p14:creationId xmlns:p14="http://schemas.microsoft.com/office/powerpoint/2010/main" val="3938279333"/>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200" b="0" i="0" kern="1200" dirty="0" smtClean="0">
                <a:solidFill>
                  <a:schemeClr val="tx1"/>
                </a:solidFill>
                <a:effectLst/>
                <a:latin typeface="+mn-lt"/>
                <a:ea typeface="+mn-ea"/>
                <a:cs typeface="+mn-cs"/>
              </a:rPr>
              <a:t>中介者模式</a:t>
            </a:r>
            <a:r>
              <a:rPr lang="en-US" altLang="zh-CN" sz="1200" b="0" i="0" kern="1200" dirty="0" smtClean="0">
                <a:solidFill>
                  <a:schemeClr val="tx1"/>
                </a:solidFill>
                <a:effectLst/>
                <a:latin typeface="+mn-lt"/>
                <a:ea typeface="+mn-ea"/>
                <a:cs typeface="+mn-cs"/>
              </a:rPr>
              <a:t>(Mediator Pattern)</a:t>
            </a:r>
            <a:r>
              <a:rPr lang="zh-CN" altLang="en-US" sz="1200" b="0" i="0" kern="1200" dirty="0" smtClean="0">
                <a:solidFill>
                  <a:schemeClr val="tx1"/>
                </a:solidFill>
                <a:effectLst/>
                <a:latin typeface="+mn-lt"/>
                <a:ea typeface="+mn-ea"/>
                <a:cs typeface="+mn-cs"/>
              </a:rPr>
              <a:t>定义：用一个中介对象来封装一系列的对象交互，中介者使各对象不需要显式地相互引用，从而使其耦合松散，而且可以独立地改变它们之间的交互。中介者模式又称为调停者模式，它是一种对象行为型模式。</a:t>
            </a:r>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106</a:t>
            </a:fld>
            <a:endParaRPr lang="zh-CN" altLang="en-US"/>
          </a:p>
        </p:txBody>
      </p:sp>
    </p:spTree>
    <p:extLst>
      <p:ext uri="{BB962C8B-B14F-4D97-AF65-F5344CB8AC3E}">
        <p14:creationId xmlns:p14="http://schemas.microsoft.com/office/powerpoint/2010/main" val="1745415642"/>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200" b="0" i="0" kern="1200" dirty="0" smtClean="0">
                <a:solidFill>
                  <a:schemeClr val="tx1"/>
                </a:solidFill>
                <a:effectLst/>
                <a:latin typeface="+mn-lt"/>
                <a:ea typeface="+mn-ea"/>
                <a:cs typeface="+mn-cs"/>
              </a:rPr>
              <a:t>中介者模式</a:t>
            </a:r>
            <a:r>
              <a:rPr lang="en-US" altLang="zh-CN" sz="1200" b="0" i="0" kern="1200" dirty="0" smtClean="0">
                <a:solidFill>
                  <a:schemeClr val="tx1"/>
                </a:solidFill>
                <a:effectLst/>
                <a:latin typeface="+mn-lt"/>
                <a:ea typeface="+mn-ea"/>
                <a:cs typeface="+mn-cs"/>
              </a:rPr>
              <a:t>(Mediator Pattern)</a:t>
            </a:r>
            <a:r>
              <a:rPr lang="zh-CN" altLang="en-US" sz="1200" b="0" i="0" kern="1200" dirty="0" smtClean="0">
                <a:solidFill>
                  <a:schemeClr val="tx1"/>
                </a:solidFill>
                <a:effectLst/>
                <a:latin typeface="+mn-lt"/>
                <a:ea typeface="+mn-ea"/>
                <a:cs typeface="+mn-cs"/>
              </a:rPr>
              <a:t>定义：用一个中介对象来封装一系列的对象交互，中介者使各对象不需要显式地相互引用，从而使其耦合松散，而且可以独立地改变它们之间的交互。中介者模式又称为调停者模式，它是一种对象行为型模式。</a:t>
            </a:r>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107</a:t>
            </a:fld>
            <a:endParaRPr lang="zh-CN" altLang="en-US"/>
          </a:p>
        </p:txBody>
      </p:sp>
    </p:spTree>
    <p:extLst>
      <p:ext uri="{BB962C8B-B14F-4D97-AF65-F5344CB8AC3E}">
        <p14:creationId xmlns:p14="http://schemas.microsoft.com/office/powerpoint/2010/main" val="3820123486"/>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200" b="0" i="0" kern="1200" dirty="0" smtClean="0">
                <a:solidFill>
                  <a:schemeClr val="tx1"/>
                </a:solidFill>
                <a:effectLst/>
                <a:latin typeface="+mn-lt"/>
                <a:ea typeface="+mn-ea"/>
                <a:cs typeface="+mn-cs"/>
              </a:rPr>
              <a:t>中介者模式</a:t>
            </a:r>
            <a:r>
              <a:rPr lang="en-US" altLang="zh-CN" sz="1200" b="0" i="0" kern="1200" dirty="0" smtClean="0">
                <a:solidFill>
                  <a:schemeClr val="tx1"/>
                </a:solidFill>
                <a:effectLst/>
                <a:latin typeface="+mn-lt"/>
                <a:ea typeface="+mn-ea"/>
                <a:cs typeface="+mn-cs"/>
              </a:rPr>
              <a:t>(Mediator Pattern)</a:t>
            </a:r>
            <a:r>
              <a:rPr lang="zh-CN" altLang="en-US" sz="1200" b="0" i="0" kern="1200" dirty="0" smtClean="0">
                <a:solidFill>
                  <a:schemeClr val="tx1"/>
                </a:solidFill>
                <a:effectLst/>
                <a:latin typeface="+mn-lt"/>
                <a:ea typeface="+mn-ea"/>
                <a:cs typeface="+mn-cs"/>
              </a:rPr>
              <a:t>定义：用一个中介对象来封装一系列的对象交互，中介者使各对象不需要显式地相互引用，从而使其耦合松散，而且可以独立地改变它们之间的交互。中介者模式又称为调停者模式，它是一种对象行为型模式。</a:t>
            </a:r>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108</a:t>
            </a:fld>
            <a:endParaRPr lang="zh-CN" altLang="en-US"/>
          </a:p>
        </p:txBody>
      </p:sp>
    </p:spTree>
    <p:extLst>
      <p:ext uri="{BB962C8B-B14F-4D97-AF65-F5344CB8AC3E}">
        <p14:creationId xmlns:p14="http://schemas.microsoft.com/office/powerpoint/2010/main" val="1923335233"/>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200" b="0" i="0" kern="1200" dirty="0" smtClean="0">
                <a:solidFill>
                  <a:schemeClr val="tx1"/>
                </a:solidFill>
                <a:effectLst/>
                <a:latin typeface="+mn-lt"/>
                <a:ea typeface="+mn-ea"/>
                <a:cs typeface="+mn-cs"/>
              </a:rPr>
              <a:t>解释器模式使用比较少，不讲</a:t>
            </a:r>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109</a:t>
            </a:fld>
            <a:endParaRPr lang="zh-CN" altLang="en-US"/>
          </a:p>
        </p:txBody>
      </p:sp>
    </p:spTree>
    <p:extLst>
      <p:ext uri="{BB962C8B-B14F-4D97-AF65-F5344CB8AC3E}">
        <p14:creationId xmlns:p14="http://schemas.microsoft.com/office/powerpoint/2010/main" val="2454156711"/>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抽象工厂</a:t>
            </a:r>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110</a:t>
            </a:fld>
            <a:endParaRPr lang="zh-CN" altLang="en-US"/>
          </a:p>
        </p:txBody>
      </p:sp>
    </p:spTree>
    <p:extLst>
      <p:ext uri="{BB962C8B-B14F-4D97-AF65-F5344CB8AC3E}">
        <p14:creationId xmlns:p14="http://schemas.microsoft.com/office/powerpoint/2010/main" val="2451623065"/>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结构型 外观模式</a:t>
            </a:r>
            <a:endParaRPr lang="en-US" altLang="zh-CN" dirty="0" smtClean="0"/>
          </a:p>
          <a:p>
            <a:endParaRPr lang="en-US" altLang="zh-CN" dirty="0" smtClean="0"/>
          </a:p>
          <a:p>
            <a:r>
              <a:rPr lang="zh-CN" altLang="en-US" dirty="0" smtClean="0"/>
              <a:t>为什么选择外观模式而不选择代理模式。</a:t>
            </a:r>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111</a:t>
            </a:fld>
            <a:endParaRPr lang="zh-CN" altLang="en-US"/>
          </a:p>
        </p:txBody>
      </p:sp>
    </p:spTree>
    <p:extLst>
      <p:ext uri="{BB962C8B-B14F-4D97-AF65-F5344CB8AC3E}">
        <p14:creationId xmlns:p14="http://schemas.microsoft.com/office/powerpoint/2010/main" val="4157608893"/>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E6FDB6-6D2B-46C1-9FA1-D82906A37C3A}" type="slidenum">
              <a:rPr lang="zh-CN" altLang="en-US" smtClean="0"/>
              <a:t>112</a:t>
            </a:fld>
            <a:endParaRPr lang="zh-CN" altLang="en-US"/>
          </a:p>
        </p:txBody>
      </p:sp>
    </p:spTree>
    <p:extLst>
      <p:ext uri="{BB962C8B-B14F-4D97-AF65-F5344CB8AC3E}">
        <p14:creationId xmlns:p14="http://schemas.microsoft.com/office/powerpoint/2010/main" val="3400793044"/>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https://medium.com/cr8resume/make-you-hand-dirty-with-mvp-model-view-presenter-eab5b5c16e42</a:t>
            </a:r>
          </a:p>
          <a:p>
            <a:endParaRPr lang="en-US" altLang="zh-CN" dirty="0" smtClean="0"/>
          </a:p>
          <a:p>
            <a:r>
              <a:rPr lang="en-US" altLang="zh-CN" sz="1200" b="0" i="0" u="none" strike="noStrike" kern="1200" dirty="0" smtClean="0">
                <a:solidFill>
                  <a:schemeClr val="tx1"/>
                </a:solidFill>
                <a:effectLst/>
                <a:latin typeface="+mn-lt"/>
                <a:ea typeface="+mn-ea"/>
                <a:cs typeface="+mn-cs"/>
                <a:hlinkClick r:id="rId3"/>
              </a:rPr>
              <a:t>Model View Controller</a:t>
            </a:r>
            <a:endParaRPr lang="en-US" altLang="zh-CN" sz="1200" b="0" i="0" kern="1200" dirty="0" smtClean="0">
              <a:solidFill>
                <a:schemeClr val="tx1"/>
              </a:solidFill>
              <a:effectLst/>
              <a:latin typeface="+mn-lt"/>
              <a:ea typeface="+mn-ea"/>
              <a:cs typeface="+mn-cs"/>
            </a:endParaRPr>
          </a:p>
          <a:p>
            <a:r>
              <a:rPr lang="en-US" altLang="zh-CN" sz="1200" b="0" i="0" kern="1200" dirty="0" smtClean="0">
                <a:solidFill>
                  <a:schemeClr val="tx1"/>
                </a:solidFill>
                <a:effectLst/>
                <a:latin typeface="+mn-lt"/>
                <a:ea typeface="+mn-ea"/>
                <a:cs typeface="+mn-cs"/>
              </a:rPr>
              <a:t>Controllers are behavior based and can share multiple views.</a:t>
            </a:r>
          </a:p>
          <a:p>
            <a:r>
              <a:rPr lang="en-US" altLang="zh-CN" sz="1200" b="0" i="0" kern="1200" dirty="0" smtClean="0">
                <a:solidFill>
                  <a:schemeClr val="tx1"/>
                </a:solidFill>
                <a:effectLst/>
                <a:latin typeface="+mn-lt"/>
                <a:ea typeface="+mn-ea"/>
                <a:cs typeface="+mn-cs"/>
              </a:rPr>
              <a:t>View can communicate directly with Model</a:t>
            </a:r>
          </a:p>
          <a:p>
            <a:endParaRPr lang="en-US" altLang="zh-CN" dirty="0" smtClean="0"/>
          </a:p>
          <a:p>
            <a:endParaRPr lang="en-US" altLang="zh-CN" dirty="0" smtClean="0"/>
          </a:p>
          <a:p>
            <a:r>
              <a:rPr lang="en-US" altLang="zh-CN" sz="1200" b="0" i="0" u="none" strike="noStrike" kern="1200" dirty="0" smtClean="0">
                <a:solidFill>
                  <a:schemeClr val="tx1"/>
                </a:solidFill>
                <a:effectLst/>
                <a:latin typeface="+mn-lt"/>
                <a:ea typeface="+mn-ea"/>
                <a:cs typeface="+mn-cs"/>
                <a:hlinkClick r:id="rId4"/>
              </a:rPr>
              <a:t>Model View Presenter</a:t>
            </a:r>
            <a:endParaRPr lang="en-US" altLang="zh-CN" sz="1200" b="0" i="0" kern="1200" dirty="0" smtClean="0">
              <a:solidFill>
                <a:schemeClr val="tx1"/>
              </a:solidFill>
              <a:effectLst/>
              <a:latin typeface="+mn-lt"/>
              <a:ea typeface="+mn-ea"/>
              <a:cs typeface="+mn-cs"/>
            </a:endParaRPr>
          </a:p>
          <a:p>
            <a:r>
              <a:rPr lang="en-US" altLang="zh-CN" sz="1200" b="0" i="0" kern="1200" dirty="0" smtClean="0">
                <a:solidFill>
                  <a:schemeClr val="tx1"/>
                </a:solidFill>
                <a:effectLst/>
                <a:latin typeface="+mn-lt"/>
                <a:ea typeface="+mn-ea"/>
                <a:cs typeface="+mn-cs"/>
              </a:rPr>
              <a:t>View more separated from Model. The Presenter is the mediator between Model and View.</a:t>
            </a:r>
          </a:p>
          <a:p>
            <a:r>
              <a:rPr lang="en-US" altLang="zh-CN" sz="1200" b="0" i="0" kern="1200" dirty="0" smtClean="0">
                <a:solidFill>
                  <a:schemeClr val="tx1"/>
                </a:solidFill>
                <a:effectLst/>
                <a:latin typeface="+mn-lt"/>
                <a:ea typeface="+mn-ea"/>
                <a:cs typeface="+mn-cs"/>
              </a:rPr>
              <a:t>Easier to create unit tests</a:t>
            </a:r>
          </a:p>
          <a:p>
            <a:r>
              <a:rPr lang="en-US" altLang="zh-CN" sz="1200" b="0" i="0" kern="1200" dirty="0" smtClean="0">
                <a:solidFill>
                  <a:schemeClr val="tx1"/>
                </a:solidFill>
                <a:effectLst/>
                <a:latin typeface="+mn-lt"/>
                <a:ea typeface="+mn-ea"/>
                <a:cs typeface="+mn-cs"/>
              </a:rPr>
              <a:t>Generally there is a one to one mapping between View and Presenter, with the possibility to use multiple Presenters for complex Views</a:t>
            </a:r>
          </a:p>
          <a:p>
            <a:r>
              <a:rPr lang="en-US" altLang="zh-CN" sz="1200" b="0" i="0" kern="1200" dirty="0" smtClean="0">
                <a:solidFill>
                  <a:schemeClr val="tx1"/>
                </a:solidFill>
                <a:effectLst/>
                <a:latin typeface="+mn-lt"/>
                <a:ea typeface="+mn-ea"/>
                <a:cs typeface="+mn-cs"/>
              </a:rPr>
              <a:t>Listen to user action and model updates</a:t>
            </a:r>
          </a:p>
          <a:p>
            <a:r>
              <a:rPr lang="en-US" altLang="zh-CN" sz="1200" b="0" i="0" kern="1200" dirty="0" smtClean="0">
                <a:solidFill>
                  <a:schemeClr val="tx1"/>
                </a:solidFill>
                <a:effectLst/>
                <a:latin typeface="+mn-lt"/>
                <a:ea typeface="+mn-ea"/>
                <a:cs typeface="+mn-cs"/>
              </a:rPr>
              <a:t>Updates model and view as well</a:t>
            </a:r>
          </a:p>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114</a:t>
            </a:fld>
            <a:endParaRPr lang="zh-CN" altLang="en-US"/>
          </a:p>
        </p:txBody>
      </p:sp>
    </p:spTree>
    <p:extLst>
      <p:ext uri="{BB962C8B-B14F-4D97-AF65-F5344CB8AC3E}">
        <p14:creationId xmlns:p14="http://schemas.microsoft.com/office/powerpoint/2010/main" val="1375054647"/>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https://www.youtube.com/watch?v=mpO-aEXhX78</a:t>
            </a:r>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115</a:t>
            </a:fld>
            <a:endParaRPr lang="zh-CN" altLang="en-US"/>
          </a:p>
        </p:txBody>
      </p:sp>
    </p:spTree>
    <p:extLst>
      <p:ext uri="{BB962C8B-B14F-4D97-AF65-F5344CB8AC3E}">
        <p14:creationId xmlns:p14="http://schemas.microsoft.com/office/powerpoint/2010/main" val="2384149198"/>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https://www.youtube.com/watch?v=mpO-aEXhX78</a:t>
            </a:r>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116</a:t>
            </a:fld>
            <a:endParaRPr lang="zh-CN" altLang="en-US"/>
          </a:p>
        </p:txBody>
      </p:sp>
    </p:spTree>
    <p:extLst>
      <p:ext uri="{BB962C8B-B14F-4D97-AF65-F5344CB8AC3E}">
        <p14:creationId xmlns:p14="http://schemas.microsoft.com/office/powerpoint/2010/main" val="4403482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E6FDB6-6D2B-46C1-9FA1-D82906A37C3A}" type="slidenum">
              <a:rPr lang="zh-CN" altLang="en-US" smtClean="0"/>
              <a:t>13</a:t>
            </a:fld>
            <a:endParaRPr lang="zh-CN" altLang="en-US"/>
          </a:p>
        </p:txBody>
      </p:sp>
    </p:spTree>
    <p:extLst>
      <p:ext uri="{BB962C8B-B14F-4D97-AF65-F5344CB8AC3E}">
        <p14:creationId xmlns:p14="http://schemas.microsoft.com/office/powerpoint/2010/main" val="581263089"/>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https://www.youtube.com/watch?v=mpO-aEXhX78</a:t>
            </a:r>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117</a:t>
            </a:fld>
            <a:endParaRPr lang="zh-CN" altLang="en-US"/>
          </a:p>
        </p:txBody>
      </p:sp>
    </p:spTree>
    <p:extLst>
      <p:ext uri="{BB962C8B-B14F-4D97-AF65-F5344CB8AC3E}">
        <p14:creationId xmlns:p14="http://schemas.microsoft.com/office/powerpoint/2010/main" val="4145113656"/>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https://www.youtube.com/watch?v=mpO-aEXhX78</a:t>
            </a:r>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118</a:t>
            </a:fld>
            <a:endParaRPr lang="zh-CN" altLang="en-US"/>
          </a:p>
        </p:txBody>
      </p:sp>
    </p:spTree>
    <p:extLst>
      <p:ext uri="{BB962C8B-B14F-4D97-AF65-F5344CB8AC3E}">
        <p14:creationId xmlns:p14="http://schemas.microsoft.com/office/powerpoint/2010/main" val="1743008152"/>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E6FDB6-6D2B-46C1-9FA1-D82906A37C3A}" type="slidenum">
              <a:rPr lang="zh-CN" altLang="en-US" smtClean="0"/>
              <a:t>119</a:t>
            </a:fld>
            <a:endParaRPr lang="zh-CN" altLang="en-US"/>
          </a:p>
        </p:txBody>
      </p:sp>
    </p:spTree>
    <p:extLst>
      <p:ext uri="{BB962C8B-B14F-4D97-AF65-F5344CB8AC3E}">
        <p14:creationId xmlns:p14="http://schemas.microsoft.com/office/powerpoint/2010/main" val="701086381"/>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E6FDB6-6D2B-46C1-9FA1-D82906A37C3A}" type="slidenum">
              <a:rPr lang="zh-CN" altLang="en-US" smtClean="0"/>
              <a:t>120</a:t>
            </a:fld>
            <a:endParaRPr lang="zh-CN" altLang="en-US"/>
          </a:p>
        </p:txBody>
      </p:sp>
    </p:spTree>
    <p:extLst>
      <p:ext uri="{BB962C8B-B14F-4D97-AF65-F5344CB8AC3E}">
        <p14:creationId xmlns:p14="http://schemas.microsoft.com/office/powerpoint/2010/main" val="1930205412"/>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121</a:t>
            </a:fld>
            <a:endParaRPr lang="zh-CN" altLang="en-US"/>
          </a:p>
        </p:txBody>
      </p:sp>
    </p:spTree>
    <p:extLst>
      <p:ext uri="{BB962C8B-B14F-4D97-AF65-F5344CB8AC3E}">
        <p14:creationId xmlns:p14="http://schemas.microsoft.com/office/powerpoint/2010/main" val="41546764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E6FDB6-6D2B-46C1-9FA1-D82906A37C3A}" type="slidenum">
              <a:rPr lang="zh-CN" altLang="en-US" smtClean="0"/>
              <a:t>15</a:t>
            </a:fld>
            <a:endParaRPr lang="zh-CN" altLang="en-US"/>
          </a:p>
        </p:txBody>
      </p:sp>
    </p:spTree>
    <p:extLst>
      <p:ext uri="{BB962C8B-B14F-4D97-AF65-F5344CB8AC3E}">
        <p14:creationId xmlns:p14="http://schemas.microsoft.com/office/powerpoint/2010/main" val="16170497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分数管理不合理 不够细化  如何管理 存储在哪里 怎么保证安全 防篡改？</a:t>
            </a:r>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16</a:t>
            </a:fld>
            <a:endParaRPr lang="zh-CN" altLang="en-US"/>
          </a:p>
        </p:txBody>
      </p:sp>
    </p:spTree>
    <p:extLst>
      <p:ext uri="{BB962C8B-B14F-4D97-AF65-F5344CB8AC3E}">
        <p14:creationId xmlns:p14="http://schemas.microsoft.com/office/powerpoint/2010/main" val="35456099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a:t>
            </a:r>
            <a:r>
              <a:rPr lang="zh-CN" altLang="en-US" dirty="0" smtClean="0"/>
              <a:t>之前</a:t>
            </a:r>
            <a:r>
              <a:rPr lang="en-US" altLang="zh-CN" dirty="0" smtClean="0"/>
              <a:t>Review</a:t>
            </a:r>
            <a:r>
              <a:rPr lang="zh-CN" altLang="en-US" dirty="0" smtClean="0"/>
              <a:t>方式进行引入</a:t>
            </a:r>
            <a:endParaRPr lang="en-US" altLang="zh-CN" dirty="0" smtClean="0"/>
          </a:p>
          <a:p>
            <a:r>
              <a:rPr lang="en-US" altLang="zh-CN" dirty="0" smtClean="0"/>
              <a:t>·</a:t>
            </a:r>
            <a:r>
              <a:rPr lang="zh-CN" altLang="en-US" dirty="0" smtClean="0"/>
              <a:t>增加安全工程师</a:t>
            </a:r>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17</a:t>
            </a:fld>
            <a:endParaRPr lang="zh-CN" altLang="en-US"/>
          </a:p>
        </p:txBody>
      </p:sp>
    </p:spTree>
    <p:extLst>
      <p:ext uri="{BB962C8B-B14F-4D97-AF65-F5344CB8AC3E}">
        <p14:creationId xmlns:p14="http://schemas.microsoft.com/office/powerpoint/2010/main" val="33969372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E6FDB6-6D2B-46C1-9FA1-D82906A37C3A}" type="slidenum">
              <a:rPr lang="zh-CN" altLang="en-US" smtClean="0"/>
              <a:t>18</a:t>
            </a:fld>
            <a:endParaRPr lang="zh-CN" altLang="en-US"/>
          </a:p>
        </p:txBody>
      </p:sp>
    </p:spTree>
    <p:extLst>
      <p:ext uri="{BB962C8B-B14F-4D97-AF65-F5344CB8AC3E}">
        <p14:creationId xmlns:p14="http://schemas.microsoft.com/office/powerpoint/2010/main" val="927420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dirty="0" smtClean="0">
                <a:solidFill>
                  <a:schemeClr val="bg1"/>
                </a:solidFill>
              </a:rPr>
              <a:t>项目初期：</a:t>
            </a:r>
            <a:r>
              <a:rPr lang="zh-CN" altLang="en-US" sz="1200" dirty="0" smtClean="0">
                <a:solidFill>
                  <a:schemeClr val="tx1"/>
                </a:solidFill>
              </a:rPr>
              <a:t>未考虑流量问题</a:t>
            </a:r>
            <a:endParaRPr lang="en-US" altLang="zh-CN"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dirty="0" smtClean="0">
                <a:solidFill>
                  <a:schemeClr val="bg1"/>
                </a:solidFill>
              </a:rPr>
              <a:t>项目上线：</a:t>
            </a:r>
            <a:r>
              <a:rPr lang="zh-CN" altLang="en-US" sz="1200" dirty="0" smtClean="0">
                <a:solidFill>
                  <a:schemeClr val="tx1"/>
                </a:solidFill>
              </a:rPr>
              <a:t>市场开始投诉</a:t>
            </a:r>
            <a:endParaRPr lang="en-US" altLang="zh-CN"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dirty="0" smtClean="0">
                <a:solidFill>
                  <a:schemeClr val="bg1"/>
                </a:solidFill>
              </a:rPr>
              <a:t>处理周期长：</a:t>
            </a:r>
            <a:r>
              <a:rPr lang="zh-CN" altLang="en-US" sz="1200" dirty="0" smtClean="0">
                <a:solidFill>
                  <a:schemeClr val="tx1"/>
                </a:solidFill>
              </a:rPr>
              <a:t>投诉量加剧、最终影响范围</a:t>
            </a:r>
            <a:r>
              <a:rPr lang="en-US" altLang="zh-CN" sz="1200" dirty="0" smtClean="0">
                <a:solidFill>
                  <a:schemeClr val="tx1"/>
                </a:solidFill>
              </a:rPr>
              <a:t>300W</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dirty="0" smtClean="0">
                <a:solidFill>
                  <a:schemeClr val="tx1"/>
                </a:solidFill>
              </a:rPr>
              <a:t>下载配置文件。如果配置文件下载出错，此处失效的影响？  防呆。</a:t>
            </a:r>
            <a:endParaRPr lang="en-US" altLang="zh-CN" dirty="0" smtClean="0"/>
          </a:p>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19</a:t>
            </a:fld>
            <a:endParaRPr lang="zh-CN" altLang="en-US"/>
          </a:p>
        </p:txBody>
      </p:sp>
    </p:spTree>
    <p:extLst>
      <p:ext uri="{BB962C8B-B14F-4D97-AF65-F5344CB8AC3E}">
        <p14:creationId xmlns:p14="http://schemas.microsoft.com/office/powerpoint/2010/main" val="23311288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dirty="0" smtClean="0">
                <a:solidFill>
                  <a:schemeClr val="bg1"/>
                </a:solidFill>
              </a:rPr>
              <a:t>根据过去软件失效的经验 点检功能实现过程中是否有可能有相关的失效模式，以及发生时产生的影响。</a:t>
            </a:r>
            <a:endParaRPr lang="en-US" altLang="zh-CN" dirty="0" smtClean="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smtClean="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dirty="0" smtClean="0">
                <a:solidFill>
                  <a:schemeClr val="bg1"/>
                </a:solidFill>
              </a:rPr>
              <a:t>项目初期：</a:t>
            </a:r>
            <a:r>
              <a:rPr lang="zh-CN" altLang="en-US" sz="1200" dirty="0" smtClean="0">
                <a:solidFill>
                  <a:schemeClr val="tx1"/>
                </a:solidFill>
              </a:rPr>
              <a:t>未考虑流量问题</a:t>
            </a:r>
            <a:endParaRPr lang="en-US" altLang="zh-CN"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dirty="0" smtClean="0">
                <a:solidFill>
                  <a:schemeClr val="bg1"/>
                </a:solidFill>
              </a:rPr>
              <a:t>项目上线：</a:t>
            </a:r>
            <a:r>
              <a:rPr lang="zh-CN" altLang="en-US" sz="1200" dirty="0" smtClean="0">
                <a:solidFill>
                  <a:schemeClr val="tx1"/>
                </a:solidFill>
              </a:rPr>
              <a:t>市场开始投诉</a:t>
            </a:r>
            <a:endParaRPr lang="en-US" altLang="zh-CN"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dirty="0" smtClean="0">
                <a:solidFill>
                  <a:schemeClr val="bg1"/>
                </a:solidFill>
              </a:rPr>
              <a:t>处理周期长：</a:t>
            </a:r>
            <a:r>
              <a:rPr lang="zh-CN" altLang="en-US" sz="1200" dirty="0" smtClean="0">
                <a:solidFill>
                  <a:schemeClr val="tx1"/>
                </a:solidFill>
              </a:rPr>
              <a:t>投诉量加剧、最终影响范围</a:t>
            </a:r>
            <a:r>
              <a:rPr lang="en-US" altLang="zh-CN" sz="1200" dirty="0" smtClean="0">
                <a:solidFill>
                  <a:schemeClr val="tx1"/>
                </a:solidFill>
              </a:rPr>
              <a:t>300W</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dirty="0" smtClean="0">
                <a:solidFill>
                  <a:schemeClr val="tx1"/>
                </a:solidFill>
              </a:rPr>
              <a:t>下载配置文件。如果配置文件下载出错，此处失效的影响？  防呆。</a:t>
            </a:r>
            <a:endParaRPr lang="en-US" altLang="zh-CN" dirty="0" smtClean="0"/>
          </a:p>
          <a:p>
            <a:pPr marL="0" indent="0">
              <a:buNone/>
            </a:pPr>
            <a:endParaRPr lang="en-US" altLang="zh-CN" sz="1200" dirty="0" smtClean="0">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4" name="灯片编号占位符 3"/>
          <p:cNvSpPr>
            <a:spLocks noGrp="1"/>
          </p:cNvSpPr>
          <p:nvPr>
            <p:ph type="sldNum" sz="quarter" idx="10"/>
          </p:nvPr>
        </p:nvSpPr>
        <p:spPr/>
        <p:txBody>
          <a:bodyPr/>
          <a:lstStyle/>
          <a:p>
            <a:fld id="{E9E6FDB6-6D2B-46C1-9FA1-D82906A37C3A}" type="slidenum">
              <a:rPr lang="zh-CN" altLang="en-US" smtClean="0"/>
              <a:t>20</a:t>
            </a:fld>
            <a:endParaRPr lang="zh-CN" altLang="en-US"/>
          </a:p>
        </p:txBody>
      </p:sp>
    </p:spTree>
    <p:extLst>
      <p:ext uri="{BB962C8B-B14F-4D97-AF65-F5344CB8AC3E}">
        <p14:creationId xmlns:p14="http://schemas.microsoft.com/office/powerpoint/2010/main" val="34830276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E6FDB6-6D2B-46C1-9FA1-D82906A37C3A}" type="slidenum">
              <a:rPr lang="zh-CN" altLang="en-US" smtClean="0"/>
              <a:t>21</a:t>
            </a:fld>
            <a:endParaRPr lang="zh-CN" altLang="en-US"/>
          </a:p>
        </p:txBody>
      </p:sp>
    </p:spTree>
    <p:extLst>
      <p:ext uri="{BB962C8B-B14F-4D97-AF65-F5344CB8AC3E}">
        <p14:creationId xmlns:p14="http://schemas.microsoft.com/office/powerpoint/2010/main" val="14989143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相机黑屏的原因太多，拉了很多专家（显示、编解码、框架、摄像头硬件）都看不出来问题</a:t>
            </a:r>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23</a:t>
            </a:fld>
            <a:endParaRPr lang="zh-CN" altLang="en-US"/>
          </a:p>
        </p:txBody>
      </p:sp>
    </p:spTree>
    <p:extLst>
      <p:ext uri="{BB962C8B-B14F-4D97-AF65-F5344CB8AC3E}">
        <p14:creationId xmlns:p14="http://schemas.microsoft.com/office/powerpoint/2010/main" val="42814427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sz="1200" dirty="0" smtClean="0">
                <a:latin typeface="Arial" panose="020B0604020202020204" pitchFamily="34" charset="0"/>
                <a:ea typeface="Microsoft YaHei" panose="020B0503020204020204" pitchFamily="34" charset="-122"/>
                <a:cs typeface="+mn-ea"/>
                <a:sym typeface="Arial" panose="020B0604020202020204" pitchFamily="34" charset="0"/>
              </a:rPr>
              <a:t>1996</a:t>
            </a:r>
            <a:r>
              <a:rPr lang="zh-CN" altLang="en-US" sz="1200" dirty="0" smtClean="0">
                <a:latin typeface="Arial" panose="020B0604020202020204" pitchFamily="34" charset="0"/>
                <a:ea typeface="Microsoft YaHei" panose="020B0503020204020204" pitchFamily="34" charset="-122"/>
                <a:cs typeface="+mn-ea"/>
                <a:sym typeface="Arial" panose="020B0604020202020204" pitchFamily="34" charset="0"/>
              </a:rPr>
              <a:t>年</a:t>
            </a:r>
            <a:r>
              <a:rPr lang="en-US" altLang="zh-CN" sz="1200" dirty="0" smtClean="0">
                <a:latin typeface="Arial" panose="020B0604020202020204" pitchFamily="34" charset="0"/>
                <a:ea typeface="Microsoft YaHei" panose="020B0503020204020204" pitchFamily="34" charset="-122"/>
                <a:cs typeface="+mn-ea"/>
                <a:sym typeface="Arial" panose="020B0604020202020204" pitchFamily="34" charset="0"/>
              </a:rPr>
              <a:t>6</a:t>
            </a:r>
            <a:r>
              <a:rPr lang="zh-CN" altLang="en-US" sz="1200" dirty="0" smtClean="0">
                <a:latin typeface="Arial" panose="020B0604020202020204" pitchFamily="34" charset="0"/>
                <a:ea typeface="Microsoft YaHei" panose="020B0503020204020204" pitchFamily="34" charset="-122"/>
                <a:cs typeface="+mn-ea"/>
                <a:sym typeface="Arial" panose="020B0604020202020204" pitchFamily="34" charset="0"/>
              </a:rPr>
              <a:t>月，欧洲航天局研制的“阿丽亚娜</a:t>
            </a:r>
            <a:r>
              <a:rPr lang="en-US" altLang="zh-CN" sz="1200" dirty="0" smtClean="0">
                <a:latin typeface="Arial" panose="020B0604020202020204" pitchFamily="34" charset="0"/>
                <a:ea typeface="Microsoft YaHei" panose="020B0503020204020204" pitchFamily="34" charset="-122"/>
                <a:cs typeface="+mn-ea"/>
                <a:sym typeface="Arial" panose="020B0604020202020204" pitchFamily="34" charset="0"/>
              </a:rPr>
              <a:t>5</a:t>
            </a:r>
            <a:r>
              <a:rPr lang="zh-CN" altLang="en-US" sz="1200" dirty="0" smtClean="0">
                <a:latin typeface="Arial" panose="020B0604020202020204" pitchFamily="34" charset="0"/>
                <a:ea typeface="Microsoft YaHei" panose="020B0503020204020204" pitchFamily="34" charset="-122"/>
                <a:cs typeface="+mn-ea"/>
                <a:sym typeface="Arial" panose="020B0604020202020204" pitchFamily="34" charset="0"/>
              </a:rPr>
              <a:t>型火箭”在法国圭亚那库鲁航天中心首次发射，这次发射因空中云层过厚而被推迟了</a:t>
            </a:r>
            <a:r>
              <a:rPr lang="en-US" altLang="zh-CN" sz="1200" dirty="0" smtClean="0">
                <a:latin typeface="Arial" panose="020B0604020202020204" pitchFamily="34" charset="0"/>
                <a:ea typeface="Microsoft YaHei" panose="020B0503020204020204" pitchFamily="34" charset="-122"/>
                <a:cs typeface="+mn-ea"/>
                <a:sym typeface="Arial" panose="020B0604020202020204" pitchFamily="34" charset="0"/>
              </a:rPr>
              <a:t>1</a:t>
            </a:r>
            <a:r>
              <a:rPr lang="zh-CN" altLang="en-US" sz="1200" dirty="0" smtClean="0">
                <a:latin typeface="Arial" panose="020B0604020202020204" pitchFamily="34" charset="0"/>
                <a:ea typeface="Microsoft YaHei" panose="020B0503020204020204" pitchFamily="34" charset="-122"/>
                <a:cs typeface="+mn-ea"/>
                <a:sym typeface="Arial" panose="020B0604020202020204" pitchFamily="34" charset="0"/>
              </a:rPr>
              <a:t>小时，随后高</a:t>
            </a:r>
            <a:r>
              <a:rPr lang="en-US" altLang="zh-CN" sz="1200" dirty="0" smtClean="0">
                <a:latin typeface="Arial" panose="020B0604020202020204" pitchFamily="34" charset="0"/>
                <a:ea typeface="Microsoft YaHei" panose="020B0503020204020204" pitchFamily="34" charset="-122"/>
                <a:cs typeface="+mn-ea"/>
                <a:sym typeface="Arial" panose="020B0604020202020204" pitchFamily="34" charset="0"/>
              </a:rPr>
              <a:t>51.4</a:t>
            </a:r>
            <a:r>
              <a:rPr lang="zh-CN" altLang="en-US" sz="1200" dirty="0" smtClean="0">
                <a:latin typeface="Arial" panose="020B0604020202020204" pitchFamily="34" charset="0"/>
                <a:ea typeface="Microsoft YaHei" panose="020B0503020204020204" pitchFamily="34" charset="-122"/>
                <a:cs typeface="+mn-ea"/>
                <a:sym typeface="Arial" panose="020B0604020202020204" pitchFamily="34" charset="0"/>
              </a:rPr>
              <a:t>米，通体银白的火箭离开发射台升空约</a:t>
            </a:r>
            <a:r>
              <a:rPr lang="en-US" altLang="zh-CN" sz="1200" dirty="0" smtClean="0">
                <a:latin typeface="Arial" panose="020B0604020202020204" pitchFamily="34" charset="0"/>
                <a:ea typeface="Microsoft YaHei" panose="020B0503020204020204" pitchFamily="34" charset="-122"/>
                <a:cs typeface="+mn-ea"/>
                <a:sym typeface="Arial" panose="020B0604020202020204" pitchFamily="34" charset="0"/>
              </a:rPr>
              <a:t>30</a:t>
            </a:r>
            <a:r>
              <a:rPr lang="zh-CN" altLang="en-US" sz="1200" dirty="0" smtClean="0">
                <a:latin typeface="Arial" panose="020B0604020202020204" pitchFamily="34" charset="0"/>
                <a:ea typeface="Microsoft YaHei" panose="020B0503020204020204" pitchFamily="34" charset="-122"/>
                <a:cs typeface="+mn-ea"/>
                <a:sym typeface="Arial" panose="020B0604020202020204" pitchFamily="34" charset="0"/>
              </a:rPr>
              <a:t>秒，距地面约</a:t>
            </a:r>
            <a:r>
              <a:rPr lang="en-US" altLang="zh-CN" sz="1200" dirty="0" smtClean="0">
                <a:latin typeface="Arial" panose="020B0604020202020204" pitchFamily="34" charset="0"/>
                <a:ea typeface="Microsoft YaHei" panose="020B0503020204020204" pitchFamily="34" charset="-122"/>
                <a:cs typeface="+mn-ea"/>
                <a:sym typeface="Arial" panose="020B0604020202020204" pitchFamily="34" charset="0"/>
              </a:rPr>
              <a:t>4900</a:t>
            </a:r>
            <a:r>
              <a:rPr lang="zh-CN" altLang="en-US" sz="1200" dirty="0" smtClean="0">
                <a:latin typeface="Arial" panose="020B0604020202020204" pitchFamily="34" charset="0"/>
                <a:ea typeface="Microsoft YaHei" panose="020B0503020204020204" pitchFamily="34" charset="-122"/>
                <a:cs typeface="+mn-ea"/>
                <a:sym typeface="Arial" panose="020B0604020202020204" pitchFamily="34" charset="0"/>
              </a:rPr>
              <a:t>米时，半空传来两声巨大的爆炸声，</a:t>
            </a:r>
            <a:r>
              <a:rPr lang="en-US" altLang="zh-CN" sz="1200" dirty="0" smtClean="0">
                <a:latin typeface="Arial" panose="020B0604020202020204" pitchFamily="34" charset="0"/>
                <a:ea typeface="Microsoft YaHei" panose="020B0503020204020204" pitchFamily="34" charset="-122"/>
                <a:cs typeface="+mn-ea"/>
                <a:sym typeface="Arial" panose="020B0604020202020204" pitchFamily="34" charset="0"/>
              </a:rPr>
              <a:t>70</a:t>
            </a:r>
            <a:r>
              <a:rPr lang="zh-CN" altLang="en-US" sz="1200" dirty="0" smtClean="0">
                <a:latin typeface="Arial" panose="020B0604020202020204" pitchFamily="34" charset="0"/>
                <a:ea typeface="Microsoft YaHei" panose="020B0503020204020204" pitchFamily="34" charset="-122"/>
                <a:cs typeface="+mn-ea"/>
                <a:sym typeface="Arial" panose="020B0604020202020204" pitchFamily="34" charset="0"/>
              </a:rPr>
              <a:t>亿美元的研制费用，上万人</a:t>
            </a:r>
            <a:r>
              <a:rPr lang="en-US" altLang="zh-CN" sz="1200" dirty="0" smtClean="0">
                <a:latin typeface="Arial" panose="020B0604020202020204" pitchFamily="34" charset="0"/>
                <a:ea typeface="Microsoft YaHei" panose="020B0503020204020204" pitchFamily="34" charset="-122"/>
                <a:cs typeface="+mn-ea"/>
                <a:sym typeface="Arial" panose="020B0604020202020204" pitchFamily="34" charset="0"/>
              </a:rPr>
              <a:t>10</a:t>
            </a:r>
            <a:r>
              <a:rPr lang="zh-CN" altLang="en-US" sz="1200" dirty="0" smtClean="0">
                <a:latin typeface="Arial" panose="020B0604020202020204" pitchFamily="34" charset="0"/>
                <a:ea typeface="Microsoft YaHei" panose="020B0503020204020204" pitchFamily="34" charset="-122"/>
                <a:cs typeface="+mn-ea"/>
                <a:sym typeface="Arial" panose="020B0604020202020204" pitchFamily="34" charset="0"/>
              </a:rPr>
              <a:t>余年的心血，瞬时付之一炬。</a:t>
            </a:r>
            <a:endParaRPr lang="en-US" altLang="zh-CN" sz="1200" dirty="0" smtClean="0">
              <a:latin typeface="Arial" panose="020B0604020202020204" pitchFamily="34" charset="0"/>
              <a:ea typeface="Microsoft YaHei" panose="020B0503020204020204" pitchFamily="34" charset="-122"/>
              <a:cs typeface="+mn-ea"/>
              <a:sym typeface="Arial" panose="020B0604020202020204" pitchFamily="34" charset="0"/>
            </a:endParaRPr>
          </a:p>
          <a:p>
            <a:r>
              <a:rPr lang="zh-CN" altLang="en-US" sz="1200" dirty="0" smtClean="0">
                <a:latin typeface="Arial" panose="020B0604020202020204" pitchFamily="34" charset="0"/>
                <a:ea typeface="Microsoft YaHei" panose="020B0503020204020204" pitchFamily="34" charset="-122"/>
                <a:cs typeface="+mn-ea"/>
                <a:sym typeface="Arial" panose="020B0604020202020204" pitchFamily="34" charset="0"/>
              </a:rPr>
              <a:t>外电报称：这是自</a:t>
            </a:r>
            <a:r>
              <a:rPr lang="en-US" altLang="zh-CN" sz="1200" dirty="0" smtClean="0">
                <a:latin typeface="Arial" panose="020B0604020202020204" pitchFamily="34" charset="0"/>
                <a:ea typeface="Microsoft YaHei" panose="020B0503020204020204" pitchFamily="34" charset="-122"/>
                <a:cs typeface="+mn-ea"/>
                <a:sym typeface="Arial" panose="020B0604020202020204" pitchFamily="34" charset="0"/>
              </a:rPr>
              <a:t>1986</a:t>
            </a:r>
            <a:r>
              <a:rPr lang="zh-CN" altLang="en-US" sz="1200" dirty="0" smtClean="0">
                <a:latin typeface="Arial" panose="020B0604020202020204" pitchFamily="34" charset="0"/>
                <a:ea typeface="Microsoft YaHei" panose="020B0503020204020204" pitchFamily="34" charset="-122"/>
                <a:cs typeface="+mn-ea"/>
                <a:sym typeface="Arial" panose="020B0604020202020204" pitchFamily="34" charset="0"/>
              </a:rPr>
              <a:t>年美国“挑战者”航天飞机爆炸后，世界航天史上的又一大悲剧。</a:t>
            </a:r>
            <a:endParaRPr lang="en-US" altLang="zh-CN" sz="1200" dirty="0" smtClean="0">
              <a:latin typeface="Arial" panose="020B0604020202020204" pitchFamily="34" charset="0"/>
              <a:ea typeface="Microsoft YaHei" panose="020B0503020204020204" pitchFamily="34" charset="-122"/>
              <a:cs typeface="+mn-ea"/>
              <a:sym typeface="Arial" panose="020B0604020202020204" pitchFamily="34" charset="0"/>
            </a:endParaRPr>
          </a:p>
          <a:p>
            <a:r>
              <a:rPr lang="zh-CN" altLang="en-US" sz="1200" dirty="0" smtClean="0">
                <a:latin typeface="Arial" panose="020B0604020202020204" pitchFamily="34" charset="0"/>
                <a:ea typeface="Microsoft YaHei" panose="020B0503020204020204" pitchFamily="34" charset="-122"/>
                <a:cs typeface="+mn-ea"/>
                <a:sym typeface="Arial" panose="020B0604020202020204" pitchFamily="34" charset="0"/>
              </a:rPr>
              <a:t>事件发生后，欧洲航天局成立的专门的调查委员会，经过</a:t>
            </a:r>
            <a:r>
              <a:rPr lang="en-US" altLang="zh-CN" sz="1200" dirty="0" smtClean="0">
                <a:latin typeface="Arial" panose="020B0604020202020204" pitchFamily="34" charset="0"/>
                <a:ea typeface="Microsoft YaHei" panose="020B0503020204020204" pitchFamily="34" charset="-122"/>
                <a:cs typeface="+mn-ea"/>
                <a:sym typeface="Arial" panose="020B0604020202020204" pitchFamily="34" charset="0"/>
              </a:rPr>
              <a:t>6</a:t>
            </a:r>
            <a:r>
              <a:rPr lang="zh-CN" altLang="en-US" sz="1200" dirty="0" smtClean="0">
                <a:latin typeface="Arial" panose="020B0604020202020204" pitchFamily="34" charset="0"/>
                <a:ea typeface="Microsoft YaHei" panose="020B0503020204020204" pitchFamily="34" charset="-122"/>
                <a:cs typeface="+mn-ea"/>
                <a:sym typeface="Arial" panose="020B0604020202020204" pitchFamily="34" charset="0"/>
              </a:rPr>
              <a:t>周的调查，确认失败的原因为：阿丽亚娜</a:t>
            </a:r>
            <a:r>
              <a:rPr lang="en-US" altLang="zh-CN" sz="1200" dirty="0" smtClean="0">
                <a:latin typeface="Arial" panose="020B0604020202020204" pitchFamily="34" charset="0"/>
                <a:ea typeface="Microsoft YaHei" panose="020B0503020204020204" pitchFamily="34" charset="-122"/>
                <a:cs typeface="+mn-ea"/>
                <a:sym typeface="Arial" panose="020B0604020202020204" pitchFamily="34" charset="0"/>
              </a:rPr>
              <a:t>5</a:t>
            </a:r>
            <a:r>
              <a:rPr lang="zh-CN" altLang="en-US" sz="1200" dirty="0" smtClean="0">
                <a:latin typeface="Arial" panose="020B0604020202020204" pitchFamily="34" charset="0"/>
                <a:ea typeface="Microsoft YaHei" panose="020B0503020204020204" pitchFamily="34" charset="-122"/>
                <a:cs typeface="+mn-ea"/>
                <a:sym typeface="Arial" panose="020B0604020202020204" pitchFamily="34" charset="0"/>
              </a:rPr>
              <a:t>型火箭在主发动机点火顺序开始</a:t>
            </a:r>
            <a:r>
              <a:rPr lang="en-US" altLang="zh-CN" sz="1200" dirty="0" smtClean="0">
                <a:latin typeface="Arial" panose="020B0604020202020204" pitchFamily="34" charset="0"/>
                <a:ea typeface="Microsoft YaHei" panose="020B0503020204020204" pitchFamily="34" charset="-122"/>
                <a:cs typeface="+mn-ea"/>
                <a:sym typeface="Arial" panose="020B0604020202020204" pitchFamily="34" charset="0"/>
              </a:rPr>
              <a:t>37</a:t>
            </a:r>
            <a:r>
              <a:rPr lang="zh-CN" altLang="en-US" sz="1200" dirty="0" smtClean="0">
                <a:latin typeface="Arial" panose="020B0604020202020204" pitchFamily="34" charset="0"/>
                <a:ea typeface="Microsoft YaHei" panose="020B0503020204020204" pitchFamily="34" charset="-122"/>
                <a:cs typeface="+mn-ea"/>
                <a:sym typeface="Arial" panose="020B0604020202020204" pitchFamily="34" charset="0"/>
              </a:rPr>
              <a:t>秒后，制导和姿势信息完全遗失造成的，信息遗失是由于惯性制导系统的软件出现规格和设计错误。</a:t>
            </a:r>
          </a:p>
        </p:txBody>
      </p:sp>
      <p:sp>
        <p:nvSpPr>
          <p:cNvPr id="4" name="灯片编号占位符 3"/>
          <p:cNvSpPr>
            <a:spLocks noGrp="1"/>
          </p:cNvSpPr>
          <p:nvPr>
            <p:ph type="sldNum" sz="quarter" idx="10"/>
          </p:nvPr>
        </p:nvSpPr>
        <p:spPr/>
        <p:txBody>
          <a:bodyPr/>
          <a:lstStyle/>
          <a:p>
            <a:fld id="{E9E6FDB6-6D2B-46C1-9FA1-D82906A37C3A}" type="slidenum">
              <a:rPr lang="zh-CN" altLang="en-US" smtClean="0"/>
              <a:t>2</a:t>
            </a:fld>
            <a:endParaRPr lang="zh-CN" altLang="en-US"/>
          </a:p>
        </p:txBody>
      </p:sp>
    </p:spTree>
    <p:extLst>
      <p:ext uri="{BB962C8B-B14F-4D97-AF65-F5344CB8AC3E}">
        <p14:creationId xmlns:p14="http://schemas.microsoft.com/office/powerpoint/2010/main" val="383668235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E6FDB6-6D2B-46C1-9FA1-D82906A37C3A}" type="slidenum">
              <a:rPr lang="zh-CN" altLang="en-US" smtClean="0"/>
              <a:t>24</a:t>
            </a:fld>
            <a:endParaRPr lang="zh-CN" altLang="en-US"/>
          </a:p>
        </p:txBody>
      </p:sp>
    </p:spTree>
    <p:extLst>
      <p:ext uri="{BB962C8B-B14F-4D97-AF65-F5344CB8AC3E}">
        <p14:creationId xmlns:p14="http://schemas.microsoft.com/office/powerpoint/2010/main" val="23455003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E6FDB6-6D2B-46C1-9FA1-D82906A37C3A}" type="slidenum">
              <a:rPr lang="zh-CN" altLang="en-US" smtClean="0"/>
              <a:t>25</a:t>
            </a:fld>
            <a:endParaRPr lang="zh-CN" altLang="en-US"/>
          </a:p>
        </p:txBody>
      </p:sp>
    </p:spTree>
    <p:extLst>
      <p:ext uri="{BB962C8B-B14F-4D97-AF65-F5344CB8AC3E}">
        <p14:creationId xmlns:p14="http://schemas.microsoft.com/office/powerpoint/2010/main" val="8846564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E6FDB6-6D2B-46C1-9FA1-D82906A37C3A}" type="slidenum">
              <a:rPr lang="zh-CN" altLang="en-US" smtClean="0"/>
              <a:t>26</a:t>
            </a:fld>
            <a:endParaRPr lang="zh-CN" altLang="en-US"/>
          </a:p>
        </p:txBody>
      </p:sp>
    </p:spTree>
    <p:extLst>
      <p:ext uri="{BB962C8B-B14F-4D97-AF65-F5344CB8AC3E}">
        <p14:creationId xmlns:p14="http://schemas.microsoft.com/office/powerpoint/2010/main" val="327404938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27</a:t>
            </a:fld>
            <a:endParaRPr lang="zh-CN" altLang="en-US"/>
          </a:p>
        </p:txBody>
      </p:sp>
    </p:spTree>
    <p:extLst>
      <p:ext uri="{BB962C8B-B14F-4D97-AF65-F5344CB8AC3E}">
        <p14:creationId xmlns:p14="http://schemas.microsoft.com/office/powerpoint/2010/main" val="36275016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E6FDB6-6D2B-46C1-9FA1-D82906A37C3A}" type="slidenum">
              <a:rPr lang="zh-CN" altLang="en-US" smtClean="0"/>
              <a:t>28</a:t>
            </a:fld>
            <a:endParaRPr lang="zh-CN" altLang="en-US"/>
          </a:p>
        </p:txBody>
      </p:sp>
    </p:spTree>
    <p:extLst>
      <p:ext uri="{BB962C8B-B14F-4D97-AF65-F5344CB8AC3E}">
        <p14:creationId xmlns:p14="http://schemas.microsoft.com/office/powerpoint/2010/main" val="264000190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E6FDB6-6D2B-46C1-9FA1-D82906A37C3A}" type="slidenum">
              <a:rPr lang="zh-CN" altLang="en-US" smtClean="0"/>
              <a:t>29</a:t>
            </a:fld>
            <a:endParaRPr lang="zh-CN" altLang="en-US"/>
          </a:p>
        </p:txBody>
      </p:sp>
    </p:spTree>
    <p:extLst>
      <p:ext uri="{BB962C8B-B14F-4D97-AF65-F5344CB8AC3E}">
        <p14:creationId xmlns:p14="http://schemas.microsoft.com/office/powerpoint/2010/main" val="15662853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S:</a:t>
            </a:r>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30</a:t>
            </a:fld>
            <a:endParaRPr lang="zh-CN" altLang="en-US"/>
          </a:p>
        </p:txBody>
      </p:sp>
    </p:spTree>
    <p:extLst>
      <p:ext uri="{BB962C8B-B14F-4D97-AF65-F5344CB8AC3E}">
        <p14:creationId xmlns:p14="http://schemas.microsoft.com/office/powerpoint/2010/main" val="340811555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S:</a:t>
            </a:r>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31</a:t>
            </a:fld>
            <a:endParaRPr lang="zh-CN" altLang="en-US"/>
          </a:p>
        </p:txBody>
      </p:sp>
    </p:spTree>
    <p:extLst>
      <p:ext uri="{BB962C8B-B14F-4D97-AF65-F5344CB8AC3E}">
        <p14:creationId xmlns:p14="http://schemas.microsoft.com/office/powerpoint/2010/main" val="105736255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E6FDB6-6D2B-46C1-9FA1-D82906A37C3A}" type="slidenum">
              <a:rPr lang="zh-CN" altLang="en-US" smtClean="0"/>
              <a:t>32</a:t>
            </a:fld>
            <a:endParaRPr lang="zh-CN" altLang="en-US"/>
          </a:p>
        </p:txBody>
      </p:sp>
    </p:spTree>
    <p:extLst>
      <p:ext uri="{BB962C8B-B14F-4D97-AF65-F5344CB8AC3E}">
        <p14:creationId xmlns:p14="http://schemas.microsoft.com/office/powerpoint/2010/main" val="29440210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33</a:t>
            </a:fld>
            <a:endParaRPr lang="zh-CN" altLang="en-US"/>
          </a:p>
        </p:txBody>
      </p:sp>
    </p:spTree>
    <p:extLst>
      <p:ext uri="{BB962C8B-B14F-4D97-AF65-F5344CB8AC3E}">
        <p14:creationId xmlns:p14="http://schemas.microsoft.com/office/powerpoint/2010/main" val="7007304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E6FDB6-6D2B-46C1-9FA1-D82906A37C3A}" type="slidenum">
              <a:rPr lang="zh-CN" altLang="en-US" smtClean="0"/>
              <a:t>3</a:t>
            </a:fld>
            <a:endParaRPr lang="zh-CN" altLang="en-US"/>
          </a:p>
        </p:txBody>
      </p:sp>
    </p:spTree>
    <p:extLst>
      <p:ext uri="{BB962C8B-B14F-4D97-AF65-F5344CB8AC3E}">
        <p14:creationId xmlns:p14="http://schemas.microsoft.com/office/powerpoint/2010/main" val="264158010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E6FDB6-6D2B-46C1-9FA1-D82906A37C3A}" type="slidenum">
              <a:rPr lang="zh-CN" altLang="en-US" smtClean="0"/>
              <a:t>34</a:t>
            </a:fld>
            <a:endParaRPr lang="zh-CN" altLang="en-US"/>
          </a:p>
        </p:txBody>
      </p:sp>
    </p:spTree>
    <p:extLst>
      <p:ext uri="{BB962C8B-B14F-4D97-AF65-F5344CB8AC3E}">
        <p14:creationId xmlns:p14="http://schemas.microsoft.com/office/powerpoint/2010/main" val="27310608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E6FDB6-6D2B-46C1-9FA1-D82906A37C3A}" type="slidenum">
              <a:rPr lang="zh-CN" altLang="en-US" smtClean="0"/>
              <a:t>35</a:t>
            </a:fld>
            <a:endParaRPr lang="zh-CN" altLang="en-US"/>
          </a:p>
        </p:txBody>
      </p:sp>
    </p:spTree>
    <p:extLst>
      <p:ext uri="{BB962C8B-B14F-4D97-AF65-F5344CB8AC3E}">
        <p14:creationId xmlns:p14="http://schemas.microsoft.com/office/powerpoint/2010/main" val="198843850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T: </a:t>
            </a:r>
            <a:r>
              <a:rPr lang="zh-CN" altLang="en-US" dirty="0" smtClean="0"/>
              <a:t>三种常用图进行讲述</a:t>
            </a:r>
            <a:endParaRPr lang="en-US" altLang="zh-CN" dirty="0" smtClean="0"/>
          </a:p>
          <a:p>
            <a:r>
              <a:rPr lang="zh-CN" altLang="en-US" dirty="0" smtClean="0"/>
              <a:t>活动图</a:t>
            </a:r>
            <a:endParaRPr lang="en-US" altLang="zh-CN" dirty="0" smtClean="0"/>
          </a:p>
          <a:p>
            <a:r>
              <a:rPr lang="zh-CN" altLang="en-US" dirty="0" smtClean="0"/>
              <a:t>组件图</a:t>
            </a:r>
            <a:endParaRPr lang="en-US" altLang="zh-CN" dirty="0" smtClean="0"/>
          </a:p>
          <a:p>
            <a:r>
              <a:rPr lang="zh-CN" altLang="en-US" dirty="0" smtClean="0"/>
              <a:t>状态图</a:t>
            </a:r>
            <a:endParaRPr lang="en-US" altLang="zh-CN" dirty="0" smtClean="0"/>
          </a:p>
          <a:p>
            <a:r>
              <a:rPr lang="zh-CN" altLang="en-US" dirty="0" smtClean="0"/>
              <a:t>对象图</a:t>
            </a:r>
            <a:endParaRPr lang="en-US" altLang="zh-CN" dirty="0" smtClean="0"/>
          </a:p>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36</a:t>
            </a:fld>
            <a:endParaRPr lang="zh-CN" altLang="en-US"/>
          </a:p>
        </p:txBody>
      </p:sp>
    </p:spTree>
    <p:extLst>
      <p:ext uri="{BB962C8B-B14F-4D97-AF65-F5344CB8AC3E}">
        <p14:creationId xmlns:p14="http://schemas.microsoft.com/office/powerpoint/2010/main" val="318050191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P:</a:t>
            </a:r>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37</a:t>
            </a:fld>
            <a:endParaRPr lang="zh-CN" altLang="en-US"/>
          </a:p>
        </p:txBody>
      </p:sp>
    </p:spTree>
    <p:extLst>
      <p:ext uri="{BB962C8B-B14F-4D97-AF65-F5344CB8AC3E}">
        <p14:creationId xmlns:p14="http://schemas.microsoft.com/office/powerpoint/2010/main" val="149748030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https://blog.csdn.net/zhengzhb/article/details/7187278</a:t>
            </a:r>
          </a:p>
          <a:p>
            <a:r>
              <a:rPr lang="en-US" altLang="zh-CN" dirty="0" smtClean="0"/>
              <a:t>-----------------------------------</a:t>
            </a:r>
          </a:p>
          <a:p>
            <a:r>
              <a:rPr lang="zh-CN" altLang="en-US" sz="1200" dirty="0" smtClean="0"/>
              <a:t>泛化</a:t>
            </a:r>
            <a:r>
              <a:rPr lang="en-US" altLang="zh-CN" sz="1200" dirty="0" smtClean="0"/>
              <a:t>(Generalization)  </a:t>
            </a:r>
            <a:r>
              <a:rPr lang="en-US" altLang="zh-CN" sz="1200" b="1" dirty="0" smtClean="0">
                <a:solidFill>
                  <a:srgbClr val="FF0000"/>
                </a:solidFill>
              </a:rPr>
              <a:t>is-a</a:t>
            </a:r>
            <a:r>
              <a:rPr lang="en-US" altLang="zh-CN" sz="1200" dirty="0" smtClean="0"/>
              <a:t/>
            </a:r>
            <a:br>
              <a:rPr lang="en-US" altLang="zh-CN" sz="1200" dirty="0" smtClean="0"/>
            </a:br>
            <a:endParaRPr lang="en-US" altLang="zh-CN" sz="1200" dirty="0" smtClean="0"/>
          </a:p>
          <a:p>
            <a:r>
              <a:rPr lang="en-US" altLang="zh-CN" sz="1200" dirty="0" smtClean="0"/>
              <a:t>[</a:t>
            </a:r>
            <a:r>
              <a:rPr lang="zh-CN" altLang="en-US" sz="1200" dirty="0" smtClean="0"/>
              <a:t>泛化关系</a:t>
            </a:r>
            <a:r>
              <a:rPr lang="en-US" altLang="zh-CN" sz="1200" dirty="0" smtClean="0"/>
              <a:t>]</a:t>
            </a:r>
            <a:r>
              <a:rPr lang="zh-CN" altLang="en-US" sz="1200" dirty="0" smtClean="0"/>
              <a:t>是一种继承关系，表示一般与特殊的关系，它指定了子类如何</a:t>
            </a:r>
            <a:r>
              <a:rPr lang="zh-CN" altLang="en-US" sz="1200" b="1" dirty="0" smtClean="0"/>
              <a:t>特化</a:t>
            </a:r>
            <a:r>
              <a:rPr lang="zh-CN" altLang="en-US" sz="1200" dirty="0" smtClean="0"/>
              <a:t>父类的</a:t>
            </a:r>
            <a:r>
              <a:rPr lang="zh-CN" altLang="en-US" sz="1200" b="1" dirty="0" smtClean="0"/>
              <a:t>所有</a:t>
            </a:r>
            <a:r>
              <a:rPr lang="zh-CN" altLang="en-US" sz="1200" dirty="0" smtClean="0"/>
              <a:t>特征和行为。例如老虎是动物的一种，即有老虎的特性也有动物的共性。</a:t>
            </a:r>
            <a:endParaRPr lang="en-US" altLang="zh-CN" sz="1200" dirty="0" smtClean="0"/>
          </a:p>
          <a:p>
            <a:endParaRPr lang="en-US" altLang="zh-CN" sz="1200" dirty="0" smtClean="0"/>
          </a:p>
          <a:p>
            <a:r>
              <a:rPr lang="en-US" altLang="zh-CN" sz="1200" dirty="0" smtClean="0"/>
              <a:t>[</a:t>
            </a:r>
            <a:r>
              <a:rPr lang="zh-CN" altLang="en-US" sz="1200" dirty="0" smtClean="0"/>
              <a:t>箭头指向</a:t>
            </a:r>
            <a:r>
              <a:rPr lang="en-US" altLang="zh-CN" sz="1200" dirty="0" smtClean="0"/>
              <a:t>]</a:t>
            </a:r>
            <a:r>
              <a:rPr lang="zh-CN" altLang="en-US" sz="1200" dirty="0" smtClean="0"/>
              <a:t>带</a:t>
            </a:r>
            <a:r>
              <a:rPr lang="zh-CN" altLang="en-US" sz="1200" b="1" dirty="0" smtClean="0"/>
              <a:t>三角箭头</a:t>
            </a:r>
            <a:r>
              <a:rPr lang="zh-CN" altLang="en-US" sz="1200" dirty="0" smtClean="0"/>
              <a:t>的</a:t>
            </a:r>
            <a:r>
              <a:rPr lang="zh-CN" altLang="en-US" sz="1200" b="1" dirty="0" smtClean="0"/>
              <a:t>实线</a:t>
            </a:r>
            <a:r>
              <a:rPr lang="zh-CN" altLang="en-US" sz="1200" dirty="0" smtClean="0"/>
              <a:t>，箭头指向父类</a:t>
            </a:r>
            <a:endParaRPr lang="en-US" altLang="zh-CN" sz="120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dirty="0" smtClean="0"/>
              <a:t>[Animal {</a:t>
            </a:r>
            <a:r>
              <a:rPr lang="en-US" altLang="zh-CN" sz="1200" dirty="0" err="1" smtClean="0"/>
              <a:t>bg:red</a:t>
            </a:r>
            <a:r>
              <a:rPr lang="en-US" altLang="zh-CN" sz="1200" dirty="0" smtClean="0"/>
              <a:t>}]  ^-  [Tiger {</a:t>
            </a:r>
            <a:r>
              <a:rPr lang="en-US" altLang="zh-CN" sz="1200" dirty="0" err="1" smtClean="0"/>
              <a:t>bg:red</a:t>
            </a:r>
            <a:r>
              <a:rPr lang="en-US" altLang="zh-CN" sz="1200" dirty="0" smtClean="0"/>
              <a:t>}]</a:t>
            </a:r>
            <a:endParaRPr lang="zh-CN" altLang="en-US" sz="1200" dirty="0" smtClean="0"/>
          </a:p>
          <a:p>
            <a:r>
              <a:rPr lang="en-US" altLang="zh-CN" dirty="0" smtClean="0"/>
              <a:t>----------------------------------------</a:t>
            </a:r>
          </a:p>
          <a:p>
            <a:r>
              <a:rPr lang="zh-CN" altLang="en-US" sz="1200" dirty="0" smtClean="0"/>
              <a:t>实现</a:t>
            </a:r>
            <a:r>
              <a:rPr lang="en-US" altLang="zh-CN" sz="1200" dirty="0" smtClean="0"/>
              <a:t>(Realization)</a:t>
            </a:r>
            <a:br>
              <a:rPr lang="en-US" altLang="zh-CN" sz="1200" dirty="0" smtClean="0"/>
            </a:br>
            <a:endParaRPr lang="en-US" altLang="zh-CN" sz="1200" dirty="0" smtClean="0"/>
          </a:p>
          <a:p>
            <a:r>
              <a:rPr lang="en-US" altLang="zh-CN" sz="1200" dirty="0" smtClean="0"/>
              <a:t>[</a:t>
            </a:r>
            <a:r>
              <a:rPr lang="zh-CN" altLang="en-US" sz="1200" dirty="0" smtClean="0"/>
              <a:t>实现关系</a:t>
            </a:r>
            <a:r>
              <a:rPr lang="en-US" altLang="zh-CN" sz="1200" dirty="0" smtClean="0"/>
              <a:t>]</a:t>
            </a:r>
            <a:r>
              <a:rPr lang="zh-CN" altLang="en-US" sz="1200" dirty="0" smtClean="0"/>
              <a:t>是一种类与接口的关系，表示类是接口的所有特征和行为的实现。</a:t>
            </a:r>
            <a:endParaRPr lang="en-US" altLang="zh-CN" sz="1200" dirty="0" smtClean="0"/>
          </a:p>
          <a:p>
            <a:endParaRPr lang="en-US" altLang="zh-CN" sz="1200" dirty="0" smtClean="0"/>
          </a:p>
          <a:p>
            <a:r>
              <a:rPr lang="en-US" altLang="zh-CN" sz="1200" dirty="0" smtClean="0"/>
              <a:t>[</a:t>
            </a:r>
            <a:r>
              <a:rPr lang="zh-CN" altLang="en-US" sz="1200" dirty="0" smtClean="0"/>
              <a:t>箭头指向</a:t>
            </a:r>
            <a:r>
              <a:rPr lang="en-US" altLang="zh-CN" sz="1200" dirty="0" smtClean="0"/>
              <a:t>]</a:t>
            </a:r>
            <a:r>
              <a:rPr lang="zh-CN" altLang="en-US" sz="1200" dirty="0" smtClean="0"/>
              <a:t>带</a:t>
            </a:r>
            <a:r>
              <a:rPr lang="zh-CN" altLang="en-US" sz="1200" b="1" dirty="0" smtClean="0"/>
              <a:t>三角箭头</a:t>
            </a:r>
            <a:r>
              <a:rPr lang="zh-CN" altLang="en-US" sz="1200" dirty="0" smtClean="0"/>
              <a:t>的</a:t>
            </a:r>
            <a:r>
              <a:rPr lang="zh-CN" altLang="en-US" sz="1200" b="1" dirty="0" smtClean="0"/>
              <a:t>虚线</a:t>
            </a:r>
            <a:r>
              <a:rPr lang="zh-CN" altLang="en-US" sz="1200" dirty="0" smtClean="0"/>
              <a:t>，箭头指向接口</a:t>
            </a:r>
            <a:endParaRPr lang="en-US" altLang="zh-CN" sz="120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dirty="0" smtClean="0"/>
              <a:t>[&lt;&lt;</a:t>
            </a:r>
            <a:r>
              <a:rPr lang="en-US" altLang="zh-CN" sz="1200" dirty="0" err="1" smtClean="0"/>
              <a:t>ITask</a:t>
            </a:r>
            <a:r>
              <a:rPr lang="en-US" altLang="zh-CN" sz="1200" dirty="0" smtClean="0"/>
              <a:t>&gt;&gt;;</a:t>
            </a:r>
            <a:r>
              <a:rPr lang="en-US" altLang="zh-CN" sz="1200" dirty="0" err="1" smtClean="0"/>
              <a:t>doWork</a:t>
            </a:r>
            <a:r>
              <a:rPr lang="en-US" altLang="zh-CN" sz="1200" dirty="0" smtClean="0"/>
              <a:t> {</a:t>
            </a:r>
            <a:r>
              <a:rPr lang="en-US" altLang="zh-CN" sz="1200" dirty="0" err="1" smtClean="0"/>
              <a:t>bg:green</a:t>
            </a:r>
            <a:r>
              <a:rPr lang="en-US" altLang="zh-CN" sz="1200" dirty="0" smtClean="0"/>
              <a:t>}] ^-.- [</a:t>
            </a:r>
            <a:r>
              <a:rPr lang="en-US" altLang="zh-CN" sz="1200" dirty="0" err="1" smtClean="0"/>
              <a:t>NightlyTask</a:t>
            </a:r>
            <a:r>
              <a:rPr lang="en-US" altLang="zh-CN" sz="1200" dirty="0" smtClean="0"/>
              <a:t> {</a:t>
            </a:r>
            <a:r>
              <a:rPr lang="en-US" altLang="zh-CN" sz="1200" dirty="0" err="1" smtClean="0"/>
              <a:t>bg:g</a:t>
            </a:r>
            <a:r>
              <a:rPr lang="en-US" altLang="zh-CN" sz="1200" dirty="0" smtClean="0"/>
              <a:t> </a:t>
            </a:r>
            <a:r>
              <a:rPr lang="en-US" altLang="zh-CN" sz="1200" dirty="0" err="1" smtClean="0"/>
              <a:t>reen</a:t>
            </a:r>
            <a:r>
              <a:rPr lang="en-US" altLang="zh-CN" sz="1200" dirty="0" smtClean="0"/>
              <a:t>}]</a:t>
            </a:r>
            <a:endParaRPr lang="zh-CN" altLang="en-US" sz="1200" dirty="0" smtClean="0"/>
          </a:p>
          <a:p>
            <a:endParaRPr lang="zh-CN" altLang="en-US" sz="1200" dirty="0" smtClean="0"/>
          </a:p>
          <a:p>
            <a:endParaRPr lang="en-US" altLang="zh-CN" dirty="0" smtClean="0"/>
          </a:p>
          <a:p>
            <a:r>
              <a:rPr lang="en-US" altLang="zh-CN" dirty="0" smtClean="0"/>
              <a:t>----------------</a:t>
            </a:r>
          </a:p>
          <a:p>
            <a:r>
              <a:rPr lang="zh-CN" altLang="en-US" sz="1200" dirty="0" smtClean="0"/>
              <a:t>组合</a:t>
            </a:r>
            <a:r>
              <a:rPr lang="en-US" altLang="zh-CN" sz="1200" dirty="0" smtClean="0"/>
              <a:t>(Composition)  </a:t>
            </a:r>
            <a:r>
              <a:rPr lang="en-US" altLang="zh-CN" sz="1200" b="1" dirty="0" smtClean="0">
                <a:solidFill>
                  <a:srgbClr val="FF0000"/>
                </a:solidFill>
              </a:rPr>
              <a:t>contains-a</a:t>
            </a:r>
            <a:r>
              <a:rPr lang="en-US" altLang="zh-CN" sz="1200" dirty="0" smtClean="0"/>
              <a:t/>
            </a:r>
            <a:br>
              <a:rPr lang="en-US" altLang="zh-CN" sz="1200" dirty="0" smtClean="0"/>
            </a:br>
            <a:endParaRPr lang="en-US" altLang="zh-CN" sz="1200" dirty="0" smtClean="0"/>
          </a:p>
          <a:p>
            <a:r>
              <a:rPr lang="en-US" altLang="zh-CN" sz="1200" dirty="0" smtClean="0"/>
              <a:t>[</a:t>
            </a:r>
            <a:r>
              <a:rPr lang="zh-CN" altLang="en-US" sz="1200" dirty="0" smtClean="0"/>
              <a:t>组合关系</a:t>
            </a:r>
            <a:r>
              <a:rPr lang="en-US" altLang="zh-CN" sz="1200" dirty="0" smtClean="0"/>
              <a:t>]</a:t>
            </a:r>
            <a:r>
              <a:rPr lang="zh-CN" altLang="en-US" sz="1200" dirty="0" smtClean="0"/>
              <a:t>是整体与部分的关系，但部分不能离开整体而单独存在。如公司和部门是整体和部分的关系，没有公司就不存在部门。</a:t>
            </a:r>
            <a:endParaRPr lang="en-US" altLang="zh-CN" sz="1200" dirty="0" smtClean="0"/>
          </a:p>
          <a:p>
            <a:r>
              <a:rPr lang="zh-CN" altLang="en-US" sz="1200" dirty="0" smtClean="0"/>
              <a:t>组合关系是关联关系的一种，是比聚合还要强的关系，它要求普通的聚合关系中代表整体的对象负责代表部分的对象的生命周期。</a:t>
            </a:r>
            <a:endParaRPr lang="en-US" altLang="zh-CN" sz="1200" dirty="0" smtClean="0"/>
          </a:p>
          <a:p>
            <a:endParaRPr lang="en-US" altLang="zh-CN" sz="1200" dirty="0" smtClean="0"/>
          </a:p>
          <a:p>
            <a:r>
              <a:rPr lang="en-US" altLang="zh-CN" sz="1200" dirty="0" smtClean="0"/>
              <a:t>[</a:t>
            </a:r>
            <a:r>
              <a:rPr lang="zh-CN" altLang="en-US" sz="1200" dirty="0" smtClean="0"/>
              <a:t>代码体现</a:t>
            </a:r>
            <a:r>
              <a:rPr lang="en-US" altLang="zh-CN" sz="1200" dirty="0" smtClean="0"/>
              <a:t>]</a:t>
            </a:r>
            <a:r>
              <a:rPr lang="zh-CN" altLang="en-US" sz="1200" dirty="0" smtClean="0"/>
              <a:t>成员变量</a:t>
            </a:r>
            <a:endParaRPr lang="en-US" altLang="zh-CN" sz="1200" dirty="0" smtClean="0"/>
          </a:p>
          <a:p>
            <a:endParaRPr lang="en-US" altLang="zh-CN" sz="1200" dirty="0" smtClean="0"/>
          </a:p>
          <a:p>
            <a:r>
              <a:rPr lang="en-US" altLang="zh-CN" sz="1200" dirty="0" smtClean="0"/>
              <a:t>[</a:t>
            </a:r>
            <a:r>
              <a:rPr lang="zh-CN" altLang="en-US" sz="1200" dirty="0" smtClean="0"/>
              <a:t>箭头指向</a:t>
            </a:r>
            <a:r>
              <a:rPr lang="en-US" altLang="zh-CN" sz="1200" dirty="0" smtClean="0"/>
              <a:t>]</a:t>
            </a:r>
            <a:r>
              <a:rPr lang="zh-CN" altLang="en-US" sz="1200" dirty="0" smtClean="0"/>
              <a:t>带</a:t>
            </a:r>
            <a:r>
              <a:rPr lang="zh-CN" altLang="en-US" sz="1200" b="1" dirty="0" smtClean="0"/>
              <a:t>三角箭头</a:t>
            </a:r>
            <a:r>
              <a:rPr lang="zh-CN" altLang="en-US" sz="1200" dirty="0" smtClean="0"/>
              <a:t>的</a:t>
            </a:r>
            <a:r>
              <a:rPr lang="zh-CN" altLang="en-US" sz="1200" b="1" dirty="0" smtClean="0"/>
              <a:t>虚线</a:t>
            </a:r>
            <a:r>
              <a:rPr lang="zh-CN" altLang="en-US" sz="1200" dirty="0" smtClean="0"/>
              <a:t>，箭头指向整体</a:t>
            </a:r>
            <a:endParaRPr lang="en-US" altLang="zh-CN" sz="120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dirty="0" smtClean="0"/>
              <a:t>[Company {</a:t>
            </a:r>
            <a:r>
              <a:rPr lang="en-US" altLang="zh-CN" sz="1200" dirty="0" err="1" smtClean="0"/>
              <a:t>bg:yellow</a:t>
            </a:r>
            <a:r>
              <a:rPr lang="en-US" altLang="zh-CN" sz="1200" dirty="0" smtClean="0"/>
              <a:t>}] ++-10&gt; [Department {</a:t>
            </a:r>
            <a:r>
              <a:rPr lang="en-US" altLang="zh-CN" sz="1200" dirty="0" err="1" smtClean="0"/>
              <a:t>bg:yellow</a:t>
            </a:r>
            <a:r>
              <a:rPr lang="en-US" altLang="zh-CN" sz="1200" dirty="0" smtClean="0"/>
              <a:t>}]</a:t>
            </a:r>
            <a:endParaRPr lang="zh-CN" altLang="en-US" sz="1200" dirty="0" smtClean="0"/>
          </a:p>
          <a:p>
            <a:endParaRPr lang="en-US" altLang="zh-CN" sz="1200" dirty="0" smtClean="0"/>
          </a:p>
          <a:p>
            <a:r>
              <a:rPr lang="en-US" altLang="zh-CN" sz="1200" dirty="0" smtClean="0"/>
              <a:t>----------------------------</a:t>
            </a:r>
          </a:p>
          <a:p>
            <a:r>
              <a:rPr lang="zh-CN" altLang="en-US" sz="1200" dirty="0" smtClean="0"/>
              <a:t>关联</a:t>
            </a:r>
            <a:r>
              <a:rPr lang="en-US" altLang="zh-CN" sz="1200" dirty="0" smtClean="0"/>
              <a:t>(Association)</a:t>
            </a:r>
            <a:br>
              <a:rPr lang="en-US" altLang="zh-CN" sz="1200" dirty="0" smtClean="0"/>
            </a:br>
            <a:endParaRPr lang="en-US" altLang="zh-CN" sz="1200" dirty="0" smtClean="0"/>
          </a:p>
          <a:p>
            <a:r>
              <a:rPr lang="en-US" altLang="zh-CN" sz="1200" dirty="0" smtClean="0"/>
              <a:t>[</a:t>
            </a:r>
            <a:r>
              <a:rPr lang="zh-CN" altLang="en-US" sz="1200" dirty="0" smtClean="0"/>
              <a:t>关联关系</a:t>
            </a:r>
            <a:r>
              <a:rPr lang="en-US" altLang="zh-CN" sz="1200" dirty="0" smtClean="0"/>
              <a:t>]</a:t>
            </a:r>
            <a:r>
              <a:rPr lang="zh-CN" altLang="en-US" sz="1200" dirty="0" smtClean="0"/>
              <a:t>对象之间一种引用关系，比如客户类与订单类之间的关系。这种关系通常使用类的属性表达。关联又分为一般关联、聚合关联与组合关联。后两种在后面分析。在类图使用带箭头的实线表示，箭头从使用类指向被关联的类。可以是单向和双向。</a:t>
            </a:r>
            <a:endParaRPr lang="en-US" altLang="zh-CN" sz="1200" dirty="0" smtClean="0"/>
          </a:p>
          <a:p>
            <a:endParaRPr lang="en-US" altLang="zh-CN" sz="1200" dirty="0" smtClean="0"/>
          </a:p>
          <a:p>
            <a:r>
              <a:rPr lang="en-US" altLang="zh-CN" sz="1200" dirty="0" smtClean="0"/>
              <a:t>[</a:t>
            </a:r>
            <a:r>
              <a:rPr lang="zh-CN" altLang="en-US" sz="1200" dirty="0" smtClean="0"/>
              <a:t>代码体现</a:t>
            </a:r>
            <a:r>
              <a:rPr lang="en-US" altLang="zh-CN" sz="1200" dirty="0" smtClean="0"/>
              <a:t>]</a:t>
            </a:r>
            <a:r>
              <a:rPr lang="zh-CN" altLang="en-US" sz="1200" dirty="0" smtClean="0"/>
              <a:t>成员变量</a:t>
            </a:r>
            <a:endParaRPr lang="en-US" altLang="zh-CN" sz="1200" dirty="0" smtClean="0"/>
          </a:p>
          <a:p>
            <a:endParaRPr lang="en-US" altLang="zh-CN" sz="1200" dirty="0" smtClean="0"/>
          </a:p>
          <a:p>
            <a:r>
              <a:rPr lang="en-US" altLang="zh-CN" sz="1200" dirty="0" smtClean="0"/>
              <a:t>[</a:t>
            </a:r>
            <a:r>
              <a:rPr lang="zh-CN" altLang="en-US" sz="1200" dirty="0" smtClean="0"/>
              <a:t>箭头指向</a:t>
            </a:r>
            <a:r>
              <a:rPr lang="en-US" altLang="zh-CN" sz="1200" dirty="0" smtClean="0"/>
              <a:t>]</a:t>
            </a:r>
            <a:r>
              <a:rPr lang="zh-CN" altLang="en-US" sz="1200" dirty="0" smtClean="0"/>
              <a:t>带</a:t>
            </a:r>
            <a:r>
              <a:rPr lang="zh-CN" altLang="en-US" sz="1200" b="1" dirty="0" smtClean="0"/>
              <a:t>普通箭头</a:t>
            </a:r>
            <a:r>
              <a:rPr lang="zh-CN" altLang="en-US" sz="1200" dirty="0" smtClean="0"/>
              <a:t>的</a:t>
            </a:r>
            <a:r>
              <a:rPr lang="zh-CN" altLang="en-US" sz="1200" b="1" dirty="0" smtClean="0"/>
              <a:t>实线</a:t>
            </a:r>
            <a:r>
              <a:rPr lang="zh-CN" altLang="en-US" sz="1200" dirty="0" smtClean="0"/>
              <a:t>，箭头指向被拥有者</a:t>
            </a:r>
            <a:endParaRPr lang="en-US" altLang="zh-CN" sz="120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dirty="0" smtClean="0"/>
              <a:t>[Customer]&lt;-&gt;[Order]</a:t>
            </a:r>
            <a:endParaRPr lang="zh-CN" altLang="en-US" sz="1200" dirty="0" smtClean="0"/>
          </a:p>
          <a:p>
            <a:endParaRPr lang="zh-CN" altLang="en-US" sz="1200" dirty="0" smtClean="0"/>
          </a:p>
          <a:p>
            <a:r>
              <a:rPr lang="en-US" altLang="zh-CN" sz="1200" dirty="0" smtClean="0"/>
              <a:t>-----------------------------------------------</a:t>
            </a:r>
          </a:p>
          <a:p>
            <a:r>
              <a:rPr lang="zh-CN" altLang="en-US" sz="1200" dirty="0" smtClean="0"/>
              <a:t>依赖</a:t>
            </a:r>
            <a:r>
              <a:rPr lang="en-US" altLang="zh-CN" sz="1200" dirty="0" smtClean="0"/>
              <a:t>(Dependency)</a:t>
            </a:r>
            <a:br>
              <a:rPr lang="en-US" altLang="zh-CN" sz="1200" dirty="0" smtClean="0"/>
            </a:br>
            <a:endParaRPr lang="en-US" altLang="zh-CN" sz="1200" dirty="0" smtClean="0"/>
          </a:p>
          <a:p>
            <a:r>
              <a:rPr lang="en-US" altLang="zh-CN" sz="1200" dirty="0" smtClean="0"/>
              <a:t>[</a:t>
            </a:r>
            <a:r>
              <a:rPr lang="zh-CN" altLang="en-US" sz="1200" dirty="0" smtClean="0"/>
              <a:t>依赖关系</a:t>
            </a:r>
            <a:r>
              <a:rPr lang="en-US" altLang="zh-CN" sz="1200" dirty="0" smtClean="0"/>
              <a:t>]</a:t>
            </a:r>
            <a:r>
              <a:rPr lang="zh-CN" altLang="en-US" sz="1200" dirty="0" smtClean="0"/>
              <a:t>是一种使用的关系，即一个类的实现需要另一个类的协助，所以要尽量不使用双向的互相依赖</a:t>
            </a:r>
            <a:endParaRPr lang="en-US" altLang="zh-CN" sz="1200" dirty="0" smtClean="0"/>
          </a:p>
          <a:p>
            <a:endParaRPr lang="en-US" altLang="zh-CN" sz="1200" dirty="0" smtClean="0"/>
          </a:p>
          <a:p>
            <a:r>
              <a:rPr lang="en-US" altLang="zh-CN" sz="1200" dirty="0" smtClean="0"/>
              <a:t>[</a:t>
            </a:r>
            <a:r>
              <a:rPr lang="zh-CN" altLang="en-US" sz="1200" dirty="0" smtClean="0"/>
              <a:t>代码体现</a:t>
            </a:r>
            <a:r>
              <a:rPr lang="en-US" altLang="zh-CN" sz="1200" dirty="0" smtClean="0"/>
              <a:t>]</a:t>
            </a:r>
            <a:r>
              <a:rPr lang="zh-CN" altLang="en-US" sz="1200" dirty="0" smtClean="0"/>
              <a:t>局部变量，方法的参数或者对静态方法的调用</a:t>
            </a:r>
            <a:endParaRPr lang="en-US" altLang="zh-CN" sz="1200" dirty="0" smtClean="0"/>
          </a:p>
          <a:p>
            <a:endParaRPr lang="en-US" altLang="zh-CN" sz="1200" dirty="0" smtClean="0"/>
          </a:p>
          <a:p>
            <a:r>
              <a:rPr lang="en-US" altLang="zh-CN" sz="1200" dirty="0" smtClean="0"/>
              <a:t>[</a:t>
            </a:r>
            <a:r>
              <a:rPr lang="zh-CN" altLang="en-US" sz="1200" dirty="0" smtClean="0"/>
              <a:t>箭头指向</a:t>
            </a:r>
            <a:r>
              <a:rPr lang="en-US" altLang="zh-CN" sz="1200" dirty="0" smtClean="0"/>
              <a:t>]</a:t>
            </a:r>
            <a:r>
              <a:rPr lang="zh-CN" altLang="en-US" sz="1200" dirty="0" smtClean="0"/>
              <a:t>带</a:t>
            </a:r>
            <a:r>
              <a:rPr lang="zh-CN" altLang="en-US" sz="1200" b="1" dirty="0" smtClean="0"/>
              <a:t>箭头</a:t>
            </a:r>
            <a:r>
              <a:rPr lang="zh-CN" altLang="en-US" sz="1200" dirty="0" smtClean="0"/>
              <a:t>的</a:t>
            </a:r>
            <a:r>
              <a:rPr lang="zh-CN" altLang="en-US" sz="1200" b="1" dirty="0" smtClean="0"/>
              <a:t>虚线</a:t>
            </a:r>
            <a:r>
              <a:rPr lang="zh-CN" altLang="en-US" sz="1200" dirty="0" smtClean="0"/>
              <a:t>，箭头指向被使用者</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dirty="0" smtClean="0"/>
              <a:t>[</a:t>
            </a:r>
            <a:r>
              <a:rPr lang="en-US" altLang="zh-CN" sz="1200" dirty="0" err="1" smtClean="0"/>
              <a:t>HttpContext</a:t>
            </a:r>
            <a:r>
              <a:rPr lang="en-US" altLang="zh-CN" sz="1200" dirty="0" smtClean="0"/>
              <a:t> {</a:t>
            </a:r>
            <a:r>
              <a:rPr lang="en-US" altLang="zh-CN" sz="1200" dirty="0" err="1" smtClean="0"/>
              <a:t>bg:wheat</a:t>
            </a:r>
            <a:r>
              <a:rPr lang="en-US" altLang="zh-CN" sz="1200" dirty="0" smtClean="0"/>
              <a:t>}]uses -.-&gt;[Response {</a:t>
            </a:r>
            <a:r>
              <a:rPr lang="en-US" altLang="zh-CN" sz="1200" dirty="0" err="1" smtClean="0"/>
              <a:t>bg:wheat</a:t>
            </a:r>
            <a:r>
              <a:rPr lang="en-US" altLang="zh-CN" sz="1200" dirty="0" smtClean="0"/>
              <a:t>}]</a:t>
            </a:r>
            <a:endParaRPr lang="zh-CN" altLang="en-US" sz="1200" dirty="0" smtClean="0"/>
          </a:p>
          <a:p>
            <a:r>
              <a:rPr lang="en-US" altLang="zh-CN" sz="1200" dirty="0" smtClean="0"/>
              <a:t>--------------------------------------------</a:t>
            </a:r>
            <a:endParaRPr lang="zh-CN" altLang="en-US" sz="1200" dirty="0" smtClean="0"/>
          </a:p>
          <a:p>
            <a:r>
              <a:rPr lang="zh-CN" altLang="en-US" sz="1200" dirty="0" smtClean="0"/>
              <a:t>聚合</a:t>
            </a:r>
            <a:r>
              <a:rPr lang="en-US" altLang="zh-CN" sz="1200" dirty="0" smtClean="0"/>
              <a:t>(Aggregation)   </a:t>
            </a:r>
            <a:r>
              <a:rPr lang="en-US" altLang="zh-CN" sz="1200" b="1" dirty="0" smtClean="0">
                <a:solidFill>
                  <a:srgbClr val="FF0000"/>
                </a:solidFill>
              </a:rPr>
              <a:t>has-a</a:t>
            </a:r>
            <a:r>
              <a:rPr lang="en-US" altLang="zh-CN" sz="1200" dirty="0" smtClean="0"/>
              <a:t/>
            </a:r>
            <a:br>
              <a:rPr lang="en-US" altLang="zh-CN" sz="1200" dirty="0" smtClean="0"/>
            </a:br>
            <a:endParaRPr lang="en-US" altLang="zh-CN" sz="1200" dirty="0" smtClean="0"/>
          </a:p>
          <a:p>
            <a:r>
              <a:rPr lang="en-US" altLang="zh-CN" sz="1200" dirty="0" smtClean="0"/>
              <a:t>[</a:t>
            </a:r>
            <a:r>
              <a:rPr lang="zh-CN" altLang="en-US" sz="1200" dirty="0" smtClean="0"/>
              <a:t>聚合关系</a:t>
            </a:r>
            <a:r>
              <a:rPr lang="en-US" altLang="zh-CN" sz="1200" dirty="0" smtClean="0"/>
              <a:t>]</a:t>
            </a:r>
            <a:r>
              <a:rPr lang="zh-CN" altLang="en-US" sz="1200" dirty="0" smtClean="0"/>
              <a:t>是整体与部分的关系，且部分可以离开整体而单独存在。如公司和员工是整体和部分的关系，员工离公司仍然可以存在。</a:t>
            </a:r>
            <a:endParaRPr lang="en-US" altLang="zh-CN" sz="1200" dirty="0" smtClean="0"/>
          </a:p>
          <a:p>
            <a:r>
              <a:rPr lang="zh-CN" altLang="en-US" sz="1200" dirty="0" smtClean="0"/>
              <a:t>聚合关系是关联关系的一种，是强的关联关系；关联和聚合在语法上无法区分，必须考察具体逻辑关系。</a:t>
            </a:r>
            <a:endParaRPr lang="en-US" altLang="zh-CN" sz="1200" dirty="0" smtClean="0"/>
          </a:p>
          <a:p>
            <a:endParaRPr lang="en-US" altLang="zh-CN" sz="1200" dirty="0" smtClean="0"/>
          </a:p>
          <a:p>
            <a:r>
              <a:rPr lang="en-US" altLang="zh-CN" sz="1200" dirty="0" smtClean="0"/>
              <a:t>[</a:t>
            </a:r>
            <a:r>
              <a:rPr lang="zh-CN" altLang="en-US" sz="1200" dirty="0" smtClean="0"/>
              <a:t>代码体现</a:t>
            </a:r>
            <a:r>
              <a:rPr lang="en-US" altLang="zh-CN" sz="1200" dirty="0" smtClean="0"/>
              <a:t>]</a:t>
            </a:r>
            <a:r>
              <a:rPr lang="zh-CN" altLang="en-US" sz="1200" dirty="0" smtClean="0"/>
              <a:t>成员变量</a:t>
            </a:r>
            <a:endParaRPr lang="en-US" altLang="zh-CN" sz="1200" dirty="0" smtClean="0"/>
          </a:p>
          <a:p>
            <a:endParaRPr lang="en-US" altLang="zh-CN" sz="1200" dirty="0" smtClean="0"/>
          </a:p>
          <a:p>
            <a:r>
              <a:rPr lang="en-US" altLang="zh-CN" sz="1200" dirty="0" smtClean="0"/>
              <a:t>[</a:t>
            </a:r>
            <a:r>
              <a:rPr lang="zh-CN" altLang="en-US" sz="1200" dirty="0" smtClean="0"/>
              <a:t>箭头指向</a:t>
            </a:r>
            <a:r>
              <a:rPr lang="en-US" altLang="zh-CN" sz="1200" dirty="0" smtClean="0"/>
              <a:t>]</a:t>
            </a:r>
            <a:r>
              <a:rPr lang="zh-CN" altLang="en-US" sz="1200" dirty="0" smtClean="0"/>
              <a:t>带</a:t>
            </a:r>
            <a:r>
              <a:rPr lang="zh-CN" altLang="en-US" sz="1200" b="1" dirty="0" smtClean="0"/>
              <a:t>空心菱形</a:t>
            </a:r>
            <a:r>
              <a:rPr lang="zh-CN" altLang="en-US" sz="1200" dirty="0" smtClean="0"/>
              <a:t>的</a:t>
            </a:r>
            <a:r>
              <a:rPr lang="zh-CN" altLang="en-US" sz="1200" b="1" dirty="0" smtClean="0"/>
              <a:t>实现</a:t>
            </a:r>
            <a:r>
              <a:rPr lang="zh-CN" altLang="en-US" sz="1200" dirty="0" smtClean="0"/>
              <a:t>，菱形指向整体</a:t>
            </a:r>
            <a:endParaRPr lang="en-US" altLang="zh-CN" sz="120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dirty="0" smtClean="0"/>
              <a:t>[Company{</a:t>
            </a:r>
            <a:r>
              <a:rPr lang="en-US" altLang="zh-CN" sz="1200" dirty="0" err="1" smtClean="0"/>
              <a:t>bg:turquoise</a:t>
            </a:r>
            <a:r>
              <a:rPr lang="en-US" altLang="zh-CN" sz="1200" dirty="0" smtClean="0"/>
              <a:t>}]&lt;&gt;-&gt;[Employee{</a:t>
            </a:r>
            <a:r>
              <a:rPr lang="en-US" altLang="zh-CN" sz="1200" dirty="0" err="1" smtClean="0"/>
              <a:t>bg:turquoise</a:t>
            </a:r>
            <a:r>
              <a:rPr lang="en-US" altLang="zh-CN" sz="1200" dirty="0" smtClean="0"/>
              <a:t>}]</a:t>
            </a:r>
          </a:p>
          <a:p>
            <a:endParaRPr lang="en-US" altLang="zh-CN" sz="1200" dirty="0" smtClean="0"/>
          </a:p>
          <a:p>
            <a:r>
              <a:rPr lang="en-US" altLang="zh-CN" sz="1200" dirty="0" smtClean="0"/>
              <a:t>---------------------------------------------------------</a:t>
            </a:r>
            <a:endParaRPr lang="zh-CN" altLang="en-US" dirty="0"/>
          </a:p>
        </p:txBody>
      </p:sp>
      <p:sp>
        <p:nvSpPr>
          <p:cNvPr id="4" name="灯片编号占位符 3"/>
          <p:cNvSpPr>
            <a:spLocks noGrp="1"/>
          </p:cNvSpPr>
          <p:nvPr>
            <p:ph type="sldNum" sz="quarter" idx="10"/>
          </p:nvPr>
        </p:nvSpPr>
        <p:spPr/>
        <p:txBody>
          <a:bodyPr/>
          <a:lstStyle/>
          <a:p>
            <a:fld id="{E8B01561-D8D5-49D5-8D11-26FDF7CA89E5}" type="slidenum">
              <a:rPr lang="zh-CN" altLang="en-US" smtClean="0"/>
              <a:t>38</a:t>
            </a:fld>
            <a:endParaRPr lang="zh-CN" altLang="en-US"/>
          </a:p>
        </p:txBody>
      </p:sp>
    </p:spTree>
    <p:extLst>
      <p:ext uri="{BB962C8B-B14F-4D97-AF65-F5344CB8AC3E}">
        <p14:creationId xmlns:p14="http://schemas.microsoft.com/office/powerpoint/2010/main" val="155350182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8B01561-D8D5-49D5-8D11-26FDF7CA89E5}" type="slidenum">
              <a:rPr lang="zh-CN" altLang="en-US" smtClean="0"/>
              <a:t>39</a:t>
            </a:fld>
            <a:endParaRPr lang="zh-CN" altLang="en-US"/>
          </a:p>
        </p:txBody>
      </p:sp>
    </p:spTree>
    <p:extLst>
      <p:ext uri="{BB962C8B-B14F-4D97-AF65-F5344CB8AC3E}">
        <p14:creationId xmlns:p14="http://schemas.microsoft.com/office/powerpoint/2010/main" val="428833107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引入下一页</a:t>
            </a:r>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40</a:t>
            </a:fld>
            <a:endParaRPr lang="zh-CN" altLang="en-US"/>
          </a:p>
        </p:txBody>
      </p:sp>
    </p:spTree>
    <p:extLst>
      <p:ext uri="{BB962C8B-B14F-4D97-AF65-F5344CB8AC3E}">
        <p14:creationId xmlns:p14="http://schemas.microsoft.com/office/powerpoint/2010/main" val="29081774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a:buFont typeface="+mj-lt"/>
              <a:buAutoNum type="arabicPeriod"/>
            </a:pPr>
            <a:r>
              <a:rPr lang="zh-CN" altLang="en-US" sz="1200" dirty="0" smtClean="0">
                <a:latin typeface="PingFang SC"/>
              </a:rPr>
              <a:t>第一个对象是某操作者，</a:t>
            </a:r>
            <a:r>
              <a:rPr lang="zh-CN" altLang="en-US" sz="1200" b="1" dirty="0" smtClean="0">
                <a:latin typeface="PingFang SC"/>
              </a:rPr>
              <a:t>第一步肯定是与系统进行交互</a:t>
            </a:r>
            <a:r>
              <a:rPr lang="zh-CN" altLang="en-US" sz="1200" dirty="0" smtClean="0">
                <a:latin typeface="PingFang SC"/>
              </a:rPr>
              <a:t>。如果画详细点的话可以再加个界面，第一步与界面交互，再界面与系统交互。</a:t>
            </a:r>
          </a:p>
          <a:p>
            <a:pPr>
              <a:buFont typeface="+mj-lt"/>
              <a:buAutoNum type="arabicPeriod"/>
            </a:pPr>
            <a:r>
              <a:rPr lang="zh-CN" altLang="en-US" sz="1200" dirty="0" smtClean="0">
                <a:latin typeface="PingFang SC"/>
              </a:rPr>
              <a:t>确定哪些情况要同步或者异步的返回信息。返回信息必须是与发送消息的对象一致，方向相反。</a:t>
            </a:r>
          </a:p>
          <a:p>
            <a:pPr>
              <a:buFont typeface="+mj-lt"/>
              <a:buAutoNum type="arabicPeriod"/>
            </a:pPr>
            <a:r>
              <a:rPr lang="zh-CN" altLang="en-US" sz="1200" dirty="0" smtClean="0">
                <a:latin typeface="PingFang SC"/>
              </a:rPr>
              <a:t>主体有对象和参与者两种情况，</a:t>
            </a:r>
            <a:r>
              <a:rPr lang="zh-CN" altLang="en-US" sz="1200" b="1" dirty="0" smtClean="0">
                <a:latin typeface="PingFang SC"/>
              </a:rPr>
              <a:t>对象和参与者要区别表示</a:t>
            </a:r>
            <a:r>
              <a:rPr lang="zh-CN" altLang="en-US" sz="1200" dirty="0" smtClean="0">
                <a:latin typeface="PingFang SC"/>
              </a:rPr>
              <a:t>。员工就是参与者，系统是对象。</a:t>
            </a:r>
          </a:p>
          <a:p>
            <a:pPr>
              <a:buFont typeface="+mj-lt"/>
              <a:buAutoNum type="arabicPeriod"/>
            </a:pPr>
            <a:r>
              <a:rPr lang="zh-CN" altLang="en-US" sz="1200" dirty="0" smtClean="0">
                <a:latin typeface="PingFang SC"/>
              </a:rPr>
              <a:t>画图规范问题，在交互过程中要有连续的控制焦点，不能中断也不能没有。</a:t>
            </a:r>
            <a:endParaRPr lang="zh-CN" altLang="en-US" sz="1200" b="0" i="0" dirty="0" smtClean="0">
              <a:effectLst/>
              <a:latin typeface="PingFang SC"/>
            </a:endParaRPr>
          </a:p>
          <a:p>
            <a:endParaRPr lang="zh-CN" altLang="en-US" dirty="0" smtClean="0"/>
          </a:p>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41</a:t>
            </a:fld>
            <a:endParaRPr lang="zh-CN" altLang="en-US"/>
          </a:p>
        </p:txBody>
      </p:sp>
    </p:spTree>
    <p:extLst>
      <p:ext uri="{BB962C8B-B14F-4D97-AF65-F5344CB8AC3E}">
        <p14:creationId xmlns:p14="http://schemas.microsoft.com/office/powerpoint/2010/main" val="139997821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E: 1</a:t>
            </a:r>
            <a:r>
              <a:rPr lang="zh-CN" altLang="en-US" dirty="0" smtClean="0"/>
              <a:t>、</a:t>
            </a:r>
            <a:r>
              <a:rPr lang="en-US" altLang="zh-CN" dirty="0" smtClean="0"/>
              <a:t>2</a:t>
            </a:r>
            <a:r>
              <a:rPr lang="zh-CN" altLang="en-US" dirty="0" smtClean="0"/>
              <a:t>点解决书面表达能力不强的问题</a:t>
            </a:r>
            <a:endParaRPr lang="en-US" altLang="zh-CN" dirty="0" smtClean="0"/>
          </a:p>
          <a:p>
            <a:r>
              <a:rPr lang="en-US" altLang="zh-CN" dirty="0" smtClean="0"/>
              <a:t>3</a:t>
            </a:r>
            <a:r>
              <a:rPr lang="zh-CN" altLang="en-US" dirty="0" smtClean="0"/>
              <a:t>、解决归纳总结能力不强的问题。</a:t>
            </a:r>
            <a:endParaRPr lang="en-US" altLang="zh-CN" dirty="0" smtClean="0"/>
          </a:p>
          <a:p>
            <a:r>
              <a:rPr lang="zh-CN" altLang="en-US" sz="1200" b="0" i="0" kern="1200" dirty="0" smtClean="0">
                <a:solidFill>
                  <a:schemeClr val="tx1"/>
                </a:solidFill>
                <a:effectLst/>
                <a:latin typeface="+mn-lt"/>
                <a:ea typeface="+mn-ea"/>
                <a:cs typeface="+mn-cs"/>
              </a:rPr>
              <a:t>     着重分析找出对象类之间的一般和特殊关系，部分与整体关系，研究类的继承性和多态性，把类之间的静态联系用关联、泛化、聚合、组合、依赖等联系表达出来，虽然对象类图表达的是系统的静态结构特征，但是应当把对系统的静态分析与动态分析结合起来，更能准确地了解系统的静态结构特征。 </a:t>
            </a:r>
            <a:endParaRPr lang="en-US" altLang="zh-CN" dirty="0" smtClean="0"/>
          </a:p>
          <a:p>
            <a:r>
              <a:rPr lang="en-US" altLang="zh-CN" dirty="0" smtClean="0"/>
              <a:t>4</a:t>
            </a:r>
            <a:r>
              <a:rPr lang="zh-CN" altLang="en-US" dirty="0" smtClean="0"/>
              <a:t>、</a:t>
            </a:r>
            <a:r>
              <a:rPr lang="zh-CN" altLang="en-US" sz="1200" b="0" i="0" kern="1200" dirty="0" smtClean="0">
                <a:solidFill>
                  <a:schemeClr val="tx1"/>
                </a:solidFill>
                <a:effectLst/>
                <a:latin typeface="+mn-lt"/>
                <a:ea typeface="+mn-ea"/>
                <a:cs typeface="+mn-cs"/>
              </a:rPr>
              <a:t>调整和精化已得到的对象类和类之间的联系，解决诸如命名冲突、功能重复等问题。</a:t>
            </a:r>
            <a:endParaRPr lang="en-US" altLang="zh-CN" sz="1200" b="0" i="0" kern="1200" dirty="0" smtClean="0">
              <a:solidFill>
                <a:schemeClr val="tx1"/>
              </a:solidFill>
              <a:effectLst/>
              <a:latin typeface="+mn-lt"/>
              <a:ea typeface="+mn-ea"/>
              <a:cs typeface="+mn-cs"/>
            </a:endParaRPr>
          </a:p>
          <a:p>
            <a:r>
              <a:rPr lang="en-US" altLang="zh-CN" sz="1200" b="0" i="0" kern="1200" dirty="0" smtClean="0">
                <a:solidFill>
                  <a:schemeClr val="tx1"/>
                </a:solidFill>
                <a:effectLst/>
                <a:latin typeface="+mn-lt"/>
                <a:ea typeface="+mn-ea"/>
                <a:cs typeface="+mn-cs"/>
              </a:rPr>
              <a:t>5</a:t>
            </a:r>
            <a:r>
              <a:rPr lang="zh-CN" altLang="en-US" sz="1200" b="0" i="0" kern="1200" dirty="0" smtClean="0">
                <a:solidFill>
                  <a:schemeClr val="tx1"/>
                </a:solidFill>
                <a:effectLst/>
                <a:latin typeface="+mn-lt"/>
                <a:ea typeface="+mn-ea"/>
                <a:cs typeface="+mn-cs"/>
              </a:rPr>
              <a:t>、绘制结果</a:t>
            </a:r>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42</a:t>
            </a:fld>
            <a:endParaRPr lang="zh-CN" altLang="en-US"/>
          </a:p>
        </p:txBody>
      </p:sp>
    </p:spTree>
    <p:extLst>
      <p:ext uri="{BB962C8B-B14F-4D97-AF65-F5344CB8AC3E}">
        <p14:creationId xmlns:p14="http://schemas.microsoft.com/office/powerpoint/2010/main" val="263813503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识别了需求，有了描述需求和架构设计的工具，我们就可以进行架构设计了。</a:t>
            </a:r>
          </a:p>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43</a:t>
            </a:fld>
            <a:endParaRPr lang="zh-CN" altLang="en-US"/>
          </a:p>
        </p:txBody>
      </p:sp>
    </p:spTree>
    <p:extLst>
      <p:ext uri="{BB962C8B-B14F-4D97-AF65-F5344CB8AC3E}">
        <p14:creationId xmlns:p14="http://schemas.microsoft.com/office/powerpoint/2010/main" val="9715661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5</a:t>
            </a:fld>
            <a:endParaRPr lang="zh-CN" altLang="en-US"/>
          </a:p>
        </p:txBody>
      </p:sp>
    </p:spTree>
    <p:extLst>
      <p:ext uri="{BB962C8B-B14F-4D97-AF65-F5344CB8AC3E}">
        <p14:creationId xmlns:p14="http://schemas.microsoft.com/office/powerpoint/2010/main" val="44612202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E6FDB6-6D2B-46C1-9FA1-D82906A37C3A}" type="slidenum">
              <a:rPr lang="zh-CN" altLang="en-US" smtClean="0"/>
              <a:t>44</a:t>
            </a:fld>
            <a:endParaRPr lang="zh-CN" altLang="en-US"/>
          </a:p>
        </p:txBody>
      </p:sp>
    </p:spTree>
    <p:extLst>
      <p:ext uri="{BB962C8B-B14F-4D97-AF65-F5344CB8AC3E}">
        <p14:creationId xmlns:p14="http://schemas.microsoft.com/office/powerpoint/2010/main" val="272284821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S: </a:t>
            </a:r>
            <a:r>
              <a:rPr lang="zh-CN" altLang="en-US" dirty="0" smtClean="0"/>
              <a:t>塞牙</a:t>
            </a:r>
            <a:r>
              <a:rPr lang="en-US" altLang="zh-CN" dirty="0" smtClean="0"/>
              <a:t>—</a:t>
            </a:r>
            <a:r>
              <a:rPr lang="zh-CN" altLang="en-US" dirty="0" smtClean="0"/>
              <a:t>剔牙为功能需求。解决功能需求过程 ：指甲可行，牙签可行，牙线可行。</a:t>
            </a:r>
            <a:endParaRPr lang="en-US" altLang="zh-CN" dirty="0" smtClean="0"/>
          </a:p>
          <a:p>
            <a:r>
              <a:rPr lang="zh-CN" altLang="en-US" dirty="0" smtClean="0">
                <a:latin typeface="Arial" panose="020B0604020202020204" pitchFamily="34" charset="0"/>
                <a:ea typeface="Microsoft YaHei" panose="020B0503020204020204" pitchFamily="34" charset="-122"/>
                <a:sym typeface="Arial" panose="020B0604020202020204" pitchFamily="34" charset="0"/>
              </a:rPr>
              <a:t>类比：</a:t>
            </a:r>
            <a:endParaRPr lang="en-US" altLang="zh-CN" dirty="0" smtClean="0">
              <a:latin typeface="Arial" panose="020B0604020202020204" pitchFamily="34" charset="0"/>
              <a:ea typeface="Microsoft YaHei" panose="020B0503020204020204" pitchFamily="34" charset="-122"/>
              <a:sym typeface="Arial" panose="020B0604020202020204" pitchFamily="34" charset="0"/>
            </a:endParaRPr>
          </a:p>
          <a:p>
            <a:r>
              <a:rPr lang="zh-CN" altLang="en-US" dirty="0" smtClean="0">
                <a:latin typeface="Arial" panose="020B0604020202020204" pitchFamily="34" charset="0"/>
                <a:ea typeface="Microsoft YaHei" panose="020B0503020204020204" pitchFamily="34" charset="-122"/>
                <a:sym typeface="Arial" panose="020B0604020202020204" pitchFamily="34" charset="0"/>
              </a:rPr>
              <a:t>数据结构就相当于：我塞牙了，那么就要用到牙签这“数据结构”，当然你用指甲也行，只不过“性能”没那么好；我要拧螺母，肯定用扳手这个“数据结构”，当然你用钳子也行，只不过也没那么好用。学习数据结构，就是为了了解以后在</a:t>
            </a:r>
            <a:r>
              <a:rPr lang="en-US" altLang="zh-CN" dirty="0" smtClean="0">
                <a:latin typeface="Arial" panose="020B0604020202020204" pitchFamily="34" charset="0"/>
                <a:ea typeface="Microsoft YaHei" panose="020B0503020204020204" pitchFamily="34" charset="-122"/>
                <a:sym typeface="Arial" panose="020B0604020202020204" pitchFamily="34" charset="0"/>
              </a:rPr>
              <a:t>IT</a:t>
            </a:r>
            <a:r>
              <a:rPr lang="zh-CN" altLang="en-US" dirty="0" smtClean="0">
                <a:latin typeface="Arial" panose="020B0604020202020204" pitchFamily="34" charset="0"/>
                <a:ea typeface="Microsoft YaHei" panose="020B0503020204020204" pitchFamily="34" charset="-122"/>
                <a:sym typeface="Arial" panose="020B0604020202020204" pitchFamily="34" charset="0"/>
              </a:rPr>
              <a:t>行业里搬砖需要用到什么工具，这些工具有什么利弊，应用于什么场景。以后用的过程中，你会发现这些基础的“工具”也存在着一些缺陷，你不满足于此工具，此时，你就开始自己在这些数据结构的基础上加以改造，这就叫做自定义数据结构。而且，你以后还会造出很多其他应用于实际场景的数据结构。。你用这些数据结构去造轮子，不知不觉，你成了又一个轮子哥。</a:t>
            </a:r>
          </a:p>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45</a:t>
            </a:fld>
            <a:endParaRPr lang="zh-CN" altLang="en-US"/>
          </a:p>
        </p:txBody>
      </p:sp>
    </p:spTree>
    <p:extLst>
      <p:ext uri="{BB962C8B-B14F-4D97-AF65-F5344CB8AC3E}">
        <p14:creationId xmlns:p14="http://schemas.microsoft.com/office/powerpoint/2010/main" val="38869361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S: </a:t>
            </a:r>
            <a:r>
              <a:rPr lang="zh-CN" altLang="en-US" dirty="0" smtClean="0"/>
              <a:t>塞牙</a:t>
            </a:r>
            <a:r>
              <a:rPr lang="en-US" altLang="zh-CN" dirty="0" smtClean="0"/>
              <a:t>—</a:t>
            </a:r>
            <a:r>
              <a:rPr lang="zh-CN" altLang="en-US" dirty="0" smtClean="0"/>
              <a:t>剔牙为功能需求。解决功能需求过程 ：指甲可行，牙签可行，牙线可行。</a:t>
            </a:r>
            <a:endParaRPr lang="en-US" altLang="zh-CN" dirty="0" smtClean="0"/>
          </a:p>
          <a:p>
            <a:r>
              <a:rPr lang="zh-CN" altLang="en-US" dirty="0" smtClean="0">
                <a:latin typeface="Arial" panose="020B0604020202020204" pitchFamily="34" charset="0"/>
                <a:ea typeface="Microsoft YaHei" panose="020B0503020204020204" pitchFamily="34" charset="-122"/>
                <a:sym typeface="Arial" panose="020B0604020202020204" pitchFamily="34" charset="0"/>
              </a:rPr>
              <a:t>类比：</a:t>
            </a:r>
            <a:endParaRPr lang="en-US" altLang="zh-CN" dirty="0" smtClean="0">
              <a:latin typeface="Arial" panose="020B0604020202020204" pitchFamily="34" charset="0"/>
              <a:ea typeface="Microsoft YaHei" panose="020B0503020204020204" pitchFamily="34" charset="-122"/>
              <a:sym typeface="Arial" panose="020B0604020202020204" pitchFamily="34" charset="0"/>
            </a:endParaRPr>
          </a:p>
          <a:p>
            <a:r>
              <a:rPr lang="zh-CN" altLang="en-US" dirty="0" smtClean="0">
                <a:latin typeface="Arial" panose="020B0604020202020204" pitchFamily="34" charset="0"/>
                <a:ea typeface="Microsoft YaHei" panose="020B0503020204020204" pitchFamily="34" charset="-122"/>
                <a:sym typeface="Arial" panose="020B0604020202020204" pitchFamily="34" charset="0"/>
              </a:rPr>
              <a:t>数据结构就相当于：我塞牙了，那么就要用到牙签这“数据结构”，当然你用指甲也行，只不过“性能”没那么好；我要拧螺母，肯定用扳手这个“数据结构”，当然你用钳子也行，只不过也没那么好用。学习数据结构，就是为了了解以后在</a:t>
            </a:r>
            <a:r>
              <a:rPr lang="en-US" altLang="zh-CN" dirty="0" smtClean="0">
                <a:latin typeface="Arial" panose="020B0604020202020204" pitchFamily="34" charset="0"/>
                <a:ea typeface="Microsoft YaHei" panose="020B0503020204020204" pitchFamily="34" charset="-122"/>
                <a:sym typeface="Arial" panose="020B0604020202020204" pitchFamily="34" charset="0"/>
              </a:rPr>
              <a:t>IT</a:t>
            </a:r>
            <a:r>
              <a:rPr lang="zh-CN" altLang="en-US" dirty="0" smtClean="0">
                <a:latin typeface="Arial" panose="020B0604020202020204" pitchFamily="34" charset="0"/>
                <a:ea typeface="Microsoft YaHei" panose="020B0503020204020204" pitchFamily="34" charset="-122"/>
                <a:sym typeface="Arial" panose="020B0604020202020204" pitchFamily="34" charset="0"/>
              </a:rPr>
              <a:t>行业里搬砖需要用到什么工具，这些工具有什么利弊，应用于什么场景。以后用的过程中，你会发现这些基础的“工具”也存在着一些缺陷，你不满足于此工具，此时，你就开始自己在这些数据结构的基础上加以改造，这就叫做自定义数据结构。而且，你以后还会造出很多其他应用于实际场景的数据结构。。你用这些数据结构去造轮子，不知不觉，你成了又一个轮子哥。</a:t>
            </a:r>
          </a:p>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46</a:t>
            </a:fld>
            <a:endParaRPr lang="zh-CN" altLang="en-US"/>
          </a:p>
        </p:txBody>
      </p:sp>
    </p:spTree>
    <p:extLst>
      <p:ext uri="{BB962C8B-B14F-4D97-AF65-F5344CB8AC3E}">
        <p14:creationId xmlns:p14="http://schemas.microsoft.com/office/powerpoint/2010/main" val="371905688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p>
          <a:p>
            <a:r>
              <a:rPr lang="zh-CN" altLang="en-US" dirty="0" smtClean="0">
                <a:latin typeface="Arial" panose="020B0604020202020204" pitchFamily="34" charset="0"/>
                <a:ea typeface="Microsoft YaHei" panose="020B0503020204020204" pitchFamily="34" charset="-122"/>
                <a:sym typeface="Arial" panose="020B0604020202020204" pitchFamily="34" charset="0"/>
              </a:rPr>
              <a:t>适合的数据结构带来的好处</a:t>
            </a:r>
            <a:endParaRPr lang="en-US" altLang="zh-CN" dirty="0" smtClean="0">
              <a:latin typeface="Arial" panose="020B0604020202020204" pitchFamily="34" charset="0"/>
              <a:ea typeface="Microsoft YaHei" panose="020B0503020204020204" pitchFamily="34" charset="-122"/>
              <a:sym typeface="Arial" panose="020B0604020202020204" pitchFamily="34" charset="0"/>
            </a:endParaRPr>
          </a:p>
          <a:p>
            <a:r>
              <a:rPr lang="en-US" altLang="zh-CN" dirty="0" smtClean="0">
                <a:latin typeface="Arial" panose="020B0604020202020204" pitchFamily="34" charset="0"/>
                <a:ea typeface="Microsoft YaHei" panose="020B0503020204020204" pitchFamily="34" charset="-122"/>
                <a:sym typeface="Arial" panose="020B0604020202020204" pitchFamily="34" charset="0"/>
              </a:rPr>
              <a:t>1</a:t>
            </a:r>
            <a:r>
              <a:rPr lang="zh-CN" altLang="en-US" dirty="0" smtClean="0">
                <a:latin typeface="Arial" panose="020B0604020202020204" pitchFamily="34" charset="0"/>
                <a:ea typeface="Microsoft YaHei" panose="020B0503020204020204" pitchFamily="34" charset="-122"/>
                <a:sym typeface="Arial" panose="020B0604020202020204" pitchFamily="34" charset="0"/>
              </a:rPr>
              <a:t>、好的数据结构能够更好的贴合业务需求。</a:t>
            </a:r>
            <a:endParaRPr lang="en-US" altLang="zh-CN" dirty="0" smtClean="0">
              <a:latin typeface="Arial" panose="020B0604020202020204" pitchFamily="34" charset="0"/>
              <a:ea typeface="Microsoft YaHei" panose="020B0503020204020204" pitchFamily="34" charset="-122"/>
              <a:sym typeface="Arial" panose="020B0604020202020204" pitchFamily="34" charset="0"/>
            </a:endParaRPr>
          </a:p>
          <a:p>
            <a:r>
              <a:rPr lang="en-US" altLang="zh-CN" dirty="0" smtClean="0">
                <a:latin typeface="Arial" panose="020B0604020202020204" pitchFamily="34" charset="0"/>
                <a:ea typeface="Microsoft YaHei" panose="020B0503020204020204" pitchFamily="34" charset="-122"/>
                <a:sym typeface="Arial" panose="020B0604020202020204" pitchFamily="34" charset="0"/>
              </a:rPr>
              <a:t>2</a:t>
            </a:r>
            <a:r>
              <a:rPr lang="zh-CN" altLang="en-US" dirty="0" smtClean="0">
                <a:latin typeface="Arial" panose="020B0604020202020204" pitchFamily="34" charset="0"/>
                <a:ea typeface="Microsoft YaHei" panose="020B0503020204020204" pitchFamily="34" charset="-122"/>
                <a:sym typeface="Arial" panose="020B0604020202020204" pitchFamily="34" charset="0"/>
              </a:rPr>
              <a:t>、能够带来更好的性能表现（运行效率</a:t>
            </a:r>
            <a:r>
              <a:rPr lang="en-US" altLang="zh-CN" dirty="0" smtClean="0">
                <a:latin typeface="Arial" panose="020B0604020202020204" pitchFamily="34" charset="0"/>
                <a:ea typeface="Microsoft YaHei" panose="020B0503020204020204" pitchFamily="34" charset="-122"/>
                <a:sym typeface="Arial" panose="020B0604020202020204" pitchFamily="34" charset="0"/>
              </a:rPr>
              <a:t>/</a:t>
            </a:r>
            <a:r>
              <a:rPr lang="zh-CN" altLang="en-US" dirty="0" smtClean="0">
                <a:latin typeface="Arial" panose="020B0604020202020204" pitchFamily="34" charset="0"/>
                <a:ea typeface="Microsoft YaHei" panose="020B0503020204020204" pitchFamily="34" charset="-122"/>
                <a:sym typeface="Arial" panose="020B0604020202020204" pitchFamily="34" charset="0"/>
              </a:rPr>
              <a:t>存储效率）</a:t>
            </a:r>
            <a:endParaRPr lang="en-US" altLang="zh-CN" dirty="0" smtClean="0">
              <a:latin typeface="Arial" panose="020B0604020202020204" pitchFamily="34" charset="0"/>
              <a:ea typeface="Microsoft YaHei" panose="020B0503020204020204" pitchFamily="34" charset="-122"/>
              <a:sym typeface="Arial" panose="020B0604020202020204" pitchFamily="34" charset="0"/>
            </a:endParaRPr>
          </a:p>
          <a:p>
            <a:r>
              <a:rPr lang="en-US" altLang="zh-CN" dirty="0" smtClean="0">
                <a:latin typeface="Arial" panose="020B0604020202020204" pitchFamily="34" charset="0"/>
                <a:ea typeface="Microsoft YaHei" panose="020B0503020204020204" pitchFamily="34" charset="-122"/>
                <a:sym typeface="Arial" panose="020B0604020202020204" pitchFamily="34" charset="0"/>
              </a:rPr>
              <a:t>3</a:t>
            </a:r>
            <a:r>
              <a:rPr lang="zh-CN" altLang="en-US" dirty="0" smtClean="0">
                <a:latin typeface="Arial" panose="020B0604020202020204" pitchFamily="34" charset="0"/>
                <a:ea typeface="Microsoft YaHei" panose="020B0503020204020204" pitchFamily="34" charset="-122"/>
                <a:sym typeface="Arial" panose="020B0604020202020204" pitchFamily="34" charset="0"/>
              </a:rPr>
              <a:t>、能够一定程度上提高编码效率</a:t>
            </a:r>
          </a:p>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47</a:t>
            </a:fld>
            <a:endParaRPr lang="zh-CN" altLang="en-US"/>
          </a:p>
        </p:txBody>
      </p:sp>
    </p:spTree>
    <p:extLst>
      <p:ext uri="{BB962C8B-B14F-4D97-AF65-F5344CB8AC3E}">
        <p14:creationId xmlns:p14="http://schemas.microsoft.com/office/powerpoint/2010/main" val="58241071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E</a:t>
            </a:r>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48</a:t>
            </a:fld>
            <a:endParaRPr lang="zh-CN" altLang="en-US"/>
          </a:p>
        </p:txBody>
      </p:sp>
    </p:spTree>
    <p:extLst>
      <p:ext uri="{BB962C8B-B14F-4D97-AF65-F5344CB8AC3E}">
        <p14:creationId xmlns:p14="http://schemas.microsoft.com/office/powerpoint/2010/main" val="206818699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49</a:t>
            </a:fld>
            <a:endParaRPr lang="zh-CN" altLang="en-US"/>
          </a:p>
        </p:txBody>
      </p:sp>
    </p:spTree>
    <p:extLst>
      <p:ext uri="{BB962C8B-B14F-4D97-AF65-F5344CB8AC3E}">
        <p14:creationId xmlns:p14="http://schemas.microsoft.com/office/powerpoint/2010/main" val="385878354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50</a:t>
            </a:fld>
            <a:endParaRPr lang="zh-CN" altLang="en-US"/>
          </a:p>
        </p:txBody>
      </p:sp>
    </p:spTree>
    <p:extLst>
      <p:ext uri="{BB962C8B-B14F-4D97-AF65-F5344CB8AC3E}">
        <p14:creationId xmlns:p14="http://schemas.microsoft.com/office/powerpoint/2010/main" val="8509510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kern="0" dirty="0" smtClean="0">
                <a:latin typeface="微软雅黑" panose="020B0503020204020204" pitchFamily="34" charset="-122"/>
                <a:ea typeface="微软雅黑" panose="020B0503020204020204" pitchFamily="34" charset="-122"/>
                <a:cs typeface="+mn-ea"/>
                <a:sym typeface="+mn-lt"/>
              </a:rPr>
              <a:t>软件架构也称为软件的</a:t>
            </a:r>
            <a:r>
              <a:rPr lang="zh-CN" altLang="en-US" sz="1200" kern="0" dirty="0" smtClean="0">
                <a:solidFill>
                  <a:srgbClr val="0070C0"/>
                </a:solidFill>
                <a:latin typeface="微软雅黑" panose="020B0503020204020204" pitchFamily="34" charset="-122"/>
                <a:ea typeface="微软雅黑" panose="020B0503020204020204" pitchFamily="34" charset="-122"/>
                <a:cs typeface="+mn-ea"/>
                <a:sym typeface="+mn-lt"/>
              </a:rPr>
              <a:t>体系结构</a:t>
            </a:r>
            <a:r>
              <a:rPr lang="zh-CN" altLang="en-US" sz="1200" kern="0" dirty="0" smtClean="0">
                <a:latin typeface="微软雅黑" panose="020B0503020204020204" pitchFamily="34" charset="-122"/>
                <a:ea typeface="微软雅黑" panose="020B0503020204020204" pitchFamily="34" charset="-122"/>
                <a:cs typeface="+mn-ea"/>
                <a:sym typeface="+mn-lt"/>
              </a:rPr>
              <a:t>，是指系统的一个或多个结构，包括软件的构建，构建的外部可见属性以及它们之间的相互</a:t>
            </a:r>
            <a:r>
              <a:rPr lang="zh-CN" altLang="en-US" sz="1200" kern="0" dirty="0" smtClean="0">
                <a:solidFill>
                  <a:srgbClr val="0070C0"/>
                </a:solidFill>
                <a:latin typeface="微软雅黑" panose="020B0503020204020204" pitchFamily="34" charset="-122"/>
                <a:ea typeface="微软雅黑" panose="020B0503020204020204" pitchFamily="34" charset="-122"/>
                <a:cs typeface="+mn-ea"/>
                <a:sym typeface="+mn-lt"/>
              </a:rPr>
              <a:t>关系</a:t>
            </a:r>
            <a:endParaRPr lang="en-US" altLang="zh-CN" sz="1200" kern="0" dirty="0" smtClean="0">
              <a:solidFill>
                <a:srgbClr val="0070C0"/>
              </a:solidFill>
              <a:latin typeface="微软雅黑" panose="020B0503020204020204" pitchFamily="34" charset="-122"/>
              <a:ea typeface="微软雅黑" panose="020B0503020204020204" pitchFamily="34" charset="-122"/>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sz="1200" kern="0" dirty="0" smtClean="0">
              <a:solidFill>
                <a:srgbClr val="0070C0"/>
              </a:solidFill>
              <a:latin typeface="微软雅黑" panose="020B0503020204020204" pitchFamily="34" charset="-122"/>
              <a:ea typeface="微软雅黑" panose="020B0503020204020204" pitchFamily="34" charset="-122"/>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kern="0" dirty="0" smtClean="0">
                <a:latin typeface="微软雅黑" panose="020B0503020204020204" pitchFamily="34" charset="-122"/>
                <a:ea typeface="微软雅黑" panose="020B0503020204020204" pitchFamily="34" charset="-122"/>
                <a:cs typeface="+mn-ea"/>
                <a:sym typeface="+mn-lt"/>
              </a:rPr>
              <a:t>软件架构是一系列问题的</a:t>
            </a:r>
            <a:r>
              <a:rPr lang="zh-CN" altLang="en-US" sz="1200" kern="0" dirty="0" smtClean="0">
                <a:solidFill>
                  <a:srgbClr val="0070C0"/>
                </a:solidFill>
                <a:latin typeface="微软雅黑" panose="020B0503020204020204" pitchFamily="34" charset="-122"/>
                <a:ea typeface="微软雅黑" panose="020B0503020204020204" pitchFamily="34" charset="-122"/>
                <a:cs typeface="+mn-ea"/>
                <a:sym typeface="+mn-lt"/>
              </a:rPr>
              <a:t>权衡、决策</a:t>
            </a:r>
            <a:r>
              <a:rPr lang="zh-CN" altLang="en-US" sz="1200" kern="0" dirty="0" smtClean="0">
                <a:latin typeface="微软雅黑" panose="020B0503020204020204" pitchFamily="34" charset="-122"/>
                <a:ea typeface="微软雅黑" panose="020B0503020204020204" pitchFamily="34" charset="-122"/>
                <a:cs typeface="+mn-ea"/>
                <a:sym typeface="+mn-lt"/>
              </a:rPr>
              <a:t>之和：有哪些组成元素，每个元素的行为，元素之间的关系，如何组成元素成为整体系统</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sz="1200" kern="0" dirty="0" smtClean="0">
              <a:solidFill>
                <a:srgbClr val="0070C0"/>
              </a:solidFill>
              <a:latin typeface="微软雅黑" panose="020B0503020204020204" pitchFamily="34" charset="-122"/>
              <a:ea typeface="微软雅黑" panose="020B0503020204020204" pitchFamily="34" charset="-122"/>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kern="0" dirty="0" smtClean="0">
                <a:latin typeface="微软雅黑" panose="020B0503020204020204" pitchFamily="34" charset="-122"/>
                <a:ea typeface="微软雅黑" panose="020B0503020204020204" pitchFamily="34" charset="-122"/>
                <a:cs typeface="+mn-ea"/>
                <a:sym typeface="+mn-lt"/>
              </a:rPr>
              <a:t>每个系统都有一个架构，其由组件以及相互之间的关系构成，目标是发现并解决利益相关者的关注点（痛点）；架构由</a:t>
            </a:r>
            <a:r>
              <a:rPr lang="zh-CN" altLang="en-US" sz="1200" kern="0" dirty="0" smtClean="0">
                <a:solidFill>
                  <a:srgbClr val="0070C0"/>
                </a:solidFill>
                <a:latin typeface="微软雅黑" panose="020B0503020204020204" pitchFamily="34" charset="-122"/>
                <a:ea typeface="微软雅黑" panose="020B0503020204020204" pitchFamily="34" charset="-122"/>
                <a:cs typeface="+mn-ea"/>
                <a:sym typeface="+mn-lt"/>
              </a:rPr>
              <a:t>架构文档</a:t>
            </a:r>
            <a:r>
              <a:rPr lang="zh-CN" altLang="en-US" sz="1200" kern="0" dirty="0" smtClean="0">
                <a:latin typeface="微软雅黑" panose="020B0503020204020204" pitchFamily="34" charset="-122"/>
                <a:ea typeface="微软雅黑" panose="020B0503020204020204" pitchFamily="34" charset="-122"/>
                <a:cs typeface="+mn-ea"/>
                <a:sym typeface="+mn-lt"/>
              </a:rPr>
              <a:t>描述，架构文档描述了一系列的</a:t>
            </a:r>
            <a:r>
              <a:rPr lang="zh-CN" altLang="en-US" sz="1200" kern="0" dirty="0" smtClean="0">
                <a:solidFill>
                  <a:srgbClr val="0070C0"/>
                </a:solidFill>
                <a:latin typeface="微软雅黑" panose="020B0503020204020204" pitchFamily="34" charset="-122"/>
                <a:ea typeface="微软雅黑" panose="020B0503020204020204" pitchFamily="34" charset="-122"/>
                <a:cs typeface="+mn-ea"/>
                <a:sym typeface="+mn-lt"/>
              </a:rPr>
              <a:t>架构视角</a:t>
            </a:r>
            <a:r>
              <a:rPr lang="zh-CN" altLang="en-US" sz="1200" kern="0" dirty="0" smtClean="0">
                <a:latin typeface="微软雅黑" panose="020B0503020204020204" pitchFamily="34" charset="-122"/>
                <a:ea typeface="微软雅黑" panose="020B0503020204020204" pitchFamily="34" charset="-122"/>
                <a:cs typeface="+mn-ea"/>
                <a:sym typeface="+mn-lt"/>
              </a:rPr>
              <a:t>，每个视角都解决并且对应到</a:t>
            </a:r>
            <a:r>
              <a:rPr lang="zh-CN" altLang="en-US" sz="1200" kern="0" dirty="0" smtClean="0">
                <a:solidFill>
                  <a:srgbClr val="0070C0"/>
                </a:solidFill>
                <a:latin typeface="微软雅黑" panose="020B0503020204020204" pitchFamily="34" charset="-122"/>
                <a:ea typeface="微软雅黑" panose="020B0503020204020204" pitchFamily="34" charset="-122"/>
                <a:cs typeface="+mn-ea"/>
                <a:sym typeface="+mn-lt"/>
              </a:rPr>
              <a:t>利益相关者</a:t>
            </a:r>
            <a:r>
              <a:rPr lang="zh-CN" altLang="en-US" sz="1200" kern="0" dirty="0" smtClean="0">
                <a:latin typeface="微软雅黑" panose="020B0503020204020204" pitchFamily="34" charset="-122"/>
                <a:ea typeface="微软雅黑" panose="020B0503020204020204" pitchFamily="34" charset="-122"/>
                <a:cs typeface="+mn-ea"/>
                <a:sym typeface="+mn-lt"/>
              </a:rPr>
              <a:t>的关注点</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sz="1200" kern="0" dirty="0" smtClean="0">
              <a:solidFill>
                <a:srgbClr val="0070C0"/>
              </a:solidFill>
              <a:latin typeface="微软雅黑" panose="020B0503020204020204" pitchFamily="34" charset="-122"/>
              <a:ea typeface="微软雅黑" panose="020B0503020204020204" pitchFamily="34" charset="-122"/>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kern="0" dirty="0" smtClean="0">
                <a:latin typeface="微软雅黑" panose="020B0503020204020204" pitchFamily="34" charset="-122"/>
                <a:ea typeface="微软雅黑" panose="020B0503020204020204" pitchFamily="34" charset="-122"/>
                <a:cs typeface="+mn-ea"/>
                <a:sym typeface="+mn-lt"/>
              </a:rPr>
              <a:t>软件架构表示了系统从整体到部分的</a:t>
            </a:r>
            <a:r>
              <a:rPr lang="zh-CN" altLang="en-US" sz="1200" kern="0" dirty="0" smtClean="0">
                <a:solidFill>
                  <a:srgbClr val="0070C0"/>
                </a:solidFill>
                <a:latin typeface="微软雅黑" panose="020B0503020204020204" pitchFamily="34" charset="-122"/>
                <a:ea typeface="微软雅黑" panose="020B0503020204020204" pitchFamily="34" charset="-122"/>
                <a:cs typeface="+mn-ea"/>
                <a:sym typeface="+mn-lt"/>
              </a:rPr>
              <a:t>最高层次</a:t>
            </a:r>
            <a:r>
              <a:rPr lang="zh-CN" altLang="en-US" sz="1200" kern="0" dirty="0" smtClean="0">
                <a:latin typeface="微软雅黑" panose="020B0503020204020204" pitchFamily="34" charset="-122"/>
                <a:ea typeface="微软雅黑" panose="020B0503020204020204" pitchFamily="34" charset="-122"/>
                <a:cs typeface="+mn-ea"/>
                <a:sym typeface="+mn-lt"/>
              </a:rPr>
              <a:t>的划分</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sz="1200" kern="0" dirty="0" smtClean="0">
              <a:solidFill>
                <a:srgbClr val="0070C0"/>
              </a:solidFill>
              <a:latin typeface="微软雅黑" panose="020B0503020204020204" pitchFamily="34" charset="-122"/>
              <a:ea typeface="微软雅黑" panose="020B0503020204020204" pitchFamily="34" charset="-122"/>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kern="0" dirty="0" smtClean="0">
                <a:latin typeface="微软雅黑" panose="020B0503020204020204" pitchFamily="34" charset="-122"/>
                <a:ea typeface="微软雅黑" panose="020B0503020204020204" pitchFamily="34" charset="-122"/>
                <a:cs typeface="+mn-ea"/>
                <a:sym typeface="+mn-lt"/>
              </a:rPr>
              <a:t>软件架构就是一个</a:t>
            </a:r>
            <a:r>
              <a:rPr lang="zh-CN" altLang="en-US" sz="1200" kern="0" dirty="0" smtClean="0">
                <a:solidFill>
                  <a:srgbClr val="0070C0"/>
                </a:solidFill>
                <a:latin typeface="微软雅黑" panose="020B0503020204020204" pitchFamily="34" charset="-122"/>
                <a:ea typeface="微软雅黑" panose="020B0503020204020204" pitchFamily="34" charset="-122"/>
                <a:cs typeface="+mn-ea"/>
                <a:sym typeface="+mn-lt"/>
              </a:rPr>
              <a:t>蓝图</a:t>
            </a:r>
            <a:r>
              <a:rPr lang="zh-CN" altLang="en-US" sz="1200" kern="0" dirty="0" smtClean="0">
                <a:latin typeface="微软雅黑" panose="020B0503020204020204" pitchFamily="34" charset="-122"/>
                <a:ea typeface="微软雅黑" panose="020B0503020204020204" pitchFamily="34" charset="-122"/>
                <a:cs typeface="+mn-ea"/>
                <a:sym typeface="+mn-lt"/>
              </a:rPr>
              <a:t>，是一种解决问题的</a:t>
            </a:r>
            <a:r>
              <a:rPr lang="zh-CN" altLang="en-US" sz="1200" kern="0" dirty="0" smtClean="0">
                <a:solidFill>
                  <a:srgbClr val="0070C0"/>
                </a:solidFill>
                <a:latin typeface="微软雅黑" panose="020B0503020204020204" pitchFamily="34" charset="-122"/>
                <a:ea typeface="微软雅黑" panose="020B0503020204020204" pitchFamily="34" charset="-122"/>
                <a:cs typeface="+mn-ea"/>
                <a:sym typeface="+mn-lt"/>
              </a:rPr>
              <a:t>方案</a:t>
            </a:r>
            <a:r>
              <a:rPr lang="zh-CN" altLang="en-US" sz="1200" kern="0" dirty="0" smtClean="0">
                <a:latin typeface="微软雅黑" panose="020B0503020204020204" pitchFamily="34" charset="-122"/>
                <a:ea typeface="微软雅黑" panose="020B0503020204020204" pitchFamily="34" charset="-122"/>
                <a:cs typeface="+mn-ea"/>
                <a:sym typeface="+mn-lt"/>
              </a:rPr>
              <a:t>，没有最好的架构，只有最</a:t>
            </a:r>
            <a:r>
              <a:rPr lang="zh-CN" altLang="en-US" sz="1200" kern="0" dirty="0" smtClean="0">
                <a:solidFill>
                  <a:srgbClr val="0070C0"/>
                </a:solidFill>
                <a:latin typeface="微软雅黑" panose="020B0503020204020204" pitchFamily="34" charset="-122"/>
                <a:ea typeface="微软雅黑" panose="020B0503020204020204" pitchFamily="34" charset="-122"/>
                <a:cs typeface="+mn-ea"/>
                <a:sym typeface="+mn-lt"/>
              </a:rPr>
              <a:t>合适</a:t>
            </a:r>
            <a:r>
              <a:rPr lang="zh-CN" altLang="en-US" sz="1200" kern="0" dirty="0" smtClean="0">
                <a:latin typeface="微软雅黑" panose="020B0503020204020204" pitchFamily="34" charset="-122"/>
                <a:ea typeface="微软雅黑" panose="020B0503020204020204" pitchFamily="34" charset="-122"/>
                <a:cs typeface="+mn-ea"/>
                <a:sym typeface="+mn-lt"/>
              </a:rPr>
              <a:t>的架构</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sz="1200" kern="0" dirty="0" smtClean="0">
              <a:solidFill>
                <a:srgbClr val="0070C0"/>
              </a:solidFill>
              <a:latin typeface="微软雅黑" panose="020B0503020204020204" pitchFamily="34" charset="-122"/>
              <a:ea typeface="微软雅黑" panose="020B0503020204020204" pitchFamily="34" charset="-122"/>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kern="0" dirty="0" smtClean="0">
                <a:solidFill>
                  <a:srgbClr val="0070C0"/>
                </a:solidFill>
                <a:latin typeface="微软雅黑" panose="020B0503020204020204" pitchFamily="34" charset="-122"/>
                <a:ea typeface="微软雅黑" panose="020B0503020204020204" pitchFamily="34" charset="-122"/>
                <a:cs typeface="+mn-ea"/>
                <a:sym typeface="+mn-lt"/>
              </a:rPr>
              <a:t>我创建对象是通过什么方式？单例的方式？工厂的方式？构造器的方式？原型的方式？ 这每种选择都对应不同的架构方式。</a:t>
            </a:r>
          </a:p>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51</a:t>
            </a:fld>
            <a:endParaRPr lang="zh-CN" altLang="en-US"/>
          </a:p>
        </p:txBody>
      </p:sp>
    </p:spTree>
    <p:extLst>
      <p:ext uri="{BB962C8B-B14F-4D97-AF65-F5344CB8AC3E}">
        <p14:creationId xmlns:p14="http://schemas.microsoft.com/office/powerpoint/2010/main" val="366409630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1 </a:t>
            </a:r>
            <a:r>
              <a:rPr lang="zh-CN" altLang="en-US" dirty="0" smtClean="0"/>
              <a:t>谁的问题</a:t>
            </a:r>
          </a:p>
          <a:p>
            <a:r>
              <a:rPr lang="en-US" altLang="zh-CN" dirty="0" smtClean="0"/>
              <a:t>2 </a:t>
            </a:r>
            <a:r>
              <a:rPr lang="zh-CN" altLang="en-US" dirty="0" smtClean="0"/>
              <a:t>什么问题</a:t>
            </a:r>
          </a:p>
          <a:p>
            <a:r>
              <a:rPr lang="zh-CN" altLang="en-US" dirty="0" smtClean="0"/>
              <a:t>问题提出者不同，问题内容不同，架构也不尽相同。所以不要脱离实际问题场景谈架构设计</a:t>
            </a:r>
          </a:p>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52</a:t>
            </a:fld>
            <a:endParaRPr lang="zh-CN" altLang="en-US"/>
          </a:p>
        </p:txBody>
      </p:sp>
    </p:spTree>
    <p:extLst>
      <p:ext uri="{BB962C8B-B14F-4D97-AF65-F5344CB8AC3E}">
        <p14:creationId xmlns:p14="http://schemas.microsoft.com/office/powerpoint/2010/main" val="360257292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我们想要什么样的代码 就要求我们有什么样的架构</a:t>
            </a:r>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54</a:t>
            </a:fld>
            <a:endParaRPr lang="zh-CN" altLang="en-US"/>
          </a:p>
        </p:txBody>
      </p:sp>
    </p:spTree>
    <p:extLst>
      <p:ext uri="{BB962C8B-B14F-4D97-AF65-F5344CB8AC3E}">
        <p14:creationId xmlns:p14="http://schemas.microsoft.com/office/powerpoint/2010/main" val="7585728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1.</a:t>
            </a:r>
            <a:r>
              <a:rPr lang="zh-CN" altLang="en-US" dirty="0" smtClean="0"/>
              <a:t>合理需求</a:t>
            </a:r>
            <a:endParaRPr lang="en-US" altLang="zh-CN" dirty="0" smtClean="0"/>
          </a:p>
          <a:p>
            <a:r>
              <a:rPr lang="en-US" altLang="zh-CN" dirty="0" smtClean="0"/>
              <a:t>2.</a:t>
            </a:r>
            <a:r>
              <a:rPr lang="zh-CN" altLang="en-US" dirty="0" smtClean="0"/>
              <a:t>不合理需求</a:t>
            </a:r>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6</a:t>
            </a:fld>
            <a:endParaRPr lang="zh-CN" altLang="en-US"/>
          </a:p>
        </p:txBody>
      </p:sp>
    </p:spTree>
    <p:extLst>
      <p:ext uri="{BB962C8B-B14F-4D97-AF65-F5344CB8AC3E}">
        <p14:creationId xmlns:p14="http://schemas.microsoft.com/office/powerpoint/2010/main" val="173254310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E6FDB6-6D2B-46C1-9FA1-D82906A37C3A}" type="slidenum">
              <a:rPr lang="zh-CN" altLang="en-US" smtClean="0"/>
              <a:t>56</a:t>
            </a:fld>
            <a:endParaRPr lang="zh-CN" altLang="en-US"/>
          </a:p>
        </p:txBody>
      </p:sp>
    </p:spTree>
    <p:extLst>
      <p:ext uri="{BB962C8B-B14F-4D97-AF65-F5344CB8AC3E}">
        <p14:creationId xmlns:p14="http://schemas.microsoft.com/office/powerpoint/2010/main" val="329136137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E6FDB6-6D2B-46C1-9FA1-D82906A37C3A}" type="slidenum">
              <a:rPr lang="zh-CN" altLang="en-US" smtClean="0"/>
              <a:t>57</a:t>
            </a:fld>
            <a:endParaRPr lang="zh-CN" altLang="en-US"/>
          </a:p>
        </p:txBody>
      </p:sp>
    </p:spTree>
    <p:extLst>
      <p:ext uri="{BB962C8B-B14F-4D97-AF65-F5344CB8AC3E}">
        <p14:creationId xmlns:p14="http://schemas.microsoft.com/office/powerpoint/2010/main" val="411577101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E6FDB6-6D2B-46C1-9FA1-D82906A37C3A}" type="slidenum">
              <a:rPr lang="zh-CN" altLang="en-US" smtClean="0"/>
              <a:t>58</a:t>
            </a:fld>
            <a:endParaRPr lang="zh-CN" altLang="en-US"/>
          </a:p>
        </p:txBody>
      </p:sp>
    </p:spTree>
    <p:extLst>
      <p:ext uri="{BB962C8B-B14F-4D97-AF65-F5344CB8AC3E}">
        <p14:creationId xmlns:p14="http://schemas.microsoft.com/office/powerpoint/2010/main" val="378669994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E6FDB6-6D2B-46C1-9FA1-D82906A37C3A}" type="slidenum">
              <a:rPr lang="zh-CN" altLang="en-US" smtClean="0"/>
              <a:t>59</a:t>
            </a:fld>
            <a:endParaRPr lang="zh-CN" altLang="en-US"/>
          </a:p>
        </p:txBody>
      </p:sp>
    </p:spTree>
    <p:extLst>
      <p:ext uri="{BB962C8B-B14F-4D97-AF65-F5344CB8AC3E}">
        <p14:creationId xmlns:p14="http://schemas.microsoft.com/office/powerpoint/2010/main" val="50451040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修改一个类 会影响它的所有子类。  </a:t>
            </a:r>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60</a:t>
            </a:fld>
            <a:endParaRPr lang="zh-CN" altLang="en-US"/>
          </a:p>
        </p:txBody>
      </p:sp>
    </p:spTree>
    <p:extLst>
      <p:ext uri="{BB962C8B-B14F-4D97-AF65-F5344CB8AC3E}">
        <p14:creationId xmlns:p14="http://schemas.microsoft.com/office/powerpoint/2010/main" val="353623196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mtClean="0"/>
              <a:t>保证扩展的子类能替换父类所在的所有场景，  这样就能基于接口，或抽象类来编程。</a:t>
            </a:r>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61</a:t>
            </a:fld>
            <a:endParaRPr lang="zh-CN" altLang="en-US"/>
          </a:p>
        </p:txBody>
      </p:sp>
    </p:spTree>
    <p:extLst>
      <p:ext uri="{BB962C8B-B14F-4D97-AF65-F5344CB8AC3E}">
        <p14:creationId xmlns:p14="http://schemas.microsoft.com/office/powerpoint/2010/main" val="352541021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62</a:t>
            </a:fld>
            <a:endParaRPr lang="zh-CN" altLang="en-US"/>
          </a:p>
        </p:txBody>
      </p:sp>
    </p:spTree>
    <p:extLst>
      <p:ext uri="{BB962C8B-B14F-4D97-AF65-F5344CB8AC3E}">
        <p14:creationId xmlns:p14="http://schemas.microsoft.com/office/powerpoint/2010/main" val="204981310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E6FDB6-6D2B-46C1-9FA1-D82906A37C3A}" type="slidenum">
              <a:rPr lang="zh-CN" altLang="en-US" smtClean="0"/>
              <a:t>63</a:t>
            </a:fld>
            <a:endParaRPr lang="zh-CN" altLang="en-US"/>
          </a:p>
        </p:txBody>
      </p:sp>
    </p:spTree>
    <p:extLst>
      <p:ext uri="{BB962C8B-B14F-4D97-AF65-F5344CB8AC3E}">
        <p14:creationId xmlns:p14="http://schemas.microsoft.com/office/powerpoint/2010/main" val="427706743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64</a:t>
            </a:fld>
            <a:endParaRPr lang="zh-CN" altLang="en-US"/>
          </a:p>
        </p:txBody>
      </p:sp>
    </p:spTree>
    <p:extLst>
      <p:ext uri="{BB962C8B-B14F-4D97-AF65-F5344CB8AC3E}">
        <p14:creationId xmlns:p14="http://schemas.microsoft.com/office/powerpoint/2010/main" val="421833445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E6FDB6-6D2B-46C1-9FA1-D82906A37C3A}" type="slidenum">
              <a:rPr lang="zh-CN" altLang="en-US" smtClean="0"/>
              <a:t>65</a:t>
            </a:fld>
            <a:endParaRPr lang="zh-CN" altLang="en-US"/>
          </a:p>
        </p:txBody>
      </p:sp>
    </p:spTree>
    <p:extLst>
      <p:ext uri="{BB962C8B-B14F-4D97-AF65-F5344CB8AC3E}">
        <p14:creationId xmlns:p14="http://schemas.microsoft.com/office/powerpoint/2010/main" val="39996027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软件需求的复杂性导致需要使用多视图的架构设计，通过不同设计视图分别满足不同需求。</a:t>
            </a:r>
            <a:endParaRPr lang="en-US" altLang="zh-CN" dirty="0" smtClean="0"/>
          </a:p>
          <a:p>
            <a:endParaRPr lang="en-US" altLang="zh-CN" dirty="0" smtClean="0"/>
          </a:p>
          <a:p>
            <a:endParaRPr lang="en-US" altLang="zh-CN" dirty="0" smtClean="0"/>
          </a:p>
          <a:p>
            <a:r>
              <a:rPr lang="zh-CN" altLang="en-US" dirty="0" smtClean="0"/>
              <a:t>一个架构视图是对于从某一视角或某一点上看到的系统所做的简化描述，描述中涵盖了系统的某一特定方面，而省略了与此无关的实体。</a:t>
            </a:r>
            <a:endParaRPr lang="en-US" altLang="zh-CN" dirty="0" smtClean="0"/>
          </a:p>
          <a:p>
            <a:endParaRPr lang="zh-CN" altLang="en-US" dirty="0" smtClean="0"/>
          </a:p>
          <a:p>
            <a:r>
              <a:rPr lang="zh-CN" altLang="en-US" dirty="0" smtClean="0"/>
              <a:t>软件架构的每个视图分别关注不同的方面，针对不同的目标和用途，架构要涵盖的内容和决策太多了，必须要采用分而治之的办法从不同视角分别设计，同时也为软件架构的理解交流和归档提供了方便</a:t>
            </a:r>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7</a:t>
            </a:fld>
            <a:endParaRPr lang="zh-CN" altLang="en-US"/>
          </a:p>
        </p:txBody>
      </p:sp>
    </p:spTree>
    <p:extLst>
      <p:ext uri="{BB962C8B-B14F-4D97-AF65-F5344CB8AC3E}">
        <p14:creationId xmlns:p14="http://schemas.microsoft.com/office/powerpoint/2010/main" val="89251993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E6FDB6-6D2B-46C1-9FA1-D82906A37C3A}" type="slidenum">
              <a:rPr lang="zh-CN" altLang="en-US" smtClean="0"/>
              <a:t>66</a:t>
            </a:fld>
            <a:endParaRPr lang="zh-CN" altLang="en-US"/>
          </a:p>
        </p:txBody>
      </p:sp>
    </p:spTree>
    <p:extLst>
      <p:ext uri="{BB962C8B-B14F-4D97-AF65-F5344CB8AC3E}">
        <p14:creationId xmlns:p14="http://schemas.microsoft.com/office/powerpoint/2010/main" val="29641344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E6FDB6-6D2B-46C1-9FA1-D82906A37C3A}" type="slidenum">
              <a:rPr lang="zh-CN" altLang="en-US" smtClean="0"/>
              <a:t>67</a:t>
            </a:fld>
            <a:endParaRPr lang="zh-CN" altLang="en-US"/>
          </a:p>
        </p:txBody>
      </p:sp>
    </p:spTree>
    <p:extLst>
      <p:ext uri="{BB962C8B-B14F-4D97-AF65-F5344CB8AC3E}">
        <p14:creationId xmlns:p14="http://schemas.microsoft.com/office/powerpoint/2010/main" val="77371923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1.</a:t>
            </a:r>
            <a:r>
              <a:rPr lang="zh-CN" altLang="en-US" dirty="0" smtClean="0"/>
              <a:t>创造对象</a:t>
            </a:r>
            <a:endParaRPr lang="en-US" altLang="zh-CN" dirty="0" smtClean="0"/>
          </a:p>
          <a:p>
            <a:r>
              <a:rPr lang="en-US" altLang="zh-CN" dirty="0" smtClean="0"/>
              <a:t>2.</a:t>
            </a:r>
            <a:r>
              <a:rPr lang="zh-CN" altLang="en-US" dirty="0" smtClean="0"/>
              <a:t>类设计结构之间如何交互</a:t>
            </a:r>
            <a:endParaRPr lang="en-US" altLang="zh-CN" dirty="0" smtClean="0"/>
          </a:p>
          <a:p>
            <a:r>
              <a:rPr lang="en-US" altLang="zh-CN" dirty="0" smtClean="0"/>
              <a:t>3.</a:t>
            </a:r>
            <a:r>
              <a:rPr lang="zh-CN" altLang="en-US" dirty="0" smtClean="0"/>
              <a:t>动态行为</a:t>
            </a:r>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68</a:t>
            </a:fld>
            <a:endParaRPr lang="zh-CN" altLang="en-US"/>
          </a:p>
        </p:txBody>
      </p:sp>
    </p:spTree>
    <p:extLst>
      <p:ext uri="{BB962C8B-B14F-4D97-AF65-F5344CB8AC3E}">
        <p14:creationId xmlns:p14="http://schemas.microsoft.com/office/powerpoint/2010/main" val="326195447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E6FDB6-6D2B-46C1-9FA1-D82906A37C3A}" type="slidenum">
              <a:rPr lang="zh-CN" altLang="en-US" smtClean="0"/>
              <a:t>69</a:t>
            </a:fld>
            <a:endParaRPr lang="zh-CN" altLang="en-US"/>
          </a:p>
        </p:txBody>
      </p:sp>
    </p:spTree>
    <p:extLst>
      <p:ext uri="{BB962C8B-B14F-4D97-AF65-F5344CB8AC3E}">
        <p14:creationId xmlns:p14="http://schemas.microsoft.com/office/powerpoint/2010/main" val="30989184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展示代码</a:t>
            </a:r>
            <a:endParaRPr lang="zh-CN" altLang="en-US" dirty="0"/>
          </a:p>
        </p:txBody>
      </p:sp>
      <p:sp>
        <p:nvSpPr>
          <p:cNvPr id="4" name="灯片编号占位符 3"/>
          <p:cNvSpPr>
            <a:spLocks noGrp="1"/>
          </p:cNvSpPr>
          <p:nvPr>
            <p:ph type="sldNum" sz="quarter" idx="10"/>
          </p:nvPr>
        </p:nvSpPr>
        <p:spPr/>
        <p:txBody>
          <a:bodyPr/>
          <a:lstStyle/>
          <a:p>
            <a:fld id="{A6DE7859-5033-414C-B449-8F8D635D9583}" type="slidenum">
              <a:rPr lang="zh-CN" altLang="en-US" smtClean="0"/>
              <a:t>70</a:t>
            </a:fld>
            <a:endParaRPr lang="zh-CN" altLang="en-US"/>
          </a:p>
        </p:txBody>
      </p:sp>
    </p:spTree>
    <p:extLst>
      <p:ext uri="{BB962C8B-B14F-4D97-AF65-F5344CB8AC3E}">
        <p14:creationId xmlns:p14="http://schemas.microsoft.com/office/powerpoint/2010/main" val="210061866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展示代码</a:t>
            </a:r>
            <a:endParaRPr lang="zh-CN" altLang="en-US" dirty="0"/>
          </a:p>
        </p:txBody>
      </p:sp>
      <p:sp>
        <p:nvSpPr>
          <p:cNvPr id="4" name="灯片编号占位符 3"/>
          <p:cNvSpPr>
            <a:spLocks noGrp="1"/>
          </p:cNvSpPr>
          <p:nvPr>
            <p:ph type="sldNum" sz="quarter" idx="10"/>
          </p:nvPr>
        </p:nvSpPr>
        <p:spPr/>
        <p:txBody>
          <a:bodyPr/>
          <a:lstStyle/>
          <a:p>
            <a:fld id="{A6DE7859-5033-414C-B449-8F8D635D9583}" type="slidenum">
              <a:rPr lang="zh-CN" altLang="en-US" smtClean="0"/>
              <a:t>71</a:t>
            </a:fld>
            <a:endParaRPr lang="zh-CN" altLang="en-US"/>
          </a:p>
        </p:txBody>
      </p:sp>
    </p:spTree>
    <p:extLst>
      <p:ext uri="{BB962C8B-B14F-4D97-AF65-F5344CB8AC3E}">
        <p14:creationId xmlns:p14="http://schemas.microsoft.com/office/powerpoint/2010/main" val="240215116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展示代码</a:t>
            </a:r>
            <a:endParaRPr lang="en-US" altLang="zh-CN" dirty="0" smtClean="0"/>
          </a:p>
          <a:p>
            <a:endParaRPr lang="en-US" altLang="zh-CN" dirty="0" smtClean="0"/>
          </a:p>
          <a:p>
            <a:r>
              <a:rPr lang="zh-CN" altLang="en-US" dirty="0" smtClean="0"/>
              <a:t>找出核心部分、一次成型。</a:t>
            </a:r>
            <a:endParaRPr lang="en-US" altLang="zh-CN" dirty="0" smtClean="0"/>
          </a:p>
          <a:p>
            <a:r>
              <a:rPr lang="en-US" altLang="zh-CN" dirty="0" err="1" smtClean="0"/>
              <a:t>setTouchScreen</a:t>
            </a:r>
            <a:endParaRPr lang="en-US" altLang="zh-CN" dirty="0" smtClean="0"/>
          </a:p>
          <a:p>
            <a:r>
              <a:rPr lang="en-US" altLang="zh-CN" dirty="0" err="1" smtClean="0"/>
              <a:t>setScreen</a:t>
            </a:r>
            <a:endParaRPr lang="en-US" altLang="zh-CN" dirty="0" smtClean="0"/>
          </a:p>
          <a:p>
            <a:r>
              <a:rPr lang="en-US" altLang="zh-CN" dirty="0" err="1" smtClean="0"/>
              <a:t>setShell</a:t>
            </a:r>
            <a:endParaRPr lang="en-US" altLang="zh-CN" dirty="0" smtClean="0"/>
          </a:p>
          <a:p>
            <a:r>
              <a:rPr lang="en-US" altLang="zh-CN" dirty="0" err="1" smtClean="0"/>
              <a:t>setMainBoard</a:t>
            </a:r>
            <a:endParaRPr lang="en-US" altLang="zh-CN" dirty="0" smtClean="0"/>
          </a:p>
          <a:p>
            <a:r>
              <a:rPr lang="en-US" altLang="zh-CN" dirty="0" err="1" smtClean="0"/>
              <a:t>setBattery</a:t>
            </a:r>
            <a:endParaRPr lang="en-US" altLang="zh-CN" dirty="0" smtClean="0"/>
          </a:p>
          <a:p>
            <a:r>
              <a:rPr lang="zh-CN" altLang="en-US" dirty="0" smtClean="0"/>
              <a:t>成型后才可用。</a:t>
            </a:r>
            <a:endParaRPr lang="zh-CN" altLang="en-US" dirty="0"/>
          </a:p>
        </p:txBody>
      </p:sp>
      <p:sp>
        <p:nvSpPr>
          <p:cNvPr id="4" name="灯片编号占位符 3"/>
          <p:cNvSpPr>
            <a:spLocks noGrp="1"/>
          </p:cNvSpPr>
          <p:nvPr>
            <p:ph type="sldNum" sz="quarter" idx="10"/>
          </p:nvPr>
        </p:nvSpPr>
        <p:spPr/>
        <p:txBody>
          <a:bodyPr/>
          <a:lstStyle/>
          <a:p>
            <a:fld id="{A6DE7859-5033-414C-B449-8F8D635D9583}" type="slidenum">
              <a:rPr lang="zh-CN" altLang="en-US" smtClean="0"/>
              <a:t>72</a:t>
            </a:fld>
            <a:endParaRPr lang="zh-CN" altLang="en-US"/>
          </a:p>
        </p:txBody>
      </p:sp>
    </p:spTree>
    <p:extLst>
      <p:ext uri="{BB962C8B-B14F-4D97-AF65-F5344CB8AC3E}">
        <p14:creationId xmlns:p14="http://schemas.microsoft.com/office/powerpoint/2010/main" val="6072174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展示代码</a:t>
            </a:r>
            <a:endParaRPr lang="en-US" altLang="zh-CN" dirty="0" smtClean="0"/>
          </a:p>
          <a:p>
            <a:endParaRPr lang="en-US" altLang="zh-CN" dirty="0" smtClean="0"/>
          </a:p>
          <a:p>
            <a:r>
              <a:rPr lang="zh-CN" altLang="en-US" dirty="0" smtClean="0"/>
              <a:t>找出核心部分、一次成型。</a:t>
            </a:r>
            <a:endParaRPr lang="en-US" altLang="zh-CN" dirty="0" smtClean="0"/>
          </a:p>
          <a:p>
            <a:r>
              <a:rPr lang="en-US" altLang="zh-CN" dirty="0" err="1" smtClean="0"/>
              <a:t>setTouchScreen</a:t>
            </a:r>
            <a:endParaRPr lang="en-US" altLang="zh-CN" dirty="0" smtClean="0"/>
          </a:p>
          <a:p>
            <a:r>
              <a:rPr lang="en-US" altLang="zh-CN" dirty="0" err="1" smtClean="0"/>
              <a:t>setScreen</a:t>
            </a:r>
            <a:endParaRPr lang="en-US" altLang="zh-CN" dirty="0" smtClean="0"/>
          </a:p>
          <a:p>
            <a:r>
              <a:rPr lang="en-US" altLang="zh-CN" dirty="0" err="1" smtClean="0"/>
              <a:t>setShell</a:t>
            </a:r>
            <a:endParaRPr lang="en-US" altLang="zh-CN" dirty="0" smtClean="0"/>
          </a:p>
          <a:p>
            <a:r>
              <a:rPr lang="en-US" altLang="zh-CN" dirty="0" err="1" smtClean="0"/>
              <a:t>setMainBoard</a:t>
            </a:r>
            <a:endParaRPr lang="en-US" altLang="zh-CN" dirty="0" smtClean="0"/>
          </a:p>
          <a:p>
            <a:r>
              <a:rPr lang="en-US" altLang="zh-CN" dirty="0" err="1" smtClean="0"/>
              <a:t>setBattery</a:t>
            </a:r>
            <a:endParaRPr lang="en-US" altLang="zh-CN" dirty="0" smtClean="0"/>
          </a:p>
          <a:p>
            <a:r>
              <a:rPr lang="zh-CN" altLang="en-US" dirty="0" smtClean="0"/>
              <a:t>成型后才可用。</a:t>
            </a:r>
            <a:endParaRPr lang="zh-CN" altLang="en-US" dirty="0"/>
          </a:p>
        </p:txBody>
      </p:sp>
      <p:sp>
        <p:nvSpPr>
          <p:cNvPr id="4" name="灯片编号占位符 3"/>
          <p:cNvSpPr>
            <a:spLocks noGrp="1"/>
          </p:cNvSpPr>
          <p:nvPr>
            <p:ph type="sldNum" sz="quarter" idx="10"/>
          </p:nvPr>
        </p:nvSpPr>
        <p:spPr/>
        <p:txBody>
          <a:bodyPr/>
          <a:lstStyle/>
          <a:p>
            <a:fld id="{A6DE7859-5033-414C-B449-8F8D635D9583}" type="slidenum">
              <a:rPr lang="zh-CN" altLang="en-US" smtClean="0"/>
              <a:t>73</a:t>
            </a:fld>
            <a:endParaRPr lang="zh-CN" altLang="en-US"/>
          </a:p>
        </p:txBody>
      </p:sp>
    </p:spTree>
    <p:extLst>
      <p:ext uri="{BB962C8B-B14F-4D97-AF65-F5344CB8AC3E}">
        <p14:creationId xmlns:p14="http://schemas.microsoft.com/office/powerpoint/2010/main" val="72387071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展示代码</a:t>
            </a:r>
            <a:endParaRPr lang="zh-CN" altLang="en-US" dirty="0"/>
          </a:p>
        </p:txBody>
      </p:sp>
      <p:sp>
        <p:nvSpPr>
          <p:cNvPr id="4" name="灯片编号占位符 3"/>
          <p:cNvSpPr>
            <a:spLocks noGrp="1"/>
          </p:cNvSpPr>
          <p:nvPr>
            <p:ph type="sldNum" sz="quarter" idx="10"/>
          </p:nvPr>
        </p:nvSpPr>
        <p:spPr/>
        <p:txBody>
          <a:bodyPr/>
          <a:lstStyle/>
          <a:p>
            <a:fld id="{A6DE7859-5033-414C-B449-8F8D635D9583}" type="slidenum">
              <a:rPr lang="zh-CN" altLang="en-US" smtClean="0"/>
              <a:t>74</a:t>
            </a:fld>
            <a:endParaRPr lang="zh-CN" altLang="en-US"/>
          </a:p>
        </p:txBody>
      </p:sp>
    </p:spTree>
    <p:extLst>
      <p:ext uri="{BB962C8B-B14F-4D97-AF65-F5344CB8AC3E}">
        <p14:creationId xmlns:p14="http://schemas.microsoft.com/office/powerpoint/2010/main" val="413478122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E6FDB6-6D2B-46C1-9FA1-D82906A37C3A}" type="slidenum">
              <a:rPr lang="zh-CN" altLang="en-US" smtClean="0"/>
              <a:t>75</a:t>
            </a:fld>
            <a:endParaRPr lang="zh-CN" altLang="en-US"/>
          </a:p>
        </p:txBody>
      </p:sp>
    </p:spTree>
    <p:extLst>
      <p:ext uri="{BB962C8B-B14F-4D97-AF65-F5344CB8AC3E}">
        <p14:creationId xmlns:p14="http://schemas.microsoft.com/office/powerpoint/2010/main" val="35018464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项目实际过程中遇到的一些问题：</a:t>
            </a:r>
            <a:endParaRPr lang="en-US" altLang="zh-CN" dirty="0" smtClean="0"/>
          </a:p>
          <a:p>
            <a:r>
              <a:rPr lang="zh-CN" altLang="en-US" dirty="0" smtClean="0"/>
              <a:t>项目开发周期很短，所以不能详细深入的分析所有需求，只能提取关键需求深入分析，决定架构，然后全面认识需求，用其余需求验证架构，比如采用架构方案评审的方式。</a:t>
            </a:r>
            <a:endParaRPr lang="en-US" altLang="zh-CN" dirty="0" smtClean="0"/>
          </a:p>
          <a:p>
            <a:r>
              <a:rPr lang="zh-CN" altLang="en-US" dirty="0" smtClean="0"/>
              <a:t>架构不一定完美，时间周期短，而且需求可能会不断变更，需要我们自己去这种权衡，到达一个状态即可。</a:t>
            </a:r>
          </a:p>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9</a:t>
            </a:fld>
            <a:endParaRPr lang="zh-CN" altLang="en-US"/>
          </a:p>
        </p:txBody>
      </p:sp>
    </p:spTree>
    <p:extLst>
      <p:ext uri="{BB962C8B-B14F-4D97-AF65-F5344CB8AC3E}">
        <p14:creationId xmlns:p14="http://schemas.microsoft.com/office/powerpoint/2010/main" val="245978722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E6FDB6-6D2B-46C1-9FA1-D82906A37C3A}" type="slidenum">
              <a:rPr lang="zh-CN" altLang="en-US" smtClean="0"/>
              <a:t>76</a:t>
            </a:fld>
            <a:endParaRPr lang="zh-CN" altLang="en-US"/>
          </a:p>
        </p:txBody>
      </p:sp>
    </p:spTree>
    <p:extLst>
      <p:ext uri="{BB962C8B-B14F-4D97-AF65-F5344CB8AC3E}">
        <p14:creationId xmlns:p14="http://schemas.microsoft.com/office/powerpoint/2010/main" val="57999970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E6FDB6-6D2B-46C1-9FA1-D82906A37C3A}" type="slidenum">
              <a:rPr lang="zh-CN" altLang="en-US" smtClean="0"/>
              <a:t>77</a:t>
            </a:fld>
            <a:endParaRPr lang="zh-CN" altLang="en-US"/>
          </a:p>
        </p:txBody>
      </p:sp>
    </p:spTree>
    <p:extLst>
      <p:ext uri="{BB962C8B-B14F-4D97-AF65-F5344CB8AC3E}">
        <p14:creationId xmlns:p14="http://schemas.microsoft.com/office/powerpoint/2010/main" val="336839725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E6FDB6-6D2B-46C1-9FA1-D82906A37C3A}" type="slidenum">
              <a:rPr lang="zh-CN" altLang="en-US" smtClean="0"/>
              <a:t>78</a:t>
            </a:fld>
            <a:endParaRPr lang="zh-CN" altLang="en-US"/>
          </a:p>
        </p:txBody>
      </p:sp>
    </p:spTree>
    <p:extLst>
      <p:ext uri="{BB962C8B-B14F-4D97-AF65-F5344CB8AC3E}">
        <p14:creationId xmlns:p14="http://schemas.microsoft.com/office/powerpoint/2010/main" val="4194163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E6FDB6-6D2B-46C1-9FA1-D82906A37C3A}" type="slidenum">
              <a:rPr lang="zh-CN" altLang="en-US" smtClean="0"/>
              <a:t>79</a:t>
            </a:fld>
            <a:endParaRPr lang="zh-CN" altLang="en-US"/>
          </a:p>
        </p:txBody>
      </p:sp>
    </p:spTree>
    <p:extLst>
      <p:ext uri="{BB962C8B-B14F-4D97-AF65-F5344CB8AC3E}">
        <p14:creationId xmlns:p14="http://schemas.microsoft.com/office/powerpoint/2010/main" val="213261191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80</a:t>
            </a:fld>
            <a:endParaRPr lang="zh-CN" altLang="en-US"/>
          </a:p>
        </p:txBody>
      </p:sp>
    </p:spTree>
    <p:extLst>
      <p:ext uri="{BB962C8B-B14F-4D97-AF65-F5344CB8AC3E}">
        <p14:creationId xmlns:p14="http://schemas.microsoft.com/office/powerpoint/2010/main" val="219959146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享元模式 解决了相同对象重复创建的问题。</a:t>
            </a:r>
            <a:endParaRPr lang="en-US" altLang="zh-CN" dirty="0" smtClean="0"/>
          </a:p>
          <a:p>
            <a:endParaRPr lang="en-US" altLang="zh-CN" dirty="0" smtClean="0"/>
          </a:p>
          <a:p>
            <a:r>
              <a:rPr lang="zh-CN" altLang="en-US" dirty="0" smtClean="0"/>
              <a:t>适配器解决了接口不兼容的问题。</a:t>
            </a:r>
            <a:endParaRPr lang="en-US" altLang="zh-CN" dirty="0" smtClean="0"/>
          </a:p>
          <a:p>
            <a:endParaRPr lang="en-US" altLang="zh-CN" dirty="0" smtClean="0"/>
          </a:p>
          <a:p>
            <a:r>
              <a:rPr lang="en-US" altLang="zh-CN" sz="1200" b="0" i="0" kern="1200" dirty="0" err="1" smtClean="0">
                <a:solidFill>
                  <a:schemeClr val="tx1"/>
                </a:solidFill>
                <a:effectLst/>
                <a:latin typeface="+mn-lt"/>
                <a:ea typeface="+mn-ea"/>
                <a:cs typeface="+mn-cs"/>
              </a:rPr>
              <a:t>daptor</a:t>
            </a:r>
            <a:r>
              <a:rPr lang="zh-CN" altLang="en-US" sz="1200" b="0" i="0" kern="1200" dirty="0" smtClean="0">
                <a:solidFill>
                  <a:schemeClr val="tx1"/>
                </a:solidFill>
                <a:effectLst/>
                <a:latin typeface="+mn-lt"/>
                <a:ea typeface="+mn-ea"/>
                <a:cs typeface="+mn-cs"/>
              </a:rPr>
              <a:t>所要解决的问题是适配，它的目的在于接口的转换。</a:t>
            </a:r>
            <a:endParaRPr lang="en-US" altLang="zh-CN" sz="1200" b="0" i="0" kern="1200" dirty="0" smtClean="0">
              <a:solidFill>
                <a:schemeClr val="tx1"/>
              </a:solidFill>
              <a:effectLst/>
              <a:latin typeface="+mn-lt"/>
              <a:ea typeface="+mn-ea"/>
              <a:cs typeface="+mn-cs"/>
            </a:endParaRPr>
          </a:p>
          <a:p>
            <a:endParaRPr lang="en-US" altLang="zh-CN" sz="1200" b="0" i="0" kern="1200" dirty="0" smtClean="0">
              <a:solidFill>
                <a:schemeClr val="tx1"/>
              </a:solidFill>
              <a:effectLst/>
              <a:latin typeface="+mn-lt"/>
              <a:ea typeface="+mn-ea"/>
              <a:cs typeface="+mn-cs"/>
            </a:endParaRPr>
          </a:p>
          <a:p>
            <a:r>
              <a:rPr lang="zh-CN" altLang="en-US" sz="1200" b="0" i="0" kern="1200" dirty="0" smtClean="0">
                <a:solidFill>
                  <a:schemeClr val="tx1"/>
                </a:solidFill>
                <a:effectLst/>
                <a:latin typeface="+mn-lt"/>
                <a:ea typeface="+mn-ea"/>
                <a:cs typeface="+mn-cs"/>
              </a:rPr>
              <a:t>而</a:t>
            </a:r>
            <a:r>
              <a:rPr lang="en-US" altLang="zh-CN" sz="1200" b="0" i="0" kern="1200" dirty="0" smtClean="0">
                <a:solidFill>
                  <a:schemeClr val="tx1"/>
                </a:solidFill>
                <a:effectLst/>
                <a:latin typeface="+mn-lt"/>
                <a:ea typeface="+mn-ea"/>
                <a:cs typeface="+mn-cs"/>
              </a:rPr>
              <a:t>Proxy</a:t>
            </a:r>
            <a:r>
              <a:rPr lang="zh-CN" altLang="en-US" sz="1200" b="0" i="0" kern="1200" dirty="0" smtClean="0">
                <a:solidFill>
                  <a:schemeClr val="tx1"/>
                </a:solidFill>
                <a:effectLst/>
                <a:latin typeface="+mn-lt"/>
                <a:ea typeface="+mn-ea"/>
                <a:cs typeface="+mn-cs"/>
              </a:rPr>
              <a:t>恰恰相反，它的目的在于保持接口不变，而改变接口定义的方法的行为。</a:t>
            </a:r>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81</a:t>
            </a:fld>
            <a:endParaRPr lang="zh-CN" altLang="en-US"/>
          </a:p>
        </p:txBody>
      </p:sp>
    </p:spTree>
    <p:extLst>
      <p:ext uri="{BB962C8B-B14F-4D97-AF65-F5344CB8AC3E}">
        <p14:creationId xmlns:p14="http://schemas.microsoft.com/office/powerpoint/2010/main" val="210366634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E6FDB6-6D2B-46C1-9FA1-D82906A37C3A}" type="slidenum">
              <a:rPr lang="zh-CN" altLang="en-US" smtClean="0"/>
              <a:t>82</a:t>
            </a:fld>
            <a:endParaRPr lang="zh-CN" altLang="en-US"/>
          </a:p>
        </p:txBody>
      </p:sp>
    </p:spTree>
    <p:extLst>
      <p:ext uri="{BB962C8B-B14F-4D97-AF65-F5344CB8AC3E}">
        <p14:creationId xmlns:p14="http://schemas.microsoft.com/office/powerpoint/2010/main" val="219325258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E6FDB6-6D2B-46C1-9FA1-D82906A37C3A}" type="slidenum">
              <a:rPr lang="zh-CN" altLang="en-US" smtClean="0"/>
              <a:t>83</a:t>
            </a:fld>
            <a:endParaRPr lang="zh-CN" altLang="en-US"/>
          </a:p>
        </p:txBody>
      </p:sp>
    </p:spTree>
    <p:extLst>
      <p:ext uri="{BB962C8B-B14F-4D97-AF65-F5344CB8AC3E}">
        <p14:creationId xmlns:p14="http://schemas.microsoft.com/office/powerpoint/2010/main" val="38123151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E6FDB6-6D2B-46C1-9FA1-D82906A37C3A}" type="slidenum">
              <a:rPr lang="zh-CN" altLang="en-US" smtClean="0"/>
              <a:t>84</a:t>
            </a:fld>
            <a:endParaRPr lang="zh-CN" altLang="en-US"/>
          </a:p>
        </p:txBody>
      </p:sp>
    </p:spTree>
    <p:extLst>
      <p:ext uri="{BB962C8B-B14F-4D97-AF65-F5344CB8AC3E}">
        <p14:creationId xmlns:p14="http://schemas.microsoft.com/office/powerpoint/2010/main" val="3594546956"/>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200" b="0" i="0" kern="1200" dirty="0" smtClean="0">
                <a:solidFill>
                  <a:schemeClr val="tx1"/>
                </a:solidFill>
                <a:effectLst/>
                <a:latin typeface="+mn-lt"/>
                <a:ea typeface="+mn-ea"/>
                <a:cs typeface="+mn-cs"/>
              </a:rPr>
              <a:t>在某些情况下，一个客户不想或者不能直接引用一个对 象，此时可以通过一个称之为“代理”的第三者来实现 间接引用。代理对象可以在客户端和目标对象之间起到 中介的作用，并且可以通过代理对象去掉客户不能看到 的内容和服务或者添加客户需要的额外服务。</a:t>
            </a:r>
          </a:p>
          <a:p>
            <a:r>
              <a:rPr lang="zh-CN" altLang="en-US" sz="1200" b="0" i="0" kern="1200" dirty="0" smtClean="0">
                <a:solidFill>
                  <a:schemeClr val="tx1"/>
                </a:solidFill>
                <a:effectLst/>
                <a:latin typeface="+mn-lt"/>
                <a:ea typeface="+mn-ea"/>
                <a:cs typeface="+mn-cs"/>
              </a:rPr>
              <a:t>通过引入一个新的对象（如小图片和远程代理 对象）来实现对真实对象的操作或者将新的对 象作为真实对象的一个替身，这种实现机制即 为代理模式，通过引入代理对象来间接访问一 个对象，这就是代理模式的模式动机。</a:t>
            </a:r>
          </a:p>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85</a:t>
            </a:fld>
            <a:endParaRPr lang="zh-CN" altLang="en-US"/>
          </a:p>
        </p:txBody>
      </p:sp>
    </p:spTree>
    <p:extLst>
      <p:ext uri="{BB962C8B-B14F-4D97-AF65-F5344CB8AC3E}">
        <p14:creationId xmlns:p14="http://schemas.microsoft.com/office/powerpoint/2010/main" val="30519661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indent="0">
              <a:buNone/>
            </a:pPr>
            <a:r>
              <a:rPr lang="zh-CN" altLang="en-US" sz="1200" dirty="0" smtClean="0">
                <a:latin typeface="Arial" panose="020B0604020202020204" pitchFamily="34" charset="0"/>
                <a:ea typeface="Microsoft YaHei" panose="020B0503020204020204" pitchFamily="34" charset="-122"/>
                <a:cs typeface="+mn-ea"/>
                <a:sym typeface="Arial" panose="020B0604020202020204" pitchFamily="34" charset="0"/>
              </a:rPr>
              <a:t>对于关键需求：</a:t>
            </a:r>
            <a:endParaRPr lang="en-US" altLang="zh-CN" sz="1200" dirty="0" smtClean="0">
              <a:latin typeface="Arial" panose="020B0604020202020204" pitchFamily="34" charset="0"/>
              <a:ea typeface="Microsoft YaHei" panose="020B0503020204020204" pitchFamily="34" charset="-122"/>
              <a:cs typeface="+mn-ea"/>
              <a:sym typeface="Arial" panose="020B0604020202020204" pitchFamily="34" charset="0"/>
            </a:endParaRPr>
          </a:p>
          <a:p>
            <a:pPr marL="0" indent="0">
              <a:buNone/>
            </a:pPr>
            <a:r>
              <a:rPr lang="zh-CN" altLang="en-US" sz="1200" dirty="0" smtClean="0">
                <a:latin typeface="Arial" panose="020B0604020202020204" pitchFamily="34" charset="0"/>
                <a:ea typeface="Microsoft YaHei" panose="020B0503020204020204" pitchFamily="34" charset="-122"/>
                <a:cs typeface="+mn-ea"/>
                <a:sym typeface="Arial" panose="020B0604020202020204" pitchFamily="34" charset="0"/>
              </a:rPr>
              <a:t>所有资源优先分配</a:t>
            </a:r>
          </a:p>
          <a:p>
            <a:pPr marL="0" indent="0">
              <a:buNone/>
            </a:pPr>
            <a:r>
              <a:rPr lang="zh-CN" altLang="en-US" sz="1200" dirty="0" smtClean="0">
                <a:latin typeface="Arial" panose="020B0604020202020204" pitchFamily="34" charset="0"/>
                <a:ea typeface="Microsoft YaHei" panose="020B0503020204020204" pitchFamily="34" charset="-122"/>
                <a:cs typeface="+mn-ea"/>
                <a:sym typeface="Arial" panose="020B0604020202020204" pitchFamily="34" charset="0"/>
              </a:rPr>
              <a:t>更加高要求的健壮性</a:t>
            </a:r>
            <a:r>
              <a:rPr lang="en-US" altLang="zh-CN" sz="1200" dirty="0" smtClean="0">
                <a:latin typeface="Arial" panose="020B0604020202020204" pitchFamily="34" charset="0"/>
                <a:ea typeface="Microsoft YaHei" panose="020B0503020204020204" pitchFamily="34" charset="-122"/>
                <a:cs typeface="+mn-ea"/>
                <a:sym typeface="Arial" panose="020B0604020202020204" pitchFamily="34" charset="0"/>
              </a:rPr>
              <a:t>/</a:t>
            </a:r>
            <a:r>
              <a:rPr lang="zh-CN" altLang="en-US" sz="1200" dirty="0" smtClean="0">
                <a:latin typeface="Arial" panose="020B0604020202020204" pitchFamily="34" charset="0"/>
                <a:ea typeface="Microsoft YaHei" panose="020B0503020204020204" pitchFamily="34" charset="-122"/>
                <a:cs typeface="+mn-ea"/>
                <a:sym typeface="Arial" panose="020B0604020202020204" pitchFamily="34" charset="0"/>
              </a:rPr>
              <a:t>正确性设计</a:t>
            </a:r>
            <a:endParaRPr lang="en-US" altLang="zh-CN" sz="1200" dirty="0" smtClean="0">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4" name="灯片编号占位符 3"/>
          <p:cNvSpPr>
            <a:spLocks noGrp="1"/>
          </p:cNvSpPr>
          <p:nvPr>
            <p:ph type="sldNum" sz="quarter" idx="10"/>
          </p:nvPr>
        </p:nvSpPr>
        <p:spPr/>
        <p:txBody>
          <a:bodyPr/>
          <a:lstStyle/>
          <a:p>
            <a:fld id="{E9E6FDB6-6D2B-46C1-9FA1-D82906A37C3A}" type="slidenum">
              <a:rPr lang="zh-CN" altLang="en-US" smtClean="0"/>
              <a:t>10</a:t>
            </a:fld>
            <a:endParaRPr lang="zh-CN" altLang="en-US"/>
          </a:p>
        </p:txBody>
      </p:sp>
    </p:spTree>
    <p:extLst>
      <p:ext uri="{BB962C8B-B14F-4D97-AF65-F5344CB8AC3E}">
        <p14:creationId xmlns:p14="http://schemas.microsoft.com/office/powerpoint/2010/main" val="88555811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200" b="0" i="0" kern="1200" dirty="0" smtClean="0">
                <a:solidFill>
                  <a:schemeClr val="tx1"/>
                </a:solidFill>
                <a:effectLst/>
                <a:latin typeface="+mn-lt"/>
                <a:ea typeface="+mn-ea"/>
                <a:cs typeface="+mn-cs"/>
              </a:rPr>
              <a:t>在某些情况下，一个客户不想或者不能直接引用一个对 象，此时可以通过一个称之为“代理”的第三者来实现 间接引用。代理对象可以在客户端和目标对象之间起到 中介的作用，并且可以通过代理对象去掉客户不能看到 的内容和服务或者添加客户需要的额外服务。</a:t>
            </a:r>
          </a:p>
          <a:p>
            <a:r>
              <a:rPr lang="zh-CN" altLang="en-US" sz="1200" b="0" i="0" kern="1200" dirty="0" smtClean="0">
                <a:solidFill>
                  <a:schemeClr val="tx1"/>
                </a:solidFill>
                <a:effectLst/>
                <a:latin typeface="+mn-lt"/>
                <a:ea typeface="+mn-ea"/>
                <a:cs typeface="+mn-cs"/>
              </a:rPr>
              <a:t>通过引入一个新的对象（如小图片和远程代理 对象）来实现对真实对象的操作或者将新的对 象作为真实对象的一个替身，这种实现机制即 为代理模式，通过引入代理对象来间接访问一 个对象，这就是代理模式的模式动机。</a:t>
            </a:r>
          </a:p>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86</a:t>
            </a:fld>
            <a:endParaRPr lang="zh-CN" altLang="en-US"/>
          </a:p>
        </p:txBody>
      </p:sp>
    </p:spTree>
    <p:extLst>
      <p:ext uri="{BB962C8B-B14F-4D97-AF65-F5344CB8AC3E}">
        <p14:creationId xmlns:p14="http://schemas.microsoft.com/office/powerpoint/2010/main" val="139564393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200" b="0" i="0" kern="1200" dirty="0" smtClean="0">
                <a:solidFill>
                  <a:schemeClr val="tx1"/>
                </a:solidFill>
                <a:effectLst/>
                <a:latin typeface="+mn-lt"/>
                <a:ea typeface="+mn-ea"/>
                <a:cs typeface="+mn-cs"/>
              </a:rPr>
              <a:t>一般有两种方式可以实现给一个类或对象增加行为：</a:t>
            </a:r>
          </a:p>
          <a:p>
            <a:r>
              <a:rPr lang="zh-CN" altLang="en-US" sz="1200" b="0" i="0" kern="1200" dirty="0" smtClean="0">
                <a:solidFill>
                  <a:schemeClr val="tx1"/>
                </a:solidFill>
                <a:effectLst/>
                <a:latin typeface="+mn-lt"/>
                <a:ea typeface="+mn-ea"/>
                <a:cs typeface="+mn-cs"/>
              </a:rPr>
              <a:t>继承机制，使用继承机制是给现有类添加功能的一种有效途径，通过继承一个现有类可以使得子类在拥有自身方法的同时还拥有父类的方法。但是这种方法是静态的，用户不能控制增加行为的方式和时机。</a:t>
            </a:r>
          </a:p>
          <a:p>
            <a:r>
              <a:rPr lang="zh-CN" altLang="en-US" sz="1200" b="0" i="0" kern="1200" dirty="0" smtClean="0">
                <a:solidFill>
                  <a:schemeClr val="tx1"/>
                </a:solidFill>
                <a:effectLst/>
                <a:latin typeface="+mn-lt"/>
                <a:ea typeface="+mn-ea"/>
                <a:cs typeface="+mn-cs"/>
              </a:rPr>
              <a:t>关联机制，即将一个类的对象嵌入另一个对象中，由另一个对象来决定是否调用嵌入对象的行为以便扩展自己的行为，我们称这个嵌入的对象为装饰器</a:t>
            </a:r>
            <a:r>
              <a:rPr lang="en-US" altLang="zh-CN" sz="1200" b="0" i="0" kern="1200" dirty="0" smtClean="0">
                <a:solidFill>
                  <a:schemeClr val="tx1"/>
                </a:solidFill>
                <a:effectLst/>
                <a:latin typeface="+mn-lt"/>
                <a:ea typeface="+mn-ea"/>
                <a:cs typeface="+mn-cs"/>
              </a:rPr>
              <a:t>(Decorator)</a:t>
            </a:r>
          </a:p>
          <a:p>
            <a:r>
              <a:rPr lang="zh-CN" altLang="en-US" sz="1200" b="0" i="0" kern="1200" dirty="0" smtClean="0">
                <a:solidFill>
                  <a:schemeClr val="tx1"/>
                </a:solidFill>
                <a:effectLst/>
                <a:latin typeface="+mn-lt"/>
                <a:ea typeface="+mn-ea"/>
                <a:cs typeface="+mn-cs"/>
              </a:rPr>
              <a:t>装饰模式以对客户透明的方式动态地给一个对象附加上更多的责任，换言之，客户端并不会觉得对象在装饰前和装饰后有什么不同。装饰模式可以在不需要创造更多子类的情况下，将对象的功能加以扩展。这就是装饰模式的模式动机。</a:t>
            </a:r>
          </a:p>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87</a:t>
            </a:fld>
            <a:endParaRPr lang="zh-CN" altLang="en-US"/>
          </a:p>
        </p:txBody>
      </p:sp>
    </p:spTree>
    <p:extLst>
      <p:ext uri="{BB962C8B-B14F-4D97-AF65-F5344CB8AC3E}">
        <p14:creationId xmlns:p14="http://schemas.microsoft.com/office/powerpoint/2010/main" val="476873353"/>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200" b="0" i="0" kern="1200" dirty="0" smtClean="0">
                <a:solidFill>
                  <a:schemeClr val="tx1"/>
                </a:solidFill>
                <a:effectLst/>
                <a:latin typeface="+mn-lt"/>
                <a:ea typeface="+mn-ea"/>
                <a:cs typeface="+mn-cs"/>
              </a:rPr>
              <a:t>一般有两种方式可以实现给一个类或对象增加行为：</a:t>
            </a:r>
          </a:p>
          <a:p>
            <a:r>
              <a:rPr lang="zh-CN" altLang="en-US" sz="1200" b="0" i="0" kern="1200" dirty="0" smtClean="0">
                <a:solidFill>
                  <a:schemeClr val="tx1"/>
                </a:solidFill>
                <a:effectLst/>
                <a:latin typeface="+mn-lt"/>
                <a:ea typeface="+mn-ea"/>
                <a:cs typeface="+mn-cs"/>
              </a:rPr>
              <a:t>继承机制，使用继承机制是给现有类添加功能的一种有效途径，通过继承一个现有类可以使得子类在拥有自身方法的同时还拥有父类的方法。但是这种方法是静态的，用户不能控制增加行为的方式和时机。</a:t>
            </a:r>
          </a:p>
          <a:p>
            <a:r>
              <a:rPr lang="zh-CN" altLang="en-US" sz="1200" b="0" i="0" kern="1200" dirty="0" smtClean="0">
                <a:solidFill>
                  <a:schemeClr val="tx1"/>
                </a:solidFill>
                <a:effectLst/>
                <a:latin typeface="+mn-lt"/>
                <a:ea typeface="+mn-ea"/>
                <a:cs typeface="+mn-cs"/>
              </a:rPr>
              <a:t>关联机制，即将一个类的对象嵌入另一个对象中，由另一个对象来决定是否调用嵌入对象的行为以便扩展自己的行为，我们称这个嵌入的对象为装饰器</a:t>
            </a:r>
            <a:r>
              <a:rPr lang="en-US" altLang="zh-CN" sz="1200" b="0" i="0" kern="1200" dirty="0" smtClean="0">
                <a:solidFill>
                  <a:schemeClr val="tx1"/>
                </a:solidFill>
                <a:effectLst/>
                <a:latin typeface="+mn-lt"/>
                <a:ea typeface="+mn-ea"/>
                <a:cs typeface="+mn-cs"/>
              </a:rPr>
              <a:t>(Decorator)</a:t>
            </a:r>
          </a:p>
          <a:p>
            <a:r>
              <a:rPr lang="zh-CN" altLang="en-US" sz="1200" b="0" i="0" kern="1200" dirty="0" smtClean="0">
                <a:solidFill>
                  <a:schemeClr val="tx1"/>
                </a:solidFill>
                <a:effectLst/>
                <a:latin typeface="+mn-lt"/>
                <a:ea typeface="+mn-ea"/>
                <a:cs typeface="+mn-cs"/>
              </a:rPr>
              <a:t>装饰模式以对客户透明的方式动态地给一个对象附加上更多的责任，换言之，客户端并不会觉得对象在装饰前和装饰后有什么不同。装饰模式可以在不需要创造更多子类的情况下，将对象的功能加以扩展。这就是装饰模式的模式动机。</a:t>
            </a:r>
          </a:p>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88</a:t>
            </a:fld>
            <a:endParaRPr lang="zh-CN" altLang="en-US"/>
          </a:p>
        </p:txBody>
      </p:sp>
    </p:spTree>
    <p:extLst>
      <p:ext uri="{BB962C8B-B14F-4D97-AF65-F5344CB8AC3E}">
        <p14:creationId xmlns:p14="http://schemas.microsoft.com/office/powerpoint/2010/main" val="278435487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200" b="0" i="0" kern="1200" dirty="0" smtClean="0">
                <a:solidFill>
                  <a:schemeClr val="tx1"/>
                </a:solidFill>
                <a:effectLst/>
                <a:latin typeface="+mn-lt"/>
                <a:ea typeface="+mn-ea"/>
                <a:cs typeface="+mn-cs"/>
              </a:rPr>
              <a:t>外观模式</a:t>
            </a:r>
            <a:r>
              <a:rPr lang="en-US" altLang="zh-CN" sz="1200" b="0" i="0" kern="1200" dirty="0" smtClean="0">
                <a:solidFill>
                  <a:schemeClr val="tx1"/>
                </a:solidFill>
                <a:effectLst/>
                <a:latin typeface="+mn-lt"/>
                <a:ea typeface="+mn-ea"/>
                <a:cs typeface="+mn-cs"/>
              </a:rPr>
              <a:t>(Facade Pattern)</a:t>
            </a:r>
            <a:r>
              <a:rPr lang="zh-CN" altLang="en-US" sz="1200" b="0" i="0" kern="1200" dirty="0" smtClean="0">
                <a:solidFill>
                  <a:schemeClr val="tx1"/>
                </a:solidFill>
                <a:effectLst/>
                <a:latin typeface="+mn-lt"/>
                <a:ea typeface="+mn-ea"/>
                <a:cs typeface="+mn-cs"/>
              </a:rPr>
              <a:t>：外部与一个子系统的通信必须通过一个统一的外观对象进行，为子系统中的一组接口提供一个一致的界面，外观模式定义了一个</a:t>
            </a:r>
            <a:r>
              <a:rPr lang="zh-CN" altLang="en-US" sz="1200" b="1" i="0" kern="1200" dirty="0" smtClean="0">
                <a:solidFill>
                  <a:schemeClr val="tx1"/>
                </a:solidFill>
                <a:effectLst/>
                <a:latin typeface="+mn-lt"/>
                <a:ea typeface="+mn-ea"/>
                <a:cs typeface="+mn-cs"/>
              </a:rPr>
              <a:t>高层接口</a:t>
            </a:r>
            <a:r>
              <a:rPr lang="zh-CN" altLang="en-US" sz="1200" b="0" i="0" kern="1200" dirty="0" smtClean="0">
                <a:solidFill>
                  <a:schemeClr val="tx1"/>
                </a:solidFill>
                <a:effectLst/>
                <a:latin typeface="+mn-lt"/>
                <a:ea typeface="+mn-ea"/>
                <a:cs typeface="+mn-cs"/>
              </a:rPr>
              <a:t>，这个接口</a:t>
            </a:r>
            <a:r>
              <a:rPr lang="zh-CN" altLang="en-US" sz="1200" b="1" i="0" kern="1200" dirty="0" smtClean="0">
                <a:solidFill>
                  <a:schemeClr val="tx1"/>
                </a:solidFill>
                <a:effectLst/>
                <a:latin typeface="+mn-lt"/>
                <a:ea typeface="+mn-ea"/>
                <a:cs typeface="+mn-cs"/>
              </a:rPr>
              <a:t>使得这一子系统更加容易使用。</a:t>
            </a:r>
            <a:r>
              <a:rPr lang="zh-CN" altLang="en-US" sz="1200" b="0" i="0" kern="1200" dirty="0" smtClean="0">
                <a:solidFill>
                  <a:schemeClr val="tx1"/>
                </a:solidFill>
                <a:effectLst/>
                <a:latin typeface="+mn-lt"/>
                <a:ea typeface="+mn-ea"/>
                <a:cs typeface="+mn-cs"/>
              </a:rPr>
              <a:t>外观模式又称为门面模式，它是一种对象结构型模式。</a:t>
            </a:r>
            <a:endParaRPr lang="en-US" altLang="zh-CN" sz="1200" b="0" i="0" kern="1200" dirty="0" smtClean="0">
              <a:solidFill>
                <a:schemeClr val="tx1"/>
              </a:solidFill>
              <a:effectLst/>
              <a:latin typeface="+mn-lt"/>
              <a:ea typeface="+mn-ea"/>
              <a:cs typeface="+mn-cs"/>
            </a:endParaRPr>
          </a:p>
          <a:p>
            <a:endParaRPr lang="en-US" altLang="zh-CN" sz="1200" b="0" i="0" kern="1200" dirty="0" smtClean="0">
              <a:solidFill>
                <a:schemeClr val="tx1"/>
              </a:solidFill>
              <a:effectLst/>
              <a:latin typeface="+mn-lt"/>
              <a:ea typeface="+mn-ea"/>
              <a:cs typeface="+mn-cs"/>
            </a:endParaRPr>
          </a:p>
          <a:p>
            <a:r>
              <a:rPr lang="en-US" altLang="zh-CN" sz="1200" b="0" i="0" kern="1200" dirty="0" smtClean="0">
                <a:solidFill>
                  <a:schemeClr val="tx1"/>
                </a:solidFill>
                <a:effectLst/>
                <a:latin typeface="+mn-lt"/>
                <a:ea typeface="+mn-ea"/>
                <a:cs typeface="+mn-cs"/>
              </a:rPr>
              <a:t>1</a:t>
            </a:r>
            <a:r>
              <a:rPr lang="zh-CN" altLang="en-US" sz="1200" b="0" i="0" kern="1200" dirty="0" smtClean="0">
                <a:solidFill>
                  <a:schemeClr val="tx1"/>
                </a:solidFill>
                <a:effectLst/>
                <a:latin typeface="+mn-lt"/>
                <a:ea typeface="+mn-ea"/>
                <a:cs typeface="+mn-cs"/>
              </a:rPr>
              <a:t>、客户端不需要知道系统内部的复杂联系，整个系统只需提供一个</a:t>
            </a:r>
            <a:r>
              <a:rPr lang="en-US" altLang="zh-CN" sz="1200" b="0" i="0" kern="1200" dirty="0" smtClean="0">
                <a:solidFill>
                  <a:schemeClr val="tx1"/>
                </a:solidFill>
                <a:effectLst/>
                <a:latin typeface="+mn-lt"/>
                <a:ea typeface="+mn-ea"/>
                <a:cs typeface="+mn-cs"/>
              </a:rPr>
              <a:t>"</a:t>
            </a:r>
            <a:r>
              <a:rPr lang="zh-CN" altLang="en-US" sz="1200" b="0" i="0" kern="1200" dirty="0" smtClean="0">
                <a:solidFill>
                  <a:schemeClr val="tx1"/>
                </a:solidFill>
                <a:effectLst/>
                <a:latin typeface="+mn-lt"/>
                <a:ea typeface="+mn-ea"/>
                <a:cs typeface="+mn-cs"/>
              </a:rPr>
              <a:t>接待员</a:t>
            </a:r>
            <a:r>
              <a:rPr lang="en-US" altLang="zh-CN" sz="1200" b="0" i="0" kern="1200" dirty="0" smtClean="0">
                <a:solidFill>
                  <a:schemeClr val="tx1"/>
                </a:solidFill>
                <a:effectLst/>
                <a:latin typeface="+mn-lt"/>
                <a:ea typeface="+mn-ea"/>
                <a:cs typeface="+mn-cs"/>
              </a:rPr>
              <a:t>"</a:t>
            </a:r>
            <a:r>
              <a:rPr lang="zh-CN" altLang="en-US" sz="1200" b="0" i="0" kern="1200" dirty="0" smtClean="0">
                <a:solidFill>
                  <a:schemeClr val="tx1"/>
                </a:solidFill>
                <a:effectLst/>
                <a:latin typeface="+mn-lt"/>
                <a:ea typeface="+mn-ea"/>
                <a:cs typeface="+mn-cs"/>
              </a:rPr>
              <a:t>即可。 </a:t>
            </a:r>
            <a:r>
              <a:rPr lang="en-US" altLang="zh-CN" sz="1200" b="0" i="0" kern="1200" dirty="0" smtClean="0">
                <a:solidFill>
                  <a:schemeClr val="tx1"/>
                </a:solidFill>
                <a:effectLst/>
                <a:latin typeface="+mn-lt"/>
                <a:ea typeface="+mn-ea"/>
                <a:cs typeface="+mn-cs"/>
              </a:rPr>
              <a:t>2</a:t>
            </a:r>
            <a:r>
              <a:rPr lang="zh-CN" altLang="en-US" sz="1200" b="0" i="0" kern="1200" dirty="0" smtClean="0">
                <a:solidFill>
                  <a:schemeClr val="tx1"/>
                </a:solidFill>
                <a:effectLst/>
                <a:latin typeface="+mn-lt"/>
                <a:ea typeface="+mn-ea"/>
                <a:cs typeface="+mn-cs"/>
              </a:rPr>
              <a:t>、定义系统的入口。</a:t>
            </a:r>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89</a:t>
            </a:fld>
            <a:endParaRPr lang="zh-CN" altLang="en-US"/>
          </a:p>
        </p:txBody>
      </p:sp>
    </p:spTree>
    <p:extLst>
      <p:ext uri="{BB962C8B-B14F-4D97-AF65-F5344CB8AC3E}">
        <p14:creationId xmlns:p14="http://schemas.microsoft.com/office/powerpoint/2010/main" val="398704876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200" b="0" i="0" kern="1200" dirty="0" smtClean="0">
                <a:solidFill>
                  <a:schemeClr val="tx1"/>
                </a:solidFill>
                <a:effectLst/>
                <a:latin typeface="+mn-lt"/>
                <a:ea typeface="+mn-ea"/>
                <a:cs typeface="+mn-cs"/>
              </a:rPr>
              <a:t>外观模式</a:t>
            </a:r>
            <a:r>
              <a:rPr lang="en-US" altLang="zh-CN" sz="1200" b="0" i="0" kern="1200" dirty="0" smtClean="0">
                <a:solidFill>
                  <a:schemeClr val="tx1"/>
                </a:solidFill>
                <a:effectLst/>
                <a:latin typeface="+mn-lt"/>
                <a:ea typeface="+mn-ea"/>
                <a:cs typeface="+mn-cs"/>
              </a:rPr>
              <a:t>(Facade Pattern)</a:t>
            </a:r>
            <a:r>
              <a:rPr lang="zh-CN" altLang="en-US" sz="1200" b="0" i="0" kern="1200" dirty="0" smtClean="0">
                <a:solidFill>
                  <a:schemeClr val="tx1"/>
                </a:solidFill>
                <a:effectLst/>
                <a:latin typeface="+mn-lt"/>
                <a:ea typeface="+mn-ea"/>
                <a:cs typeface="+mn-cs"/>
              </a:rPr>
              <a:t>：外部与一个子系统的通信必须通过一个统一的外观对象进行，为子系统中的一组接口提供一个一致的界面，外观模式定义了一个</a:t>
            </a:r>
            <a:r>
              <a:rPr lang="zh-CN" altLang="en-US" sz="1200" b="1" i="0" kern="1200" dirty="0" smtClean="0">
                <a:solidFill>
                  <a:schemeClr val="tx1"/>
                </a:solidFill>
                <a:effectLst/>
                <a:latin typeface="+mn-lt"/>
                <a:ea typeface="+mn-ea"/>
                <a:cs typeface="+mn-cs"/>
              </a:rPr>
              <a:t>高层接口</a:t>
            </a:r>
            <a:r>
              <a:rPr lang="zh-CN" altLang="en-US" sz="1200" b="0" i="0" kern="1200" dirty="0" smtClean="0">
                <a:solidFill>
                  <a:schemeClr val="tx1"/>
                </a:solidFill>
                <a:effectLst/>
                <a:latin typeface="+mn-lt"/>
                <a:ea typeface="+mn-ea"/>
                <a:cs typeface="+mn-cs"/>
              </a:rPr>
              <a:t>，这个接口</a:t>
            </a:r>
            <a:r>
              <a:rPr lang="zh-CN" altLang="en-US" sz="1200" b="1" i="0" kern="1200" dirty="0" smtClean="0">
                <a:solidFill>
                  <a:schemeClr val="tx1"/>
                </a:solidFill>
                <a:effectLst/>
                <a:latin typeface="+mn-lt"/>
                <a:ea typeface="+mn-ea"/>
                <a:cs typeface="+mn-cs"/>
              </a:rPr>
              <a:t>使得这一子系统更加容易使用。</a:t>
            </a:r>
            <a:r>
              <a:rPr lang="zh-CN" altLang="en-US" sz="1200" b="0" i="0" kern="1200" dirty="0" smtClean="0">
                <a:solidFill>
                  <a:schemeClr val="tx1"/>
                </a:solidFill>
                <a:effectLst/>
                <a:latin typeface="+mn-lt"/>
                <a:ea typeface="+mn-ea"/>
                <a:cs typeface="+mn-cs"/>
              </a:rPr>
              <a:t>外观模式又称为门面模式，它是一种对象结构型模式。</a:t>
            </a:r>
            <a:endParaRPr lang="en-US" altLang="zh-CN" sz="1200" b="0" i="0" kern="1200" dirty="0" smtClean="0">
              <a:solidFill>
                <a:schemeClr val="tx1"/>
              </a:solidFill>
              <a:effectLst/>
              <a:latin typeface="+mn-lt"/>
              <a:ea typeface="+mn-ea"/>
              <a:cs typeface="+mn-cs"/>
            </a:endParaRPr>
          </a:p>
          <a:p>
            <a:endParaRPr lang="en-US" altLang="zh-CN" sz="1200" b="0" i="0" kern="1200" dirty="0" smtClean="0">
              <a:solidFill>
                <a:schemeClr val="tx1"/>
              </a:solidFill>
              <a:effectLst/>
              <a:latin typeface="+mn-lt"/>
              <a:ea typeface="+mn-ea"/>
              <a:cs typeface="+mn-cs"/>
            </a:endParaRPr>
          </a:p>
          <a:p>
            <a:r>
              <a:rPr lang="en-US" altLang="zh-CN" sz="1200" b="0" i="0" kern="1200" dirty="0" smtClean="0">
                <a:solidFill>
                  <a:schemeClr val="tx1"/>
                </a:solidFill>
                <a:effectLst/>
                <a:latin typeface="+mn-lt"/>
                <a:ea typeface="+mn-ea"/>
                <a:cs typeface="+mn-cs"/>
              </a:rPr>
              <a:t>1</a:t>
            </a:r>
            <a:r>
              <a:rPr lang="zh-CN" altLang="en-US" sz="1200" b="0" i="0" kern="1200" dirty="0" smtClean="0">
                <a:solidFill>
                  <a:schemeClr val="tx1"/>
                </a:solidFill>
                <a:effectLst/>
                <a:latin typeface="+mn-lt"/>
                <a:ea typeface="+mn-ea"/>
                <a:cs typeface="+mn-cs"/>
              </a:rPr>
              <a:t>、客户端不需要知道系统内部的复杂联系，整个系统只需提供一个</a:t>
            </a:r>
            <a:r>
              <a:rPr lang="en-US" altLang="zh-CN" sz="1200" b="0" i="0" kern="1200" dirty="0" smtClean="0">
                <a:solidFill>
                  <a:schemeClr val="tx1"/>
                </a:solidFill>
                <a:effectLst/>
                <a:latin typeface="+mn-lt"/>
                <a:ea typeface="+mn-ea"/>
                <a:cs typeface="+mn-cs"/>
              </a:rPr>
              <a:t>"</a:t>
            </a:r>
            <a:r>
              <a:rPr lang="zh-CN" altLang="en-US" sz="1200" b="0" i="0" kern="1200" dirty="0" smtClean="0">
                <a:solidFill>
                  <a:schemeClr val="tx1"/>
                </a:solidFill>
                <a:effectLst/>
                <a:latin typeface="+mn-lt"/>
                <a:ea typeface="+mn-ea"/>
                <a:cs typeface="+mn-cs"/>
              </a:rPr>
              <a:t>接待员</a:t>
            </a:r>
            <a:r>
              <a:rPr lang="en-US" altLang="zh-CN" sz="1200" b="0" i="0" kern="1200" dirty="0" smtClean="0">
                <a:solidFill>
                  <a:schemeClr val="tx1"/>
                </a:solidFill>
                <a:effectLst/>
                <a:latin typeface="+mn-lt"/>
                <a:ea typeface="+mn-ea"/>
                <a:cs typeface="+mn-cs"/>
              </a:rPr>
              <a:t>"</a:t>
            </a:r>
            <a:r>
              <a:rPr lang="zh-CN" altLang="en-US" sz="1200" b="0" i="0" kern="1200" dirty="0" smtClean="0">
                <a:solidFill>
                  <a:schemeClr val="tx1"/>
                </a:solidFill>
                <a:effectLst/>
                <a:latin typeface="+mn-lt"/>
                <a:ea typeface="+mn-ea"/>
                <a:cs typeface="+mn-cs"/>
              </a:rPr>
              <a:t>即可。 </a:t>
            </a:r>
            <a:r>
              <a:rPr lang="en-US" altLang="zh-CN" sz="1200" b="0" i="0" kern="1200" dirty="0" smtClean="0">
                <a:solidFill>
                  <a:schemeClr val="tx1"/>
                </a:solidFill>
                <a:effectLst/>
                <a:latin typeface="+mn-lt"/>
                <a:ea typeface="+mn-ea"/>
                <a:cs typeface="+mn-cs"/>
              </a:rPr>
              <a:t>2</a:t>
            </a:r>
            <a:r>
              <a:rPr lang="zh-CN" altLang="en-US" sz="1200" b="0" i="0" kern="1200" dirty="0" smtClean="0">
                <a:solidFill>
                  <a:schemeClr val="tx1"/>
                </a:solidFill>
                <a:effectLst/>
                <a:latin typeface="+mn-lt"/>
                <a:ea typeface="+mn-ea"/>
                <a:cs typeface="+mn-cs"/>
              </a:rPr>
              <a:t>、定义系统的入口。</a:t>
            </a:r>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90</a:t>
            </a:fld>
            <a:endParaRPr lang="zh-CN" altLang="en-US"/>
          </a:p>
        </p:txBody>
      </p:sp>
    </p:spTree>
    <p:extLst>
      <p:ext uri="{BB962C8B-B14F-4D97-AF65-F5344CB8AC3E}">
        <p14:creationId xmlns:p14="http://schemas.microsoft.com/office/powerpoint/2010/main" val="106454387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200" b="0" i="0" kern="1200" dirty="0" smtClean="0">
                <a:solidFill>
                  <a:schemeClr val="tx1"/>
                </a:solidFill>
                <a:effectLst/>
                <a:latin typeface="+mn-lt"/>
                <a:ea typeface="+mn-ea"/>
                <a:cs typeface="+mn-cs"/>
              </a:rPr>
              <a:t>外观模式</a:t>
            </a:r>
            <a:r>
              <a:rPr lang="en-US" altLang="zh-CN" sz="1200" b="0" i="0" kern="1200" dirty="0" smtClean="0">
                <a:solidFill>
                  <a:schemeClr val="tx1"/>
                </a:solidFill>
                <a:effectLst/>
                <a:latin typeface="+mn-lt"/>
                <a:ea typeface="+mn-ea"/>
                <a:cs typeface="+mn-cs"/>
              </a:rPr>
              <a:t>(Facade Pattern)</a:t>
            </a:r>
            <a:r>
              <a:rPr lang="zh-CN" altLang="en-US" sz="1200" b="0" i="0" kern="1200" dirty="0" smtClean="0">
                <a:solidFill>
                  <a:schemeClr val="tx1"/>
                </a:solidFill>
                <a:effectLst/>
                <a:latin typeface="+mn-lt"/>
                <a:ea typeface="+mn-ea"/>
                <a:cs typeface="+mn-cs"/>
              </a:rPr>
              <a:t>：外部与一个子系统的通信必须通过一个统一的外观对象进行，为子系统中的一组接口提供一个一致的界面，外观模式定义了一个</a:t>
            </a:r>
            <a:r>
              <a:rPr lang="zh-CN" altLang="en-US" sz="1200" b="1" i="0" kern="1200" dirty="0" smtClean="0">
                <a:solidFill>
                  <a:schemeClr val="tx1"/>
                </a:solidFill>
                <a:effectLst/>
                <a:latin typeface="+mn-lt"/>
                <a:ea typeface="+mn-ea"/>
                <a:cs typeface="+mn-cs"/>
              </a:rPr>
              <a:t>高层接口</a:t>
            </a:r>
            <a:r>
              <a:rPr lang="zh-CN" altLang="en-US" sz="1200" b="0" i="0" kern="1200" dirty="0" smtClean="0">
                <a:solidFill>
                  <a:schemeClr val="tx1"/>
                </a:solidFill>
                <a:effectLst/>
                <a:latin typeface="+mn-lt"/>
                <a:ea typeface="+mn-ea"/>
                <a:cs typeface="+mn-cs"/>
              </a:rPr>
              <a:t>，这个接口</a:t>
            </a:r>
            <a:r>
              <a:rPr lang="zh-CN" altLang="en-US" sz="1200" b="1" i="0" kern="1200" dirty="0" smtClean="0">
                <a:solidFill>
                  <a:schemeClr val="tx1"/>
                </a:solidFill>
                <a:effectLst/>
                <a:latin typeface="+mn-lt"/>
                <a:ea typeface="+mn-ea"/>
                <a:cs typeface="+mn-cs"/>
              </a:rPr>
              <a:t>使得这一子系统更加容易使用。</a:t>
            </a:r>
            <a:r>
              <a:rPr lang="zh-CN" altLang="en-US" sz="1200" b="0" i="0" kern="1200" dirty="0" smtClean="0">
                <a:solidFill>
                  <a:schemeClr val="tx1"/>
                </a:solidFill>
                <a:effectLst/>
                <a:latin typeface="+mn-lt"/>
                <a:ea typeface="+mn-ea"/>
                <a:cs typeface="+mn-cs"/>
              </a:rPr>
              <a:t>外观模式又称为门面模式，它是一种对象结构型模式。</a:t>
            </a:r>
            <a:endParaRPr lang="en-US" altLang="zh-CN" sz="1200" b="0" i="0" kern="1200" dirty="0" smtClean="0">
              <a:solidFill>
                <a:schemeClr val="tx1"/>
              </a:solidFill>
              <a:effectLst/>
              <a:latin typeface="+mn-lt"/>
              <a:ea typeface="+mn-ea"/>
              <a:cs typeface="+mn-cs"/>
            </a:endParaRPr>
          </a:p>
          <a:p>
            <a:endParaRPr lang="en-US" altLang="zh-CN" sz="1200" b="0" i="0" kern="1200" dirty="0" smtClean="0">
              <a:solidFill>
                <a:schemeClr val="tx1"/>
              </a:solidFill>
              <a:effectLst/>
              <a:latin typeface="+mn-lt"/>
              <a:ea typeface="+mn-ea"/>
              <a:cs typeface="+mn-cs"/>
            </a:endParaRPr>
          </a:p>
          <a:p>
            <a:r>
              <a:rPr lang="en-US" altLang="zh-CN" sz="1200" b="0" i="0" kern="1200" dirty="0" smtClean="0">
                <a:solidFill>
                  <a:schemeClr val="tx1"/>
                </a:solidFill>
                <a:effectLst/>
                <a:latin typeface="+mn-lt"/>
                <a:ea typeface="+mn-ea"/>
                <a:cs typeface="+mn-cs"/>
              </a:rPr>
              <a:t>1</a:t>
            </a:r>
            <a:r>
              <a:rPr lang="zh-CN" altLang="en-US" sz="1200" b="0" i="0" kern="1200" dirty="0" smtClean="0">
                <a:solidFill>
                  <a:schemeClr val="tx1"/>
                </a:solidFill>
                <a:effectLst/>
                <a:latin typeface="+mn-lt"/>
                <a:ea typeface="+mn-ea"/>
                <a:cs typeface="+mn-cs"/>
              </a:rPr>
              <a:t>、客户端不需要知道系统内部的复杂联系，整个系统只需提供一个</a:t>
            </a:r>
            <a:r>
              <a:rPr lang="en-US" altLang="zh-CN" sz="1200" b="0" i="0" kern="1200" dirty="0" smtClean="0">
                <a:solidFill>
                  <a:schemeClr val="tx1"/>
                </a:solidFill>
                <a:effectLst/>
                <a:latin typeface="+mn-lt"/>
                <a:ea typeface="+mn-ea"/>
                <a:cs typeface="+mn-cs"/>
              </a:rPr>
              <a:t>"</a:t>
            </a:r>
            <a:r>
              <a:rPr lang="zh-CN" altLang="en-US" sz="1200" b="0" i="0" kern="1200" dirty="0" smtClean="0">
                <a:solidFill>
                  <a:schemeClr val="tx1"/>
                </a:solidFill>
                <a:effectLst/>
                <a:latin typeface="+mn-lt"/>
                <a:ea typeface="+mn-ea"/>
                <a:cs typeface="+mn-cs"/>
              </a:rPr>
              <a:t>接待员</a:t>
            </a:r>
            <a:r>
              <a:rPr lang="en-US" altLang="zh-CN" sz="1200" b="0" i="0" kern="1200" dirty="0" smtClean="0">
                <a:solidFill>
                  <a:schemeClr val="tx1"/>
                </a:solidFill>
                <a:effectLst/>
                <a:latin typeface="+mn-lt"/>
                <a:ea typeface="+mn-ea"/>
                <a:cs typeface="+mn-cs"/>
              </a:rPr>
              <a:t>"</a:t>
            </a:r>
            <a:r>
              <a:rPr lang="zh-CN" altLang="en-US" sz="1200" b="0" i="0" kern="1200" dirty="0" smtClean="0">
                <a:solidFill>
                  <a:schemeClr val="tx1"/>
                </a:solidFill>
                <a:effectLst/>
                <a:latin typeface="+mn-lt"/>
                <a:ea typeface="+mn-ea"/>
                <a:cs typeface="+mn-cs"/>
              </a:rPr>
              <a:t>即可。 </a:t>
            </a:r>
            <a:r>
              <a:rPr lang="en-US" altLang="zh-CN" sz="1200" b="0" i="0" kern="1200" dirty="0" smtClean="0">
                <a:solidFill>
                  <a:schemeClr val="tx1"/>
                </a:solidFill>
                <a:effectLst/>
                <a:latin typeface="+mn-lt"/>
                <a:ea typeface="+mn-ea"/>
                <a:cs typeface="+mn-cs"/>
              </a:rPr>
              <a:t>2</a:t>
            </a:r>
            <a:r>
              <a:rPr lang="zh-CN" altLang="en-US" sz="1200" b="0" i="0" kern="1200" dirty="0" smtClean="0">
                <a:solidFill>
                  <a:schemeClr val="tx1"/>
                </a:solidFill>
                <a:effectLst/>
                <a:latin typeface="+mn-lt"/>
                <a:ea typeface="+mn-ea"/>
                <a:cs typeface="+mn-cs"/>
              </a:rPr>
              <a:t>、定义系统的入口。</a:t>
            </a:r>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91</a:t>
            </a:fld>
            <a:endParaRPr lang="zh-CN" altLang="en-US"/>
          </a:p>
        </p:txBody>
      </p:sp>
    </p:spTree>
    <p:extLst>
      <p:ext uri="{BB962C8B-B14F-4D97-AF65-F5344CB8AC3E}">
        <p14:creationId xmlns:p14="http://schemas.microsoft.com/office/powerpoint/2010/main" val="1890588197"/>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200" b="0" i="0" kern="1200" dirty="0" smtClean="0">
                <a:solidFill>
                  <a:schemeClr val="tx1"/>
                </a:solidFill>
                <a:effectLst/>
                <a:latin typeface="+mn-lt"/>
                <a:ea typeface="+mn-ea"/>
                <a:cs typeface="+mn-cs"/>
              </a:rPr>
              <a:t>设想如果要绘制矩形、圆形、椭圆、正方形，我们至少需要</a:t>
            </a:r>
            <a:r>
              <a:rPr lang="en-US" altLang="zh-CN" sz="1200" b="0" i="0" kern="1200" dirty="0" smtClean="0">
                <a:solidFill>
                  <a:schemeClr val="tx1"/>
                </a:solidFill>
                <a:effectLst/>
                <a:latin typeface="+mn-lt"/>
                <a:ea typeface="+mn-ea"/>
                <a:cs typeface="+mn-cs"/>
              </a:rPr>
              <a:t>4</a:t>
            </a:r>
            <a:r>
              <a:rPr lang="zh-CN" altLang="en-US" sz="1200" b="0" i="0" kern="1200" dirty="0" smtClean="0">
                <a:solidFill>
                  <a:schemeClr val="tx1"/>
                </a:solidFill>
                <a:effectLst/>
                <a:latin typeface="+mn-lt"/>
                <a:ea typeface="+mn-ea"/>
                <a:cs typeface="+mn-cs"/>
              </a:rPr>
              <a:t>个形状类，但是如果绘制的图形需要具有不同的颜色，如红色、绿色、蓝色等，此时至少有如下两种设计方案：</a:t>
            </a:r>
          </a:p>
          <a:p>
            <a:r>
              <a:rPr lang="zh-CN" altLang="en-US" sz="1200" b="0" i="0" kern="1200" dirty="0" smtClean="0">
                <a:solidFill>
                  <a:schemeClr val="tx1"/>
                </a:solidFill>
                <a:effectLst/>
                <a:latin typeface="+mn-lt"/>
                <a:ea typeface="+mn-ea"/>
                <a:cs typeface="+mn-cs"/>
              </a:rPr>
              <a:t>第一种设计方案是为每一种形状都提供一套各种颜色的版本。</a:t>
            </a:r>
          </a:p>
          <a:p>
            <a:r>
              <a:rPr lang="zh-CN" altLang="en-US" sz="1200" b="0" i="0" kern="1200" dirty="0" smtClean="0">
                <a:solidFill>
                  <a:schemeClr val="tx1"/>
                </a:solidFill>
                <a:effectLst/>
                <a:latin typeface="+mn-lt"/>
                <a:ea typeface="+mn-ea"/>
                <a:cs typeface="+mn-cs"/>
              </a:rPr>
              <a:t>第二种设计方案是根据实际需要对形状和颜色进行组合</a:t>
            </a:r>
          </a:p>
          <a:p>
            <a:r>
              <a:rPr lang="zh-CN" altLang="en-US" sz="1200" b="0" i="0" kern="1200" dirty="0" smtClean="0">
                <a:solidFill>
                  <a:schemeClr val="tx1"/>
                </a:solidFill>
                <a:effectLst/>
                <a:latin typeface="+mn-lt"/>
                <a:ea typeface="+mn-ea"/>
                <a:cs typeface="+mn-cs"/>
              </a:rPr>
              <a:t>对于有两个变化维度（即两个变化的原因）的系统，采用方案二来进行设计系统中类的个数更少，且系统扩展更为方便。</a:t>
            </a:r>
            <a:r>
              <a:rPr lang="zh-CN" altLang="en-US" sz="1200" b="1" i="0" kern="1200" dirty="0" smtClean="0">
                <a:solidFill>
                  <a:schemeClr val="tx1"/>
                </a:solidFill>
                <a:effectLst/>
                <a:latin typeface="+mn-lt"/>
                <a:ea typeface="+mn-ea"/>
                <a:cs typeface="+mn-cs"/>
              </a:rPr>
              <a:t>设计方案二即是桥接模式的应用</a:t>
            </a:r>
            <a:r>
              <a:rPr lang="zh-CN" altLang="en-US" sz="1200" b="0" i="0" kern="1200" dirty="0" smtClean="0">
                <a:solidFill>
                  <a:schemeClr val="tx1"/>
                </a:solidFill>
                <a:effectLst/>
                <a:latin typeface="+mn-lt"/>
                <a:ea typeface="+mn-ea"/>
                <a:cs typeface="+mn-cs"/>
              </a:rPr>
              <a:t>。桥接模式</a:t>
            </a:r>
            <a:r>
              <a:rPr lang="zh-CN" altLang="en-US" sz="1200" b="1" i="0" kern="1200" dirty="0" smtClean="0">
                <a:solidFill>
                  <a:schemeClr val="tx1"/>
                </a:solidFill>
                <a:effectLst/>
                <a:latin typeface="+mn-lt"/>
                <a:ea typeface="+mn-ea"/>
                <a:cs typeface="+mn-cs"/>
              </a:rPr>
              <a:t>将继承关系</a:t>
            </a:r>
            <a:r>
              <a:rPr lang="zh-CN" altLang="en-US" sz="1200" b="0" i="0" kern="1200" dirty="0" smtClean="0">
                <a:solidFill>
                  <a:schemeClr val="tx1"/>
                </a:solidFill>
                <a:effectLst/>
                <a:latin typeface="+mn-lt"/>
                <a:ea typeface="+mn-ea"/>
                <a:cs typeface="+mn-cs"/>
              </a:rPr>
              <a:t>转换为</a:t>
            </a:r>
            <a:r>
              <a:rPr lang="zh-CN" altLang="en-US" sz="1200" b="1" i="0" kern="1200" dirty="0" smtClean="0">
                <a:solidFill>
                  <a:schemeClr val="tx1"/>
                </a:solidFill>
                <a:effectLst/>
                <a:latin typeface="+mn-lt"/>
                <a:ea typeface="+mn-ea"/>
                <a:cs typeface="+mn-cs"/>
              </a:rPr>
              <a:t>关联关系</a:t>
            </a:r>
            <a:r>
              <a:rPr lang="zh-CN" altLang="en-US" sz="1200" b="0" i="0" kern="1200" dirty="0" smtClean="0">
                <a:solidFill>
                  <a:schemeClr val="tx1"/>
                </a:solidFill>
                <a:effectLst/>
                <a:latin typeface="+mn-lt"/>
                <a:ea typeface="+mn-ea"/>
                <a:cs typeface="+mn-cs"/>
              </a:rPr>
              <a:t>，从而降低了类与类之间的耦合，减少了代码编写量。</a:t>
            </a:r>
            <a:endParaRPr lang="en-US" altLang="zh-CN" sz="1200" b="0" i="0" kern="1200" dirty="0" smtClean="0">
              <a:solidFill>
                <a:schemeClr val="tx1"/>
              </a:solidFill>
              <a:effectLst/>
              <a:latin typeface="+mn-lt"/>
              <a:ea typeface="+mn-ea"/>
              <a:cs typeface="+mn-cs"/>
            </a:endParaRPr>
          </a:p>
          <a:p>
            <a:endParaRPr lang="en-US" altLang="zh-CN" sz="1200" b="0" i="0" kern="1200" dirty="0" smtClean="0">
              <a:solidFill>
                <a:schemeClr val="tx1"/>
              </a:solidFill>
              <a:effectLst/>
              <a:latin typeface="+mn-lt"/>
              <a:ea typeface="+mn-ea"/>
              <a:cs typeface="+mn-cs"/>
            </a:endParaRPr>
          </a:p>
          <a:p>
            <a:r>
              <a:rPr lang="zh-CN" altLang="en-US" sz="1200" b="0" i="0" kern="1200" dirty="0" smtClean="0">
                <a:solidFill>
                  <a:schemeClr val="tx1"/>
                </a:solidFill>
                <a:effectLst/>
                <a:latin typeface="+mn-lt"/>
                <a:ea typeface="+mn-ea"/>
                <a:cs typeface="+mn-cs"/>
              </a:rPr>
              <a:t>桥接模式</a:t>
            </a:r>
            <a:r>
              <a:rPr lang="en-US" altLang="zh-CN" sz="1200" b="0" i="0" kern="1200" dirty="0" smtClean="0">
                <a:solidFill>
                  <a:schemeClr val="tx1"/>
                </a:solidFill>
                <a:effectLst/>
                <a:latin typeface="+mn-lt"/>
                <a:ea typeface="+mn-ea"/>
                <a:cs typeface="+mn-cs"/>
              </a:rPr>
              <a:t>(Bridge Pattern)</a:t>
            </a:r>
            <a:r>
              <a:rPr lang="zh-CN" altLang="en-US" sz="1200" b="0" i="0" kern="1200" dirty="0" smtClean="0">
                <a:solidFill>
                  <a:schemeClr val="tx1"/>
                </a:solidFill>
                <a:effectLst/>
                <a:latin typeface="+mn-lt"/>
                <a:ea typeface="+mn-ea"/>
                <a:cs typeface="+mn-cs"/>
              </a:rPr>
              <a:t>：将抽象部分与它的实现部分分离，使它们都可以独立地变化。它是一种对象结构型模式，又称为柄体</a:t>
            </a:r>
            <a:r>
              <a:rPr lang="en-US" altLang="zh-CN" sz="1200" b="0" i="0" kern="1200" dirty="0" smtClean="0">
                <a:solidFill>
                  <a:schemeClr val="tx1"/>
                </a:solidFill>
                <a:effectLst/>
                <a:latin typeface="+mn-lt"/>
                <a:ea typeface="+mn-ea"/>
                <a:cs typeface="+mn-cs"/>
              </a:rPr>
              <a:t>(Handle and Body)</a:t>
            </a:r>
            <a:r>
              <a:rPr lang="zh-CN" altLang="en-US" sz="1200" b="0" i="0" kern="1200" dirty="0" smtClean="0">
                <a:solidFill>
                  <a:schemeClr val="tx1"/>
                </a:solidFill>
                <a:effectLst/>
                <a:latin typeface="+mn-lt"/>
                <a:ea typeface="+mn-ea"/>
                <a:cs typeface="+mn-cs"/>
              </a:rPr>
              <a:t>模式或接口</a:t>
            </a:r>
            <a:r>
              <a:rPr lang="en-US" altLang="zh-CN" sz="1200" b="0" i="0" kern="1200" dirty="0" smtClean="0">
                <a:solidFill>
                  <a:schemeClr val="tx1"/>
                </a:solidFill>
                <a:effectLst/>
                <a:latin typeface="+mn-lt"/>
                <a:ea typeface="+mn-ea"/>
                <a:cs typeface="+mn-cs"/>
              </a:rPr>
              <a:t>(Interface)</a:t>
            </a:r>
            <a:r>
              <a:rPr lang="zh-CN" altLang="en-US" sz="1200" b="0" i="0" kern="1200" dirty="0" smtClean="0">
                <a:solidFill>
                  <a:schemeClr val="tx1"/>
                </a:solidFill>
                <a:effectLst/>
                <a:latin typeface="+mn-lt"/>
                <a:ea typeface="+mn-ea"/>
                <a:cs typeface="+mn-cs"/>
              </a:rPr>
              <a:t>模式。</a:t>
            </a:r>
          </a:p>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92</a:t>
            </a:fld>
            <a:endParaRPr lang="zh-CN" altLang="en-US"/>
          </a:p>
        </p:txBody>
      </p:sp>
    </p:spTree>
    <p:extLst>
      <p:ext uri="{BB962C8B-B14F-4D97-AF65-F5344CB8AC3E}">
        <p14:creationId xmlns:p14="http://schemas.microsoft.com/office/powerpoint/2010/main" val="22964895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意图：将抽象部分与他的实现部分分离，使他们可以独立地变化。</a:t>
            </a:r>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93</a:t>
            </a:fld>
            <a:endParaRPr lang="zh-CN" altLang="en-US"/>
          </a:p>
        </p:txBody>
      </p:sp>
    </p:spTree>
    <p:extLst>
      <p:ext uri="{BB962C8B-B14F-4D97-AF65-F5344CB8AC3E}">
        <p14:creationId xmlns:p14="http://schemas.microsoft.com/office/powerpoint/2010/main" val="169105730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sz="1200" b="0" i="0" kern="1200" dirty="0" smtClean="0">
                <a:solidFill>
                  <a:schemeClr val="tx1"/>
                </a:solidFill>
                <a:effectLst/>
                <a:latin typeface="+mn-lt"/>
                <a:ea typeface="+mn-ea"/>
                <a:cs typeface="+mn-cs"/>
              </a:rPr>
              <a:t>Abstraction</a:t>
            </a:r>
            <a:r>
              <a:rPr lang="zh-CN" altLang="en-US" sz="1200" b="0" i="0" kern="1200" dirty="0" smtClean="0">
                <a:solidFill>
                  <a:schemeClr val="tx1"/>
                </a:solidFill>
                <a:effectLst/>
                <a:latin typeface="+mn-lt"/>
                <a:ea typeface="+mn-ea"/>
                <a:cs typeface="+mn-cs"/>
              </a:rPr>
              <a:t>：抽象类</a:t>
            </a:r>
          </a:p>
          <a:p>
            <a:r>
              <a:rPr lang="en-US" altLang="zh-CN" sz="1200" b="0" i="0" kern="1200" dirty="0" err="1" smtClean="0">
                <a:solidFill>
                  <a:schemeClr val="tx1"/>
                </a:solidFill>
                <a:effectLst/>
                <a:latin typeface="+mn-lt"/>
                <a:ea typeface="+mn-ea"/>
                <a:cs typeface="+mn-cs"/>
              </a:rPr>
              <a:t>RefinedAbstraction</a:t>
            </a:r>
            <a:r>
              <a:rPr lang="zh-CN" altLang="en-US" sz="1200" b="0" i="0" kern="1200" dirty="0" smtClean="0">
                <a:solidFill>
                  <a:schemeClr val="tx1"/>
                </a:solidFill>
                <a:effectLst/>
                <a:latin typeface="+mn-lt"/>
                <a:ea typeface="+mn-ea"/>
                <a:cs typeface="+mn-cs"/>
              </a:rPr>
              <a:t>：扩充抽象类</a:t>
            </a:r>
          </a:p>
          <a:p>
            <a:r>
              <a:rPr lang="en-US" altLang="zh-CN" sz="1200" b="0" i="0" kern="1200" dirty="0" err="1" smtClean="0">
                <a:solidFill>
                  <a:schemeClr val="tx1"/>
                </a:solidFill>
                <a:effectLst/>
                <a:latin typeface="+mn-lt"/>
                <a:ea typeface="+mn-ea"/>
                <a:cs typeface="+mn-cs"/>
              </a:rPr>
              <a:t>Implementor</a:t>
            </a:r>
            <a:r>
              <a:rPr lang="zh-CN" altLang="en-US" sz="1200" b="0" i="0" kern="1200" dirty="0" smtClean="0">
                <a:solidFill>
                  <a:schemeClr val="tx1"/>
                </a:solidFill>
                <a:effectLst/>
                <a:latin typeface="+mn-lt"/>
                <a:ea typeface="+mn-ea"/>
                <a:cs typeface="+mn-cs"/>
              </a:rPr>
              <a:t>：实现类接口</a:t>
            </a:r>
          </a:p>
          <a:p>
            <a:r>
              <a:rPr lang="en-US" altLang="zh-CN" sz="1200" b="0" i="0" kern="1200" dirty="0" err="1" smtClean="0">
                <a:solidFill>
                  <a:schemeClr val="tx1"/>
                </a:solidFill>
                <a:effectLst/>
                <a:latin typeface="+mn-lt"/>
                <a:ea typeface="+mn-ea"/>
                <a:cs typeface="+mn-cs"/>
              </a:rPr>
              <a:t>ConcreteImplementor</a:t>
            </a:r>
            <a:r>
              <a:rPr lang="zh-CN" altLang="en-US" sz="1200" b="0" i="0" kern="1200" dirty="0" smtClean="0">
                <a:solidFill>
                  <a:schemeClr val="tx1"/>
                </a:solidFill>
                <a:effectLst/>
                <a:latin typeface="+mn-lt"/>
                <a:ea typeface="+mn-ea"/>
                <a:cs typeface="+mn-cs"/>
              </a:rPr>
              <a:t>：具体实现类</a:t>
            </a:r>
          </a:p>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94</a:t>
            </a:fld>
            <a:endParaRPr lang="zh-CN" altLang="en-US"/>
          </a:p>
        </p:txBody>
      </p:sp>
    </p:spTree>
    <p:extLst>
      <p:ext uri="{BB962C8B-B14F-4D97-AF65-F5344CB8AC3E}">
        <p14:creationId xmlns:p14="http://schemas.microsoft.com/office/powerpoint/2010/main" val="303232569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E6FDB6-6D2B-46C1-9FA1-D82906A37C3A}" type="slidenum">
              <a:rPr lang="zh-CN" altLang="en-US" smtClean="0"/>
              <a:t>95</a:t>
            </a:fld>
            <a:endParaRPr lang="zh-CN" altLang="en-US"/>
          </a:p>
        </p:txBody>
      </p:sp>
    </p:spTree>
    <p:extLst>
      <p:ext uri="{BB962C8B-B14F-4D97-AF65-F5344CB8AC3E}">
        <p14:creationId xmlns:p14="http://schemas.microsoft.com/office/powerpoint/2010/main" val="10805139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讲授相册的关键需求</a:t>
            </a:r>
            <a:r>
              <a:rPr lang="en-US" altLang="zh-CN" dirty="0" smtClean="0"/>
              <a:t>——</a:t>
            </a:r>
            <a:r>
              <a:rPr lang="zh-CN" altLang="en-US" dirty="0" smtClean="0"/>
              <a:t>浏览</a:t>
            </a:r>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11</a:t>
            </a:fld>
            <a:endParaRPr lang="zh-CN" altLang="en-US"/>
          </a:p>
        </p:txBody>
      </p:sp>
    </p:spTree>
    <p:extLst>
      <p:ext uri="{BB962C8B-B14F-4D97-AF65-F5344CB8AC3E}">
        <p14:creationId xmlns:p14="http://schemas.microsoft.com/office/powerpoint/2010/main" val="246813102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遵循里氏替换原则，模板类是父类。子类扩展父类，实现模板方法。  如继承</a:t>
            </a:r>
            <a:r>
              <a:rPr lang="en-US" altLang="zh-CN" dirty="0" smtClean="0"/>
              <a:t>Activity</a:t>
            </a:r>
            <a:r>
              <a:rPr lang="zh-CN" altLang="en-US" smtClean="0"/>
              <a:t>，实现各个生命周期的自定义。</a:t>
            </a:r>
            <a:endParaRPr lang="zh-CN" altLang="en-US"/>
          </a:p>
        </p:txBody>
      </p:sp>
      <p:sp>
        <p:nvSpPr>
          <p:cNvPr id="4" name="灯片编号占位符 3"/>
          <p:cNvSpPr>
            <a:spLocks noGrp="1"/>
          </p:cNvSpPr>
          <p:nvPr>
            <p:ph type="sldNum" sz="quarter" idx="10"/>
          </p:nvPr>
        </p:nvSpPr>
        <p:spPr/>
        <p:txBody>
          <a:bodyPr/>
          <a:lstStyle/>
          <a:p>
            <a:fld id="{E9E6FDB6-6D2B-46C1-9FA1-D82906A37C3A}" type="slidenum">
              <a:rPr lang="zh-CN" altLang="en-US" smtClean="0"/>
              <a:t>96</a:t>
            </a:fld>
            <a:endParaRPr lang="zh-CN" altLang="en-US"/>
          </a:p>
        </p:txBody>
      </p:sp>
    </p:spTree>
    <p:extLst>
      <p:ext uri="{BB962C8B-B14F-4D97-AF65-F5344CB8AC3E}">
        <p14:creationId xmlns:p14="http://schemas.microsoft.com/office/powerpoint/2010/main" val="2391587148"/>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E6FDB6-6D2B-46C1-9FA1-D82906A37C3A}" type="slidenum">
              <a:rPr lang="zh-CN" altLang="en-US" smtClean="0"/>
              <a:t>97</a:t>
            </a:fld>
            <a:endParaRPr lang="zh-CN" altLang="en-US"/>
          </a:p>
        </p:txBody>
      </p:sp>
    </p:spTree>
    <p:extLst>
      <p:ext uri="{BB962C8B-B14F-4D97-AF65-F5344CB8AC3E}">
        <p14:creationId xmlns:p14="http://schemas.microsoft.com/office/powerpoint/2010/main" val="2884503418"/>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E6FDB6-6D2B-46C1-9FA1-D82906A37C3A}" type="slidenum">
              <a:rPr lang="zh-CN" altLang="en-US" smtClean="0"/>
              <a:t>98</a:t>
            </a:fld>
            <a:endParaRPr lang="zh-CN" altLang="en-US"/>
          </a:p>
        </p:txBody>
      </p:sp>
    </p:spTree>
    <p:extLst>
      <p:ext uri="{BB962C8B-B14F-4D97-AF65-F5344CB8AC3E}">
        <p14:creationId xmlns:p14="http://schemas.microsoft.com/office/powerpoint/2010/main" val="2440688217"/>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E6FDB6-6D2B-46C1-9FA1-D82906A37C3A}" type="slidenum">
              <a:rPr lang="zh-CN" altLang="en-US" smtClean="0"/>
              <a:t>99</a:t>
            </a:fld>
            <a:endParaRPr lang="zh-CN" altLang="en-US"/>
          </a:p>
        </p:txBody>
      </p:sp>
    </p:spTree>
    <p:extLst>
      <p:ext uri="{BB962C8B-B14F-4D97-AF65-F5344CB8AC3E}">
        <p14:creationId xmlns:p14="http://schemas.microsoft.com/office/powerpoint/2010/main" val="384439197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E6FDB6-6D2B-46C1-9FA1-D82906A37C3A}" type="slidenum">
              <a:rPr lang="zh-CN" altLang="en-US" smtClean="0"/>
              <a:t>100</a:t>
            </a:fld>
            <a:endParaRPr lang="zh-CN" altLang="en-US"/>
          </a:p>
        </p:txBody>
      </p:sp>
    </p:spTree>
    <p:extLst>
      <p:ext uri="{BB962C8B-B14F-4D97-AF65-F5344CB8AC3E}">
        <p14:creationId xmlns:p14="http://schemas.microsoft.com/office/powerpoint/2010/main" val="134756863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E6FDB6-6D2B-46C1-9FA1-D82906A37C3A}" type="slidenum">
              <a:rPr lang="zh-CN" altLang="en-US" smtClean="0"/>
              <a:t>101</a:t>
            </a:fld>
            <a:endParaRPr lang="zh-CN" altLang="en-US"/>
          </a:p>
        </p:txBody>
      </p:sp>
    </p:spTree>
    <p:extLst>
      <p:ext uri="{BB962C8B-B14F-4D97-AF65-F5344CB8AC3E}">
        <p14:creationId xmlns:p14="http://schemas.microsoft.com/office/powerpoint/2010/main" val="2858317033"/>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E6FDB6-6D2B-46C1-9FA1-D82906A37C3A}" type="slidenum">
              <a:rPr lang="zh-CN" altLang="en-US" smtClean="0"/>
              <a:t>102</a:t>
            </a:fld>
            <a:endParaRPr lang="zh-CN" altLang="en-US"/>
          </a:p>
        </p:txBody>
      </p:sp>
    </p:spTree>
    <p:extLst>
      <p:ext uri="{BB962C8B-B14F-4D97-AF65-F5344CB8AC3E}">
        <p14:creationId xmlns:p14="http://schemas.microsoft.com/office/powerpoint/2010/main" val="1089202862"/>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E6FDB6-6D2B-46C1-9FA1-D82906A37C3A}" type="slidenum">
              <a:rPr lang="zh-CN" altLang="en-US" smtClean="0"/>
              <a:t>103</a:t>
            </a:fld>
            <a:endParaRPr lang="zh-CN" altLang="en-US"/>
          </a:p>
        </p:txBody>
      </p:sp>
    </p:spTree>
    <p:extLst>
      <p:ext uri="{BB962C8B-B14F-4D97-AF65-F5344CB8AC3E}">
        <p14:creationId xmlns:p14="http://schemas.microsoft.com/office/powerpoint/2010/main" val="3190785561"/>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E6FDB6-6D2B-46C1-9FA1-D82906A37C3A}" type="slidenum">
              <a:rPr lang="zh-CN" altLang="en-US" smtClean="0"/>
              <a:t>104</a:t>
            </a:fld>
            <a:endParaRPr lang="zh-CN" altLang="en-US"/>
          </a:p>
        </p:txBody>
      </p:sp>
    </p:spTree>
    <p:extLst>
      <p:ext uri="{BB962C8B-B14F-4D97-AF65-F5344CB8AC3E}">
        <p14:creationId xmlns:p14="http://schemas.microsoft.com/office/powerpoint/2010/main" val="8871291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200" b="0" i="0" kern="1200" dirty="0" smtClean="0">
                <a:solidFill>
                  <a:schemeClr val="tx1"/>
                </a:solidFill>
                <a:effectLst/>
                <a:latin typeface="+mn-lt"/>
                <a:ea typeface="+mn-ea"/>
                <a:cs typeface="+mn-cs"/>
              </a:rPr>
              <a:t>中介者模式</a:t>
            </a:r>
            <a:r>
              <a:rPr lang="en-US" altLang="zh-CN" sz="1200" b="0" i="0" kern="1200" dirty="0" smtClean="0">
                <a:solidFill>
                  <a:schemeClr val="tx1"/>
                </a:solidFill>
                <a:effectLst/>
                <a:latin typeface="+mn-lt"/>
                <a:ea typeface="+mn-ea"/>
                <a:cs typeface="+mn-cs"/>
              </a:rPr>
              <a:t>(Mediator Pattern)</a:t>
            </a:r>
            <a:r>
              <a:rPr lang="zh-CN" altLang="en-US" sz="1200" b="0" i="0" kern="1200" dirty="0" smtClean="0">
                <a:solidFill>
                  <a:schemeClr val="tx1"/>
                </a:solidFill>
                <a:effectLst/>
                <a:latin typeface="+mn-lt"/>
                <a:ea typeface="+mn-ea"/>
                <a:cs typeface="+mn-cs"/>
              </a:rPr>
              <a:t>定义：用一个中介对象来封装一系列的对象交互，中介者使各对象不需要显式地相互引用，从而使其耦合松散，而且可以独立地改变它们之间的交互。中介者模式又称为调停者模式，它是一种对象行为型模式。</a:t>
            </a:r>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105</a:t>
            </a:fld>
            <a:endParaRPr lang="zh-CN" altLang="en-US"/>
          </a:p>
        </p:txBody>
      </p:sp>
    </p:spTree>
    <p:extLst>
      <p:ext uri="{BB962C8B-B14F-4D97-AF65-F5344CB8AC3E}">
        <p14:creationId xmlns:p14="http://schemas.microsoft.com/office/powerpoint/2010/main" val="381405666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9801" name="副标题 2"/>
          <p:cNvSpPr>
            <a:spLocks noGrp="1"/>
          </p:cNvSpPr>
          <p:nvPr userDrawn="1">
            <p:ph type="subTitle" idx="1"/>
          </p:nvPr>
        </p:nvSpPr>
        <p:spPr>
          <a:xfrm>
            <a:off x="1086310" y="2552074"/>
            <a:ext cx="5285544" cy="419380"/>
          </a:xfrm>
          <a:prstGeom prst="rect">
            <a:avLst/>
          </a:prstGeom>
        </p:spPr>
        <p:txBody>
          <a:bodyPr anchor="ctr">
            <a:noAutofit/>
          </a:bodyPr>
          <a:lstStyle>
            <a:lvl1pPr marL="0" indent="0" algn="l">
              <a:buNone/>
              <a:defRPr sz="2400">
                <a:solidFill>
                  <a:schemeClr val="accent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1"/>
          <p:cNvSpPr>
            <a:spLocks noGrp="1"/>
          </p:cNvSpPr>
          <p:nvPr userDrawn="1">
            <p:ph type="ctrTitle"/>
          </p:nvPr>
        </p:nvSpPr>
        <p:spPr>
          <a:xfrm>
            <a:off x="1086310" y="1130300"/>
            <a:ext cx="5285544" cy="1421774"/>
          </a:xfrm>
          <a:prstGeom prst="rect">
            <a:avLst/>
          </a:prstGeom>
        </p:spPr>
        <p:txBody>
          <a:bodyPr anchor="ctr">
            <a:noAutofit/>
          </a:bodyPr>
          <a:lstStyle>
            <a:lvl1pPr algn="l">
              <a:defRPr sz="4000">
                <a:solidFill>
                  <a:schemeClr val="accent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1086310" y="3534726"/>
            <a:ext cx="4473279" cy="296271"/>
          </a:xfrm>
          <a:prstGeom prst="rect">
            <a:avLst/>
          </a:prstGeom>
        </p:spPr>
        <p:txBody>
          <a:bodyPr vert="horz" anchor="ctr">
            <a:noAutofit/>
          </a:bodyPr>
          <a:lstStyle>
            <a:lvl1pPr marL="0" indent="0" algn="l">
              <a:buNone/>
              <a:defRPr sz="1500" b="0">
                <a:solidFill>
                  <a:schemeClr val="accent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1086310" y="3869445"/>
            <a:ext cx="2225843" cy="296271"/>
          </a:xfrm>
          <a:prstGeom prst="roundRect">
            <a:avLst>
              <a:gd name="adj" fmla="val 50000"/>
            </a:avLst>
          </a:prstGeom>
          <a:noFill/>
        </p:spPr>
        <p:txBody>
          <a:bodyPr vert="horz" anchor="ctr">
            <a:noAutofit/>
          </a:bodyPr>
          <a:lstStyle>
            <a:lvl1pPr marL="0" indent="0" algn="l">
              <a:buNone/>
              <a:defRPr sz="1500" b="0">
                <a:solidFill>
                  <a:schemeClr val="accent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
        <p:nvSpPr>
          <p:cNvPr id="18" name="任意多边形: 形状 17">
            <a:extLst>
              <a:ext uri="{FF2B5EF4-FFF2-40B4-BE49-F238E27FC236}">
                <a16:creationId xmlns:a16="http://schemas.microsoft.com/office/drawing/2014/main" id="{CF79B708-0E2A-4BC0-937D-5B63E3FACDD5}"/>
              </a:ext>
            </a:extLst>
          </p:cNvPr>
          <p:cNvSpPr/>
          <p:nvPr userDrawn="1"/>
        </p:nvSpPr>
        <p:spPr>
          <a:xfrm>
            <a:off x="8136169" y="-201"/>
            <a:ext cx="4055831" cy="6858201"/>
          </a:xfrm>
          <a:custGeom>
            <a:avLst/>
            <a:gdLst>
              <a:gd name="connsiteX0" fmla="*/ 1494167 w 4055831"/>
              <a:gd name="connsiteY0" fmla="*/ 0 h 6858201"/>
              <a:gd name="connsiteX1" fmla="*/ 4055831 w 4055831"/>
              <a:gd name="connsiteY1" fmla="*/ 0 h 6858201"/>
              <a:gd name="connsiteX2" fmla="*/ 4055831 w 4055831"/>
              <a:gd name="connsiteY2" fmla="*/ 1884223 h 6858201"/>
              <a:gd name="connsiteX3" fmla="*/ 3999533 w 4055831"/>
              <a:gd name="connsiteY3" fmla="*/ 1892815 h 6858201"/>
              <a:gd name="connsiteX4" fmla="*/ 2899335 w 4055831"/>
              <a:gd name="connsiteY4" fmla="*/ 3242712 h 6858201"/>
              <a:gd name="connsiteX5" fmla="*/ 3999533 w 4055831"/>
              <a:gd name="connsiteY5" fmla="*/ 4592610 h 6858201"/>
              <a:gd name="connsiteX6" fmla="*/ 4055831 w 4055831"/>
              <a:gd name="connsiteY6" fmla="*/ 4601202 h 6858201"/>
              <a:gd name="connsiteX7" fmla="*/ 4055831 w 4055831"/>
              <a:gd name="connsiteY7" fmla="*/ 6858201 h 6858201"/>
              <a:gd name="connsiteX8" fmla="*/ 1991085 w 4055831"/>
              <a:gd name="connsiteY8" fmla="*/ 6858201 h 6858201"/>
              <a:gd name="connsiteX9" fmla="*/ 1677115 w 4055831"/>
              <a:gd name="connsiteY9" fmla="*/ 6639175 h 6858201"/>
              <a:gd name="connsiteX10" fmla="*/ 0 w 4055831"/>
              <a:gd name="connsiteY10" fmla="*/ 3242712 h 6858201"/>
              <a:gd name="connsiteX11" fmla="*/ 1382378 w 4055831"/>
              <a:gd name="connsiteY11" fmla="*/ 93948 h 6858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5831" h="6858201">
                <a:moveTo>
                  <a:pt x="1494167" y="0"/>
                </a:moveTo>
                <a:lnTo>
                  <a:pt x="4055831" y="0"/>
                </a:lnTo>
                <a:lnTo>
                  <a:pt x="4055831" y="1884223"/>
                </a:lnTo>
                <a:lnTo>
                  <a:pt x="3999533" y="1892815"/>
                </a:lnTo>
                <a:cubicBezTo>
                  <a:pt x="3371651" y="2021298"/>
                  <a:pt x="2899335" y="2576847"/>
                  <a:pt x="2899335" y="3242712"/>
                </a:cubicBezTo>
                <a:cubicBezTo>
                  <a:pt x="2899335" y="3908577"/>
                  <a:pt x="3371651" y="4464127"/>
                  <a:pt x="3999533" y="4592610"/>
                </a:cubicBezTo>
                <a:lnTo>
                  <a:pt x="4055831" y="4601202"/>
                </a:lnTo>
                <a:lnTo>
                  <a:pt x="4055831" y="6858201"/>
                </a:lnTo>
                <a:lnTo>
                  <a:pt x="1991085" y="6858201"/>
                </a:lnTo>
                <a:lnTo>
                  <a:pt x="1677115" y="6639175"/>
                </a:lnTo>
                <a:cubicBezTo>
                  <a:pt x="657456" y="5857414"/>
                  <a:pt x="0" y="4626842"/>
                  <a:pt x="0" y="3242712"/>
                </a:cubicBezTo>
                <a:cubicBezTo>
                  <a:pt x="0" y="1996996"/>
                  <a:pt x="532539" y="875662"/>
                  <a:pt x="1382378" y="93948"/>
                </a:cubicBezTo>
                <a:close/>
              </a:path>
            </a:pathLst>
          </a:custGeom>
          <a:blipFill dpi="0" rotWithShape="1">
            <a:blip r:embed="rId2"/>
            <a:srcRect/>
            <a:stretch>
              <a:fillRect l="-100831" r="-100201"/>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8" name="矩形 17">
            <a:extLst>
              <a:ext uri="{FF2B5EF4-FFF2-40B4-BE49-F238E27FC236}">
                <a16:creationId xmlns:a16="http://schemas.microsoft.com/office/drawing/2014/main" id="{5B4ECD32-FB25-495F-B97A-29A6606F3329}"/>
              </a:ext>
            </a:extLst>
          </p:cNvPr>
          <p:cNvSpPr/>
          <p:nvPr userDrawn="1"/>
        </p:nvSpPr>
        <p:spPr>
          <a:xfrm>
            <a:off x="0" y="6030"/>
            <a:ext cx="12192000" cy="38252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0" name="标题 1"/>
          <p:cNvSpPr>
            <a:spLocks noGrp="1"/>
          </p:cNvSpPr>
          <p:nvPr userDrawn="1">
            <p:ph type="title"/>
          </p:nvPr>
        </p:nvSpPr>
        <p:spPr>
          <a:xfrm>
            <a:off x="4007697" y="2570931"/>
            <a:ext cx="4657332" cy="895350"/>
          </a:xfrm>
          <a:prstGeom prst="rect">
            <a:avLst/>
          </a:prstGeom>
        </p:spPr>
        <p:txBody>
          <a:bodyPr anchor="b">
            <a:normAutofit/>
          </a:bodyPr>
          <a:lstStyle>
            <a:lvl1pPr algn="l">
              <a:defRPr sz="2400" b="1">
                <a:solidFill>
                  <a:schemeClr val="accent3"/>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4008812" y="3495274"/>
            <a:ext cx="4655611" cy="895349"/>
          </a:xfrm>
          <a:prstGeom prst="rect">
            <a:avLst/>
          </a:prstGeom>
        </p:spPr>
        <p:txBody>
          <a:bodyPr anchor="t">
            <a:normAutofit/>
          </a:bodyPr>
          <a:lstStyle>
            <a:lvl1pPr marL="0" indent="0" algn="l">
              <a:lnSpc>
                <a:spcPct val="100000"/>
              </a:lnSpc>
              <a:buNone/>
              <a:defRPr sz="1100">
                <a:solidFill>
                  <a:schemeClr val="accent3"/>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
        <p:nvSpPr>
          <p:cNvPr id="7" name="任意多边形: 形状 6">
            <a:extLst>
              <a:ext uri="{FF2B5EF4-FFF2-40B4-BE49-F238E27FC236}">
                <a16:creationId xmlns:a16="http://schemas.microsoft.com/office/drawing/2014/main" id="{46C2A5D9-A814-46D1-9EE7-799048933074}"/>
              </a:ext>
            </a:extLst>
          </p:cNvPr>
          <p:cNvSpPr/>
          <p:nvPr userDrawn="1"/>
        </p:nvSpPr>
        <p:spPr>
          <a:xfrm flipH="1">
            <a:off x="-33362" y="-201"/>
            <a:ext cx="3674919" cy="6858201"/>
          </a:xfrm>
          <a:custGeom>
            <a:avLst/>
            <a:gdLst>
              <a:gd name="connsiteX0" fmla="*/ 1494167 w 4055831"/>
              <a:gd name="connsiteY0" fmla="*/ 0 h 6858201"/>
              <a:gd name="connsiteX1" fmla="*/ 4055831 w 4055831"/>
              <a:gd name="connsiteY1" fmla="*/ 0 h 6858201"/>
              <a:gd name="connsiteX2" fmla="*/ 4055831 w 4055831"/>
              <a:gd name="connsiteY2" fmla="*/ 1884223 h 6858201"/>
              <a:gd name="connsiteX3" fmla="*/ 3999533 w 4055831"/>
              <a:gd name="connsiteY3" fmla="*/ 1892815 h 6858201"/>
              <a:gd name="connsiteX4" fmla="*/ 2899335 w 4055831"/>
              <a:gd name="connsiteY4" fmla="*/ 3242712 h 6858201"/>
              <a:gd name="connsiteX5" fmla="*/ 3999533 w 4055831"/>
              <a:gd name="connsiteY5" fmla="*/ 4592610 h 6858201"/>
              <a:gd name="connsiteX6" fmla="*/ 4055831 w 4055831"/>
              <a:gd name="connsiteY6" fmla="*/ 4601202 h 6858201"/>
              <a:gd name="connsiteX7" fmla="*/ 4055831 w 4055831"/>
              <a:gd name="connsiteY7" fmla="*/ 6858201 h 6858201"/>
              <a:gd name="connsiteX8" fmla="*/ 1991085 w 4055831"/>
              <a:gd name="connsiteY8" fmla="*/ 6858201 h 6858201"/>
              <a:gd name="connsiteX9" fmla="*/ 1677115 w 4055831"/>
              <a:gd name="connsiteY9" fmla="*/ 6639175 h 6858201"/>
              <a:gd name="connsiteX10" fmla="*/ 0 w 4055831"/>
              <a:gd name="connsiteY10" fmla="*/ 3242712 h 6858201"/>
              <a:gd name="connsiteX11" fmla="*/ 1382378 w 4055831"/>
              <a:gd name="connsiteY11" fmla="*/ 93948 h 6858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5831" h="6858201">
                <a:moveTo>
                  <a:pt x="1494167" y="0"/>
                </a:moveTo>
                <a:lnTo>
                  <a:pt x="4055831" y="0"/>
                </a:lnTo>
                <a:lnTo>
                  <a:pt x="4055831" y="1884223"/>
                </a:lnTo>
                <a:lnTo>
                  <a:pt x="3999533" y="1892815"/>
                </a:lnTo>
                <a:cubicBezTo>
                  <a:pt x="3371651" y="2021298"/>
                  <a:pt x="2899335" y="2576847"/>
                  <a:pt x="2899335" y="3242712"/>
                </a:cubicBezTo>
                <a:cubicBezTo>
                  <a:pt x="2899335" y="3908577"/>
                  <a:pt x="3371651" y="4464127"/>
                  <a:pt x="3999533" y="4592610"/>
                </a:cubicBezTo>
                <a:lnTo>
                  <a:pt x="4055831" y="4601202"/>
                </a:lnTo>
                <a:lnTo>
                  <a:pt x="4055831" y="6858201"/>
                </a:lnTo>
                <a:lnTo>
                  <a:pt x="1991085" y="6858201"/>
                </a:lnTo>
                <a:lnTo>
                  <a:pt x="1677115" y="6639175"/>
                </a:lnTo>
                <a:cubicBezTo>
                  <a:pt x="657456" y="5857414"/>
                  <a:pt x="0" y="4626842"/>
                  <a:pt x="0" y="3242712"/>
                </a:cubicBezTo>
                <a:cubicBezTo>
                  <a:pt x="0" y="1996996"/>
                  <a:pt x="532539" y="875662"/>
                  <a:pt x="1382378" y="93948"/>
                </a:cubicBezTo>
                <a:close/>
              </a:path>
            </a:pathLst>
          </a:custGeom>
          <a:blipFill>
            <a:blip r:embed="rId2"/>
            <a:stretch>
              <a:fillRect l="-116518" r="-115716"/>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仅标题页">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21" name="泪滴形 20">
            <a:extLst>
              <a:ext uri="{FF2B5EF4-FFF2-40B4-BE49-F238E27FC236}">
                <a16:creationId xmlns:a16="http://schemas.microsoft.com/office/drawing/2014/main" id="{96F9DDC0-1013-40FE-9978-90CCBD4F3E63}"/>
              </a:ext>
            </a:extLst>
          </p:cNvPr>
          <p:cNvSpPr/>
          <p:nvPr userDrawn="1"/>
        </p:nvSpPr>
        <p:spPr>
          <a:xfrm>
            <a:off x="3657386" y="1028700"/>
            <a:ext cx="4877229" cy="5003602"/>
          </a:xfrm>
          <a:prstGeom prst="teardrop">
            <a:avLst/>
          </a:prstGeom>
          <a:blipFill dpi="0" rotWithShape="1">
            <a:blip r:embed="rId2"/>
            <a:srcRect/>
            <a:stretch>
              <a:fillRect l="-44999" r="-4476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标题 1"/>
          <p:cNvSpPr>
            <a:spLocks noGrp="1"/>
          </p:cNvSpPr>
          <p:nvPr userDrawn="1">
            <p:ph type="ctrTitle" hasCustomPrompt="1"/>
          </p:nvPr>
        </p:nvSpPr>
        <p:spPr>
          <a:xfrm>
            <a:off x="5051803" y="1703674"/>
            <a:ext cx="4044286" cy="1927122"/>
          </a:xfrm>
          <a:prstGeom prst="rect">
            <a:avLst/>
          </a:prstGeom>
        </p:spPr>
        <p:txBody>
          <a:bodyPr anchor="b">
            <a:normAutofit/>
          </a:bodyPr>
          <a:lstStyle>
            <a:lvl1pPr marL="0" indent="0" algn="l">
              <a:buFont typeface="Arial" panose="020B0604020202020204" pitchFamily="34" charset="0"/>
              <a:buNone/>
              <a:defRPr sz="3200">
                <a:solidFill>
                  <a:schemeClr val="bg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5051803" y="4344729"/>
            <a:ext cx="4044286" cy="310871"/>
          </a:xfrm>
          <a:prstGeom prst="rect">
            <a:avLst/>
          </a:prstGeo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13">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5051803" y="4048458"/>
            <a:ext cx="4044286" cy="296271"/>
          </a:xfrm>
          <a:prstGeom prst="rect">
            <a:avLst/>
          </a:prstGeom>
        </p:spPr>
        <p:txBody>
          <a:bodyPr vert="horz" anchor="ctr">
            <a:noAutofit/>
          </a:bodyPr>
          <a:lstStyle>
            <a:lvl1pPr marL="0" indent="0" algn="l">
              <a:buNone/>
              <a:defRPr sz="15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cxnSp>
        <p:nvCxnSpPr>
          <p:cNvPr id="11" name="直接连接符 10">
            <a:extLst>
              <a:ext uri="{FF2B5EF4-FFF2-40B4-BE49-F238E27FC236}">
                <a16:creationId xmlns:a16="http://schemas.microsoft.com/office/drawing/2014/main" id="{79F303FD-00E2-425C-BC3B-52EFDBEEDC9F}"/>
              </a:ext>
            </a:extLst>
          </p:cNvPr>
          <p:cNvCxnSpPr>
            <a:cxnSpLocks/>
          </p:cNvCxnSpPr>
          <p:nvPr userDrawn="1"/>
        </p:nvCxnSpPr>
        <p:spPr>
          <a:xfrm>
            <a:off x="5051803" y="3832735"/>
            <a:ext cx="3816000"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56091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1_仅标题">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smtClean="0"/>
              <a:t>单击此处编辑母版标题样式</a:t>
            </a:r>
            <a:endParaRPr lang="zh-CN" altLang="en-US"/>
          </a:p>
        </p:txBody>
      </p:sp>
    </p:spTree>
    <p:extLst>
      <p:ext uri="{BB962C8B-B14F-4D97-AF65-F5344CB8AC3E}">
        <p14:creationId xmlns:p14="http://schemas.microsoft.com/office/powerpoint/2010/main" val="25747344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1_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fld id="{169AA0A6-B15E-4D1A-ABCC-0C182C70D675}" type="datetimeFigureOut">
              <a:rPr lang="zh-CN" altLang="en-US" smtClean="0"/>
              <a:t>2019/1/23</a:t>
            </a:fld>
            <a:endParaRPr lang="zh-CN" altLang="en-US"/>
          </a:p>
        </p:txBody>
      </p:sp>
      <p:sp>
        <p:nvSpPr>
          <p:cNvPr id="5" name="页脚占位符 4"/>
          <p:cNvSpPr>
            <a:spLocks noGrp="1"/>
          </p:cNvSpPr>
          <p:nvPr>
            <p:ph type="ftr" sz="quarter" idx="11"/>
          </p:nvPr>
        </p:nvSpPr>
        <p:spPr/>
        <p:txBody>
          <a:bodyPr/>
          <a:lstStyle>
            <a:lvl1pPr>
              <a:defRPr/>
            </a:lvl1pPr>
          </a:lstStyle>
          <a:p>
            <a:endParaRPr lang="zh-CN" altLang="en-US"/>
          </a:p>
        </p:txBody>
      </p:sp>
      <p:sp>
        <p:nvSpPr>
          <p:cNvPr id="6" name="灯片编号占位符 5"/>
          <p:cNvSpPr>
            <a:spLocks noGrp="1"/>
          </p:cNvSpPr>
          <p:nvPr>
            <p:ph type="sldNum" sz="quarter" idx="12"/>
          </p:nvPr>
        </p:nvSpPr>
        <p:spPr/>
        <p:txBody>
          <a:bodyPr/>
          <a:lstStyle>
            <a:lvl1pPr>
              <a:defRPr/>
            </a:lvl1pPr>
          </a:lstStyle>
          <a:p>
            <a:fld id="{36A710B4-2EC4-45BD-A6A0-BF8D4206CA75}" type="slidenum">
              <a:rPr lang="zh-CN" altLang="en-US" smtClean="0"/>
              <a:t>‹#›</a:t>
            </a:fld>
            <a:endParaRPr lang="zh-CN" altLang="en-US"/>
          </a:p>
        </p:txBody>
      </p:sp>
    </p:spTree>
    <p:extLst>
      <p:ext uri="{BB962C8B-B14F-4D97-AF65-F5344CB8AC3E}">
        <p14:creationId xmlns:p14="http://schemas.microsoft.com/office/powerpoint/2010/main" val="3759514069"/>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 id="2147483670" r:id="rId7"/>
    <p:sldLayoutId id="2147483671" r:id="rId8"/>
    <p:sldLayoutId id="2147483672" r:id="rId9"/>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notesSlide" Target="../notesSlides/notesSlide1.xml"/><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slideLayout" Target="../slideLayouts/slideLayout1.xml"/><Relationship Id="rId5" Type="http://schemas.openxmlformats.org/officeDocument/2006/relationships/tags" Target="../tags/tag4.xml"/><Relationship Id="rId4" Type="http://schemas.openxmlformats.org/officeDocument/2006/relationships/tags" Target="../tags/tag3.xml"/><Relationship Id="rId9" Type="http://schemas.openxmlformats.org/officeDocument/2006/relationships/image" Target="../media/image3.emf"/></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5.xml"/></Relationships>
</file>

<file path=ppt/slides/_rels/slide10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94.xml"/><Relationship Id="rId1" Type="http://schemas.openxmlformats.org/officeDocument/2006/relationships/slideLayout" Target="../slideLayouts/slideLayout8.xml"/></Relationships>
</file>

<file path=ppt/slides/_rels/slide10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95.xml"/><Relationship Id="rId1" Type="http://schemas.openxmlformats.org/officeDocument/2006/relationships/slideLayout" Target="../slideLayouts/slideLayout8.xml"/></Relationships>
</file>

<file path=ppt/slides/_rels/slide102.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96.xml"/><Relationship Id="rId1" Type="http://schemas.openxmlformats.org/officeDocument/2006/relationships/slideLayout" Target="../slideLayouts/slideLayout8.xml"/></Relationships>
</file>

<file path=ppt/slides/_rels/slide103.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notesSlide" Target="../notesSlides/notesSlide97.xml"/><Relationship Id="rId1" Type="http://schemas.openxmlformats.org/officeDocument/2006/relationships/slideLayout" Target="../slideLayouts/slideLayout8.xml"/></Relationships>
</file>

<file path=ppt/slides/_rels/slide10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98.xml"/><Relationship Id="rId1" Type="http://schemas.openxmlformats.org/officeDocument/2006/relationships/slideLayout" Target="../slideLayouts/slideLayout8.xml"/></Relationships>
</file>

<file path=ppt/slides/_rels/slide105.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99.xml"/><Relationship Id="rId1" Type="http://schemas.openxmlformats.org/officeDocument/2006/relationships/slideLayout" Target="../slideLayouts/slideLayout8.xml"/></Relationships>
</file>

<file path=ppt/slides/_rels/slide106.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100.xml"/><Relationship Id="rId1" Type="http://schemas.openxmlformats.org/officeDocument/2006/relationships/slideLayout" Target="../slideLayouts/slideLayout8.xml"/></Relationships>
</file>

<file path=ppt/slides/_rels/slide107.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01.xml"/><Relationship Id="rId1" Type="http://schemas.openxmlformats.org/officeDocument/2006/relationships/slideLayout" Target="../slideLayouts/slideLayout8.xml"/></Relationships>
</file>

<file path=ppt/slides/_rels/slide108.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02.xml"/><Relationship Id="rId1" Type="http://schemas.openxmlformats.org/officeDocument/2006/relationships/slideLayout" Target="../slideLayouts/slideLayout8.xml"/></Relationships>
</file>

<file path=ppt/slides/_rels/slide10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03.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104.xml"/><Relationship Id="rId1" Type="http://schemas.openxmlformats.org/officeDocument/2006/relationships/slideLayout" Target="../slideLayouts/slideLayout8.xml"/></Relationships>
</file>

<file path=ppt/slides/_rels/slide111.xml.rels><?xml version="1.0" encoding="UTF-8" standalone="yes"?>
<Relationships xmlns="http://schemas.openxmlformats.org/package/2006/relationships"><Relationship Id="rId3" Type="http://schemas.openxmlformats.org/officeDocument/2006/relationships/notesSlide" Target="../notesSlides/notesSlide105.xml"/><Relationship Id="rId2" Type="http://schemas.openxmlformats.org/officeDocument/2006/relationships/slideLayout" Target="../slideLayouts/slideLayout8.xml"/><Relationship Id="rId1" Type="http://schemas.openxmlformats.org/officeDocument/2006/relationships/tags" Target="../tags/tag25.xml"/><Relationship Id="rId4" Type="http://schemas.openxmlformats.org/officeDocument/2006/relationships/image" Target="../media/image88.jpeg"/></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7.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7.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7.xml"/></Relationships>
</file>

<file path=ppt/slides/_rels/slide11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09.xml"/><Relationship Id="rId1" Type="http://schemas.openxmlformats.org/officeDocument/2006/relationships/slideLayout" Target="../slideLayouts/slideLayout7.xml"/><Relationship Id="rId4" Type="http://schemas.openxmlformats.org/officeDocument/2006/relationships/image" Target="../media/image90.png"/></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7.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7.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6.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7.xml"/></Relationships>
</file>

<file path=ppt/slides/_rels/slide12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6.xml"/><Relationship Id="rId7" Type="http://schemas.openxmlformats.org/officeDocument/2006/relationships/oleObject" Target="../embeddings/oleObject2.bin"/><Relationship Id="rId2" Type="http://schemas.openxmlformats.org/officeDocument/2006/relationships/vmlDrawing" Target="../drawings/vmlDrawing2.vml"/><Relationship Id="rId1" Type="http://schemas.openxmlformats.org/officeDocument/2006/relationships/themeOverride" Target="../theme/themeOverride3.xml"/><Relationship Id="rId6" Type="http://schemas.openxmlformats.org/officeDocument/2006/relationships/notesSlide" Target="../notesSlides/notesSlide114.xml"/><Relationship Id="rId5" Type="http://schemas.openxmlformats.org/officeDocument/2006/relationships/slideLayout" Target="../slideLayouts/slideLayout6.xml"/><Relationship Id="rId4" Type="http://schemas.openxmlformats.org/officeDocument/2006/relationships/tags" Target="../tags/tag27.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7.xml"/><Relationship Id="rId5" Type="http://schemas.openxmlformats.org/officeDocument/2006/relationships/image" Target="../media/image10.png"/><Relationship Id="rId4" Type="http://schemas.openxmlformats.org/officeDocument/2006/relationships/image" Target="../media/image9.jpe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4.png"/><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9.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11.xml"/></Relationships>
</file>

<file path=ppt/slides/_rels/slide2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1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14.png"/><Relationship Id="rId4" Type="http://schemas.openxmlformats.org/officeDocument/2006/relationships/notesSlide" Target="../notesSlides/notesSlide2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8.xml"/><Relationship Id="rId1" Type="http://schemas.openxmlformats.org/officeDocument/2006/relationships/tags" Target="../tags/tag13.xml"/><Relationship Id="rId6" Type="http://schemas.openxmlformats.org/officeDocument/2006/relationships/image" Target="../media/image20.png"/><Relationship Id="rId5" Type="http://schemas.openxmlformats.org/officeDocument/2006/relationships/image" Target="../media/image19.jpeg"/><Relationship Id="rId4" Type="http://schemas.openxmlformats.org/officeDocument/2006/relationships/image" Target="../media/image18.png"/></Relationships>
</file>

<file path=ppt/slides/_rels/slide3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4.xml"/><Relationship Id="rId1" Type="http://schemas.openxmlformats.org/officeDocument/2006/relationships/slideLayout" Target="../slideLayouts/slideLayout9.xml"/><Relationship Id="rId5" Type="http://schemas.openxmlformats.org/officeDocument/2006/relationships/image" Target="../media/image23.png"/><Relationship Id="rId4" Type="http://schemas.openxmlformats.org/officeDocument/2006/relationships/image" Target="../media/image22.png"/></Relationships>
</file>

<file path=ppt/slides/_rels/slide3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5.xml"/><Relationship Id="rId1" Type="http://schemas.openxmlformats.org/officeDocument/2006/relationships/slideLayout" Target="../slideLayouts/slideLayout9.xml"/><Relationship Id="rId5" Type="http://schemas.openxmlformats.org/officeDocument/2006/relationships/image" Target="../media/image26.png"/><Relationship Id="rId4" Type="http://schemas.openxmlformats.org/officeDocument/2006/relationships/image" Target="../media/image25.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8.xml"/><Relationship Id="rId1" Type="http://schemas.openxmlformats.org/officeDocument/2006/relationships/tags" Target="../tags/tag14.xml"/><Relationship Id="rId4" Type="http://schemas.openxmlformats.org/officeDocument/2006/relationships/image" Target="../media/image27.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39.xml"/><Relationship Id="rId1" Type="http://schemas.openxmlformats.org/officeDocument/2006/relationships/slideLayout" Target="../slideLayouts/slideLayout8.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jpe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42.xml"/><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image" Target="../media/image37.jpeg"/><Relationship Id="rId2" Type="http://schemas.openxmlformats.org/officeDocument/2006/relationships/slideLayout" Target="../slideLayouts/slideLayout8.xml"/><Relationship Id="rId1" Type="http://schemas.openxmlformats.org/officeDocument/2006/relationships/tags" Target="../tags/tag15.xml"/><Relationship Id="rId6" Type="http://schemas.openxmlformats.org/officeDocument/2006/relationships/image" Target="../media/image36.png"/><Relationship Id="rId5" Type="http://schemas.microsoft.com/office/2007/relationships/hdphoto" Target="../media/hdphoto1.wdp"/><Relationship Id="rId4" Type="http://schemas.openxmlformats.org/officeDocument/2006/relationships/image" Target="../media/image35.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8.xml"/><Relationship Id="rId1" Type="http://schemas.openxmlformats.org/officeDocument/2006/relationships/tags" Target="../tags/tag16.xml"/></Relationships>
</file>

<file path=ppt/slides/_rels/slide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6.xml"/><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47.xml"/><Relationship Id="rId1" Type="http://schemas.openxmlformats.org/officeDocument/2006/relationships/slideLayout" Target="../slideLayouts/slideLayout5.xml"/><Relationship Id="rId5" Type="http://schemas.openxmlformats.org/officeDocument/2006/relationships/image" Target="../media/image41.png"/><Relationship Id="rId4" Type="http://schemas.openxmlformats.org/officeDocument/2006/relationships/image" Target="../media/image40.png"/></Relationships>
</file>

<file path=ppt/slides/_rels/slide5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8.xml"/><Relationship Id="rId1" Type="http://schemas.openxmlformats.org/officeDocument/2006/relationships/slideLayout" Target="../slideLayouts/slideLayout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3.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5.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50.xml"/><Relationship Id="rId1" Type="http://schemas.openxmlformats.org/officeDocument/2006/relationships/slideLayout" Target="../slideLayouts/slideLayout7.xml"/><Relationship Id="rId4" Type="http://schemas.openxmlformats.org/officeDocument/2006/relationships/image" Target="../media/image44.png"/></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8.xml"/><Relationship Id="rId1" Type="http://schemas.openxmlformats.org/officeDocument/2006/relationships/tags" Target="../tags/tag17.xml"/></Relationships>
</file>

<file path=ppt/slides/_rels/slide5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2.xml"/><Relationship Id="rId1" Type="http://schemas.openxmlformats.org/officeDocument/2006/relationships/slideLayout" Target="../slideLayouts/slideLayout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59.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53.xml"/><Relationship Id="rId1" Type="http://schemas.openxmlformats.org/officeDocument/2006/relationships/slideLayout" Target="../slideLayouts/slideLayout7.xml"/><Relationship Id="rId4" Type="http://schemas.openxmlformats.org/officeDocument/2006/relationships/image" Target="../media/image46.jpe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hemeOverride" Target="../theme/themeOverride2.xml"/></Relationships>
</file>

<file path=ppt/slides/_rels/slide60.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54.xml"/><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8.xml"/><Relationship Id="rId1" Type="http://schemas.openxmlformats.org/officeDocument/2006/relationships/tags" Target="../tags/tag18.xml"/></Relationships>
</file>

<file path=ppt/slides/_rels/slide63.xml.rels><?xml version="1.0" encoding="UTF-8" standalone="yes"?>
<Relationships xmlns="http://schemas.openxmlformats.org/package/2006/relationships"><Relationship Id="rId3" Type="http://schemas.openxmlformats.org/officeDocument/2006/relationships/image" Target="../media/image48.gif"/><Relationship Id="rId2" Type="http://schemas.openxmlformats.org/officeDocument/2006/relationships/notesSlide" Target="../notesSlides/notesSlide57.xml"/><Relationship Id="rId1" Type="http://schemas.openxmlformats.org/officeDocument/2006/relationships/slideLayout" Target="../slideLayouts/slideLayout7.xml"/><Relationship Id="rId4" Type="http://schemas.openxmlformats.org/officeDocument/2006/relationships/image" Target="../media/image49.jpeg"/></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8.xml"/><Relationship Id="rId1" Type="http://schemas.openxmlformats.org/officeDocument/2006/relationships/tags" Target="../tags/tag19.xml"/></Relationships>
</file>

<file path=ppt/slides/_rels/slide65.xml.rels><?xml version="1.0" encoding="UTF-8" standalone="yes"?>
<Relationships xmlns="http://schemas.openxmlformats.org/package/2006/relationships"><Relationship Id="rId3" Type="http://schemas.microsoft.com/office/2011/relationships/webextension" Target="../webextensions/webextension1.xml"/><Relationship Id="rId2" Type="http://schemas.openxmlformats.org/officeDocument/2006/relationships/notesSlide" Target="../notesSlides/notesSlide59.xml"/><Relationship Id="rId1" Type="http://schemas.openxmlformats.org/officeDocument/2006/relationships/slideLayout" Target="../slideLayouts/slideLayout7.xml"/><Relationship Id="rId4" Type="http://schemas.openxmlformats.org/officeDocument/2006/relationships/image" Target="../media/image500.png"/></Relationships>
</file>

<file path=ppt/slides/_rels/slide6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60.xml"/><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61.xml"/><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55.jpe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54.png"/><Relationship Id="rId5" Type="http://schemas.openxmlformats.org/officeDocument/2006/relationships/image" Target="../media/image53.jpeg"/><Relationship Id="rId4" Type="http://schemas.openxmlformats.org/officeDocument/2006/relationships/notesSlide" Target="../notesSlides/notesSlide6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64.xml"/><Relationship Id="rId1" Type="http://schemas.openxmlformats.org/officeDocument/2006/relationships/slideLayout" Target="../slideLayouts/slideLayout8.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_rels/slide71.xml.rels><?xml version="1.0" encoding="UTF-8" standalone="yes"?>
<Relationships xmlns="http://schemas.openxmlformats.org/package/2006/relationships"><Relationship Id="rId3" Type="http://schemas.openxmlformats.org/officeDocument/2006/relationships/image" Target="../media/image60.emf"/><Relationship Id="rId2" Type="http://schemas.openxmlformats.org/officeDocument/2006/relationships/notesSlide" Target="../notesSlides/notesSlide65.xml"/><Relationship Id="rId1" Type="http://schemas.openxmlformats.org/officeDocument/2006/relationships/slideLayout" Target="../slideLayouts/slideLayout8.xml"/><Relationship Id="rId4" Type="http://schemas.openxmlformats.org/officeDocument/2006/relationships/image" Target="../media/image61.emf"/></Relationships>
</file>

<file path=ppt/slides/_rels/slide72.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66.xml"/><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67.xml"/><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68.xml"/><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74.xml"/><Relationship Id="rId1" Type="http://schemas.openxmlformats.org/officeDocument/2006/relationships/slideLayout" Target="../slideLayouts/slideLayout8.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8.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8.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8.xml"/></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8.xml"/><Relationship Id="rId1" Type="http://schemas.openxmlformats.org/officeDocument/2006/relationships/tags" Target="../tags/tag22.xml"/></Relationships>
</file>

<file path=ppt/slides/_rels/slide85.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79.xml"/><Relationship Id="rId1" Type="http://schemas.openxmlformats.org/officeDocument/2006/relationships/slideLayout" Target="../slideLayouts/slideLayout8.xml"/></Relationships>
</file>

<file path=ppt/slides/_rels/slide86.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80.xml"/><Relationship Id="rId1" Type="http://schemas.openxmlformats.org/officeDocument/2006/relationships/slideLayout" Target="../slideLayouts/slideLayout8.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8.xml"/></Relationships>
</file>

<file path=ppt/slides/_rels/slide8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82.xml"/><Relationship Id="rId1" Type="http://schemas.openxmlformats.org/officeDocument/2006/relationships/slideLayout" Target="../slideLayouts/slideLayout8.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8.emf"/></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8.xml"/></Relationships>
</file>

<file path=ppt/slides/_rels/slide9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85.xml"/><Relationship Id="rId1" Type="http://schemas.openxmlformats.org/officeDocument/2006/relationships/slideLayout" Target="../slideLayouts/slideLayout8.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8.xml"/></Relationships>
</file>

<file path=ppt/slides/_rels/slide93.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notesSlide" Target="../notesSlides/notesSlide87.xml"/><Relationship Id="rId1" Type="http://schemas.openxmlformats.org/officeDocument/2006/relationships/slideLayout" Target="../slideLayouts/slideLayout8.xml"/></Relationships>
</file>

<file path=ppt/slides/_rels/slide94.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88.xml"/><Relationship Id="rId1" Type="http://schemas.openxmlformats.org/officeDocument/2006/relationships/slideLayout" Target="../slideLayouts/slideLayout8.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8.xml"/></Relationships>
</file>

<file path=ppt/slides/_rels/slide9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90.xml"/><Relationship Id="rId1" Type="http://schemas.openxmlformats.org/officeDocument/2006/relationships/slideLayout" Target="../slideLayouts/slideLayout8.xml"/></Relationships>
</file>

<file path=ppt/slides/_rels/slide97.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91.xml"/><Relationship Id="rId1" Type="http://schemas.openxmlformats.org/officeDocument/2006/relationships/slideLayout" Target="../slideLayouts/slideLayout8.xml"/></Relationships>
</file>

<file path=ppt/slides/_rels/slide98.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notesSlide" Target="../notesSlides/notesSlide92.xml"/></Relationships>
</file>

<file path=ppt/slides/_rels/slide99.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93.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3"/>
            </p:custDataLst>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86" name="think-cell Slide" r:id="rId8" imgW="347" imgH="348" progId="TCLayout.ActiveDocument.1">
                  <p:embed/>
                </p:oleObj>
              </mc:Choice>
              <mc:Fallback>
                <p:oleObj name="think-cell Slide" r:id="rId8"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18" name="矩形 17">
            <a:extLst>
              <a:ext uri="{FF2B5EF4-FFF2-40B4-BE49-F238E27FC236}">
                <a16:creationId xmlns:a16="http://schemas.microsoft.com/office/drawing/2014/main" id="{40E472F1-B64B-473E-8E97-9F37B26FDE3A}"/>
              </a:ext>
            </a:extLst>
          </p:cNvPr>
          <p:cNvSpPr/>
          <p:nvPr/>
        </p:nvSpPr>
        <p:spPr>
          <a:xfrm>
            <a:off x="1056772" y="1162313"/>
            <a:ext cx="6648953" cy="867545"/>
          </a:xfrm>
          <a:prstGeom prst="rect">
            <a:avLst/>
          </a:prstGeom>
        </p:spPr>
        <p:txBody>
          <a:bodyPr wrap="square">
            <a:spAutoFit/>
          </a:bodyPr>
          <a:lstStyle/>
          <a:p>
            <a:pPr>
              <a:lnSpc>
                <a:spcPts val="5867"/>
              </a:lnSpc>
            </a:pPr>
            <a:r>
              <a:rPr lang="zh-CN" altLang="en-US" sz="5400" dirty="0" smtClean="0">
                <a:solidFill>
                  <a:srgbClr val="00A1E8"/>
                </a:solidFill>
                <a:effectLst>
                  <a:outerShdw blurRad="38100" dist="38100" dir="2700000" algn="tl">
                    <a:srgbClr val="000000">
                      <a:alpha val="43137"/>
                    </a:srgbClr>
                  </a:outerShdw>
                </a:effectLst>
                <a:latin typeface="Arial" panose="020B0604020202020204" pitchFamily="34" charset="0"/>
                <a:ea typeface="Microsoft YaHei" panose="020B0503020204020204" pitchFamily="34" charset="-122"/>
                <a:cs typeface="+mn-ea"/>
                <a:sym typeface="Arial" panose="020B0604020202020204" pitchFamily="34" charset="0"/>
              </a:rPr>
              <a:t>码梦</a:t>
            </a:r>
            <a:endParaRPr lang="zh-CN" altLang="en-US" sz="5400" dirty="0">
              <a:solidFill>
                <a:srgbClr val="00A1E8"/>
              </a:solidFill>
              <a:effectLst>
                <a:outerShdw blurRad="38100" dist="38100" dir="2700000" algn="tl">
                  <a:srgbClr val="000000">
                    <a:alpha val="43137"/>
                  </a:srgbClr>
                </a:outerShdw>
              </a:effectLst>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21" name="PA_文本框 23">
            <a:extLst>
              <a:ext uri="{FF2B5EF4-FFF2-40B4-BE49-F238E27FC236}">
                <a16:creationId xmlns:a16="http://schemas.microsoft.com/office/drawing/2014/main" id="{4A097F0A-170E-4E0D-B700-935913CF15C5}"/>
              </a:ext>
            </a:extLst>
          </p:cNvPr>
          <p:cNvSpPr txBox="1"/>
          <p:nvPr>
            <p:custDataLst>
              <p:tags r:id="rId5"/>
            </p:custDataLst>
          </p:nvPr>
        </p:nvSpPr>
        <p:spPr>
          <a:xfrm>
            <a:off x="1056772" y="2109326"/>
            <a:ext cx="5803801" cy="699807"/>
          </a:xfrm>
          <a:prstGeom prst="rect">
            <a:avLst/>
          </a:prstGeom>
          <a:noFill/>
        </p:spPr>
        <p:txBody>
          <a:bodyPr wrap="square" rtlCol="0">
            <a:spAutoFit/>
          </a:bodyPr>
          <a:lstStyle/>
          <a:p>
            <a:pPr>
              <a:lnSpc>
                <a:spcPct val="120000"/>
              </a:lnSpc>
            </a:pPr>
            <a:r>
              <a:rPr lang="en-US" altLang="zh-CN" sz="3600" b="1" dirty="0" smtClean="0">
                <a:solidFill>
                  <a:schemeClr val="tx1">
                    <a:lumMod val="85000"/>
                    <a:lumOff val="15000"/>
                  </a:schemeClr>
                </a:solidFill>
                <a:latin typeface="Arial" panose="020B0604020202020204" pitchFamily="34" charset="0"/>
                <a:ea typeface="Microsoft YaHei" panose="020B0503020204020204" pitchFamily="34" charset="-122"/>
                <a:cs typeface="+mn-ea"/>
                <a:sym typeface="Arial" panose="020B0604020202020204" pitchFamily="34" charset="0"/>
              </a:rPr>
              <a:t>APP</a:t>
            </a:r>
            <a:r>
              <a:rPr lang="zh-CN" altLang="en-US" sz="3600" b="1" dirty="0" smtClean="0">
                <a:solidFill>
                  <a:schemeClr val="tx1">
                    <a:lumMod val="85000"/>
                    <a:lumOff val="15000"/>
                  </a:schemeClr>
                </a:solidFill>
                <a:latin typeface="Arial" panose="020B0604020202020204" pitchFamily="34" charset="0"/>
                <a:ea typeface="Microsoft YaHei" panose="020B0503020204020204" pitchFamily="34" charset="-122"/>
                <a:cs typeface="+mn-ea"/>
                <a:sym typeface="Arial" panose="020B0604020202020204" pitchFamily="34" charset="0"/>
              </a:rPr>
              <a:t>需求分析与架构设计</a:t>
            </a:r>
            <a:endParaRPr lang="zh-CN" altLang="en-US" sz="3600" b="1" dirty="0">
              <a:solidFill>
                <a:schemeClr val="tx1">
                  <a:lumMod val="85000"/>
                  <a:lumOff val="15000"/>
                </a:schemeClr>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23" name="矩形 22">
            <a:extLst>
              <a:ext uri="{FF2B5EF4-FFF2-40B4-BE49-F238E27FC236}">
                <a16:creationId xmlns:a16="http://schemas.microsoft.com/office/drawing/2014/main" id="{E3DF5974-327C-42B9-8D00-4F7C800173F3}"/>
              </a:ext>
            </a:extLst>
          </p:cNvPr>
          <p:cNvSpPr/>
          <p:nvPr/>
        </p:nvSpPr>
        <p:spPr>
          <a:xfrm>
            <a:off x="763356" y="1137360"/>
            <a:ext cx="108000" cy="3600000"/>
          </a:xfrm>
          <a:prstGeom prst="rect">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Microsoft YaHei" panose="020B0503020204020204" pitchFamily="34" charset="-122"/>
              <a:cs typeface="+mn-ea"/>
              <a:sym typeface="Arial" panose="020B0604020202020204" pitchFamily="34" charset="0"/>
            </a:endParaRPr>
          </a:p>
        </p:txBody>
      </p:sp>
    </p:spTree>
    <p:extLst>
      <p:ext uri="{BB962C8B-B14F-4D97-AF65-F5344CB8AC3E}">
        <p14:creationId xmlns:p14="http://schemas.microsoft.com/office/powerpoint/2010/main" val="227174189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组合 29">
            <a:extLst>
              <a:ext uri="{FF2B5EF4-FFF2-40B4-BE49-F238E27FC236}">
                <a16:creationId xmlns:a16="http://schemas.microsoft.com/office/drawing/2014/main" id="{0853A8D8-448C-4E50-AD38-219140CD6184}"/>
              </a:ext>
            </a:extLst>
          </p:cNvPr>
          <p:cNvGrpSpPr/>
          <p:nvPr/>
        </p:nvGrpSpPr>
        <p:grpSpPr>
          <a:xfrm>
            <a:off x="669925" y="210537"/>
            <a:ext cx="468000" cy="468000"/>
            <a:chOff x="669925" y="48611"/>
            <a:chExt cx="468000" cy="468000"/>
          </a:xfrm>
        </p:grpSpPr>
        <p:sp>
          <p:nvSpPr>
            <p:cNvPr id="31" name="椭圆 30">
              <a:extLst>
                <a:ext uri="{FF2B5EF4-FFF2-40B4-BE49-F238E27FC236}">
                  <a16:creationId xmlns:a16="http://schemas.microsoft.com/office/drawing/2014/main" id="{18765B3C-06BD-445D-B72B-512E55DEF34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32" name="椭圆 31">
              <a:extLst>
                <a:ext uri="{FF2B5EF4-FFF2-40B4-BE49-F238E27FC236}">
                  <a16:creationId xmlns:a16="http://schemas.microsoft.com/office/drawing/2014/main" id="{A6AA7771-0E3D-4241-9DE3-825324394A29}"/>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grpSp>
      <p:sp>
        <p:nvSpPr>
          <p:cNvPr id="36" name="标题 1">
            <a:extLst>
              <a:ext uri="{FF2B5EF4-FFF2-40B4-BE49-F238E27FC236}">
                <a16:creationId xmlns:a16="http://schemas.microsoft.com/office/drawing/2014/main" id="{62930304-3D14-4FEB-B45D-709CE5948953}"/>
              </a:ext>
            </a:extLst>
          </p:cNvPr>
          <p:cNvSpPr txBox="1">
            <a:spLocks/>
          </p:cNvSpPr>
          <p:nvPr/>
        </p:nvSpPr>
        <p:spPr>
          <a:xfrm>
            <a:off x="1149783" y="198392"/>
            <a:ext cx="4092068" cy="57784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3200" b="0" smtClean="0">
                <a:latin typeface="Arial" panose="020B0604020202020204" pitchFamily="34" charset="0"/>
                <a:ea typeface="Microsoft YaHei" panose="020B0503020204020204" pitchFamily="34" charset="-122"/>
                <a:cs typeface="+mn-ea"/>
                <a:sym typeface="Arial" panose="020B0604020202020204" pitchFamily="34" charset="0"/>
              </a:rPr>
              <a:t>关键</a:t>
            </a:r>
            <a:r>
              <a:rPr lang="zh-CN" altLang="en-US" sz="3200" b="0" dirty="0" smtClean="0">
                <a:latin typeface="Arial" panose="020B0604020202020204" pitchFamily="34" charset="0"/>
                <a:ea typeface="Microsoft YaHei" panose="020B0503020204020204" pitchFamily="34" charset="-122"/>
                <a:cs typeface="+mn-ea"/>
                <a:sym typeface="Arial" panose="020B0604020202020204" pitchFamily="34" charset="0"/>
              </a:rPr>
              <a:t>需求</a:t>
            </a:r>
            <a:endParaRPr lang="zh-CN" altLang="en-US" sz="3200" b="0" dirty="0">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43" name="内容占位符 2"/>
          <p:cNvSpPr txBox="1">
            <a:spLocks/>
          </p:cNvSpPr>
          <p:nvPr/>
        </p:nvSpPr>
        <p:spPr>
          <a:xfrm>
            <a:off x="631169" y="2969426"/>
            <a:ext cx="5035843" cy="1402915"/>
          </a:xfrm>
          <a:prstGeom prst="rect">
            <a:avLst/>
          </a:prstGeom>
        </p:spPr>
        <p:txBody>
          <a:bodyPr>
            <a:noAutofit/>
          </a:bodyPr>
          <a:lst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ltLang="zh-CN" sz="2400" dirty="0">
              <a:latin typeface="Arial" panose="020B0604020202020204" pitchFamily="34" charset="0"/>
              <a:ea typeface="Microsoft YaHei" panose="020B0503020204020204" pitchFamily="34" charset="-122"/>
              <a:cs typeface="+mn-ea"/>
              <a:sym typeface="Arial" panose="020B0604020202020204" pitchFamily="34" charset="0"/>
            </a:endParaRPr>
          </a:p>
        </p:txBody>
      </p:sp>
      <p:grpSp>
        <p:nvGrpSpPr>
          <p:cNvPr id="3" name="组合 2"/>
          <p:cNvGrpSpPr/>
          <p:nvPr/>
        </p:nvGrpSpPr>
        <p:grpSpPr>
          <a:xfrm>
            <a:off x="1038154" y="2879364"/>
            <a:ext cx="7706866" cy="1195332"/>
            <a:chOff x="1038154" y="2879364"/>
            <a:chExt cx="7706866" cy="1195332"/>
          </a:xfrm>
        </p:grpSpPr>
        <p:sp>
          <p:nvSpPr>
            <p:cNvPr id="2" name="矩形 1"/>
            <p:cNvSpPr/>
            <p:nvPr/>
          </p:nvSpPr>
          <p:spPr>
            <a:xfrm>
              <a:off x="1038154" y="2879364"/>
              <a:ext cx="7706866" cy="875171"/>
            </a:xfrm>
            <a:prstGeom prst="rect">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97" name="185936"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1324130" y="3329931"/>
              <a:ext cx="6724025" cy="744765"/>
              <a:chOff x="4051973" y="2575735"/>
              <a:chExt cx="6724025" cy="744765"/>
            </a:xfrm>
          </p:grpSpPr>
          <p:sp>
            <p:nvSpPr>
              <p:cNvPr id="99" name="îSḷiḑé">
                <a:extLst>
                  <a:ext uri="{FF2B5EF4-FFF2-40B4-BE49-F238E27FC236}">
                    <a16:creationId xmlns:a16="http://schemas.microsoft.com/office/drawing/2014/main" id="{D7F8A300-3FCA-4A2D-A9AF-A5BBE8653376}"/>
                  </a:ext>
                </a:extLst>
              </p:cNvPr>
              <p:cNvSpPr/>
              <p:nvPr/>
            </p:nvSpPr>
            <p:spPr bwMode="gray">
              <a:xfrm>
                <a:off x="4051973" y="2575735"/>
                <a:ext cx="3013580" cy="744764"/>
              </a:xfrm>
              <a:prstGeom prst="rect">
                <a:avLst/>
              </a:prstGeom>
              <a:solidFill>
                <a:schemeClr val="tx1">
                  <a:lumMod val="50000"/>
                  <a:lumOff val="50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a:bodyPr>
              <a:lstStyle/>
              <a:p>
                <a:pPr algn="ctr"/>
                <a:r>
                  <a:rPr lang="zh-CN" altLang="en-US" sz="2400" dirty="0" smtClean="0">
                    <a:solidFill>
                      <a:schemeClr val="bg1"/>
                    </a:solidFill>
                  </a:rPr>
                  <a:t>不可缺失</a:t>
                </a:r>
                <a:endParaRPr lang="en-US" altLang="zh-CN" sz="2400" dirty="0">
                  <a:solidFill>
                    <a:schemeClr val="bg1"/>
                  </a:solidFill>
                </a:endParaRPr>
              </a:p>
            </p:txBody>
          </p:sp>
          <p:sp>
            <p:nvSpPr>
              <p:cNvPr id="100" name="î$ḷîḓê">
                <a:extLst>
                  <a:ext uri="{FF2B5EF4-FFF2-40B4-BE49-F238E27FC236}">
                    <a16:creationId xmlns:a16="http://schemas.microsoft.com/office/drawing/2014/main" id="{0120662D-08EC-45F4-BE9C-84021ADB4C9A}"/>
                  </a:ext>
                </a:extLst>
              </p:cNvPr>
              <p:cNvSpPr/>
              <p:nvPr/>
            </p:nvSpPr>
            <p:spPr bwMode="gray">
              <a:xfrm>
                <a:off x="7762418" y="2575736"/>
                <a:ext cx="3013580" cy="744764"/>
              </a:xfrm>
              <a:prstGeom prst="rect">
                <a:avLst/>
              </a:prstGeom>
              <a:solidFill>
                <a:schemeClr val="tx1">
                  <a:lumMod val="50000"/>
                  <a:lumOff val="50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a:bodyPr>
              <a:lstStyle/>
              <a:p>
                <a:pPr algn="ctr"/>
                <a:r>
                  <a:rPr lang="zh-CN" altLang="en-US" sz="2400" dirty="0" smtClean="0">
                    <a:solidFill>
                      <a:schemeClr val="bg1"/>
                    </a:solidFill>
                  </a:rPr>
                  <a:t>不可替代</a:t>
                </a:r>
                <a:endParaRPr lang="en-US" altLang="zh-CN" sz="2400" dirty="0">
                  <a:solidFill>
                    <a:schemeClr val="bg1"/>
                  </a:solidFill>
                </a:endParaRPr>
              </a:p>
            </p:txBody>
          </p:sp>
        </p:grpSp>
      </p:grpSp>
      <p:sp>
        <p:nvSpPr>
          <p:cNvPr id="101" name="文本框 100"/>
          <p:cNvSpPr txBox="1"/>
          <p:nvPr/>
        </p:nvSpPr>
        <p:spPr>
          <a:xfrm>
            <a:off x="1062931" y="1646487"/>
            <a:ext cx="2646878" cy="580415"/>
          </a:xfrm>
          <a:prstGeom prst="rect">
            <a:avLst/>
          </a:prstGeom>
          <a:noFill/>
        </p:spPr>
        <p:txBody>
          <a:bodyPr wrap="none" rtlCol="0">
            <a:spAutoFit/>
          </a:bodyPr>
          <a:lstStyle/>
          <a:p>
            <a:pPr>
              <a:lnSpc>
                <a:spcPct val="150000"/>
              </a:lnSpc>
            </a:pPr>
            <a:r>
              <a:rPr lang="zh-CN" altLang="en-US" sz="2400" b="1" dirty="0" smtClean="0">
                <a:solidFill>
                  <a:srgbClr val="008CD7"/>
                </a:solidFill>
              </a:rPr>
              <a:t>什么是关键需求？</a:t>
            </a:r>
            <a:endParaRPr lang="zh-CN" altLang="en-US" sz="2400" b="1" dirty="0">
              <a:solidFill>
                <a:srgbClr val="008CD7"/>
              </a:solidFill>
            </a:endParaRPr>
          </a:p>
        </p:txBody>
      </p:sp>
    </p:spTree>
    <p:extLst>
      <p:ext uri="{BB962C8B-B14F-4D97-AF65-F5344CB8AC3E}">
        <p14:creationId xmlns:p14="http://schemas.microsoft.com/office/powerpoint/2010/main" val="29637903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3" name="标题 1"/>
          <p:cNvSpPr>
            <a:spLocks noGrp="1"/>
          </p:cNvSpPr>
          <p:nvPr>
            <p:ph type="title"/>
          </p:nvPr>
        </p:nvSpPr>
        <p:spPr>
          <a:xfrm>
            <a:off x="1137925" y="205921"/>
            <a:ext cx="10401280" cy="695186"/>
          </a:xfrm>
        </p:spPr>
        <p:txBody>
          <a:bodyPr/>
          <a:lstStyle/>
          <a:p>
            <a:r>
              <a:rPr lang="zh-CN" altLang="en-US" sz="3200" b="0" dirty="0" smtClean="0">
                <a:latin typeface="Arial"/>
                <a:ea typeface="Microsoft YaHei"/>
                <a:cs typeface="+mn-ea"/>
                <a:sym typeface="Arial"/>
              </a:rPr>
              <a:t>迭代器模式</a:t>
            </a:r>
            <a:endParaRPr lang="zh-CN" altLang="en-US" sz="3200" b="0" dirty="0">
              <a:latin typeface="Arial"/>
              <a:ea typeface="Microsoft YaHei"/>
              <a:cs typeface="+mn-ea"/>
              <a:sym typeface="Arial"/>
            </a:endParaRPr>
          </a:p>
        </p:txBody>
      </p:sp>
      <p:grpSp>
        <p:nvGrpSpPr>
          <p:cNvPr id="64" name="组合 63">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65" name="椭圆 64">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66" name="椭圆 65">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
        <p:nvSpPr>
          <p:cNvPr id="67" name="î$ḷîḓê">
            <a:extLst>
              <a:ext uri="{FF2B5EF4-FFF2-40B4-BE49-F238E27FC236}">
                <a16:creationId xmlns:a16="http://schemas.microsoft.com/office/drawing/2014/main" id="{0120662D-08EC-45F4-BE9C-84021ADB4C9A}"/>
              </a:ext>
            </a:extLst>
          </p:cNvPr>
          <p:cNvSpPr/>
          <p:nvPr/>
        </p:nvSpPr>
        <p:spPr bwMode="gray">
          <a:xfrm>
            <a:off x="7211000" y="198392"/>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创建型模式</a:t>
            </a:r>
            <a:endParaRPr lang="en-US" altLang="zh-CN" sz="2400" dirty="0">
              <a:solidFill>
                <a:schemeClr val="bg1"/>
              </a:solidFill>
            </a:endParaRPr>
          </a:p>
        </p:txBody>
      </p:sp>
      <p:sp>
        <p:nvSpPr>
          <p:cNvPr id="68" name="î$ḷîḓê">
            <a:extLst>
              <a:ext uri="{FF2B5EF4-FFF2-40B4-BE49-F238E27FC236}">
                <a16:creationId xmlns:a16="http://schemas.microsoft.com/office/drawing/2014/main" id="{0120662D-08EC-45F4-BE9C-84021ADB4C9A}"/>
              </a:ext>
            </a:extLst>
          </p:cNvPr>
          <p:cNvSpPr/>
          <p:nvPr/>
        </p:nvSpPr>
        <p:spPr bwMode="gray">
          <a:xfrm>
            <a:off x="8749874" y="199746"/>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结构型模式</a:t>
            </a:r>
            <a:endParaRPr lang="en-US" altLang="zh-CN" sz="2400" dirty="0">
              <a:solidFill>
                <a:schemeClr val="bg1"/>
              </a:solidFill>
            </a:endParaRPr>
          </a:p>
        </p:txBody>
      </p:sp>
      <p:sp>
        <p:nvSpPr>
          <p:cNvPr id="69" name="î$ḷîḓê">
            <a:extLst>
              <a:ext uri="{FF2B5EF4-FFF2-40B4-BE49-F238E27FC236}">
                <a16:creationId xmlns:a16="http://schemas.microsoft.com/office/drawing/2014/main" id="{0120662D-08EC-45F4-BE9C-84021ADB4C9A}"/>
              </a:ext>
            </a:extLst>
          </p:cNvPr>
          <p:cNvSpPr/>
          <p:nvPr/>
        </p:nvSpPr>
        <p:spPr bwMode="gray">
          <a:xfrm>
            <a:off x="10282004" y="189695"/>
            <a:ext cx="1506790" cy="480145"/>
          </a:xfrm>
          <a:prstGeom prst="rect">
            <a:avLst/>
          </a:prstGeom>
          <a:solidFill>
            <a:schemeClr val="accent1"/>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行为型模式</a:t>
            </a:r>
            <a:endParaRPr lang="en-US" altLang="zh-CN" sz="2400" dirty="0">
              <a:solidFill>
                <a:schemeClr val="bg1"/>
              </a:solidFill>
            </a:endParaRPr>
          </a:p>
        </p:txBody>
      </p:sp>
      <p:pic>
        <p:nvPicPr>
          <p:cNvPr id="2" name="图片 1"/>
          <p:cNvPicPr>
            <a:picLocks noChangeAspect="1"/>
          </p:cNvPicPr>
          <p:nvPr/>
        </p:nvPicPr>
        <p:blipFill>
          <a:blip r:embed="rId3"/>
          <a:stretch>
            <a:fillRect/>
          </a:stretch>
        </p:blipFill>
        <p:spPr>
          <a:xfrm>
            <a:off x="3528690" y="1028700"/>
            <a:ext cx="5619750" cy="4714875"/>
          </a:xfrm>
          <a:prstGeom prst="rect">
            <a:avLst/>
          </a:prstGeom>
        </p:spPr>
      </p:pic>
    </p:spTree>
    <p:extLst>
      <p:ext uri="{BB962C8B-B14F-4D97-AF65-F5344CB8AC3E}">
        <p14:creationId xmlns:p14="http://schemas.microsoft.com/office/powerpoint/2010/main" val="32824321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标题 1"/>
          <p:cNvSpPr>
            <a:spLocks noGrp="1"/>
          </p:cNvSpPr>
          <p:nvPr>
            <p:ph type="title"/>
          </p:nvPr>
        </p:nvSpPr>
        <p:spPr>
          <a:xfrm>
            <a:off x="1137925" y="205921"/>
            <a:ext cx="10401280" cy="695186"/>
          </a:xfrm>
        </p:spPr>
        <p:txBody>
          <a:bodyPr/>
          <a:lstStyle/>
          <a:p>
            <a:r>
              <a:rPr lang="zh-CN" altLang="en-US" sz="3200" b="0" dirty="0">
                <a:latin typeface="Arial"/>
                <a:ea typeface="Microsoft YaHei"/>
                <a:cs typeface="+mn-ea"/>
                <a:sym typeface="Arial"/>
              </a:rPr>
              <a:t>责任</a:t>
            </a:r>
            <a:r>
              <a:rPr lang="zh-CN" altLang="en-US" sz="3200" b="0" dirty="0" smtClean="0">
                <a:latin typeface="Arial"/>
                <a:ea typeface="Microsoft YaHei"/>
                <a:cs typeface="+mn-ea"/>
                <a:sym typeface="Arial"/>
              </a:rPr>
              <a:t>链模式</a:t>
            </a:r>
            <a:endParaRPr lang="zh-CN" altLang="en-US" sz="3200" b="0" dirty="0">
              <a:latin typeface="Arial"/>
              <a:ea typeface="Microsoft YaHei"/>
              <a:cs typeface="+mn-ea"/>
              <a:sym typeface="Arial"/>
            </a:endParaRPr>
          </a:p>
        </p:txBody>
      </p:sp>
      <p:grpSp>
        <p:nvGrpSpPr>
          <p:cNvPr id="64" name="组合 63">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65" name="椭圆 64">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66" name="椭圆 65">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
        <p:nvSpPr>
          <p:cNvPr id="67" name="î$ḷîḓê">
            <a:extLst>
              <a:ext uri="{FF2B5EF4-FFF2-40B4-BE49-F238E27FC236}">
                <a16:creationId xmlns:a16="http://schemas.microsoft.com/office/drawing/2014/main" id="{0120662D-08EC-45F4-BE9C-84021ADB4C9A}"/>
              </a:ext>
            </a:extLst>
          </p:cNvPr>
          <p:cNvSpPr/>
          <p:nvPr/>
        </p:nvSpPr>
        <p:spPr bwMode="gray">
          <a:xfrm>
            <a:off x="7211000" y="198392"/>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创建型模式</a:t>
            </a:r>
            <a:endParaRPr lang="en-US" altLang="zh-CN" sz="2400" dirty="0">
              <a:solidFill>
                <a:schemeClr val="bg1"/>
              </a:solidFill>
            </a:endParaRPr>
          </a:p>
        </p:txBody>
      </p:sp>
      <p:sp>
        <p:nvSpPr>
          <p:cNvPr id="68" name="î$ḷîḓê">
            <a:extLst>
              <a:ext uri="{FF2B5EF4-FFF2-40B4-BE49-F238E27FC236}">
                <a16:creationId xmlns:a16="http://schemas.microsoft.com/office/drawing/2014/main" id="{0120662D-08EC-45F4-BE9C-84021ADB4C9A}"/>
              </a:ext>
            </a:extLst>
          </p:cNvPr>
          <p:cNvSpPr/>
          <p:nvPr/>
        </p:nvSpPr>
        <p:spPr bwMode="gray">
          <a:xfrm>
            <a:off x="8749874" y="199746"/>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结构型模式</a:t>
            </a:r>
            <a:endParaRPr lang="en-US" altLang="zh-CN" sz="2400" dirty="0">
              <a:solidFill>
                <a:schemeClr val="bg1"/>
              </a:solidFill>
            </a:endParaRPr>
          </a:p>
        </p:txBody>
      </p:sp>
      <p:sp>
        <p:nvSpPr>
          <p:cNvPr id="69" name="î$ḷîḓê">
            <a:extLst>
              <a:ext uri="{FF2B5EF4-FFF2-40B4-BE49-F238E27FC236}">
                <a16:creationId xmlns:a16="http://schemas.microsoft.com/office/drawing/2014/main" id="{0120662D-08EC-45F4-BE9C-84021ADB4C9A}"/>
              </a:ext>
            </a:extLst>
          </p:cNvPr>
          <p:cNvSpPr/>
          <p:nvPr/>
        </p:nvSpPr>
        <p:spPr bwMode="gray">
          <a:xfrm>
            <a:off x="10282004" y="189695"/>
            <a:ext cx="1506790" cy="480145"/>
          </a:xfrm>
          <a:prstGeom prst="rect">
            <a:avLst/>
          </a:prstGeom>
          <a:solidFill>
            <a:schemeClr val="accent1"/>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行为型模式</a:t>
            </a:r>
            <a:endParaRPr lang="en-US" altLang="zh-CN" sz="2400" dirty="0">
              <a:solidFill>
                <a:schemeClr val="bg1"/>
              </a:solidFill>
            </a:endParaRPr>
          </a:p>
        </p:txBody>
      </p:sp>
      <p:pic>
        <p:nvPicPr>
          <p:cNvPr id="3" name="图片 2"/>
          <p:cNvPicPr>
            <a:picLocks noChangeAspect="1"/>
          </p:cNvPicPr>
          <p:nvPr/>
        </p:nvPicPr>
        <p:blipFill>
          <a:blip r:embed="rId3"/>
          <a:stretch>
            <a:fillRect/>
          </a:stretch>
        </p:blipFill>
        <p:spPr>
          <a:xfrm>
            <a:off x="3124350" y="738728"/>
            <a:ext cx="5903536" cy="5773629"/>
          </a:xfrm>
          <a:prstGeom prst="rect">
            <a:avLst/>
          </a:prstGeom>
        </p:spPr>
      </p:pic>
      <p:sp>
        <p:nvSpPr>
          <p:cNvPr id="4" name="圆角矩形 3"/>
          <p:cNvSpPr/>
          <p:nvPr/>
        </p:nvSpPr>
        <p:spPr>
          <a:xfrm>
            <a:off x="7211000" y="3033486"/>
            <a:ext cx="2049114" cy="1509485"/>
          </a:xfrm>
          <a:prstGeom prst="roundRect">
            <a:avLst/>
          </a:prstGeom>
          <a:noFill/>
          <a:ln w="63500">
            <a:solidFill>
              <a:srgbClr val="008CD7"/>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文本框 4"/>
          <p:cNvSpPr txBox="1"/>
          <p:nvPr/>
        </p:nvSpPr>
        <p:spPr>
          <a:xfrm>
            <a:off x="9413074" y="3556001"/>
            <a:ext cx="1737859" cy="1200329"/>
          </a:xfrm>
          <a:prstGeom prst="rect">
            <a:avLst/>
          </a:prstGeom>
          <a:noFill/>
        </p:spPr>
        <p:txBody>
          <a:bodyPr wrap="square" rtlCol="0">
            <a:spAutoFit/>
          </a:bodyPr>
          <a:lstStyle/>
          <a:p>
            <a:r>
              <a:rPr lang="zh-CN" altLang="en-US" dirty="0" smtClean="0"/>
              <a:t>对象之间形成链接。链接在抽象父类中设计。</a:t>
            </a:r>
            <a:endParaRPr lang="zh-CN" altLang="en-US" dirty="0"/>
          </a:p>
        </p:txBody>
      </p:sp>
      <p:sp>
        <p:nvSpPr>
          <p:cNvPr id="12" name="coding_151359"/>
          <p:cNvSpPr>
            <a:spLocks noChangeAspect="1"/>
          </p:cNvSpPr>
          <p:nvPr/>
        </p:nvSpPr>
        <p:spPr bwMode="auto">
          <a:xfrm>
            <a:off x="6599664" y="198392"/>
            <a:ext cx="467336" cy="466684"/>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06439" h="605593">
                <a:moveTo>
                  <a:pt x="264222" y="458757"/>
                </a:moveTo>
                <a:lnTo>
                  <a:pt x="220421" y="579819"/>
                </a:lnTo>
                <a:lnTo>
                  <a:pt x="386019" y="579819"/>
                </a:lnTo>
                <a:lnTo>
                  <a:pt x="342217" y="458757"/>
                </a:lnTo>
                <a:close/>
                <a:moveTo>
                  <a:pt x="420977" y="157263"/>
                </a:moveTo>
                <a:lnTo>
                  <a:pt x="489088" y="231020"/>
                </a:lnTo>
                <a:lnTo>
                  <a:pt x="424086" y="301483"/>
                </a:lnTo>
                <a:lnTo>
                  <a:pt x="405150" y="283985"/>
                </a:lnTo>
                <a:lnTo>
                  <a:pt x="453949" y="231020"/>
                </a:lnTo>
                <a:lnTo>
                  <a:pt x="402042" y="174761"/>
                </a:lnTo>
                <a:close/>
                <a:moveTo>
                  <a:pt x="185461" y="157263"/>
                </a:moveTo>
                <a:lnTo>
                  <a:pt x="204397" y="174761"/>
                </a:lnTo>
                <a:lnTo>
                  <a:pt x="152489" y="231020"/>
                </a:lnTo>
                <a:lnTo>
                  <a:pt x="201288" y="283985"/>
                </a:lnTo>
                <a:lnTo>
                  <a:pt x="182352" y="301483"/>
                </a:lnTo>
                <a:lnTo>
                  <a:pt x="117350" y="231020"/>
                </a:lnTo>
                <a:close/>
                <a:moveTo>
                  <a:pt x="309343" y="122078"/>
                </a:moveTo>
                <a:lnTo>
                  <a:pt x="334401" y="128193"/>
                </a:lnTo>
                <a:lnTo>
                  <a:pt x="283718" y="336668"/>
                </a:lnTo>
                <a:lnTo>
                  <a:pt x="258565" y="330553"/>
                </a:lnTo>
                <a:close/>
                <a:moveTo>
                  <a:pt x="25810" y="25774"/>
                </a:moveTo>
                <a:lnTo>
                  <a:pt x="25810" y="432983"/>
                </a:lnTo>
                <a:lnTo>
                  <a:pt x="580629" y="432983"/>
                </a:lnTo>
                <a:lnTo>
                  <a:pt x="580629" y="25774"/>
                </a:lnTo>
                <a:close/>
                <a:moveTo>
                  <a:pt x="0" y="0"/>
                </a:moveTo>
                <a:lnTo>
                  <a:pt x="606439" y="0"/>
                </a:lnTo>
                <a:lnTo>
                  <a:pt x="606439" y="458757"/>
                </a:lnTo>
                <a:lnTo>
                  <a:pt x="369628" y="458757"/>
                </a:lnTo>
                <a:lnTo>
                  <a:pt x="413430" y="579819"/>
                </a:lnTo>
                <a:lnTo>
                  <a:pt x="459492" y="579819"/>
                </a:lnTo>
                <a:lnTo>
                  <a:pt x="459492" y="605593"/>
                </a:lnTo>
                <a:lnTo>
                  <a:pt x="146947" y="605593"/>
                </a:lnTo>
                <a:lnTo>
                  <a:pt x="146947" y="579819"/>
                </a:lnTo>
                <a:lnTo>
                  <a:pt x="192915" y="579819"/>
                </a:lnTo>
                <a:lnTo>
                  <a:pt x="236717" y="458757"/>
                </a:lnTo>
                <a:lnTo>
                  <a:pt x="0" y="458757"/>
                </a:lnTo>
                <a:close/>
              </a:path>
            </a:pathLst>
          </a:custGeom>
          <a:solidFill>
            <a:schemeClr val="accent1"/>
          </a:solidFill>
          <a:ln>
            <a:noFill/>
          </a:ln>
        </p:spPr>
        <p:txBody>
          <a:bodyPr/>
          <a:lstStyle/>
          <a:p>
            <a:endParaRPr lang="zh-CN" altLang="en-US"/>
          </a:p>
        </p:txBody>
      </p:sp>
    </p:spTree>
    <p:extLst>
      <p:ext uri="{BB962C8B-B14F-4D97-AF65-F5344CB8AC3E}">
        <p14:creationId xmlns:p14="http://schemas.microsoft.com/office/powerpoint/2010/main" val="4045498496"/>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标题 1"/>
          <p:cNvSpPr>
            <a:spLocks noGrp="1"/>
          </p:cNvSpPr>
          <p:nvPr>
            <p:ph type="title"/>
          </p:nvPr>
        </p:nvSpPr>
        <p:spPr>
          <a:xfrm>
            <a:off x="1137925" y="205921"/>
            <a:ext cx="10401280" cy="695186"/>
          </a:xfrm>
        </p:spPr>
        <p:txBody>
          <a:bodyPr/>
          <a:lstStyle/>
          <a:p>
            <a:r>
              <a:rPr lang="zh-CN" altLang="en-US" sz="3200" b="0" dirty="0" smtClean="0">
                <a:latin typeface="Arial"/>
                <a:ea typeface="Microsoft YaHei"/>
                <a:cs typeface="+mn-ea"/>
                <a:sym typeface="Arial"/>
              </a:rPr>
              <a:t>命令模式</a:t>
            </a:r>
            <a:endParaRPr lang="zh-CN" altLang="en-US" sz="3200" b="0" dirty="0">
              <a:latin typeface="Arial"/>
              <a:ea typeface="Microsoft YaHei"/>
              <a:cs typeface="+mn-ea"/>
              <a:sym typeface="Arial"/>
            </a:endParaRPr>
          </a:p>
        </p:txBody>
      </p:sp>
      <p:grpSp>
        <p:nvGrpSpPr>
          <p:cNvPr id="64" name="组合 63">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65" name="椭圆 64">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66" name="椭圆 65">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
        <p:nvSpPr>
          <p:cNvPr id="67" name="î$ḷîḓê">
            <a:extLst>
              <a:ext uri="{FF2B5EF4-FFF2-40B4-BE49-F238E27FC236}">
                <a16:creationId xmlns:a16="http://schemas.microsoft.com/office/drawing/2014/main" id="{0120662D-08EC-45F4-BE9C-84021ADB4C9A}"/>
              </a:ext>
            </a:extLst>
          </p:cNvPr>
          <p:cNvSpPr/>
          <p:nvPr/>
        </p:nvSpPr>
        <p:spPr bwMode="gray">
          <a:xfrm>
            <a:off x="7211000" y="198392"/>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创建型模式</a:t>
            </a:r>
            <a:endParaRPr lang="en-US" altLang="zh-CN" sz="2400" dirty="0">
              <a:solidFill>
                <a:schemeClr val="bg1"/>
              </a:solidFill>
            </a:endParaRPr>
          </a:p>
        </p:txBody>
      </p:sp>
      <p:sp>
        <p:nvSpPr>
          <p:cNvPr id="68" name="î$ḷîḓê">
            <a:extLst>
              <a:ext uri="{FF2B5EF4-FFF2-40B4-BE49-F238E27FC236}">
                <a16:creationId xmlns:a16="http://schemas.microsoft.com/office/drawing/2014/main" id="{0120662D-08EC-45F4-BE9C-84021ADB4C9A}"/>
              </a:ext>
            </a:extLst>
          </p:cNvPr>
          <p:cNvSpPr/>
          <p:nvPr/>
        </p:nvSpPr>
        <p:spPr bwMode="gray">
          <a:xfrm>
            <a:off x="8749874" y="199746"/>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结构型模式</a:t>
            </a:r>
            <a:endParaRPr lang="en-US" altLang="zh-CN" sz="2400" dirty="0">
              <a:solidFill>
                <a:schemeClr val="bg1"/>
              </a:solidFill>
            </a:endParaRPr>
          </a:p>
        </p:txBody>
      </p:sp>
      <p:sp>
        <p:nvSpPr>
          <p:cNvPr id="69" name="î$ḷîḓê">
            <a:extLst>
              <a:ext uri="{FF2B5EF4-FFF2-40B4-BE49-F238E27FC236}">
                <a16:creationId xmlns:a16="http://schemas.microsoft.com/office/drawing/2014/main" id="{0120662D-08EC-45F4-BE9C-84021ADB4C9A}"/>
              </a:ext>
            </a:extLst>
          </p:cNvPr>
          <p:cNvSpPr/>
          <p:nvPr/>
        </p:nvSpPr>
        <p:spPr bwMode="gray">
          <a:xfrm>
            <a:off x="10282004" y="189695"/>
            <a:ext cx="1506790" cy="480145"/>
          </a:xfrm>
          <a:prstGeom prst="rect">
            <a:avLst/>
          </a:prstGeom>
          <a:solidFill>
            <a:schemeClr val="accent1"/>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行为型模式</a:t>
            </a:r>
            <a:endParaRPr lang="en-US" altLang="zh-CN" sz="2400" dirty="0">
              <a:solidFill>
                <a:schemeClr val="bg1"/>
              </a:solidFill>
            </a:endParaRPr>
          </a:p>
        </p:txBody>
      </p:sp>
      <p:pic>
        <p:nvPicPr>
          <p:cNvPr id="2" name="图片 1"/>
          <p:cNvPicPr>
            <a:picLocks noChangeAspect="1"/>
          </p:cNvPicPr>
          <p:nvPr/>
        </p:nvPicPr>
        <p:blipFill>
          <a:blip r:embed="rId3"/>
          <a:stretch>
            <a:fillRect/>
          </a:stretch>
        </p:blipFill>
        <p:spPr>
          <a:xfrm>
            <a:off x="3373824" y="669840"/>
            <a:ext cx="5016074" cy="5835231"/>
          </a:xfrm>
          <a:prstGeom prst="rect">
            <a:avLst/>
          </a:prstGeom>
        </p:spPr>
      </p:pic>
      <p:sp>
        <p:nvSpPr>
          <p:cNvPr id="10" name="coding_151359"/>
          <p:cNvSpPr>
            <a:spLocks noChangeAspect="1"/>
          </p:cNvSpPr>
          <p:nvPr/>
        </p:nvSpPr>
        <p:spPr bwMode="auto">
          <a:xfrm>
            <a:off x="6599664" y="211853"/>
            <a:ext cx="467336" cy="466684"/>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06439" h="605593">
                <a:moveTo>
                  <a:pt x="264222" y="458757"/>
                </a:moveTo>
                <a:lnTo>
                  <a:pt x="220421" y="579819"/>
                </a:lnTo>
                <a:lnTo>
                  <a:pt x="386019" y="579819"/>
                </a:lnTo>
                <a:lnTo>
                  <a:pt x="342217" y="458757"/>
                </a:lnTo>
                <a:close/>
                <a:moveTo>
                  <a:pt x="420977" y="157263"/>
                </a:moveTo>
                <a:lnTo>
                  <a:pt x="489088" y="231020"/>
                </a:lnTo>
                <a:lnTo>
                  <a:pt x="424086" y="301483"/>
                </a:lnTo>
                <a:lnTo>
                  <a:pt x="405150" y="283985"/>
                </a:lnTo>
                <a:lnTo>
                  <a:pt x="453949" y="231020"/>
                </a:lnTo>
                <a:lnTo>
                  <a:pt x="402042" y="174761"/>
                </a:lnTo>
                <a:close/>
                <a:moveTo>
                  <a:pt x="185461" y="157263"/>
                </a:moveTo>
                <a:lnTo>
                  <a:pt x="204397" y="174761"/>
                </a:lnTo>
                <a:lnTo>
                  <a:pt x="152489" y="231020"/>
                </a:lnTo>
                <a:lnTo>
                  <a:pt x="201288" y="283985"/>
                </a:lnTo>
                <a:lnTo>
                  <a:pt x="182352" y="301483"/>
                </a:lnTo>
                <a:lnTo>
                  <a:pt x="117350" y="231020"/>
                </a:lnTo>
                <a:close/>
                <a:moveTo>
                  <a:pt x="309343" y="122078"/>
                </a:moveTo>
                <a:lnTo>
                  <a:pt x="334401" y="128193"/>
                </a:lnTo>
                <a:lnTo>
                  <a:pt x="283718" y="336668"/>
                </a:lnTo>
                <a:lnTo>
                  <a:pt x="258565" y="330553"/>
                </a:lnTo>
                <a:close/>
                <a:moveTo>
                  <a:pt x="25810" y="25774"/>
                </a:moveTo>
                <a:lnTo>
                  <a:pt x="25810" y="432983"/>
                </a:lnTo>
                <a:lnTo>
                  <a:pt x="580629" y="432983"/>
                </a:lnTo>
                <a:lnTo>
                  <a:pt x="580629" y="25774"/>
                </a:lnTo>
                <a:close/>
                <a:moveTo>
                  <a:pt x="0" y="0"/>
                </a:moveTo>
                <a:lnTo>
                  <a:pt x="606439" y="0"/>
                </a:lnTo>
                <a:lnTo>
                  <a:pt x="606439" y="458757"/>
                </a:lnTo>
                <a:lnTo>
                  <a:pt x="369628" y="458757"/>
                </a:lnTo>
                <a:lnTo>
                  <a:pt x="413430" y="579819"/>
                </a:lnTo>
                <a:lnTo>
                  <a:pt x="459492" y="579819"/>
                </a:lnTo>
                <a:lnTo>
                  <a:pt x="459492" y="605593"/>
                </a:lnTo>
                <a:lnTo>
                  <a:pt x="146947" y="605593"/>
                </a:lnTo>
                <a:lnTo>
                  <a:pt x="146947" y="579819"/>
                </a:lnTo>
                <a:lnTo>
                  <a:pt x="192915" y="579819"/>
                </a:lnTo>
                <a:lnTo>
                  <a:pt x="236717" y="458757"/>
                </a:lnTo>
                <a:lnTo>
                  <a:pt x="0" y="458757"/>
                </a:lnTo>
                <a:close/>
              </a:path>
            </a:pathLst>
          </a:custGeom>
          <a:solidFill>
            <a:schemeClr val="accent1"/>
          </a:solidFill>
          <a:ln>
            <a:noFill/>
          </a:ln>
        </p:spPr>
        <p:txBody>
          <a:bodyPr/>
          <a:lstStyle/>
          <a:p>
            <a:endParaRPr lang="zh-CN" altLang="en-US"/>
          </a:p>
        </p:txBody>
      </p:sp>
    </p:spTree>
    <p:extLst>
      <p:ext uri="{BB962C8B-B14F-4D97-AF65-F5344CB8AC3E}">
        <p14:creationId xmlns:p14="http://schemas.microsoft.com/office/powerpoint/2010/main" val="2775011268"/>
      </p:ext>
    </p:extLst>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标题 1"/>
          <p:cNvSpPr>
            <a:spLocks noGrp="1"/>
          </p:cNvSpPr>
          <p:nvPr>
            <p:ph type="title"/>
          </p:nvPr>
        </p:nvSpPr>
        <p:spPr>
          <a:xfrm>
            <a:off x="1137925" y="205921"/>
            <a:ext cx="10401280" cy="695186"/>
          </a:xfrm>
        </p:spPr>
        <p:txBody>
          <a:bodyPr/>
          <a:lstStyle/>
          <a:p>
            <a:r>
              <a:rPr lang="zh-CN" altLang="en-US" sz="3200" b="0" dirty="0" smtClean="0">
                <a:latin typeface="Arial"/>
                <a:ea typeface="Microsoft YaHei"/>
                <a:cs typeface="+mn-ea"/>
                <a:sym typeface="Arial"/>
              </a:rPr>
              <a:t>状态机模式</a:t>
            </a:r>
            <a:endParaRPr lang="zh-CN" altLang="en-US" sz="3200" b="0" dirty="0">
              <a:latin typeface="Arial"/>
              <a:ea typeface="Microsoft YaHei"/>
              <a:cs typeface="+mn-ea"/>
              <a:sym typeface="Arial"/>
            </a:endParaRPr>
          </a:p>
        </p:txBody>
      </p:sp>
      <p:grpSp>
        <p:nvGrpSpPr>
          <p:cNvPr id="64" name="组合 63">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65" name="椭圆 64">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66" name="椭圆 65">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
        <p:nvSpPr>
          <p:cNvPr id="67" name="î$ḷîḓê">
            <a:extLst>
              <a:ext uri="{FF2B5EF4-FFF2-40B4-BE49-F238E27FC236}">
                <a16:creationId xmlns:a16="http://schemas.microsoft.com/office/drawing/2014/main" id="{0120662D-08EC-45F4-BE9C-84021ADB4C9A}"/>
              </a:ext>
            </a:extLst>
          </p:cNvPr>
          <p:cNvSpPr/>
          <p:nvPr/>
        </p:nvSpPr>
        <p:spPr bwMode="gray">
          <a:xfrm>
            <a:off x="7211000" y="198392"/>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创建型模式</a:t>
            </a:r>
            <a:endParaRPr lang="en-US" altLang="zh-CN" sz="2400" dirty="0">
              <a:solidFill>
                <a:schemeClr val="bg1"/>
              </a:solidFill>
            </a:endParaRPr>
          </a:p>
        </p:txBody>
      </p:sp>
      <p:sp>
        <p:nvSpPr>
          <p:cNvPr id="68" name="î$ḷîḓê">
            <a:extLst>
              <a:ext uri="{FF2B5EF4-FFF2-40B4-BE49-F238E27FC236}">
                <a16:creationId xmlns:a16="http://schemas.microsoft.com/office/drawing/2014/main" id="{0120662D-08EC-45F4-BE9C-84021ADB4C9A}"/>
              </a:ext>
            </a:extLst>
          </p:cNvPr>
          <p:cNvSpPr/>
          <p:nvPr/>
        </p:nvSpPr>
        <p:spPr bwMode="gray">
          <a:xfrm>
            <a:off x="8749874" y="199746"/>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结构型模式</a:t>
            </a:r>
            <a:endParaRPr lang="en-US" altLang="zh-CN" sz="2400" dirty="0">
              <a:solidFill>
                <a:schemeClr val="bg1"/>
              </a:solidFill>
            </a:endParaRPr>
          </a:p>
        </p:txBody>
      </p:sp>
      <p:sp>
        <p:nvSpPr>
          <p:cNvPr id="69" name="î$ḷîḓê">
            <a:extLst>
              <a:ext uri="{FF2B5EF4-FFF2-40B4-BE49-F238E27FC236}">
                <a16:creationId xmlns:a16="http://schemas.microsoft.com/office/drawing/2014/main" id="{0120662D-08EC-45F4-BE9C-84021ADB4C9A}"/>
              </a:ext>
            </a:extLst>
          </p:cNvPr>
          <p:cNvSpPr/>
          <p:nvPr/>
        </p:nvSpPr>
        <p:spPr bwMode="gray">
          <a:xfrm>
            <a:off x="10282004" y="189695"/>
            <a:ext cx="1506790" cy="480145"/>
          </a:xfrm>
          <a:prstGeom prst="rect">
            <a:avLst/>
          </a:prstGeom>
          <a:solidFill>
            <a:schemeClr val="accent1"/>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行为型模式</a:t>
            </a:r>
            <a:endParaRPr lang="en-US" altLang="zh-CN" sz="2400" dirty="0">
              <a:solidFill>
                <a:schemeClr val="bg1"/>
              </a:solidFill>
            </a:endParaRPr>
          </a:p>
        </p:txBody>
      </p:sp>
      <p:pic>
        <p:nvPicPr>
          <p:cNvPr id="15362" name="Picture 2" descr="../_images/State.jpg"/>
          <p:cNvPicPr>
            <a:picLocks noChangeAspect="1" noChangeArrowheads="1"/>
          </p:cNvPicPr>
          <p:nvPr/>
        </p:nvPicPr>
        <p:blipFill rotWithShape="1">
          <a:blip r:embed="rId3">
            <a:extLst>
              <a:ext uri="{28A0092B-C50C-407E-A947-70E740481C1C}">
                <a14:useLocalDpi xmlns:a14="http://schemas.microsoft.com/office/drawing/2010/main" val="0"/>
              </a:ext>
            </a:extLst>
          </a:blip>
          <a:srcRect l="636" t="1293" r="504" b="1485"/>
          <a:stretch/>
        </p:blipFill>
        <p:spPr bwMode="auto">
          <a:xfrm>
            <a:off x="739141" y="1196340"/>
            <a:ext cx="10744200" cy="4968240"/>
          </a:xfrm>
          <a:prstGeom prst="rect">
            <a:avLst/>
          </a:prstGeom>
          <a:noFill/>
          <a:extLst>
            <a:ext uri="{909E8E84-426E-40DD-AFC4-6F175D3DCCD1}">
              <a14:hiddenFill xmlns:a14="http://schemas.microsoft.com/office/drawing/2010/main">
                <a:solidFill>
                  <a:srgbClr val="FFFFFF"/>
                </a:solidFill>
              </a14:hiddenFill>
            </a:ext>
          </a:extLst>
        </p:spPr>
      </p:pic>
      <p:sp>
        <p:nvSpPr>
          <p:cNvPr id="3" name="圆角矩形 2"/>
          <p:cNvSpPr/>
          <p:nvPr/>
        </p:nvSpPr>
        <p:spPr>
          <a:xfrm>
            <a:off x="4419600" y="1905000"/>
            <a:ext cx="2438400" cy="1085850"/>
          </a:xfrm>
          <a:prstGeom prst="round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p:cNvSpPr/>
          <p:nvPr/>
        </p:nvSpPr>
        <p:spPr>
          <a:xfrm>
            <a:off x="903925" y="3765551"/>
            <a:ext cx="4468175" cy="1661993"/>
          </a:xfrm>
          <a:prstGeom prst="rect">
            <a:avLst/>
          </a:prstGeom>
          <a:noFill/>
        </p:spPr>
        <p:txBody>
          <a:bodyPr wrap="square" lIns="91440" tIns="45720" rIns="91440" bIns="45720">
            <a:spAutoFit/>
          </a:bodyPr>
          <a:lstStyle/>
          <a:p>
            <a:pPr algn="ctr"/>
            <a:r>
              <a:rPr lang="zh-CN" altLang="en-US" sz="2400" b="0" cap="none" spc="0" dirty="0" smtClean="0">
                <a:ln w="0"/>
                <a:solidFill>
                  <a:schemeClr val="accent1"/>
                </a:solidFill>
                <a:effectLst>
                  <a:outerShdw blurRad="38100" dist="25400" dir="5400000" algn="ctr" rotWithShape="0">
                    <a:srgbClr val="6E747A">
                      <a:alpha val="43000"/>
                    </a:srgbClr>
                  </a:outerShdw>
                </a:effectLst>
              </a:rPr>
              <a:t>每个状态用一个</a:t>
            </a:r>
            <a:r>
              <a:rPr lang="zh-CN" altLang="en-US" sz="5400" b="0" cap="none" spc="0" dirty="0" smtClean="0">
                <a:ln w="0"/>
                <a:solidFill>
                  <a:srgbClr val="FF0000"/>
                </a:solidFill>
                <a:effectLst>
                  <a:outerShdw blurRad="38100" dist="25400" dir="5400000" algn="ctr" rotWithShape="0">
                    <a:srgbClr val="6E747A">
                      <a:alpha val="43000"/>
                    </a:srgbClr>
                  </a:outerShdw>
                </a:effectLst>
                <a:latin typeface="华文行楷" panose="02010800040101010101" pitchFamily="2" charset="-122"/>
                <a:ea typeface="华文行楷" panose="02010800040101010101" pitchFamily="2" charset="-122"/>
              </a:rPr>
              <a:t>状态机</a:t>
            </a:r>
            <a:r>
              <a:rPr lang="zh-CN" altLang="en-US" sz="2400" b="0" cap="none" spc="0" dirty="0" smtClean="0">
                <a:ln w="0"/>
                <a:solidFill>
                  <a:schemeClr val="accent1"/>
                </a:solidFill>
                <a:effectLst>
                  <a:outerShdw blurRad="38100" dist="25400" dir="5400000" algn="ctr" rotWithShape="0">
                    <a:srgbClr val="6E747A">
                      <a:alpha val="43000"/>
                    </a:srgbClr>
                  </a:outerShdw>
                </a:effectLst>
              </a:rPr>
              <a:t>表示，通过状态机处理特定状态的请求。</a:t>
            </a:r>
            <a:endParaRPr lang="zh-CN" altLang="en-US" sz="2400" b="0" cap="none" spc="0" dirty="0">
              <a:ln w="0"/>
              <a:solidFill>
                <a:schemeClr val="accent1"/>
              </a:solidFill>
              <a:effectLst>
                <a:outerShdw blurRad="38100" dist="25400" dir="5400000" algn="ctr" rotWithShape="0">
                  <a:srgbClr val="6E747A">
                    <a:alpha val="43000"/>
                  </a:srgbClr>
                </a:outerShdw>
              </a:effectLst>
            </a:endParaRPr>
          </a:p>
        </p:txBody>
      </p:sp>
      <p:cxnSp>
        <p:nvCxnSpPr>
          <p:cNvPr id="10" name="肘形连接符 9"/>
          <p:cNvCxnSpPr>
            <a:stCxn id="3" idx="2"/>
            <a:endCxn id="5" idx="0"/>
          </p:cNvCxnSpPr>
          <p:nvPr/>
        </p:nvCxnSpPr>
        <p:spPr>
          <a:xfrm rot="5400000">
            <a:off x="4001057" y="2127807"/>
            <a:ext cx="774701" cy="2500787"/>
          </a:xfrm>
          <a:prstGeom prst="bentConnector3">
            <a:avLst/>
          </a:prstGeom>
          <a:ln w="635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93688361"/>
      </p:ext>
    </p:extLst>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3" name="标题 1"/>
          <p:cNvSpPr>
            <a:spLocks noGrp="1"/>
          </p:cNvSpPr>
          <p:nvPr>
            <p:ph type="title"/>
          </p:nvPr>
        </p:nvSpPr>
        <p:spPr>
          <a:xfrm>
            <a:off x="1137925" y="205921"/>
            <a:ext cx="10401280" cy="695186"/>
          </a:xfrm>
        </p:spPr>
        <p:txBody>
          <a:bodyPr/>
          <a:lstStyle/>
          <a:p>
            <a:r>
              <a:rPr lang="zh-CN" altLang="en-US" sz="3200" b="0" dirty="0">
                <a:latin typeface="Arial"/>
                <a:ea typeface="Microsoft YaHei"/>
                <a:cs typeface="+mn-ea"/>
                <a:sym typeface="Arial"/>
              </a:rPr>
              <a:t>备忘录</a:t>
            </a:r>
            <a:r>
              <a:rPr lang="zh-CN" altLang="en-US" sz="3200" b="0" dirty="0" smtClean="0">
                <a:latin typeface="Arial"/>
                <a:ea typeface="Microsoft YaHei"/>
                <a:cs typeface="+mn-ea"/>
                <a:sym typeface="Arial"/>
              </a:rPr>
              <a:t>模式</a:t>
            </a:r>
            <a:endParaRPr lang="zh-CN" altLang="en-US" sz="3200" b="0" dirty="0">
              <a:latin typeface="Arial"/>
              <a:ea typeface="Microsoft YaHei"/>
              <a:cs typeface="+mn-ea"/>
              <a:sym typeface="Arial"/>
            </a:endParaRPr>
          </a:p>
        </p:txBody>
      </p:sp>
      <p:grpSp>
        <p:nvGrpSpPr>
          <p:cNvPr id="64" name="组合 63">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65" name="椭圆 64">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66" name="椭圆 65">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
        <p:nvSpPr>
          <p:cNvPr id="67" name="î$ḷîḓê">
            <a:extLst>
              <a:ext uri="{FF2B5EF4-FFF2-40B4-BE49-F238E27FC236}">
                <a16:creationId xmlns:a16="http://schemas.microsoft.com/office/drawing/2014/main" id="{0120662D-08EC-45F4-BE9C-84021ADB4C9A}"/>
              </a:ext>
            </a:extLst>
          </p:cNvPr>
          <p:cNvSpPr/>
          <p:nvPr/>
        </p:nvSpPr>
        <p:spPr bwMode="gray">
          <a:xfrm>
            <a:off x="7211000" y="198392"/>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创建型模式</a:t>
            </a:r>
            <a:endParaRPr lang="en-US" altLang="zh-CN" sz="2400" dirty="0">
              <a:solidFill>
                <a:schemeClr val="bg1"/>
              </a:solidFill>
            </a:endParaRPr>
          </a:p>
        </p:txBody>
      </p:sp>
      <p:sp>
        <p:nvSpPr>
          <p:cNvPr id="68" name="î$ḷîḓê">
            <a:extLst>
              <a:ext uri="{FF2B5EF4-FFF2-40B4-BE49-F238E27FC236}">
                <a16:creationId xmlns:a16="http://schemas.microsoft.com/office/drawing/2014/main" id="{0120662D-08EC-45F4-BE9C-84021ADB4C9A}"/>
              </a:ext>
            </a:extLst>
          </p:cNvPr>
          <p:cNvSpPr/>
          <p:nvPr/>
        </p:nvSpPr>
        <p:spPr bwMode="gray">
          <a:xfrm>
            <a:off x="8749874" y="199746"/>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结构型模式</a:t>
            </a:r>
            <a:endParaRPr lang="en-US" altLang="zh-CN" sz="2400" dirty="0">
              <a:solidFill>
                <a:schemeClr val="bg1"/>
              </a:solidFill>
            </a:endParaRPr>
          </a:p>
        </p:txBody>
      </p:sp>
      <p:sp>
        <p:nvSpPr>
          <p:cNvPr id="69" name="î$ḷîḓê">
            <a:extLst>
              <a:ext uri="{FF2B5EF4-FFF2-40B4-BE49-F238E27FC236}">
                <a16:creationId xmlns:a16="http://schemas.microsoft.com/office/drawing/2014/main" id="{0120662D-08EC-45F4-BE9C-84021ADB4C9A}"/>
              </a:ext>
            </a:extLst>
          </p:cNvPr>
          <p:cNvSpPr/>
          <p:nvPr/>
        </p:nvSpPr>
        <p:spPr bwMode="gray">
          <a:xfrm>
            <a:off x="10282004" y="189695"/>
            <a:ext cx="1506790" cy="480145"/>
          </a:xfrm>
          <a:prstGeom prst="rect">
            <a:avLst/>
          </a:prstGeom>
          <a:solidFill>
            <a:schemeClr val="accent1"/>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行为型模式</a:t>
            </a:r>
            <a:endParaRPr lang="en-US" altLang="zh-CN" sz="2400" dirty="0">
              <a:solidFill>
                <a:schemeClr val="bg1"/>
              </a:solidFill>
            </a:endParaRPr>
          </a:p>
        </p:txBody>
      </p:sp>
      <p:pic>
        <p:nvPicPr>
          <p:cNvPr id="2" name="图片 1"/>
          <p:cNvPicPr>
            <a:picLocks noChangeAspect="1"/>
          </p:cNvPicPr>
          <p:nvPr/>
        </p:nvPicPr>
        <p:blipFill>
          <a:blip r:embed="rId3"/>
          <a:stretch>
            <a:fillRect/>
          </a:stretch>
        </p:blipFill>
        <p:spPr>
          <a:xfrm>
            <a:off x="4236809" y="741448"/>
            <a:ext cx="4441065" cy="5499015"/>
          </a:xfrm>
          <a:prstGeom prst="rect">
            <a:avLst/>
          </a:prstGeom>
        </p:spPr>
      </p:pic>
      <p:sp>
        <p:nvSpPr>
          <p:cNvPr id="4" name="文本框 3"/>
          <p:cNvSpPr txBox="1"/>
          <p:nvPr/>
        </p:nvSpPr>
        <p:spPr>
          <a:xfrm>
            <a:off x="8749874" y="3464179"/>
            <a:ext cx="2560305" cy="923330"/>
          </a:xfrm>
          <a:prstGeom prst="rect">
            <a:avLst/>
          </a:prstGeom>
          <a:noFill/>
        </p:spPr>
        <p:txBody>
          <a:bodyPr wrap="square" rtlCol="0">
            <a:spAutoFit/>
          </a:bodyPr>
          <a:lstStyle/>
          <a:p>
            <a:r>
              <a:rPr lang="zh-CN" altLang="en-US" dirty="0" smtClean="0"/>
              <a:t>状态用于记录内容，用于回退，内存存储方式，持久化形式。</a:t>
            </a:r>
            <a:endParaRPr lang="zh-CN" altLang="en-US" dirty="0"/>
          </a:p>
        </p:txBody>
      </p:sp>
    </p:spTree>
    <p:extLst>
      <p:ext uri="{BB962C8B-B14F-4D97-AF65-F5344CB8AC3E}">
        <p14:creationId xmlns:p14="http://schemas.microsoft.com/office/powerpoint/2010/main" val="16425553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bg>
      <p:bgPr>
        <a:solidFill>
          <a:srgbClr val="ADADAD"/>
        </a:solidFill>
        <a:effectLst/>
      </p:bgPr>
    </p:bg>
    <p:spTree>
      <p:nvGrpSpPr>
        <p:cNvPr id="1" name=""/>
        <p:cNvGrpSpPr/>
        <p:nvPr/>
      </p:nvGrpSpPr>
      <p:grpSpPr>
        <a:xfrm>
          <a:off x="0" y="0"/>
          <a:ext cx="0" cy="0"/>
          <a:chOff x="0" y="0"/>
          <a:chExt cx="0" cy="0"/>
        </a:xfrm>
      </p:grpSpPr>
      <p:sp>
        <p:nvSpPr>
          <p:cNvPr id="63" name="标题 1"/>
          <p:cNvSpPr>
            <a:spLocks noGrp="1"/>
          </p:cNvSpPr>
          <p:nvPr>
            <p:ph type="title"/>
          </p:nvPr>
        </p:nvSpPr>
        <p:spPr>
          <a:xfrm>
            <a:off x="1137925" y="205921"/>
            <a:ext cx="10401280" cy="695186"/>
          </a:xfrm>
        </p:spPr>
        <p:txBody>
          <a:bodyPr/>
          <a:lstStyle/>
          <a:p>
            <a:r>
              <a:rPr lang="zh-CN" altLang="en-US" sz="3200" b="0" dirty="0" smtClean="0">
                <a:latin typeface="Arial"/>
                <a:ea typeface="Microsoft YaHei"/>
                <a:cs typeface="+mn-ea"/>
                <a:sym typeface="Arial"/>
              </a:rPr>
              <a:t>中介者模式</a:t>
            </a:r>
            <a:endParaRPr lang="zh-CN" altLang="en-US" sz="3200" b="0" dirty="0">
              <a:latin typeface="Arial"/>
              <a:ea typeface="Microsoft YaHei"/>
              <a:cs typeface="+mn-ea"/>
              <a:sym typeface="Arial"/>
            </a:endParaRPr>
          </a:p>
        </p:txBody>
      </p:sp>
      <p:grpSp>
        <p:nvGrpSpPr>
          <p:cNvPr id="64" name="组合 63">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65" name="椭圆 64">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66" name="椭圆 65">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
        <p:nvSpPr>
          <p:cNvPr id="67" name="î$ḷîḓê">
            <a:extLst>
              <a:ext uri="{FF2B5EF4-FFF2-40B4-BE49-F238E27FC236}">
                <a16:creationId xmlns:a16="http://schemas.microsoft.com/office/drawing/2014/main" id="{0120662D-08EC-45F4-BE9C-84021ADB4C9A}"/>
              </a:ext>
            </a:extLst>
          </p:cNvPr>
          <p:cNvSpPr/>
          <p:nvPr/>
        </p:nvSpPr>
        <p:spPr bwMode="gray">
          <a:xfrm>
            <a:off x="7211000" y="198392"/>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创建型模式</a:t>
            </a:r>
            <a:endParaRPr lang="en-US" altLang="zh-CN" sz="2400" dirty="0">
              <a:solidFill>
                <a:schemeClr val="bg1"/>
              </a:solidFill>
            </a:endParaRPr>
          </a:p>
        </p:txBody>
      </p:sp>
      <p:sp>
        <p:nvSpPr>
          <p:cNvPr id="68" name="î$ḷîḓê">
            <a:extLst>
              <a:ext uri="{FF2B5EF4-FFF2-40B4-BE49-F238E27FC236}">
                <a16:creationId xmlns:a16="http://schemas.microsoft.com/office/drawing/2014/main" id="{0120662D-08EC-45F4-BE9C-84021ADB4C9A}"/>
              </a:ext>
            </a:extLst>
          </p:cNvPr>
          <p:cNvSpPr/>
          <p:nvPr/>
        </p:nvSpPr>
        <p:spPr bwMode="gray">
          <a:xfrm>
            <a:off x="8749874" y="199746"/>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结构型模式</a:t>
            </a:r>
            <a:endParaRPr lang="en-US" altLang="zh-CN" sz="2400" dirty="0">
              <a:solidFill>
                <a:schemeClr val="bg1"/>
              </a:solidFill>
            </a:endParaRPr>
          </a:p>
        </p:txBody>
      </p:sp>
      <p:sp>
        <p:nvSpPr>
          <p:cNvPr id="69" name="î$ḷîḓê">
            <a:extLst>
              <a:ext uri="{FF2B5EF4-FFF2-40B4-BE49-F238E27FC236}">
                <a16:creationId xmlns:a16="http://schemas.microsoft.com/office/drawing/2014/main" id="{0120662D-08EC-45F4-BE9C-84021ADB4C9A}"/>
              </a:ext>
            </a:extLst>
          </p:cNvPr>
          <p:cNvSpPr/>
          <p:nvPr/>
        </p:nvSpPr>
        <p:spPr bwMode="gray">
          <a:xfrm>
            <a:off x="10282004" y="189695"/>
            <a:ext cx="1506790" cy="480145"/>
          </a:xfrm>
          <a:prstGeom prst="rect">
            <a:avLst/>
          </a:prstGeom>
          <a:solidFill>
            <a:schemeClr val="accent1"/>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行为型模式</a:t>
            </a:r>
            <a:endParaRPr lang="en-US" altLang="zh-CN" sz="2400" dirty="0">
              <a:solidFill>
                <a:schemeClr val="bg1"/>
              </a:solidFill>
            </a:endParaRPr>
          </a:p>
        </p:txBody>
      </p:sp>
      <p:pic>
        <p:nvPicPr>
          <p:cNvPr id="11" name="Picture 2" descr="http://www.runoob.com/wp-content/uploads/2018/11/mediator-pattern2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46373" y="1247874"/>
            <a:ext cx="6384383" cy="4992589"/>
          </a:xfrm>
          <a:prstGeom prst="rect">
            <a:avLst/>
          </a:prstGeom>
          <a:solidFill>
            <a:schemeClr val="accent1"/>
          </a:solidFill>
          <a:extLst/>
        </p:spPr>
      </p:pic>
      <p:sp>
        <p:nvSpPr>
          <p:cNvPr id="16" name="apple-black-silhouette-with-a-leaf_46504"/>
          <p:cNvSpPr>
            <a:spLocks noChangeAspect="1"/>
          </p:cNvSpPr>
          <p:nvPr/>
        </p:nvSpPr>
        <p:spPr bwMode="auto">
          <a:xfrm>
            <a:off x="2070340" y="4940678"/>
            <a:ext cx="1076033" cy="1196597"/>
          </a:xfrm>
          <a:custGeom>
            <a:avLst/>
            <a:gdLst>
              <a:gd name="connsiteX0" fmla="*/ 294436 w 453706"/>
              <a:gd name="connsiteY0" fmla="*/ 26773 h 573504"/>
              <a:gd name="connsiteX1" fmla="*/ 334899 w 453706"/>
              <a:gd name="connsiteY1" fmla="*/ 45688 h 573504"/>
              <a:gd name="connsiteX2" fmla="*/ 336621 w 453706"/>
              <a:gd name="connsiteY2" fmla="*/ 57724 h 573504"/>
              <a:gd name="connsiteX3" fmla="*/ 285826 w 453706"/>
              <a:gd name="connsiteY3" fmla="*/ 102431 h 573504"/>
              <a:gd name="connsiteX4" fmla="*/ 239337 w 453706"/>
              <a:gd name="connsiteY4" fmla="*/ 166053 h 573504"/>
              <a:gd name="connsiteX5" fmla="*/ 453706 w 453706"/>
              <a:gd name="connsiteY5" fmla="*/ 304473 h 573504"/>
              <a:gd name="connsiteX6" fmla="*/ 226423 w 453706"/>
              <a:gd name="connsiteY6" fmla="*/ 562398 h 573504"/>
              <a:gd name="connsiteX7" fmla="*/ 0 w 453706"/>
              <a:gd name="connsiteY7" fmla="*/ 304473 h 573504"/>
              <a:gd name="connsiteX8" fmla="*/ 212648 w 453706"/>
              <a:gd name="connsiteY8" fmla="*/ 165193 h 573504"/>
              <a:gd name="connsiteX9" fmla="*/ 277217 w 453706"/>
              <a:gd name="connsiteY9" fmla="*/ 31072 h 573504"/>
              <a:gd name="connsiteX10" fmla="*/ 294436 w 453706"/>
              <a:gd name="connsiteY10" fmla="*/ 26773 h 573504"/>
              <a:gd name="connsiteX11" fmla="*/ 122756 w 453706"/>
              <a:gd name="connsiteY11" fmla="*/ 38 h 573504"/>
              <a:gd name="connsiteX12" fmla="*/ 197145 w 453706"/>
              <a:gd name="connsiteY12" fmla="*/ 30269 h 573504"/>
              <a:gd name="connsiteX13" fmla="*/ 227249 w 453706"/>
              <a:gd name="connsiteY13" fmla="*/ 113683 h 573504"/>
              <a:gd name="connsiteX14" fmla="*/ 215208 w 453706"/>
              <a:gd name="connsiteY14" fmla="*/ 125722 h 573504"/>
              <a:gd name="connsiteX15" fmla="*/ 131774 w 453706"/>
              <a:gd name="connsiteY15" fmla="*/ 95625 h 573504"/>
              <a:gd name="connsiteX16" fmla="*/ 101670 w 453706"/>
              <a:gd name="connsiteY16" fmla="*/ 13071 h 573504"/>
              <a:gd name="connsiteX17" fmla="*/ 114572 w 453706"/>
              <a:gd name="connsiteY17" fmla="*/ 172 h 573504"/>
              <a:gd name="connsiteX18" fmla="*/ 122756 w 453706"/>
              <a:gd name="connsiteY18" fmla="*/ 38 h 573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53706" h="573504">
                <a:moveTo>
                  <a:pt x="294436" y="26773"/>
                </a:moveTo>
                <a:lnTo>
                  <a:pt x="334899" y="45688"/>
                </a:lnTo>
                <a:cubicBezTo>
                  <a:pt x="340925" y="48267"/>
                  <a:pt x="341786" y="53426"/>
                  <a:pt x="336621" y="57724"/>
                </a:cubicBezTo>
                <a:cubicBezTo>
                  <a:pt x="336621" y="57724"/>
                  <a:pt x="303045" y="82657"/>
                  <a:pt x="285826" y="102431"/>
                </a:cubicBezTo>
                <a:cubicBezTo>
                  <a:pt x="266025" y="125645"/>
                  <a:pt x="249668" y="149718"/>
                  <a:pt x="239337" y="166053"/>
                </a:cubicBezTo>
                <a:cubicBezTo>
                  <a:pt x="360727" y="112748"/>
                  <a:pt x="453706" y="184108"/>
                  <a:pt x="453706" y="304473"/>
                </a:cubicBezTo>
                <a:cubicBezTo>
                  <a:pt x="453706" y="429996"/>
                  <a:pt x="364170" y="621721"/>
                  <a:pt x="226423" y="562398"/>
                </a:cubicBezTo>
                <a:cubicBezTo>
                  <a:pt x="96423" y="619142"/>
                  <a:pt x="0" y="429996"/>
                  <a:pt x="0" y="304473"/>
                </a:cubicBezTo>
                <a:cubicBezTo>
                  <a:pt x="0" y="184967"/>
                  <a:pt x="103311" y="116187"/>
                  <a:pt x="212648" y="165193"/>
                </a:cubicBezTo>
                <a:cubicBezTo>
                  <a:pt x="247085" y="74060"/>
                  <a:pt x="277217" y="31072"/>
                  <a:pt x="277217" y="31072"/>
                </a:cubicBezTo>
                <a:cubicBezTo>
                  <a:pt x="281522" y="25914"/>
                  <a:pt x="289270" y="24194"/>
                  <a:pt x="294436" y="26773"/>
                </a:cubicBezTo>
                <a:close/>
                <a:moveTo>
                  <a:pt x="122756" y="38"/>
                </a:moveTo>
                <a:cubicBezTo>
                  <a:pt x="138118" y="441"/>
                  <a:pt x="171986" y="4471"/>
                  <a:pt x="197145" y="30269"/>
                </a:cubicBezTo>
                <a:cubicBezTo>
                  <a:pt x="231550" y="64667"/>
                  <a:pt x="227249" y="113683"/>
                  <a:pt x="227249" y="113683"/>
                </a:cubicBezTo>
                <a:cubicBezTo>
                  <a:pt x="227249" y="119703"/>
                  <a:pt x="221229" y="124862"/>
                  <a:pt x="215208" y="125722"/>
                </a:cubicBezTo>
                <a:cubicBezTo>
                  <a:pt x="215208" y="125722"/>
                  <a:pt x="166180" y="130022"/>
                  <a:pt x="131774" y="95625"/>
                </a:cubicBezTo>
                <a:cubicBezTo>
                  <a:pt x="98229" y="61227"/>
                  <a:pt x="101670" y="13071"/>
                  <a:pt x="101670" y="13071"/>
                </a:cubicBezTo>
                <a:cubicBezTo>
                  <a:pt x="102530" y="6191"/>
                  <a:pt x="108551" y="1032"/>
                  <a:pt x="114572" y="172"/>
                </a:cubicBezTo>
                <a:cubicBezTo>
                  <a:pt x="114572" y="172"/>
                  <a:pt x="117636" y="-97"/>
                  <a:pt x="122756" y="38"/>
                </a:cubicBezTo>
                <a:close/>
              </a:path>
            </a:pathLst>
          </a:custGeom>
          <a:solidFill>
            <a:srgbClr val="CC3300"/>
          </a:solidFill>
          <a:ln>
            <a:noFill/>
          </a:ln>
        </p:spPr>
      </p:sp>
      <p:sp>
        <p:nvSpPr>
          <p:cNvPr id="17" name="apple-black-silhouette-with-a-leaf_46504"/>
          <p:cNvSpPr>
            <a:spLocks noChangeAspect="1"/>
          </p:cNvSpPr>
          <p:nvPr/>
        </p:nvSpPr>
        <p:spPr bwMode="auto">
          <a:xfrm>
            <a:off x="903925" y="4661758"/>
            <a:ext cx="1076033" cy="1196597"/>
          </a:xfrm>
          <a:custGeom>
            <a:avLst/>
            <a:gdLst>
              <a:gd name="connsiteX0" fmla="*/ 294436 w 453706"/>
              <a:gd name="connsiteY0" fmla="*/ 26773 h 573504"/>
              <a:gd name="connsiteX1" fmla="*/ 334899 w 453706"/>
              <a:gd name="connsiteY1" fmla="*/ 45688 h 573504"/>
              <a:gd name="connsiteX2" fmla="*/ 336621 w 453706"/>
              <a:gd name="connsiteY2" fmla="*/ 57724 h 573504"/>
              <a:gd name="connsiteX3" fmla="*/ 285826 w 453706"/>
              <a:gd name="connsiteY3" fmla="*/ 102431 h 573504"/>
              <a:gd name="connsiteX4" fmla="*/ 239337 w 453706"/>
              <a:gd name="connsiteY4" fmla="*/ 166053 h 573504"/>
              <a:gd name="connsiteX5" fmla="*/ 453706 w 453706"/>
              <a:gd name="connsiteY5" fmla="*/ 304473 h 573504"/>
              <a:gd name="connsiteX6" fmla="*/ 226423 w 453706"/>
              <a:gd name="connsiteY6" fmla="*/ 562398 h 573504"/>
              <a:gd name="connsiteX7" fmla="*/ 0 w 453706"/>
              <a:gd name="connsiteY7" fmla="*/ 304473 h 573504"/>
              <a:gd name="connsiteX8" fmla="*/ 212648 w 453706"/>
              <a:gd name="connsiteY8" fmla="*/ 165193 h 573504"/>
              <a:gd name="connsiteX9" fmla="*/ 277217 w 453706"/>
              <a:gd name="connsiteY9" fmla="*/ 31072 h 573504"/>
              <a:gd name="connsiteX10" fmla="*/ 294436 w 453706"/>
              <a:gd name="connsiteY10" fmla="*/ 26773 h 573504"/>
              <a:gd name="connsiteX11" fmla="*/ 122756 w 453706"/>
              <a:gd name="connsiteY11" fmla="*/ 38 h 573504"/>
              <a:gd name="connsiteX12" fmla="*/ 197145 w 453706"/>
              <a:gd name="connsiteY12" fmla="*/ 30269 h 573504"/>
              <a:gd name="connsiteX13" fmla="*/ 227249 w 453706"/>
              <a:gd name="connsiteY13" fmla="*/ 113683 h 573504"/>
              <a:gd name="connsiteX14" fmla="*/ 215208 w 453706"/>
              <a:gd name="connsiteY14" fmla="*/ 125722 h 573504"/>
              <a:gd name="connsiteX15" fmla="*/ 131774 w 453706"/>
              <a:gd name="connsiteY15" fmla="*/ 95625 h 573504"/>
              <a:gd name="connsiteX16" fmla="*/ 101670 w 453706"/>
              <a:gd name="connsiteY16" fmla="*/ 13071 h 573504"/>
              <a:gd name="connsiteX17" fmla="*/ 114572 w 453706"/>
              <a:gd name="connsiteY17" fmla="*/ 172 h 573504"/>
              <a:gd name="connsiteX18" fmla="*/ 122756 w 453706"/>
              <a:gd name="connsiteY18" fmla="*/ 38 h 573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53706" h="573504">
                <a:moveTo>
                  <a:pt x="294436" y="26773"/>
                </a:moveTo>
                <a:lnTo>
                  <a:pt x="334899" y="45688"/>
                </a:lnTo>
                <a:cubicBezTo>
                  <a:pt x="340925" y="48267"/>
                  <a:pt x="341786" y="53426"/>
                  <a:pt x="336621" y="57724"/>
                </a:cubicBezTo>
                <a:cubicBezTo>
                  <a:pt x="336621" y="57724"/>
                  <a:pt x="303045" y="82657"/>
                  <a:pt x="285826" y="102431"/>
                </a:cubicBezTo>
                <a:cubicBezTo>
                  <a:pt x="266025" y="125645"/>
                  <a:pt x="249668" y="149718"/>
                  <a:pt x="239337" y="166053"/>
                </a:cubicBezTo>
                <a:cubicBezTo>
                  <a:pt x="360727" y="112748"/>
                  <a:pt x="453706" y="184108"/>
                  <a:pt x="453706" y="304473"/>
                </a:cubicBezTo>
                <a:cubicBezTo>
                  <a:pt x="453706" y="429996"/>
                  <a:pt x="364170" y="621721"/>
                  <a:pt x="226423" y="562398"/>
                </a:cubicBezTo>
                <a:cubicBezTo>
                  <a:pt x="96423" y="619142"/>
                  <a:pt x="0" y="429996"/>
                  <a:pt x="0" y="304473"/>
                </a:cubicBezTo>
                <a:cubicBezTo>
                  <a:pt x="0" y="184967"/>
                  <a:pt x="103311" y="116187"/>
                  <a:pt x="212648" y="165193"/>
                </a:cubicBezTo>
                <a:cubicBezTo>
                  <a:pt x="247085" y="74060"/>
                  <a:pt x="277217" y="31072"/>
                  <a:pt x="277217" y="31072"/>
                </a:cubicBezTo>
                <a:cubicBezTo>
                  <a:pt x="281522" y="25914"/>
                  <a:pt x="289270" y="24194"/>
                  <a:pt x="294436" y="26773"/>
                </a:cubicBezTo>
                <a:close/>
                <a:moveTo>
                  <a:pt x="122756" y="38"/>
                </a:moveTo>
                <a:cubicBezTo>
                  <a:pt x="138118" y="441"/>
                  <a:pt x="171986" y="4471"/>
                  <a:pt x="197145" y="30269"/>
                </a:cubicBezTo>
                <a:cubicBezTo>
                  <a:pt x="231550" y="64667"/>
                  <a:pt x="227249" y="113683"/>
                  <a:pt x="227249" y="113683"/>
                </a:cubicBezTo>
                <a:cubicBezTo>
                  <a:pt x="227249" y="119703"/>
                  <a:pt x="221229" y="124862"/>
                  <a:pt x="215208" y="125722"/>
                </a:cubicBezTo>
                <a:cubicBezTo>
                  <a:pt x="215208" y="125722"/>
                  <a:pt x="166180" y="130022"/>
                  <a:pt x="131774" y="95625"/>
                </a:cubicBezTo>
                <a:cubicBezTo>
                  <a:pt x="98229" y="61227"/>
                  <a:pt x="101670" y="13071"/>
                  <a:pt x="101670" y="13071"/>
                </a:cubicBezTo>
                <a:cubicBezTo>
                  <a:pt x="102530" y="6191"/>
                  <a:pt x="108551" y="1032"/>
                  <a:pt x="114572" y="172"/>
                </a:cubicBezTo>
                <a:cubicBezTo>
                  <a:pt x="114572" y="172"/>
                  <a:pt x="117636" y="-97"/>
                  <a:pt x="122756" y="38"/>
                </a:cubicBezTo>
                <a:close/>
              </a:path>
            </a:pathLst>
          </a:custGeom>
          <a:solidFill>
            <a:srgbClr val="CC3300"/>
          </a:solidFill>
          <a:ln>
            <a:noFill/>
          </a:ln>
        </p:spPr>
      </p:sp>
      <p:sp>
        <p:nvSpPr>
          <p:cNvPr id="18" name="pear_272166"/>
          <p:cNvSpPr>
            <a:spLocks noChangeAspect="1"/>
          </p:cNvSpPr>
          <p:nvPr/>
        </p:nvSpPr>
        <p:spPr bwMode="auto">
          <a:xfrm>
            <a:off x="9739577" y="4700322"/>
            <a:ext cx="715638" cy="1169419"/>
          </a:xfrm>
          <a:custGeom>
            <a:avLst/>
            <a:gdLst>
              <a:gd name="connsiteX0" fmla="*/ 94658 w 371277"/>
              <a:gd name="connsiteY0" fmla="*/ 8346 h 606700"/>
              <a:gd name="connsiteX1" fmla="*/ 185256 w 371277"/>
              <a:gd name="connsiteY1" fmla="*/ 45844 h 606700"/>
              <a:gd name="connsiteX2" fmla="*/ 113436 w 371277"/>
              <a:gd name="connsiteY2" fmla="*/ 112397 h 606700"/>
              <a:gd name="connsiteX3" fmla="*/ 5572 w 371277"/>
              <a:gd name="connsiteY3" fmla="*/ 86007 h 606700"/>
              <a:gd name="connsiteX4" fmla="*/ 143 w 371277"/>
              <a:gd name="connsiteY4" fmla="*/ 78987 h 606700"/>
              <a:gd name="connsiteX5" fmla="*/ 2724 w 371277"/>
              <a:gd name="connsiteY5" fmla="*/ 70546 h 606700"/>
              <a:gd name="connsiteX6" fmla="*/ 94658 w 371277"/>
              <a:gd name="connsiteY6" fmla="*/ 8346 h 606700"/>
              <a:gd name="connsiteX7" fmla="*/ 265439 w 371277"/>
              <a:gd name="connsiteY7" fmla="*/ 639 h 606700"/>
              <a:gd name="connsiteX8" fmla="*/ 272382 w 371277"/>
              <a:gd name="connsiteY8" fmla="*/ 7482 h 606700"/>
              <a:gd name="connsiteX9" fmla="*/ 284221 w 371277"/>
              <a:gd name="connsiteY9" fmla="*/ 39118 h 606700"/>
              <a:gd name="connsiteX10" fmla="*/ 278969 w 371277"/>
              <a:gd name="connsiteY10" fmla="*/ 53070 h 606700"/>
              <a:gd name="connsiteX11" fmla="*/ 222000 w 371277"/>
              <a:gd name="connsiteY11" fmla="*/ 112876 h 606700"/>
              <a:gd name="connsiteX12" fmla="*/ 288939 w 371277"/>
              <a:gd name="connsiteY12" fmla="*/ 203252 h 606700"/>
              <a:gd name="connsiteX13" fmla="*/ 330330 w 371277"/>
              <a:gd name="connsiteY13" fmla="*/ 317000 h 606700"/>
              <a:gd name="connsiteX14" fmla="*/ 371277 w 371277"/>
              <a:gd name="connsiteY14" fmla="*/ 430036 h 606700"/>
              <a:gd name="connsiteX15" fmla="*/ 194405 w 371277"/>
              <a:gd name="connsiteY15" fmla="*/ 606700 h 606700"/>
              <a:gd name="connsiteX16" fmla="*/ 17533 w 371277"/>
              <a:gd name="connsiteY16" fmla="*/ 430036 h 606700"/>
              <a:gd name="connsiteX17" fmla="*/ 58480 w 371277"/>
              <a:gd name="connsiteY17" fmla="*/ 317000 h 606700"/>
              <a:gd name="connsiteX18" fmla="*/ 99782 w 371277"/>
              <a:gd name="connsiteY18" fmla="*/ 203252 h 606700"/>
              <a:gd name="connsiteX19" fmla="*/ 190666 w 371277"/>
              <a:gd name="connsiteY19" fmla="*/ 108877 h 606700"/>
              <a:gd name="connsiteX20" fmla="*/ 255736 w 371277"/>
              <a:gd name="connsiteY20" fmla="*/ 1706 h 606700"/>
              <a:gd name="connsiteX21" fmla="*/ 265439 w 371277"/>
              <a:gd name="connsiteY21" fmla="*/ 639 h 60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71277" h="606700">
                <a:moveTo>
                  <a:pt x="94658" y="8346"/>
                </a:moveTo>
                <a:cubicBezTo>
                  <a:pt x="139601" y="260"/>
                  <a:pt x="180094" y="17054"/>
                  <a:pt x="185256" y="45844"/>
                </a:cubicBezTo>
                <a:cubicBezTo>
                  <a:pt x="190418" y="74544"/>
                  <a:pt x="158290" y="104400"/>
                  <a:pt x="113436" y="112397"/>
                </a:cubicBezTo>
                <a:cubicBezTo>
                  <a:pt x="79528" y="118528"/>
                  <a:pt x="28444" y="96936"/>
                  <a:pt x="5572" y="86007"/>
                </a:cubicBezTo>
                <a:cubicBezTo>
                  <a:pt x="2724" y="84674"/>
                  <a:pt x="677" y="82097"/>
                  <a:pt x="143" y="78987"/>
                </a:cubicBezTo>
                <a:cubicBezTo>
                  <a:pt x="-391" y="75966"/>
                  <a:pt x="588" y="72767"/>
                  <a:pt x="2724" y="70546"/>
                </a:cubicBezTo>
                <a:cubicBezTo>
                  <a:pt x="20434" y="52419"/>
                  <a:pt x="60750" y="14388"/>
                  <a:pt x="94658" y="8346"/>
                </a:cubicBezTo>
                <a:close/>
                <a:moveTo>
                  <a:pt x="265439" y="639"/>
                </a:moveTo>
                <a:cubicBezTo>
                  <a:pt x="268643" y="1706"/>
                  <a:pt x="271225" y="4283"/>
                  <a:pt x="272382" y="7482"/>
                </a:cubicBezTo>
                <a:lnTo>
                  <a:pt x="284221" y="39118"/>
                </a:lnTo>
                <a:cubicBezTo>
                  <a:pt x="286179" y="44450"/>
                  <a:pt x="283954" y="50404"/>
                  <a:pt x="278969" y="53070"/>
                </a:cubicBezTo>
                <a:cubicBezTo>
                  <a:pt x="250662" y="68621"/>
                  <a:pt x="231346" y="96614"/>
                  <a:pt x="222000" y="112876"/>
                </a:cubicBezTo>
                <a:cubicBezTo>
                  <a:pt x="260810" y="124695"/>
                  <a:pt x="288939" y="160686"/>
                  <a:pt x="288939" y="203252"/>
                </a:cubicBezTo>
                <a:cubicBezTo>
                  <a:pt x="288939" y="244841"/>
                  <a:pt x="303626" y="285097"/>
                  <a:pt x="330330" y="317000"/>
                </a:cubicBezTo>
                <a:cubicBezTo>
                  <a:pt x="355877" y="347658"/>
                  <a:pt x="371277" y="387114"/>
                  <a:pt x="371277" y="430036"/>
                </a:cubicBezTo>
                <a:cubicBezTo>
                  <a:pt x="371277" y="527610"/>
                  <a:pt x="292054" y="606700"/>
                  <a:pt x="194405" y="606700"/>
                </a:cubicBezTo>
                <a:cubicBezTo>
                  <a:pt x="96667" y="606700"/>
                  <a:pt x="17533" y="527610"/>
                  <a:pt x="17533" y="430036"/>
                </a:cubicBezTo>
                <a:cubicBezTo>
                  <a:pt x="17533" y="387114"/>
                  <a:pt x="32844" y="347658"/>
                  <a:pt x="58480" y="317000"/>
                </a:cubicBezTo>
                <a:cubicBezTo>
                  <a:pt x="85184" y="285008"/>
                  <a:pt x="99782" y="244930"/>
                  <a:pt x="99782" y="203252"/>
                </a:cubicBezTo>
                <a:cubicBezTo>
                  <a:pt x="99782" y="152332"/>
                  <a:pt x="140106" y="110832"/>
                  <a:pt x="190666" y="108877"/>
                </a:cubicBezTo>
                <a:cubicBezTo>
                  <a:pt x="196808" y="45961"/>
                  <a:pt x="235530" y="14147"/>
                  <a:pt x="255736" y="1706"/>
                </a:cubicBezTo>
                <a:cubicBezTo>
                  <a:pt x="258585" y="-72"/>
                  <a:pt x="262145" y="-516"/>
                  <a:pt x="265439" y="639"/>
                </a:cubicBezTo>
                <a:close/>
              </a:path>
            </a:pathLst>
          </a:custGeom>
          <a:solidFill>
            <a:srgbClr val="FFFF00"/>
          </a:solidFill>
          <a:ln>
            <a:noFill/>
          </a:ln>
        </p:spPr>
      </p:sp>
      <p:sp>
        <p:nvSpPr>
          <p:cNvPr id="19" name="pear_272166"/>
          <p:cNvSpPr>
            <a:spLocks noChangeAspect="1"/>
          </p:cNvSpPr>
          <p:nvPr/>
        </p:nvSpPr>
        <p:spPr bwMode="auto">
          <a:xfrm>
            <a:off x="10664036" y="4125866"/>
            <a:ext cx="856452" cy="1399522"/>
          </a:xfrm>
          <a:custGeom>
            <a:avLst/>
            <a:gdLst>
              <a:gd name="connsiteX0" fmla="*/ 94658 w 371277"/>
              <a:gd name="connsiteY0" fmla="*/ 8346 h 606700"/>
              <a:gd name="connsiteX1" fmla="*/ 185256 w 371277"/>
              <a:gd name="connsiteY1" fmla="*/ 45844 h 606700"/>
              <a:gd name="connsiteX2" fmla="*/ 113436 w 371277"/>
              <a:gd name="connsiteY2" fmla="*/ 112397 h 606700"/>
              <a:gd name="connsiteX3" fmla="*/ 5572 w 371277"/>
              <a:gd name="connsiteY3" fmla="*/ 86007 h 606700"/>
              <a:gd name="connsiteX4" fmla="*/ 143 w 371277"/>
              <a:gd name="connsiteY4" fmla="*/ 78987 h 606700"/>
              <a:gd name="connsiteX5" fmla="*/ 2724 w 371277"/>
              <a:gd name="connsiteY5" fmla="*/ 70546 h 606700"/>
              <a:gd name="connsiteX6" fmla="*/ 94658 w 371277"/>
              <a:gd name="connsiteY6" fmla="*/ 8346 h 606700"/>
              <a:gd name="connsiteX7" fmla="*/ 265439 w 371277"/>
              <a:gd name="connsiteY7" fmla="*/ 639 h 606700"/>
              <a:gd name="connsiteX8" fmla="*/ 272382 w 371277"/>
              <a:gd name="connsiteY8" fmla="*/ 7482 h 606700"/>
              <a:gd name="connsiteX9" fmla="*/ 284221 w 371277"/>
              <a:gd name="connsiteY9" fmla="*/ 39118 h 606700"/>
              <a:gd name="connsiteX10" fmla="*/ 278969 w 371277"/>
              <a:gd name="connsiteY10" fmla="*/ 53070 h 606700"/>
              <a:gd name="connsiteX11" fmla="*/ 222000 w 371277"/>
              <a:gd name="connsiteY11" fmla="*/ 112876 h 606700"/>
              <a:gd name="connsiteX12" fmla="*/ 288939 w 371277"/>
              <a:gd name="connsiteY12" fmla="*/ 203252 h 606700"/>
              <a:gd name="connsiteX13" fmla="*/ 330330 w 371277"/>
              <a:gd name="connsiteY13" fmla="*/ 317000 h 606700"/>
              <a:gd name="connsiteX14" fmla="*/ 371277 w 371277"/>
              <a:gd name="connsiteY14" fmla="*/ 430036 h 606700"/>
              <a:gd name="connsiteX15" fmla="*/ 194405 w 371277"/>
              <a:gd name="connsiteY15" fmla="*/ 606700 h 606700"/>
              <a:gd name="connsiteX16" fmla="*/ 17533 w 371277"/>
              <a:gd name="connsiteY16" fmla="*/ 430036 h 606700"/>
              <a:gd name="connsiteX17" fmla="*/ 58480 w 371277"/>
              <a:gd name="connsiteY17" fmla="*/ 317000 h 606700"/>
              <a:gd name="connsiteX18" fmla="*/ 99782 w 371277"/>
              <a:gd name="connsiteY18" fmla="*/ 203252 h 606700"/>
              <a:gd name="connsiteX19" fmla="*/ 190666 w 371277"/>
              <a:gd name="connsiteY19" fmla="*/ 108877 h 606700"/>
              <a:gd name="connsiteX20" fmla="*/ 255736 w 371277"/>
              <a:gd name="connsiteY20" fmla="*/ 1706 h 606700"/>
              <a:gd name="connsiteX21" fmla="*/ 265439 w 371277"/>
              <a:gd name="connsiteY21" fmla="*/ 639 h 60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71277" h="606700">
                <a:moveTo>
                  <a:pt x="94658" y="8346"/>
                </a:moveTo>
                <a:cubicBezTo>
                  <a:pt x="139601" y="260"/>
                  <a:pt x="180094" y="17054"/>
                  <a:pt x="185256" y="45844"/>
                </a:cubicBezTo>
                <a:cubicBezTo>
                  <a:pt x="190418" y="74544"/>
                  <a:pt x="158290" y="104400"/>
                  <a:pt x="113436" y="112397"/>
                </a:cubicBezTo>
                <a:cubicBezTo>
                  <a:pt x="79528" y="118528"/>
                  <a:pt x="28444" y="96936"/>
                  <a:pt x="5572" y="86007"/>
                </a:cubicBezTo>
                <a:cubicBezTo>
                  <a:pt x="2724" y="84674"/>
                  <a:pt x="677" y="82097"/>
                  <a:pt x="143" y="78987"/>
                </a:cubicBezTo>
                <a:cubicBezTo>
                  <a:pt x="-391" y="75966"/>
                  <a:pt x="588" y="72767"/>
                  <a:pt x="2724" y="70546"/>
                </a:cubicBezTo>
                <a:cubicBezTo>
                  <a:pt x="20434" y="52419"/>
                  <a:pt x="60750" y="14388"/>
                  <a:pt x="94658" y="8346"/>
                </a:cubicBezTo>
                <a:close/>
                <a:moveTo>
                  <a:pt x="265439" y="639"/>
                </a:moveTo>
                <a:cubicBezTo>
                  <a:pt x="268643" y="1706"/>
                  <a:pt x="271225" y="4283"/>
                  <a:pt x="272382" y="7482"/>
                </a:cubicBezTo>
                <a:lnTo>
                  <a:pt x="284221" y="39118"/>
                </a:lnTo>
                <a:cubicBezTo>
                  <a:pt x="286179" y="44450"/>
                  <a:pt x="283954" y="50404"/>
                  <a:pt x="278969" y="53070"/>
                </a:cubicBezTo>
                <a:cubicBezTo>
                  <a:pt x="250662" y="68621"/>
                  <a:pt x="231346" y="96614"/>
                  <a:pt x="222000" y="112876"/>
                </a:cubicBezTo>
                <a:cubicBezTo>
                  <a:pt x="260810" y="124695"/>
                  <a:pt x="288939" y="160686"/>
                  <a:pt x="288939" y="203252"/>
                </a:cubicBezTo>
                <a:cubicBezTo>
                  <a:pt x="288939" y="244841"/>
                  <a:pt x="303626" y="285097"/>
                  <a:pt x="330330" y="317000"/>
                </a:cubicBezTo>
                <a:cubicBezTo>
                  <a:pt x="355877" y="347658"/>
                  <a:pt x="371277" y="387114"/>
                  <a:pt x="371277" y="430036"/>
                </a:cubicBezTo>
                <a:cubicBezTo>
                  <a:pt x="371277" y="527610"/>
                  <a:pt x="292054" y="606700"/>
                  <a:pt x="194405" y="606700"/>
                </a:cubicBezTo>
                <a:cubicBezTo>
                  <a:pt x="96667" y="606700"/>
                  <a:pt x="17533" y="527610"/>
                  <a:pt x="17533" y="430036"/>
                </a:cubicBezTo>
                <a:cubicBezTo>
                  <a:pt x="17533" y="387114"/>
                  <a:pt x="32844" y="347658"/>
                  <a:pt x="58480" y="317000"/>
                </a:cubicBezTo>
                <a:cubicBezTo>
                  <a:pt x="85184" y="285008"/>
                  <a:pt x="99782" y="244930"/>
                  <a:pt x="99782" y="203252"/>
                </a:cubicBezTo>
                <a:cubicBezTo>
                  <a:pt x="99782" y="152332"/>
                  <a:pt x="140106" y="110832"/>
                  <a:pt x="190666" y="108877"/>
                </a:cubicBezTo>
                <a:cubicBezTo>
                  <a:pt x="196808" y="45961"/>
                  <a:pt x="235530" y="14147"/>
                  <a:pt x="255736" y="1706"/>
                </a:cubicBezTo>
                <a:cubicBezTo>
                  <a:pt x="258585" y="-72"/>
                  <a:pt x="262145" y="-516"/>
                  <a:pt x="265439" y="639"/>
                </a:cubicBezTo>
                <a:close/>
              </a:path>
            </a:pathLst>
          </a:custGeom>
          <a:solidFill>
            <a:srgbClr val="FFFF00"/>
          </a:solidFill>
          <a:ln>
            <a:noFill/>
          </a:ln>
        </p:spPr>
      </p:sp>
    </p:spTree>
    <p:extLst>
      <p:ext uri="{BB962C8B-B14F-4D97-AF65-F5344CB8AC3E}">
        <p14:creationId xmlns:p14="http://schemas.microsoft.com/office/powerpoint/2010/main" val="4069730513"/>
      </p:ext>
    </p:extLst>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bg>
      <p:bgPr>
        <a:solidFill>
          <a:srgbClr val="ADADAD"/>
        </a:solidFill>
        <a:effectLst/>
      </p:bgPr>
    </p:bg>
    <p:spTree>
      <p:nvGrpSpPr>
        <p:cNvPr id="1" name=""/>
        <p:cNvGrpSpPr/>
        <p:nvPr/>
      </p:nvGrpSpPr>
      <p:grpSpPr>
        <a:xfrm>
          <a:off x="0" y="0"/>
          <a:ext cx="0" cy="0"/>
          <a:chOff x="0" y="0"/>
          <a:chExt cx="0" cy="0"/>
        </a:xfrm>
      </p:grpSpPr>
      <p:sp>
        <p:nvSpPr>
          <p:cNvPr id="63" name="标题 1"/>
          <p:cNvSpPr>
            <a:spLocks noGrp="1"/>
          </p:cNvSpPr>
          <p:nvPr>
            <p:ph type="title"/>
          </p:nvPr>
        </p:nvSpPr>
        <p:spPr>
          <a:xfrm>
            <a:off x="1137925" y="205921"/>
            <a:ext cx="10401280" cy="695186"/>
          </a:xfrm>
        </p:spPr>
        <p:txBody>
          <a:bodyPr/>
          <a:lstStyle/>
          <a:p>
            <a:r>
              <a:rPr lang="zh-CN" altLang="en-US" sz="3200" b="0" dirty="0" smtClean="0">
                <a:latin typeface="Arial"/>
                <a:ea typeface="Microsoft YaHei"/>
                <a:cs typeface="+mn-ea"/>
                <a:sym typeface="Arial"/>
              </a:rPr>
              <a:t>中介者模式</a:t>
            </a:r>
            <a:endParaRPr lang="zh-CN" altLang="en-US" sz="3200" b="0" dirty="0">
              <a:latin typeface="Arial"/>
              <a:ea typeface="Microsoft YaHei"/>
              <a:cs typeface="+mn-ea"/>
              <a:sym typeface="Arial"/>
            </a:endParaRPr>
          </a:p>
        </p:txBody>
      </p:sp>
      <p:grpSp>
        <p:nvGrpSpPr>
          <p:cNvPr id="64" name="组合 63">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65" name="椭圆 64">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66" name="椭圆 65">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
        <p:nvSpPr>
          <p:cNvPr id="67" name="î$ḷîḓê">
            <a:extLst>
              <a:ext uri="{FF2B5EF4-FFF2-40B4-BE49-F238E27FC236}">
                <a16:creationId xmlns:a16="http://schemas.microsoft.com/office/drawing/2014/main" id="{0120662D-08EC-45F4-BE9C-84021ADB4C9A}"/>
              </a:ext>
            </a:extLst>
          </p:cNvPr>
          <p:cNvSpPr/>
          <p:nvPr/>
        </p:nvSpPr>
        <p:spPr bwMode="gray">
          <a:xfrm>
            <a:off x="7211000" y="198392"/>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创建型模式</a:t>
            </a:r>
            <a:endParaRPr lang="en-US" altLang="zh-CN" sz="2400" dirty="0">
              <a:solidFill>
                <a:schemeClr val="bg1"/>
              </a:solidFill>
            </a:endParaRPr>
          </a:p>
        </p:txBody>
      </p:sp>
      <p:sp>
        <p:nvSpPr>
          <p:cNvPr id="68" name="î$ḷîḓê">
            <a:extLst>
              <a:ext uri="{FF2B5EF4-FFF2-40B4-BE49-F238E27FC236}">
                <a16:creationId xmlns:a16="http://schemas.microsoft.com/office/drawing/2014/main" id="{0120662D-08EC-45F4-BE9C-84021ADB4C9A}"/>
              </a:ext>
            </a:extLst>
          </p:cNvPr>
          <p:cNvSpPr/>
          <p:nvPr/>
        </p:nvSpPr>
        <p:spPr bwMode="gray">
          <a:xfrm>
            <a:off x="8749874" y="199746"/>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结构型模式</a:t>
            </a:r>
            <a:endParaRPr lang="en-US" altLang="zh-CN" sz="2400" dirty="0">
              <a:solidFill>
                <a:schemeClr val="bg1"/>
              </a:solidFill>
            </a:endParaRPr>
          </a:p>
        </p:txBody>
      </p:sp>
      <p:sp>
        <p:nvSpPr>
          <p:cNvPr id="69" name="î$ḷîḓê">
            <a:extLst>
              <a:ext uri="{FF2B5EF4-FFF2-40B4-BE49-F238E27FC236}">
                <a16:creationId xmlns:a16="http://schemas.microsoft.com/office/drawing/2014/main" id="{0120662D-08EC-45F4-BE9C-84021ADB4C9A}"/>
              </a:ext>
            </a:extLst>
          </p:cNvPr>
          <p:cNvSpPr/>
          <p:nvPr/>
        </p:nvSpPr>
        <p:spPr bwMode="gray">
          <a:xfrm>
            <a:off x="10282004" y="189695"/>
            <a:ext cx="1506790" cy="480145"/>
          </a:xfrm>
          <a:prstGeom prst="rect">
            <a:avLst/>
          </a:prstGeom>
          <a:solidFill>
            <a:schemeClr val="accent1"/>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行为型模式</a:t>
            </a:r>
            <a:endParaRPr lang="en-US" altLang="zh-CN" sz="2400" dirty="0">
              <a:solidFill>
                <a:schemeClr val="bg1"/>
              </a:solidFill>
            </a:endParaRPr>
          </a:p>
        </p:txBody>
      </p:sp>
      <p:pic>
        <p:nvPicPr>
          <p:cNvPr id="16386" name="Picture 2" descr="../_images/Mediator.jpg"/>
          <p:cNvPicPr>
            <a:picLocks noChangeAspect="1" noChangeArrowheads="1"/>
          </p:cNvPicPr>
          <p:nvPr/>
        </p:nvPicPr>
        <p:blipFill rotWithShape="1">
          <a:blip r:embed="rId3">
            <a:extLst>
              <a:ext uri="{28A0092B-C50C-407E-A947-70E740481C1C}">
                <a14:useLocalDpi xmlns:a14="http://schemas.microsoft.com/office/drawing/2010/main" val="0"/>
              </a:ext>
            </a:extLst>
          </a:blip>
          <a:srcRect l="584" t="1700" r="814" b="1445"/>
          <a:stretch/>
        </p:blipFill>
        <p:spPr bwMode="auto">
          <a:xfrm>
            <a:off x="548640" y="1257299"/>
            <a:ext cx="11148060" cy="4808221"/>
          </a:xfrm>
          <a:prstGeom prst="rect">
            <a:avLst/>
          </a:prstGeom>
          <a:noFill/>
          <a:extLst>
            <a:ext uri="{909E8E84-426E-40DD-AFC4-6F175D3DCCD1}">
              <a14:hiddenFill xmlns:a14="http://schemas.microsoft.com/office/drawing/2010/main">
                <a:solidFill>
                  <a:srgbClr val="FFFFFF"/>
                </a:solidFill>
              </a14:hiddenFill>
            </a:ext>
          </a:extLst>
        </p:spPr>
      </p:pic>
      <p:sp>
        <p:nvSpPr>
          <p:cNvPr id="2" name="圆角矩形 1"/>
          <p:cNvSpPr/>
          <p:nvPr/>
        </p:nvSpPr>
        <p:spPr>
          <a:xfrm>
            <a:off x="4571999" y="3916392"/>
            <a:ext cx="3450567" cy="1708032"/>
          </a:xfrm>
          <a:prstGeom prst="roundRect">
            <a:avLst/>
          </a:prstGeom>
          <a:noFill/>
          <a:ln w="6350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圆角矩形 10"/>
          <p:cNvSpPr/>
          <p:nvPr/>
        </p:nvSpPr>
        <p:spPr>
          <a:xfrm>
            <a:off x="8338227" y="3916392"/>
            <a:ext cx="3450567" cy="1708032"/>
          </a:xfrm>
          <a:prstGeom prst="roundRect">
            <a:avLst/>
          </a:prstGeom>
          <a:noFill/>
          <a:ln w="6350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文本框 2"/>
          <p:cNvSpPr txBox="1"/>
          <p:nvPr/>
        </p:nvSpPr>
        <p:spPr>
          <a:xfrm>
            <a:off x="6926884" y="6058044"/>
            <a:ext cx="3581812" cy="646331"/>
          </a:xfrm>
          <a:prstGeom prst="rect">
            <a:avLst/>
          </a:prstGeom>
          <a:noFill/>
        </p:spPr>
        <p:txBody>
          <a:bodyPr wrap="square" rtlCol="0">
            <a:spAutoFit/>
          </a:bodyPr>
          <a:lstStyle/>
          <a:p>
            <a:r>
              <a:rPr lang="zh-CN" altLang="en-US" dirty="0" smtClean="0">
                <a:solidFill>
                  <a:srgbClr val="CC3300"/>
                </a:solidFill>
              </a:rPr>
              <a:t>参与者之间无关系，必须要通过第三方中介者进行协调。</a:t>
            </a:r>
            <a:endParaRPr lang="zh-CN" altLang="en-US" dirty="0">
              <a:solidFill>
                <a:srgbClr val="CC3300"/>
              </a:solidFill>
            </a:endParaRPr>
          </a:p>
        </p:txBody>
      </p:sp>
    </p:spTree>
    <p:extLst>
      <p:ext uri="{BB962C8B-B14F-4D97-AF65-F5344CB8AC3E}">
        <p14:creationId xmlns:p14="http://schemas.microsoft.com/office/powerpoint/2010/main" val="3057374732"/>
      </p:ext>
    </p:extLst>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标题 1"/>
          <p:cNvSpPr>
            <a:spLocks noGrp="1"/>
          </p:cNvSpPr>
          <p:nvPr>
            <p:ph type="title"/>
          </p:nvPr>
        </p:nvSpPr>
        <p:spPr>
          <a:xfrm>
            <a:off x="1137925" y="205921"/>
            <a:ext cx="10401280" cy="695186"/>
          </a:xfrm>
        </p:spPr>
        <p:txBody>
          <a:bodyPr/>
          <a:lstStyle/>
          <a:p>
            <a:r>
              <a:rPr lang="zh-CN" altLang="en-US" sz="3200" b="0" dirty="0" smtClean="0">
                <a:latin typeface="Arial"/>
                <a:ea typeface="Microsoft YaHei"/>
                <a:cs typeface="+mn-ea"/>
                <a:sym typeface="Arial"/>
              </a:rPr>
              <a:t>中介者模式</a:t>
            </a:r>
            <a:endParaRPr lang="zh-CN" altLang="en-US" sz="3200" b="0" dirty="0">
              <a:latin typeface="Arial"/>
              <a:ea typeface="Microsoft YaHei"/>
              <a:cs typeface="+mn-ea"/>
              <a:sym typeface="Arial"/>
            </a:endParaRPr>
          </a:p>
        </p:txBody>
      </p:sp>
      <p:grpSp>
        <p:nvGrpSpPr>
          <p:cNvPr id="64" name="组合 63">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65" name="椭圆 64">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66" name="椭圆 65">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
        <p:nvSpPr>
          <p:cNvPr id="67" name="î$ḷîḓê">
            <a:extLst>
              <a:ext uri="{FF2B5EF4-FFF2-40B4-BE49-F238E27FC236}">
                <a16:creationId xmlns:a16="http://schemas.microsoft.com/office/drawing/2014/main" id="{0120662D-08EC-45F4-BE9C-84021ADB4C9A}"/>
              </a:ext>
            </a:extLst>
          </p:cNvPr>
          <p:cNvSpPr/>
          <p:nvPr/>
        </p:nvSpPr>
        <p:spPr bwMode="gray">
          <a:xfrm>
            <a:off x="7211000" y="198392"/>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创建型模式</a:t>
            </a:r>
            <a:endParaRPr lang="en-US" altLang="zh-CN" sz="2400" dirty="0">
              <a:solidFill>
                <a:schemeClr val="bg1"/>
              </a:solidFill>
            </a:endParaRPr>
          </a:p>
        </p:txBody>
      </p:sp>
      <p:sp>
        <p:nvSpPr>
          <p:cNvPr id="68" name="î$ḷîḓê">
            <a:extLst>
              <a:ext uri="{FF2B5EF4-FFF2-40B4-BE49-F238E27FC236}">
                <a16:creationId xmlns:a16="http://schemas.microsoft.com/office/drawing/2014/main" id="{0120662D-08EC-45F4-BE9C-84021ADB4C9A}"/>
              </a:ext>
            </a:extLst>
          </p:cNvPr>
          <p:cNvSpPr/>
          <p:nvPr/>
        </p:nvSpPr>
        <p:spPr bwMode="gray">
          <a:xfrm>
            <a:off x="8749874" y="199746"/>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结构型模式</a:t>
            </a:r>
            <a:endParaRPr lang="en-US" altLang="zh-CN" sz="2400" dirty="0">
              <a:solidFill>
                <a:schemeClr val="bg1"/>
              </a:solidFill>
            </a:endParaRPr>
          </a:p>
        </p:txBody>
      </p:sp>
      <p:sp>
        <p:nvSpPr>
          <p:cNvPr id="69" name="î$ḷîḓê">
            <a:extLst>
              <a:ext uri="{FF2B5EF4-FFF2-40B4-BE49-F238E27FC236}">
                <a16:creationId xmlns:a16="http://schemas.microsoft.com/office/drawing/2014/main" id="{0120662D-08EC-45F4-BE9C-84021ADB4C9A}"/>
              </a:ext>
            </a:extLst>
          </p:cNvPr>
          <p:cNvSpPr/>
          <p:nvPr/>
        </p:nvSpPr>
        <p:spPr bwMode="gray">
          <a:xfrm>
            <a:off x="10282004" y="189695"/>
            <a:ext cx="1506790" cy="480145"/>
          </a:xfrm>
          <a:prstGeom prst="rect">
            <a:avLst/>
          </a:prstGeom>
          <a:solidFill>
            <a:schemeClr val="accent1"/>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行为型模式</a:t>
            </a:r>
            <a:endParaRPr lang="en-US" altLang="zh-CN" sz="2400" dirty="0">
              <a:solidFill>
                <a:schemeClr val="bg1"/>
              </a:solidFill>
            </a:endParaRPr>
          </a:p>
        </p:txBody>
      </p:sp>
      <p:pic>
        <p:nvPicPr>
          <p:cNvPr id="9218" name="Picture 2" descr="http://www.runoob.com/wp-content/uploads/2018/11/mediator-pattern2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08604" y="1432151"/>
            <a:ext cx="8296275" cy="34004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3675199"/>
      </p:ext>
    </p:extLst>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bg>
      <p:bgPr>
        <a:solidFill>
          <a:srgbClr val="ADADAD"/>
        </a:solidFill>
        <a:effectLst/>
      </p:bgPr>
    </p:bg>
    <p:spTree>
      <p:nvGrpSpPr>
        <p:cNvPr id="1" name=""/>
        <p:cNvGrpSpPr/>
        <p:nvPr/>
      </p:nvGrpSpPr>
      <p:grpSpPr>
        <a:xfrm>
          <a:off x="0" y="0"/>
          <a:ext cx="0" cy="0"/>
          <a:chOff x="0" y="0"/>
          <a:chExt cx="0" cy="0"/>
        </a:xfrm>
      </p:grpSpPr>
      <p:sp>
        <p:nvSpPr>
          <p:cNvPr id="63" name="标题 1"/>
          <p:cNvSpPr>
            <a:spLocks noGrp="1"/>
          </p:cNvSpPr>
          <p:nvPr>
            <p:ph type="title"/>
          </p:nvPr>
        </p:nvSpPr>
        <p:spPr>
          <a:xfrm>
            <a:off x="1137925" y="205921"/>
            <a:ext cx="10401280" cy="695186"/>
          </a:xfrm>
        </p:spPr>
        <p:txBody>
          <a:bodyPr/>
          <a:lstStyle/>
          <a:p>
            <a:r>
              <a:rPr lang="zh-CN" altLang="en-US" sz="3200" b="0" dirty="0" smtClean="0">
                <a:latin typeface="Arial"/>
                <a:ea typeface="Microsoft YaHei"/>
                <a:cs typeface="+mn-ea"/>
                <a:sym typeface="Arial"/>
              </a:rPr>
              <a:t>访问者模式</a:t>
            </a:r>
            <a:endParaRPr lang="zh-CN" altLang="en-US" sz="3200" b="0" dirty="0">
              <a:latin typeface="Arial"/>
              <a:ea typeface="Microsoft YaHei"/>
              <a:cs typeface="+mn-ea"/>
              <a:sym typeface="Arial"/>
            </a:endParaRPr>
          </a:p>
        </p:txBody>
      </p:sp>
      <p:grpSp>
        <p:nvGrpSpPr>
          <p:cNvPr id="64" name="组合 63">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65" name="椭圆 64">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66" name="椭圆 65">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
        <p:nvSpPr>
          <p:cNvPr id="67" name="î$ḷîḓê">
            <a:extLst>
              <a:ext uri="{FF2B5EF4-FFF2-40B4-BE49-F238E27FC236}">
                <a16:creationId xmlns:a16="http://schemas.microsoft.com/office/drawing/2014/main" id="{0120662D-08EC-45F4-BE9C-84021ADB4C9A}"/>
              </a:ext>
            </a:extLst>
          </p:cNvPr>
          <p:cNvSpPr/>
          <p:nvPr/>
        </p:nvSpPr>
        <p:spPr bwMode="gray">
          <a:xfrm>
            <a:off x="7211000" y="198392"/>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创建型模式</a:t>
            </a:r>
            <a:endParaRPr lang="en-US" altLang="zh-CN" sz="2400" dirty="0">
              <a:solidFill>
                <a:schemeClr val="bg1"/>
              </a:solidFill>
            </a:endParaRPr>
          </a:p>
        </p:txBody>
      </p:sp>
      <p:sp>
        <p:nvSpPr>
          <p:cNvPr id="68" name="î$ḷîḓê">
            <a:extLst>
              <a:ext uri="{FF2B5EF4-FFF2-40B4-BE49-F238E27FC236}">
                <a16:creationId xmlns:a16="http://schemas.microsoft.com/office/drawing/2014/main" id="{0120662D-08EC-45F4-BE9C-84021ADB4C9A}"/>
              </a:ext>
            </a:extLst>
          </p:cNvPr>
          <p:cNvSpPr/>
          <p:nvPr/>
        </p:nvSpPr>
        <p:spPr bwMode="gray">
          <a:xfrm>
            <a:off x="8749874" y="199746"/>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结构型模式</a:t>
            </a:r>
            <a:endParaRPr lang="en-US" altLang="zh-CN" sz="2400" dirty="0">
              <a:solidFill>
                <a:schemeClr val="bg1"/>
              </a:solidFill>
            </a:endParaRPr>
          </a:p>
        </p:txBody>
      </p:sp>
      <p:sp>
        <p:nvSpPr>
          <p:cNvPr id="69" name="î$ḷîḓê">
            <a:extLst>
              <a:ext uri="{FF2B5EF4-FFF2-40B4-BE49-F238E27FC236}">
                <a16:creationId xmlns:a16="http://schemas.microsoft.com/office/drawing/2014/main" id="{0120662D-08EC-45F4-BE9C-84021ADB4C9A}"/>
              </a:ext>
            </a:extLst>
          </p:cNvPr>
          <p:cNvSpPr/>
          <p:nvPr/>
        </p:nvSpPr>
        <p:spPr bwMode="gray">
          <a:xfrm>
            <a:off x="10282004" y="189695"/>
            <a:ext cx="1506790" cy="480145"/>
          </a:xfrm>
          <a:prstGeom prst="rect">
            <a:avLst/>
          </a:prstGeom>
          <a:solidFill>
            <a:schemeClr val="accent1"/>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行为型模式</a:t>
            </a:r>
            <a:endParaRPr lang="en-US" altLang="zh-CN" sz="2400" dirty="0">
              <a:solidFill>
                <a:schemeClr val="bg1"/>
              </a:solidFill>
            </a:endParaRPr>
          </a:p>
        </p:txBody>
      </p:sp>
      <p:pic>
        <p:nvPicPr>
          <p:cNvPr id="4" name="图片 3"/>
          <p:cNvPicPr>
            <a:picLocks noChangeAspect="1"/>
          </p:cNvPicPr>
          <p:nvPr/>
        </p:nvPicPr>
        <p:blipFill>
          <a:blip r:embed="rId3"/>
          <a:stretch>
            <a:fillRect/>
          </a:stretch>
        </p:blipFill>
        <p:spPr>
          <a:xfrm>
            <a:off x="3076575" y="766762"/>
            <a:ext cx="6038850" cy="5324475"/>
          </a:xfrm>
          <a:prstGeom prst="rect">
            <a:avLst/>
          </a:prstGeom>
        </p:spPr>
      </p:pic>
      <p:sp>
        <p:nvSpPr>
          <p:cNvPr id="5" name="文本框 4"/>
          <p:cNvSpPr txBox="1"/>
          <p:nvPr/>
        </p:nvSpPr>
        <p:spPr>
          <a:xfrm>
            <a:off x="669925" y="3695700"/>
            <a:ext cx="1311275" cy="1477328"/>
          </a:xfrm>
          <a:prstGeom prst="rect">
            <a:avLst/>
          </a:prstGeom>
          <a:noFill/>
        </p:spPr>
        <p:txBody>
          <a:bodyPr wrap="square" rtlCol="0">
            <a:spAutoFit/>
          </a:bodyPr>
          <a:lstStyle/>
          <a:p>
            <a:r>
              <a:rPr lang="zh-CN" altLang="en-US" dirty="0" smtClean="0"/>
              <a:t>访问者</a:t>
            </a:r>
            <a:endParaRPr lang="en-US" altLang="zh-CN" dirty="0" smtClean="0"/>
          </a:p>
          <a:p>
            <a:r>
              <a:rPr lang="zh-CN" altLang="en-US" dirty="0" smtClean="0"/>
              <a:t>比如汽车检修员：</a:t>
            </a:r>
            <a:endParaRPr lang="en-US" altLang="zh-CN" dirty="0" smtClean="0"/>
          </a:p>
          <a:p>
            <a:r>
              <a:rPr lang="zh-CN" altLang="en-US" dirty="0" smtClean="0"/>
              <a:t>小王</a:t>
            </a:r>
            <a:endParaRPr lang="en-US" altLang="zh-CN" dirty="0" smtClean="0"/>
          </a:p>
          <a:p>
            <a:r>
              <a:rPr lang="zh-CN" altLang="en-US" dirty="0"/>
              <a:t>小李</a:t>
            </a:r>
            <a:endParaRPr lang="en-US" altLang="zh-CN" dirty="0" smtClean="0"/>
          </a:p>
        </p:txBody>
      </p:sp>
      <p:sp>
        <p:nvSpPr>
          <p:cNvPr id="15" name="文本框 14"/>
          <p:cNvSpPr txBox="1"/>
          <p:nvPr/>
        </p:nvSpPr>
        <p:spPr>
          <a:xfrm>
            <a:off x="9671677" y="2128322"/>
            <a:ext cx="1591409" cy="1754326"/>
          </a:xfrm>
          <a:prstGeom prst="rect">
            <a:avLst/>
          </a:prstGeom>
          <a:noFill/>
        </p:spPr>
        <p:txBody>
          <a:bodyPr wrap="square" rtlCol="0">
            <a:spAutoFit/>
          </a:bodyPr>
          <a:lstStyle/>
          <a:p>
            <a:r>
              <a:rPr lang="zh-CN" altLang="en-US" dirty="0"/>
              <a:t>被</a:t>
            </a:r>
            <a:r>
              <a:rPr lang="zh-CN" altLang="en-US" dirty="0" smtClean="0"/>
              <a:t>访问对象</a:t>
            </a:r>
            <a:endParaRPr lang="en-US" altLang="zh-CN" dirty="0" smtClean="0"/>
          </a:p>
          <a:p>
            <a:r>
              <a:rPr lang="zh-CN" altLang="en-US" dirty="0" smtClean="0"/>
              <a:t>比如汽车的组件：</a:t>
            </a:r>
            <a:endParaRPr lang="en-US" altLang="zh-CN" dirty="0" smtClean="0"/>
          </a:p>
          <a:p>
            <a:r>
              <a:rPr lang="zh-CN" altLang="en-US" dirty="0" smtClean="0"/>
              <a:t>刹车</a:t>
            </a:r>
            <a:endParaRPr lang="en-US" altLang="zh-CN" dirty="0" smtClean="0"/>
          </a:p>
          <a:p>
            <a:r>
              <a:rPr lang="zh-CN" altLang="en-US" dirty="0" smtClean="0"/>
              <a:t>引擎</a:t>
            </a:r>
            <a:endParaRPr lang="en-US" altLang="zh-CN" dirty="0" smtClean="0"/>
          </a:p>
          <a:p>
            <a:r>
              <a:rPr lang="zh-CN" altLang="en-US" dirty="0" smtClean="0"/>
              <a:t>轮胎</a:t>
            </a:r>
            <a:endParaRPr lang="en-US" altLang="zh-CN" dirty="0" smtClean="0"/>
          </a:p>
        </p:txBody>
      </p:sp>
      <p:sp>
        <p:nvSpPr>
          <p:cNvPr id="6" name="圆角矩形 5"/>
          <p:cNvSpPr/>
          <p:nvPr/>
        </p:nvSpPr>
        <p:spPr>
          <a:xfrm>
            <a:off x="3152775" y="3476625"/>
            <a:ext cx="2019300" cy="1285875"/>
          </a:xfrm>
          <a:prstGeom prst="roundRect">
            <a:avLst/>
          </a:prstGeom>
          <a:noFill/>
          <a:ln w="6350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圆角矩形 16"/>
          <p:cNvSpPr/>
          <p:nvPr/>
        </p:nvSpPr>
        <p:spPr>
          <a:xfrm>
            <a:off x="6413120" y="2006777"/>
            <a:ext cx="1595760" cy="1155524"/>
          </a:xfrm>
          <a:prstGeom prst="roundRect">
            <a:avLst/>
          </a:prstGeom>
          <a:noFill/>
          <a:ln w="6350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coding_151359"/>
          <p:cNvSpPr>
            <a:spLocks noChangeAspect="1"/>
          </p:cNvSpPr>
          <p:nvPr/>
        </p:nvSpPr>
        <p:spPr bwMode="auto">
          <a:xfrm>
            <a:off x="6599664" y="189695"/>
            <a:ext cx="467336" cy="466684"/>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06439" h="605593">
                <a:moveTo>
                  <a:pt x="264222" y="458757"/>
                </a:moveTo>
                <a:lnTo>
                  <a:pt x="220421" y="579819"/>
                </a:lnTo>
                <a:lnTo>
                  <a:pt x="386019" y="579819"/>
                </a:lnTo>
                <a:lnTo>
                  <a:pt x="342217" y="458757"/>
                </a:lnTo>
                <a:close/>
                <a:moveTo>
                  <a:pt x="420977" y="157263"/>
                </a:moveTo>
                <a:lnTo>
                  <a:pt x="489088" y="231020"/>
                </a:lnTo>
                <a:lnTo>
                  <a:pt x="424086" y="301483"/>
                </a:lnTo>
                <a:lnTo>
                  <a:pt x="405150" y="283985"/>
                </a:lnTo>
                <a:lnTo>
                  <a:pt x="453949" y="231020"/>
                </a:lnTo>
                <a:lnTo>
                  <a:pt x="402042" y="174761"/>
                </a:lnTo>
                <a:close/>
                <a:moveTo>
                  <a:pt x="185461" y="157263"/>
                </a:moveTo>
                <a:lnTo>
                  <a:pt x="204397" y="174761"/>
                </a:lnTo>
                <a:lnTo>
                  <a:pt x="152489" y="231020"/>
                </a:lnTo>
                <a:lnTo>
                  <a:pt x="201288" y="283985"/>
                </a:lnTo>
                <a:lnTo>
                  <a:pt x="182352" y="301483"/>
                </a:lnTo>
                <a:lnTo>
                  <a:pt x="117350" y="231020"/>
                </a:lnTo>
                <a:close/>
                <a:moveTo>
                  <a:pt x="309343" y="122078"/>
                </a:moveTo>
                <a:lnTo>
                  <a:pt x="334401" y="128193"/>
                </a:lnTo>
                <a:lnTo>
                  <a:pt x="283718" y="336668"/>
                </a:lnTo>
                <a:lnTo>
                  <a:pt x="258565" y="330553"/>
                </a:lnTo>
                <a:close/>
                <a:moveTo>
                  <a:pt x="25810" y="25774"/>
                </a:moveTo>
                <a:lnTo>
                  <a:pt x="25810" y="432983"/>
                </a:lnTo>
                <a:lnTo>
                  <a:pt x="580629" y="432983"/>
                </a:lnTo>
                <a:lnTo>
                  <a:pt x="580629" y="25774"/>
                </a:lnTo>
                <a:close/>
                <a:moveTo>
                  <a:pt x="0" y="0"/>
                </a:moveTo>
                <a:lnTo>
                  <a:pt x="606439" y="0"/>
                </a:lnTo>
                <a:lnTo>
                  <a:pt x="606439" y="458757"/>
                </a:lnTo>
                <a:lnTo>
                  <a:pt x="369628" y="458757"/>
                </a:lnTo>
                <a:lnTo>
                  <a:pt x="413430" y="579819"/>
                </a:lnTo>
                <a:lnTo>
                  <a:pt x="459492" y="579819"/>
                </a:lnTo>
                <a:lnTo>
                  <a:pt x="459492" y="605593"/>
                </a:lnTo>
                <a:lnTo>
                  <a:pt x="146947" y="605593"/>
                </a:lnTo>
                <a:lnTo>
                  <a:pt x="146947" y="579819"/>
                </a:lnTo>
                <a:lnTo>
                  <a:pt x="192915" y="579819"/>
                </a:lnTo>
                <a:lnTo>
                  <a:pt x="236717" y="458757"/>
                </a:lnTo>
                <a:lnTo>
                  <a:pt x="0" y="458757"/>
                </a:lnTo>
                <a:close/>
              </a:path>
            </a:pathLst>
          </a:custGeom>
          <a:solidFill>
            <a:schemeClr val="accent1"/>
          </a:solidFill>
          <a:ln>
            <a:noFill/>
          </a:ln>
        </p:spPr>
        <p:txBody>
          <a:bodyPr/>
          <a:lstStyle/>
          <a:p>
            <a:endParaRPr lang="zh-CN" altLang="en-US"/>
          </a:p>
        </p:txBody>
      </p:sp>
    </p:spTree>
    <p:extLst>
      <p:ext uri="{BB962C8B-B14F-4D97-AF65-F5344CB8AC3E}">
        <p14:creationId xmlns:p14="http://schemas.microsoft.com/office/powerpoint/2010/main" val="807036179"/>
      </p:ext>
    </p:extLst>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show="0">
  <p:cSld>
    <p:bg>
      <p:bgPr>
        <a:solidFill>
          <a:srgbClr val="ADADAD"/>
        </a:solidFill>
        <a:effectLst/>
      </p:bgPr>
    </p:bg>
    <p:spTree>
      <p:nvGrpSpPr>
        <p:cNvPr id="1" name=""/>
        <p:cNvGrpSpPr/>
        <p:nvPr/>
      </p:nvGrpSpPr>
      <p:grpSpPr>
        <a:xfrm>
          <a:off x="0" y="0"/>
          <a:ext cx="0" cy="0"/>
          <a:chOff x="0" y="0"/>
          <a:chExt cx="0" cy="0"/>
        </a:xfrm>
      </p:grpSpPr>
      <p:sp>
        <p:nvSpPr>
          <p:cNvPr id="63" name="标题 1"/>
          <p:cNvSpPr>
            <a:spLocks noGrp="1"/>
          </p:cNvSpPr>
          <p:nvPr>
            <p:ph type="title"/>
          </p:nvPr>
        </p:nvSpPr>
        <p:spPr>
          <a:xfrm>
            <a:off x="1137925" y="205921"/>
            <a:ext cx="10401280" cy="695186"/>
          </a:xfrm>
        </p:spPr>
        <p:txBody>
          <a:bodyPr/>
          <a:lstStyle/>
          <a:p>
            <a:r>
              <a:rPr lang="zh-CN" altLang="en-US" sz="3200" b="0" dirty="0">
                <a:latin typeface="Arial"/>
                <a:ea typeface="Microsoft YaHei"/>
                <a:cs typeface="+mn-ea"/>
                <a:sym typeface="Arial"/>
              </a:rPr>
              <a:t>解释器</a:t>
            </a:r>
            <a:r>
              <a:rPr lang="zh-CN" altLang="en-US" sz="3200" b="0" dirty="0" smtClean="0">
                <a:latin typeface="Arial"/>
                <a:ea typeface="Microsoft YaHei"/>
                <a:cs typeface="+mn-ea"/>
                <a:sym typeface="Arial"/>
              </a:rPr>
              <a:t>模式</a:t>
            </a:r>
            <a:endParaRPr lang="zh-CN" altLang="en-US" sz="3200" b="0" dirty="0">
              <a:latin typeface="Arial"/>
              <a:ea typeface="Microsoft YaHei"/>
              <a:cs typeface="+mn-ea"/>
              <a:sym typeface="Arial"/>
            </a:endParaRPr>
          </a:p>
        </p:txBody>
      </p:sp>
      <p:grpSp>
        <p:nvGrpSpPr>
          <p:cNvPr id="64" name="组合 63">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65" name="椭圆 64">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66" name="椭圆 65">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
        <p:nvSpPr>
          <p:cNvPr id="67" name="î$ḷîḓê">
            <a:extLst>
              <a:ext uri="{FF2B5EF4-FFF2-40B4-BE49-F238E27FC236}">
                <a16:creationId xmlns:a16="http://schemas.microsoft.com/office/drawing/2014/main" id="{0120662D-08EC-45F4-BE9C-84021ADB4C9A}"/>
              </a:ext>
            </a:extLst>
          </p:cNvPr>
          <p:cNvSpPr/>
          <p:nvPr/>
        </p:nvSpPr>
        <p:spPr bwMode="gray">
          <a:xfrm>
            <a:off x="7211000" y="198392"/>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创建型模式</a:t>
            </a:r>
            <a:endParaRPr lang="en-US" altLang="zh-CN" sz="2400" dirty="0">
              <a:solidFill>
                <a:schemeClr val="bg1"/>
              </a:solidFill>
            </a:endParaRPr>
          </a:p>
        </p:txBody>
      </p:sp>
      <p:sp>
        <p:nvSpPr>
          <p:cNvPr id="68" name="î$ḷîḓê">
            <a:extLst>
              <a:ext uri="{FF2B5EF4-FFF2-40B4-BE49-F238E27FC236}">
                <a16:creationId xmlns:a16="http://schemas.microsoft.com/office/drawing/2014/main" id="{0120662D-08EC-45F4-BE9C-84021ADB4C9A}"/>
              </a:ext>
            </a:extLst>
          </p:cNvPr>
          <p:cNvSpPr/>
          <p:nvPr/>
        </p:nvSpPr>
        <p:spPr bwMode="gray">
          <a:xfrm>
            <a:off x="8749874" y="199746"/>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结构型模式</a:t>
            </a:r>
            <a:endParaRPr lang="en-US" altLang="zh-CN" sz="2400" dirty="0">
              <a:solidFill>
                <a:schemeClr val="bg1"/>
              </a:solidFill>
            </a:endParaRPr>
          </a:p>
        </p:txBody>
      </p:sp>
      <p:sp>
        <p:nvSpPr>
          <p:cNvPr id="69" name="î$ḷîḓê">
            <a:extLst>
              <a:ext uri="{FF2B5EF4-FFF2-40B4-BE49-F238E27FC236}">
                <a16:creationId xmlns:a16="http://schemas.microsoft.com/office/drawing/2014/main" id="{0120662D-08EC-45F4-BE9C-84021ADB4C9A}"/>
              </a:ext>
            </a:extLst>
          </p:cNvPr>
          <p:cNvSpPr/>
          <p:nvPr/>
        </p:nvSpPr>
        <p:spPr bwMode="gray">
          <a:xfrm>
            <a:off x="10282004" y="189695"/>
            <a:ext cx="1506790" cy="480145"/>
          </a:xfrm>
          <a:prstGeom prst="rect">
            <a:avLst/>
          </a:prstGeom>
          <a:solidFill>
            <a:schemeClr val="accent1"/>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行为型模式</a:t>
            </a:r>
            <a:endParaRPr lang="en-US" altLang="zh-CN" sz="2400" dirty="0">
              <a:solidFill>
                <a:schemeClr val="bg1"/>
              </a:solidFill>
            </a:endParaRPr>
          </a:p>
        </p:txBody>
      </p:sp>
      <p:pic>
        <p:nvPicPr>
          <p:cNvPr id="4" name="图片 3"/>
          <p:cNvPicPr>
            <a:picLocks noChangeAspect="1"/>
          </p:cNvPicPr>
          <p:nvPr/>
        </p:nvPicPr>
        <p:blipFill>
          <a:blip r:embed="rId3"/>
          <a:stretch>
            <a:fillRect/>
          </a:stretch>
        </p:blipFill>
        <p:spPr>
          <a:xfrm>
            <a:off x="3145291" y="1028700"/>
            <a:ext cx="5878826" cy="5108575"/>
          </a:xfrm>
          <a:prstGeom prst="rect">
            <a:avLst/>
          </a:prstGeom>
        </p:spPr>
      </p:pic>
    </p:spTree>
    <p:extLst>
      <p:ext uri="{BB962C8B-B14F-4D97-AF65-F5344CB8AC3E}">
        <p14:creationId xmlns:p14="http://schemas.microsoft.com/office/powerpoint/2010/main" val="11995828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组合 29">
            <a:extLst>
              <a:ext uri="{FF2B5EF4-FFF2-40B4-BE49-F238E27FC236}">
                <a16:creationId xmlns:a16="http://schemas.microsoft.com/office/drawing/2014/main" id="{0853A8D8-448C-4E50-AD38-219140CD6184}"/>
              </a:ext>
            </a:extLst>
          </p:cNvPr>
          <p:cNvGrpSpPr/>
          <p:nvPr/>
        </p:nvGrpSpPr>
        <p:grpSpPr>
          <a:xfrm>
            <a:off x="669925" y="210537"/>
            <a:ext cx="468000" cy="468000"/>
            <a:chOff x="669925" y="48611"/>
            <a:chExt cx="468000" cy="468000"/>
          </a:xfrm>
        </p:grpSpPr>
        <p:sp>
          <p:nvSpPr>
            <p:cNvPr id="31" name="椭圆 30">
              <a:extLst>
                <a:ext uri="{FF2B5EF4-FFF2-40B4-BE49-F238E27FC236}">
                  <a16:creationId xmlns:a16="http://schemas.microsoft.com/office/drawing/2014/main" id="{18765B3C-06BD-445D-B72B-512E55DEF34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32" name="椭圆 31">
              <a:extLst>
                <a:ext uri="{FF2B5EF4-FFF2-40B4-BE49-F238E27FC236}">
                  <a16:creationId xmlns:a16="http://schemas.microsoft.com/office/drawing/2014/main" id="{A6AA7771-0E3D-4241-9DE3-825324394A29}"/>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grpSp>
      <p:sp>
        <p:nvSpPr>
          <p:cNvPr id="36" name="标题 1">
            <a:extLst>
              <a:ext uri="{FF2B5EF4-FFF2-40B4-BE49-F238E27FC236}">
                <a16:creationId xmlns:a16="http://schemas.microsoft.com/office/drawing/2014/main" id="{62930304-3D14-4FEB-B45D-709CE5948953}"/>
              </a:ext>
            </a:extLst>
          </p:cNvPr>
          <p:cNvSpPr txBox="1">
            <a:spLocks/>
          </p:cNvSpPr>
          <p:nvPr/>
        </p:nvSpPr>
        <p:spPr>
          <a:xfrm>
            <a:off x="1149783" y="198392"/>
            <a:ext cx="4092068" cy="57784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3200" b="0" smtClean="0">
                <a:latin typeface="Arial" panose="020B0604020202020204" pitchFamily="34" charset="0"/>
                <a:ea typeface="Microsoft YaHei" panose="020B0503020204020204" pitchFamily="34" charset="-122"/>
                <a:cs typeface="+mn-ea"/>
                <a:sym typeface="Arial" panose="020B0604020202020204" pitchFamily="34" charset="0"/>
              </a:rPr>
              <a:t>关键</a:t>
            </a:r>
            <a:r>
              <a:rPr lang="zh-CN" altLang="en-US" sz="3200" b="0" dirty="0" smtClean="0">
                <a:latin typeface="Arial" panose="020B0604020202020204" pitchFamily="34" charset="0"/>
                <a:ea typeface="Microsoft YaHei" panose="020B0503020204020204" pitchFamily="34" charset="-122"/>
                <a:cs typeface="+mn-ea"/>
                <a:sym typeface="Arial" panose="020B0604020202020204" pitchFamily="34" charset="0"/>
              </a:rPr>
              <a:t>需求</a:t>
            </a:r>
            <a:endParaRPr lang="zh-CN" altLang="en-US" sz="3200" b="0" dirty="0">
              <a:latin typeface="Arial" panose="020B0604020202020204" pitchFamily="34" charset="0"/>
              <a:ea typeface="Microsoft YaHei" panose="020B0503020204020204" pitchFamily="34" charset="-122"/>
              <a:cs typeface="+mn-ea"/>
              <a:sym typeface="Arial" panose="020B0604020202020204" pitchFamily="34" charset="0"/>
            </a:endParaRPr>
          </a:p>
        </p:txBody>
      </p:sp>
      <p:grpSp>
        <p:nvGrpSpPr>
          <p:cNvPr id="665" name="199207"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1462427" y="2651051"/>
            <a:ext cx="8553443" cy="1869185"/>
            <a:chOff x="669924" y="1934013"/>
            <a:chExt cx="10836275" cy="2368053"/>
          </a:xfrm>
        </p:grpSpPr>
        <p:grpSp>
          <p:nvGrpSpPr>
            <p:cNvPr id="666" name="íSļíďê">
              <a:extLst>
                <a:ext uri="{FF2B5EF4-FFF2-40B4-BE49-F238E27FC236}">
                  <a16:creationId xmlns:a16="http://schemas.microsoft.com/office/drawing/2014/main" id="{29B42E00-EEB6-4AF3-A99A-5AE19EA35C49}"/>
                </a:ext>
              </a:extLst>
            </p:cNvPr>
            <p:cNvGrpSpPr/>
            <p:nvPr/>
          </p:nvGrpSpPr>
          <p:grpSpPr>
            <a:xfrm>
              <a:off x="669924" y="2240379"/>
              <a:ext cx="10836275" cy="2061683"/>
              <a:chOff x="669924" y="2240379"/>
              <a:chExt cx="10836275" cy="2061683"/>
            </a:xfrm>
          </p:grpSpPr>
          <p:grpSp>
            <p:nvGrpSpPr>
              <p:cNvPr id="672" name="isļiḓé">
                <a:extLst>
                  <a:ext uri="{FF2B5EF4-FFF2-40B4-BE49-F238E27FC236}">
                    <a16:creationId xmlns:a16="http://schemas.microsoft.com/office/drawing/2014/main" id="{82986B21-19AC-45AB-BB4A-E361E6BF2B87}"/>
                  </a:ext>
                </a:extLst>
              </p:cNvPr>
              <p:cNvGrpSpPr/>
              <p:nvPr/>
            </p:nvGrpSpPr>
            <p:grpSpPr>
              <a:xfrm>
                <a:off x="669924" y="2240382"/>
                <a:ext cx="1608225" cy="2061680"/>
                <a:chOff x="1093111" y="1775850"/>
                <a:chExt cx="2650980" cy="3398445"/>
              </a:xfrm>
            </p:grpSpPr>
            <p:grpSp>
              <p:nvGrpSpPr>
                <p:cNvPr id="752" name="ïşḷíḋê">
                  <a:extLst>
                    <a:ext uri="{FF2B5EF4-FFF2-40B4-BE49-F238E27FC236}">
                      <a16:creationId xmlns:a16="http://schemas.microsoft.com/office/drawing/2014/main" id="{D147DD63-78FA-4778-AE97-89925B39C135}"/>
                    </a:ext>
                  </a:extLst>
                </p:cNvPr>
                <p:cNvGrpSpPr/>
                <p:nvPr/>
              </p:nvGrpSpPr>
              <p:grpSpPr>
                <a:xfrm>
                  <a:off x="1187840" y="1775850"/>
                  <a:ext cx="2461517" cy="2541936"/>
                  <a:chOff x="5556000" y="3005189"/>
                  <a:chExt cx="2068177" cy="2135745"/>
                </a:xfrm>
              </p:grpSpPr>
              <p:sp>
                <p:nvSpPr>
                  <p:cNvPr id="754" name="isḷíḋè">
                    <a:extLst>
                      <a:ext uri="{FF2B5EF4-FFF2-40B4-BE49-F238E27FC236}">
                        <a16:creationId xmlns:a16="http://schemas.microsoft.com/office/drawing/2014/main" id="{AB045EF5-CDD1-44FF-BCD4-4E1EE67B7084}"/>
                      </a:ext>
                    </a:extLst>
                  </p:cNvPr>
                  <p:cNvSpPr/>
                  <p:nvPr/>
                </p:nvSpPr>
                <p:spPr bwMode="auto">
                  <a:xfrm>
                    <a:off x="6938656" y="3395983"/>
                    <a:ext cx="685521" cy="1644414"/>
                  </a:xfrm>
                  <a:prstGeom prst="rect">
                    <a:avLst/>
                  </a:prstGeom>
                  <a:solidFill>
                    <a:schemeClr val="bg2">
                      <a:alpha val="60000"/>
                    </a:schemeClr>
                  </a:solidFill>
                  <a:ln>
                    <a:no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755" name="ïŝḻíde">
                    <a:extLst>
                      <a:ext uri="{FF2B5EF4-FFF2-40B4-BE49-F238E27FC236}">
                        <a16:creationId xmlns:a16="http://schemas.microsoft.com/office/drawing/2014/main" id="{57CD4B16-4697-435E-B0C5-ABAE08847C7A}"/>
                      </a:ext>
                    </a:extLst>
                  </p:cNvPr>
                  <p:cNvSpPr/>
                  <p:nvPr/>
                </p:nvSpPr>
                <p:spPr bwMode="auto">
                  <a:xfrm>
                    <a:off x="5556000" y="3395983"/>
                    <a:ext cx="685521" cy="1644414"/>
                  </a:xfrm>
                  <a:prstGeom prst="rect">
                    <a:avLst/>
                  </a:prstGeom>
                  <a:solidFill>
                    <a:schemeClr val="bg2">
                      <a:alpha val="60000"/>
                    </a:schemeClr>
                  </a:solidFill>
                  <a:ln>
                    <a:no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756" name="iş1îḋé">
                    <a:extLst>
                      <a:ext uri="{FF2B5EF4-FFF2-40B4-BE49-F238E27FC236}">
                        <a16:creationId xmlns:a16="http://schemas.microsoft.com/office/drawing/2014/main" id="{BBB166F6-507B-4561-8CF5-4E05E750BA90}"/>
                      </a:ext>
                    </a:extLst>
                  </p:cNvPr>
                  <p:cNvSpPr/>
                  <p:nvPr/>
                </p:nvSpPr>
                <p:spPr bwMode="auto">
                  <a:xfrm>
                    <a:off x="5799274" y="3162312"/>
                    <a:ext cx="685521" cy="1978622"/>
                  </a:xfrm>
                  <a:prstGeom prst="rect">
                    <a:avLst/>
                  </a:prstGeom>
                  <a:solidFill>
                    <a:schemeClr val="bg2">
                      <a:alpha val="80000"/>
                    </a:schemeClr>
                  </a:solidFill>
                  <a:ln>
                    <a:no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757" name="ïšļiḓè">
                    <a:extLst>
                      <a:ext uri="{FF2B5EF4-FFF2-40B4-BE49-F238E27FC236}">
                        <a16:creationId xmlns:a16="http://schemas.microsoft.com/office/drawing/2014/main" id="{42533F6C-0974-4557-8451-1C4FCBC6FF00}"/>
                      </a:ext>
                    </a:extLst>
                  </p:cNvPr>
                  <p:cNvSpPr/>
                  <p:nvPr/>
                </p:nvSpPr>
                <p:spPr bwMode="auto">
                  <a:xfrm>
                    <a:off x="6591940" y="3162312"/>
                    <a:ext cx="685521" cy="1978622"/>
                  </a:xfrm>
                  <a:prstGeom prst="rect">
                    <a:avLst/>
                  </a:prstGeom>
                  <a:solidFill>
                    <a:schemeClr val="bg2">
                      <a:alpha val="80000"/>
                    </a:schemeClr>
                  </a:solidFill>
                  <a:ln>
                    <a:no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nvGrpSpPr>
                  <p:cNvPr id="758" name="ïṩḻîḑê">
                    <a:extLst>
                      <a:ext uri="{FF2B5EF4-FFF2-40B4-BE49-F238E27FC236}">
                        <a16:creationId xmlns:a16="http://schemas.microsoft.com/office/drawing/2014/main" id="{D2585A66-1DB7-47E5-923B-B7965BFE7CF1}"/>
                      </a:ext>
                    </a:extLst>
                  </p:cNvPr>
                  <p:cNvGrpSpPr/>
                  <p:nvPr/>
                </p:nvGrpSpPr>
                <p:grpSpPr>
                  <a:xfrm>
                    <a:off x="6057020" y="3005189"/>
                    <a:ext cx="1290102" cy="1805429"/>
                    <a:chOff x="6834358" y="3262143"/>
                    <a:chExt cx="1290102" cy="1805429"/>
                  </a:xfrm>
                </p:grpSpPr>
                <p:sp>
                  <p:nvSpPr>
                    <p:cNvPr id="759" name="îŝḷîdè">
                      <a:extLst>
                        <a:ext uri="{FF2B5EF4-FFF2-40B4-BE49-F238E27FC236}">
                          <a16:creationId xmlns:a16="http://schemas.microsoft.com/office/drawing/2014/main" id="{A33661F6-5CAE-4186-9E4F-D52873D544EF}"/>
                        </a:ext>
                      </a:extLst>
                    </p:cNvPr>
                    <p:cNvSpPr>
                      <a:spLocks/>
                    </p:cNvSpPr>
                    <p:nvPr/>
                  </p:nvSpPr>
                  <p:spPr bwMode="auto">
                    <a:xfrm>
                      <a:off x="6834358" y="3861059"/>
                      <a:ext cx="1290102" cy="1206513"/>
                    </a:xfrm>
                    <a:custGeom>
                      <a:avLst/>
                      <a:gdLst>
                        <a:gd name="connsiteX0" fmla="*/ 498846 w 607639"/>
                        <a:gd name="connsiteY0" fmla="*/ 381618 h 468061"/>
                        <a:gd name="connsiteX1" fmla="*/ 526964 w 607639"/>
                        <a:gd name="connsiteY1" fmla="*/ 381618 h 468061"/>
                        <a:gd name="connsiteX2" fmla="*/ 539332 w 607639"/>
                        <a:gd name="connsiteY2" fmla="*/ 393993 h 468061"/>
                        <a:gd name="connsiteX3" fmla="*/ 526964 w 607639"/>
                        <a:gd name="connsiteY3" fmla="*/ 406457 h 468061"/>
                        <a:gd name="connsiteX4" fmla="*/ 498846 w 607639"/>
                        <a:gd name="connsiteY4" fmla="*/ 406457 h 468061"/>
                        <a:gd name="connsiteX5" fmla="*/ 486478 w 607639"/>
                        <a:gd name="connsiteY5" fmla="*/ 393993 h 468061"/>
                        <a:gd name="connsiteX6" fmla="*/ 498846 w 607639"/>
                        <a:gd name="connsiteY6" fmla="*/ 381618 h 468061"/>
                        <a:gd name="connsiteX7" fmla="*/ 194307 w 607639"/>
                        <a:gd name="connsiteY7" fmla="*/ 381618 h 468061"/>
                        <a:gd name="connsiteX8" fmla="*/ 461476 w 607639"/>
                        <a:gd name="connsiteY8" fmla="*/ 381618 h 468061"/>
                        <a:gd name="connsiteX9" fmla="*/ 473847 w 607639"/>
                        <a:gd name="connsiteY9" fmla="*/ 393993 h 468061"/>
                        <a:gd name="connsiteX10" fmla="*/ 461476 w 607639"/>
                        <a:gd name="connsiteY10" fmla="*/ 406457 h 468061"/>
                        <a:gd name="connsiteX11" fmla="*/ 194307 w 607639"/>
                        <a:gd name="connsiteY11" fmla="*/ 406457 h 468061"/>
                        <a:gd name="connsiteX12" fmla="*/ 181847 w 607639"/>
                        <a:gd name="connsiteY12" fmla="*/ 393993 h 468061"/>
                        <a:gd name="connsiteX13" fmla="*/ 194307 w 607639"/>
                        <a:gd name="connsiteY13" fmla="*/ 381618 h 468061"/>
                        <a:gd name="connsiteX14" fmla="*/ 151843 w 607639"/>
                        <a:gd name="connsiteY14" fmla="*/ 207365 h 468061"/>
                        <a:gd name="connsiteX15" fmla="*/ 151843 w 607639"/>
                        <a:gd name="connsiteY15" fmla="*/ 318292 h 468061"/>
                        <a:gd name="connsiteX16" fmla="*/ 151843 w 607639"/>
                        <a:gd name="connsiteY16" fmla="*/ 443351 h 468061"/>
                        <a:gd name="connsiteX17" fmla="*/ 582806 w 607639"/>
                        <a:gd name="connsiteY17" fmla="*/ 443351 h 468061"/>
                        <a:gd name="connsiteX18" fmla="*/ 582806 w 607639"/>
                        <a:gd name="connsiteY18" fmla="*/ 207365 h 468061"/>
                        <a:gd name="connsiteX19" fmla="*/ 151843 w 607639"/>
                        <a:gd name="connsiteY19" fmla="*/ 162212 h 468061"/>
                        <a:gd name="connsiteX20" fmla="*/ 151843 w 607639"/>
                        <a:gd name="connsiteY20" fmla="*/ 182567 h 468061"/>
                        <a:gd name="connsiteX21" fmla="*/ 582806 w 607639"/>
                        <a:gd name="connsiteY21" fmla="*/ 182567 h 468061"/>
                        <a:gd name="connsiteX22" fmla="*/ 582806 w 607639"/>
                        <a:gd name="connsiteY22" fmla="*/ 162212 h 468061"/>
                        <a:gd name="connsiteX23" fmla="*/ 468168 w 607639"/>
                        <a:gd name="connsiteY23" fmla="*/ 162212 h 468061"/>
                        <a:gd name="connsiteX24" fmla="*/ 24832 w 607639"/>
                        <a:gd name="connsiteY24" fmla="*/ 69951 h 468061"/>
                        <a:gd name="connsiteX25" fmla="*/ 24832 w 607639"/>
                        <a:gd name="connsiteY25" fmla="*/ 305937 h 468061"/>
                        <a:gd name="connsiteX26" fmla="*/ 127011 w 607639"/>
                        <a:gd name="connsiteY26" fmla="*/ 305937 h 468061"/>
                        <a:gd name="connsiteX27" fmla="*/ 127011 w 607639"/>
                        <a:gd name="connsiteY27" fmla="*/ 195011 h 468061"/>
                        <a:gd name="connsiteX28" fmla="*/ 127011 w 607639"/>
                        <a:gd name="connsiteY28" fmla="*/ 149769 h 468061"/>
                        <a:gd name="connsiteX29" fmla="*/ 139382 w 607639"/>
                        <a:gd name="connsiteY29" fmla="*/ 137414 h 468061"/>
                        <a:gd name="connsiteX30" fmla="*/ 455796 w 607639"/>
                        <a:gd name="connsiteY30" fmla="*/ 137414 h 468061"/>
                        <a:gd name="connsiteX31" fmla="*/ 455796 w 607639"/>
                        <a:gd name="connsiteY31" fmla="*/ 69951 h 468061"/>
                        <a:gd name="connsiteX32" fmla="*/ 24832 w 607639"/>
                        <a:gd name="connsiteY32" fmla="*/ 24798 h 468061"/>
                        <a:gd name="connsiteX33" fmla="*/ 24832 w 607639"/>
                        <a:gd name="connsiteY33" fmla="*/ 45153 h 468061"/>
                        <a:gd name="connsiteX34" fmla="*/ 455796 w 607639"/>
                        <a:gd name="connsiteY34" fmla="*/ 45153 h 468061"/>
                        <a:gd name="connsiteX35" fmla="*/ 455796 w 607639"/>
                        <a:gd name="connsiteY35" fmla="*/ 24798 h 468061"/>
                        <a:gd name="connsiteX36" fmla="*/ 12372 w 607639"/>
                        <a:gd name="connsiteY36" fmla="*/ 0 h 468061"/>
                        <a:gd name="connsiteX37" fmla="*/ 468168 w 607639"/>
                        <a:gd name="connsiteY37" fmla="*/ 0 h 468061"/>
                        <a:gd name="connsiteX38" fmla="*/ 480539 w 607639"/>
                        <a:gd name="connsiteY38" fmla="*/ 12444 h 468061"/>
                        <a:gd name="connsiteX39" fmla="*/ 480539 w 607639"/>
                        <a:gd name="connsiteY39" fmla="*/ 57597 h 468061"/>
                        <a:gd name="connsiteX40" fmla="*/ 480539 w 607639"/>
                        <a:gd name="connsiteY40" fmla="*/ 137414 h 468061"/>
                        <a:gd name="connsiteX41" fmla="*/ 595178 w 607639"/>
                        <a:gd name="connsiteY41" fmla="*/ 137414 h 468061"/>
                        <a:gd name="connsiteX42" fmla="*/ 607639 w 607639"/>
                        <a:gd name="connsiteY42" fmla="*/ 149769 h 468061"/>
                        <a:gd name="connsiteX43" fmla="*/ 607639 w 607639"/>
                        <a:gd name="connsiteY43" fmla="*/ 195011 h 468061"/>
                        <a:gd name="connsiteX44" fmla="*/ 607639 w 607639"/>
                        <a:gd name="connsiteY44" fmla="*/ 455706 h 468061"/>
                        <a:gd name="connsiteX45" fmla="*/ 595178 w 607639"/>
                        <a:gd name="connsiteY45" fmla="*/ 468061 h 468061"/>
                        <a:gd name="connsiteX46" fmla="*/ 139382 w 607639"/>
                        <a:gd name="connsiteY46" fmla="*/ 468061 h 468061"/>
                        <a:gd name="connsiteX47" fmla="*/ 127011 w 607639"/>
                        <a:gd name="connsiteY47" fmla="*/ 455706 h 468061"/>
                        <a:gd name="connsiteX48" fmla="*/ 127011 w 607639"/>
                        <a:gd name="connsiteY48" fmla="*/ 330736 h 468061"/>
                        <a:gd name="connsiteX49" fmla="*/ 12372 w 607639"/>
                        <a:gd name="connsiteY49" fmla="*/ 330736 h 468061"/>
                        <a:gd name="connsiteX50" fmla="*/ 0 w 607639"/>
                        <a:gd name="connsiteY50" fmla="*/ 318292 h 468061"/>
                        <a:gd name="connsiteX51" fmla="*/ 0 w 607639"/>
                        <a:gd name="connsiteY51" fmla="*/ 57597 h 468061"/>
                        <a:gd name="connsiteX52" fmla="*/ 0 w 607639"/>
                        <a:gd name="connsiteY52" fmla="*/ 12444 h 468061"/>
                        <a:gd name="connsiteX53" fmla="*/ 12372 w 607639"/>
                        <a:gd name="connsiteY53" fmla="*/ 0 h 4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607639" h="468061">
                          <a:moveTo>
                            <a:pt x="498846" y="381618"/>
                          </a:moveTo>
                          <a:lnTo>
                            <a:pt x="526964" y="381618"/>
                          </a:lnTo>
                          <a:cubicBezTo>
                            <a:pt x="533815" y="381618"/>
                            <a:pt x="539332" y="387138"/>
                            <a:pt x="539332" y="393993"/>
                          </a:cubicBezTo>
                          <a:cubicBezTo>
                            <a:pt x="539332" y="400848"/>
                            <a:pt x="533815" y="406457"/>
                            <a:pt x="526964" y="406457"/>
                          </a:cubicBezTo>
                          <a:lnTo>
                            <a:pt x="498846" y="406457"/>
                          </a:lnTo>
                          <a:cubicBezTo>
                            <a:pt x="491995" y="406457"/>
                            <a:pt x="486478" y="400848"/>
                            <a:pt x="486478" y="393993"/>
                          </a:cubicBezTo>
                          <a:cubicBezTo>
                            <a:pt x="486478" y="387138"/>
                            <a:pt x="491995" y="381618"/>
                            <a:pt x="498846" y="381618"/>
                          </a:cubicBezTo>
                          <a:close/>
                          <a:moveTo>
                            <a:pt x="194307" y="381618"/>
                          </a:moveTo>
                          <a:lnTo>
                            <a:pt x="461476" y="381618"/>
                          </a:lnTo>
                          <a:cubicBezTo>
                            <a:pt x="468329" y="381618"/>
                            <a:pt x="473847" y="387138"/>
                            <a:pt x="473847" y="393993"/>
                          </a:cubicBezTo>
                          <a:cubicBezTo>
                            <a:pt x="473847" y="400848"/>
                            <a:pt x="468329" y="406457"/>
                            <a:pt x="461476" y="406457"/>
                          </a:cubicBezTo>
                          <a:lnTo>
                            <a:pt x="194307" y="406457"/>
                          </a:lnTo>
                          <a:cubicBezTo>
                            <a:pt x="187454" y="406457"/>
                            <a:pt x="181847" y="400848"/>
                            <a:pt x="181847" y="393993"/>
                          </a:cubicBezTo>
                          <a:cubicBezTo>
                            <a:pt x="181847" y="387138"/>
                            <a:pt x="187454" y="381618"/>
                            <a:pt x="194307" y="381618"/>
                          </a:cubicBezTo>
                          <a:close/>
                          <a:moveTo>
                            <a:pt x="151843" y="207365"/>
                          </a:moveTo>
                          <a:lnTo>
                            <a:pt x="151843" y="318292"/>
                          </a:lnTo>
                          <a:lnTo>
                            <a:pt x="151843" y="443351"/>
                          </a:lnTo>
                          <a:lnTo>
                            <a:pt x="582806" y="443351"/>
                          </a:lnTo>
                          <a:lnTo>
                            <a:pt x="582806" y="207365"/>
                          </a:lnTo>
                          <a:close/>
                          <a:moveTo>
                            <a:pt x="151843" y="162212"/>
                          </a:moveTo>
                          <a:lnTo>
                            <a:pt x="151843" y="182567"/>
                          </a:lnTo>
                          <a:lnTo>
                            <a:pt x="582806" y="182567"/>
                          </a:lnTo>
                          <a:lnTo>
                            <a:pt x="582806" y="162212"/>
                          </a:lnTo>
                          <a:lnTo>
                            <a:pt x="468168" y="162212"/>
                          </a:lnTo>
                          <a:close/>
                          <a:moveTo>
                            <a:pt x="24832" y="69951"/>
                          </a:moveTo>
                          <a:lnTo>
                            <a:pt x="24832" y="305937"/>
                          </a:lnTo>
                          <a:lnTo>
                            <a:pt x="127011" y="305937"/>
                          </a:lnTo>
                          <a:lnTo>
                            <a:pt x="127011" y="195011"/>
                          </a:lnTo>
                          <a:lnTo>
                            <a:pt x="127011" y="149769"/>
                          </a:lnTo>
                          <a:cubicBezTo>
                            <a:pt x="127011" y="142925"/>
                            <a:pt x="132618" y="137414"/>
                            <a:pt x="139382" y="137414"/>
                          </a:cubicBezTo>
                          <a:lnTo>
                            <a:pt x="455796" y="137414"/>
                          </a:lnTo>
                          <a:lnTo>
                            <a:pt x="455796" y="69951"/>
                          </a:lnTo>
                          <a:close/>
                          <a:moveTo>
                            <a:pt x="24832" y="24798"/>
                          </a:moveTo>
                          <a:lnTo>
                            <a:pt x="24832" y="45153"/>
                          </a:lnTo>
                          <a:lnTo>
                            <a:pt x="455796" y="45153"/>
                          </a:lnTo>
                          <a:lnTo>
                            <a:pt x="455796" y="24798"/>
                          </a:lnTo>
                          <a:close/>
                          <a:moveTo>
                            <a:pt x="12372" y="0"/>
                          </a:moveTo>
                          <a:lnTo>
                            <a:pt x="468168" y="0"/>
                          </a:lnTo>
                          <a:cubicBezTo>
                            <a:pt x="475021" y="0"/>
                            <a:pt x="480539" y="5600"/>
                            <a:pt x="480539" y="12444"/>
                          </a:cubicBezTo>
                          <a:lnTo>
                            <a:pt x="480539" y="57597"/>
                          </a:lnTo>
                          <a:lnTo>
                            <a:pt x="480539" y="137414"/>
                          </a:lnTo>
                          <a:lnTo>
                            <a:pt x="595178" y="137414"/>
                          </a:lnTo>
                          <a:cubicBezTo>
                            <a:pt x="602032" y="137414"/>
                            <a:pt x="607639" y="142925"/>
                            <a:pt x="607639" y="149769"/>
                          </a:cubicBezTo>
                          <a:lnTo>
                            <a:pt x="607639" y="195011"/>
                          </a:lnTo>
                          <a:lnTo>
                            <a:pt x="607639" y="455706"/>
                          </a:lnTo>
                          <a:cubicBezTo>
                            <a:pt x="607639" y="462550"/>
                            <a:pt x="602032" y="468061"/>
                            <a:pt x="595178" y="468061"/>
                          </a:cubicBezTo>
                          <a:lnTo>
                            <a:pt x="139382" y="468061"/>
                          </a:lnTo>
                          <a:cubicBezTo>
                            <a:pt x="132618" y="468061"/>
                            <a:pt x="127011" y="462550"/>
                            <a:pt x="127011" y="455706"/>
                          </a:cubicBezTo>
                          <a:lnTo>
                            <a:pt x="127011" y="330736"/>
                          </a:lnTo>
                          <a:lnTo>
                            <a:pt x="12372" y="330736"/>
                          </a:lnTo>
                          <a:cubicBezTo>
                            <a:pt x="5518" y="330736"/>
                            <a:pt x="0" y="325136"/>
                            <a:pt x="0" y="318292"/>
                          </a:cubicBezTo>
                          <a:lnTo>
                            <a:pt x="0" y="57597"/>
                          </a:lnTo>
                          <a:lnTo>
                            <a:pt x="0" y="12444"/>
                          </a:lnTo>
                          <a:cubicBezTo>
                            <a:pt x="0" y="5600"/>
                            <a:pt x="5518" y="0"/>
                            <a:pt x="12372" y="0"/>
                          </a:cubicBezTo>
                          <a:close/>
                        </a:path>
                      </a:pathLst>
                    </a:custGeom>
                    <a:solidFill>
                      <a:schemeClr val="tx2">
                        <a:lumMod val="60000"/>
                        <a:lumOff val="40000"/>
                      </a:schemeClr>
                    </a:solidFill>
                    <a:ln>
                      <a:no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760" name="ïṡḻîdè">
                      <a:extLst>
                        <a:ext uri="{FF2B5EF4-FFF2-40B4-BE49-F238E27FC236}">
                          <a16:creationId xmlns:a16="http://schemas.microsoft.com/office/drawing/2014/main" id="{6BF6CB36-605E-4437-AE85-7D167C6154BD}"/>
                        </a:ext>
                      </a:extLst>
                    </p:cNvPr>
                    <p:cNvSpPr/>
                    <p:nvPr/>
                  </p:nvSpPr>
                  <p:spPr>
                    <a:xfrm>
                      <a:off x="7138836" y="3262143"/>
                      <a:ext cx="157123" cy="1571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p>
                  </p:txBody>
                </p:sp>
                <p:sp>
                  <p:nvSpPr>
                    <p:cNvPr id="761" name="îṧḷïḑé">
                      <a:extLst>
                        <a:ext uri="{FF2B5EF4-FFF2-40B4-BE49-F238E27FC236}">
                          <a16:creationId xmlns:a16="http://schemas.microsoft.com/office/drawing/2014/main" id="{659E44DF-02A8-4349-918E-79D4DA25FA73}"/>
                        </a:ext>
                      </a:extLst>
                    </p:cNvPr>
                    <p:cNvSpPr/>
                    <p:nvPr/>
                  </p:nvSpPr>
                  <p:spPr>
                    <a:xfrm>
                      <a:off x="7384593" y="3262143"/>
                      <a:ext cx="157123" cy="1571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p>
                  </p:txBody>
                </p:sp>
              </p:grpSp>
            </p:grpSp>
            <p:sp>
              <p:nvSpPr>
                <p:cNvPr id="753" name="iṡlîḍe">
                  <a:extLst>
                    <a:ext uri="{FF2B5EF4-FFF2-40B4-BE49-F238E27FC236}">
                      <a16:creationId xmlns:a16="http://schemas.microsoft.com/office/drawing/2014/main" id="{D99F9E8B-F8FC-458C-A5B5-CF7C75A42C48}"/>
                    </a:ext>
                  </a:extLst>
                </p:cNvPr>
                <p:cNvSpPr txBox="1"/>
                <p:nvPr/>
              </p:nvSpPr>
              <p:spPr bwMode="auto">
                <a:xfrm>
                  <a:off x="1093111" y="4476236"/>
                  <a:ext cx="2650980" cy="698059"/>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normAutofit fontScale="92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lnSpc>
                      <a:spcPct val="100000"/>
                    </a:lnSpc>
                    <a:spcBef>
                      <a:spcPct val="0"/>
                    </a:spcBef>
                  </a:pPr>
                  <a:r>
                    <a:rPr lang="zh-CN" altLang="en-US" sz="2000" b="1" dirty="0" smtClean="0"/>
                    <a:t>浏览</a:t>
                  </a:r>
                  <a:endParaRPr lang="en-US" altLang="zh-CN" sz="2000" b="1" dirty="0"/>
                </a:p>
              </p:txBody>
            </p:sp>
          </p:grpSp>
          <p:grpSp>
            <p:nvGrpSpPr>
              <p:cNvPr id="673" name="iṣḷiďê">
                <a:extLst>
                  <a:ext uri="{FF2B5EF4-FFF2-40B4-BE49-F238E27FC236}">
                    <a16:creationId xmlns:a16="http://schemas.microsoft.com/office/drawing/2014/main" id="{842D52C7-96FB-411C-8222-B68CDD4DD391}"/>
                  </a:ext>
                </a:extLst>
              </p:cNvPr>
              <p:cNvGrpSpPr/>
              <p:nvPr/>
            </p:nvGrpSpPr>
            <p:grpSpPr>
              <a:xfrm>
                <a:off x="2515534" y="2240379"/>
                <a:ext cx="1608225" cy="2061682"/>
                <a:chOff x="1093111" y="1775847"/>
                <a:chExt cx="2650980" cy="3398448"/>
              </a:xfrm>
            </p:grpSpPr>
            <p:grpSp>
              <p:nvGrpSpPr>
                <p:cNvPr id="742" name="íṧlíḑê">
                  <a:extLst>
                    <a:ext uri="{FF2B5EF4-FFF2-40B4-BE49-F238E27FC236}">
                      <a16:creationId xmlns:a16="http://schemas.microsoft.com/office/drawing/2014/main" id="{C3A1A0BA-B1E5-4A40-BCCE-DF5D0A79DD5E}"/>
                    </a:ext>
                  </a:extLst>
                </p:cNvPr>
                <p:cNvGrpSpPr/>
                <p:nvPr/>
              </p:nvGrpSpPr>
              <p:grpSpPr>
                <a:xfrm>
                  <a:off x="1187840" y="1775847"/>
                  <a:ext cx="2461517" cy="2541937"/>
                  <a:chOff x="5556000" y="3005189"/>
                  <a:chExt cx="2068177" cy="2135745"/>
                </a:xfrm>
              </p:grpSpPr>
              <p:sp>
                <p:nvSpPr>
                  <p:cNvPr id="744" name="iślídè">
                    <a:extLst>
                      <a:ext uri="{FF2B5EF4-FFF2-40B4-BE49-F238E27FC236}">
                        <a16:creationId xmlns:a16="http://schemas.microsoft.com/office/drawing/2014/main" id="{F803EEDF-7F17-4C90-BE77-00EB1091DAE9}"/>
                      </a:ext>
                    </a:extLst>
                  </p:cNvPr>
                  <p:cNvSpPr/>
                  <p:nvPr/>
                </p:nvSpPr>
                <p:spPr bwMode="auto">
                  <a:xfrm>
                    <a:off x="6938656" y="3395983"/>
                    <a:ext cx="685521" cy="1644414"/>
                  </a:xfrm>
                  <a:prstGeom prst="rect">
                    <a:avLst/>
                  </a:prstGeom>
                  <a:solidFill>
                    <a:schemeClr val="bg2">
                      <a:alpha val="60000"/>
                    </a:schemeClr>
                  </a:solidFill>
                  <a:ln>
                    <a:no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745" name="islîḍe">
                    <a:extLst>
                      <a:ext uri="{FF2B5EF4-FFF2-40B4-BE49-F238E27FC236}">
                        <a16:creationId xmlns:a16="http://schemas.microsoft.com/office/drawing/2014/main" id="{77BE215F-B9CB-4878-9667-57648871B078}"/>
                      </a:ext>
                    </a:extLst>
                  </p:cNvPr>
                  <p:cNvSpPr/>
                  <p:nvPr/>
                </p:nvSpPr>
                <p:spPr bwMode="auto">
                  <a:xfrm>
                    <a:off x="5556000" y="3395983"/>
                    <a:ext cx="685521" cy="1644414"/>
                  </a:xfrm>
                  <a:prstGeom prst="rect">
                    <a:avLst/>
                  </a:prstGeom>
                  <a:solidFill>
                    <a:schemeClr val="bg2">
                      <a:alpha val="60000"/>
                    </a:schemeClr>
                  </a:solidFill>
                  <a:ln>
                    <a:no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746" name="íSľïḑè">
                    <a:extLst>
                      <a:ext uri="{FF2B5EF4-FFF2-40B4-BE49-F238E27FC236}">
                        <a16:creationId xmlns:a16="http://schemas.microsoft.com/office/drawing/2014/main" id="{FB80B148-4013-4317-9584-48802F99241B}"/>
                      </a:ext>
                    </a:extLst>
                  </p:cNvPr>
                  <p:cNvSpPr/>
                  <p:nvPr/>
                </p:nvSpPr>
                <p:spPr bwMode="auto">
                  <a:xfrm>
                    <a:off x="5799274" y="3162312"/>
                    <a:ext cx="685521" cy="1978622"/>
                  </a:xfrm>
                  <a:prstGeom prst="rect">
                    <a:avLst/>
                  </a:prstGeom>
                  <a:solidFill>
                    <a:schemeClr val="bg2">
                      <a:alpha val="80000"/>
                    </a:schemeClr>
                  </a:solidFill>
                  <a:ln>
                    <a:no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747" name="ïṡḷîḍé">
                    <a:extLst>
                      <a:ext uri="{FF2B5EF4-FFF2-40B4-BE49-F238E27FC236}">
                        <a16:creationId xmlns:a16="http://schemas.microsoft.com/office/drawing/2014/main" id="{3F225622-4B6C-4593-AA0E-41309357DFCF}"/>
                      </a:ext>
                    </a:extLst>
                  </p:cNvPr>
                  <p:cNvSpPr/>
                  <p:nvPr/>
                </p:nvSpPr>
                <p:spPr bwMode="auto">
                  <a:xfrm>
                    <a:off x="6591939" y="3162312"/>
                    <a:ext cx="685521" cy="1978622"/>
                  </a:xfrm>
                  <a:prstGeom prst="rect">
                    <a:avLst/>
                  </a:prstGeom>
                  <a:solidFill>
                    <a:schemeClr val="bg2">
                      <a:alpha val="80000"/>
                    </a:schemeClr>
                  </a:solidFill>
                  <a:ln>
                    <a:no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nvGrpSpPr>
                  <p:cNvPr id="748" name="íṩļíde">
                    <a:extLst>
                      <a:ext uri="{FF2B5EF4-FFF2-40B4-BE49-F238E27FC236}">
                        <a16:creationId xmlns:a16="http://schemas.microsoft.com/office/drawing/2014/main" id="{0987690D-8105-4077-83AC-BEC64953B06F}"/>
                      </a:ext>
                    </a:extLst>
                  </p:cNvPr>
                  <p:cNvGrpSpPr/>
                  <p:nvPr/>
                </p:nvGrpSpPr>
                <p:grpSpPr>
                  <a:xfrm>
                    <a:off x="5946887" y="3005189"/>
                    <a:ext cx="1290102" cy="1805431"/>
                    <a:chOff x="6724225" y="3262143"/>
                    <a:chExt cx="1290102" cy="1805431"/>
                  </a:xfrm>
                </p:grpSpPr>
                <p:sp>
                  <p:nvSpPr>
                    <p:cNvPr id="749" name="ísliḑe">
                      <a:extLst>
                        <a:ext uri="{FF2B5EF4-FFF2-40B4-BE49-F238E27FC236}">
                          <a16:creationId xmlns:a16="http://schemas.microsoft.com/office/drawing/2014/main" id="{D83A1DD0-4A06-4AE6-9C4F-331032E52F96}"/>
                        </a:ext>
                      </a:extLst>
                    </p:cNvPr>
                    <p:cNvSpPr>
                      <a:spLocks/>
                    </p:cNvSpPr>
                    <p:nvPr/>
                  </p:nvSpPr>
                  <p:spPr bwMode="auto">
                    <a:xfrm>
                      <a:off x="6724225" y="3861062"/>
                      <a:ext cx="1290102" cy="1206512"/>
                    </a:xfrm>
                    <a:custGeom>
                      <a:avLst/>
                      <a:gdLst>
                        <a:gd name="connsiteX0" fmla="*/ 302515 w 525007"/>
                        <a:gd name="connsiteY0" fmla="*/ 510117 h 607568"/>
                        <a:gd name="connsiteX1" fmla="*/ 290614 w 525007"/>
                        <a:gd name="connsiteY1" fmla="*/ 544777 h 607568"/>
                        <a:gd name="connsiteX2" fmla="*/ 325441 w 525007"/>
                        <a:gd name="connsiteY2" fmla="*/ 533015 h 607568"/>
                        <a:gd name="connsiteX3" fmla="*/ 399981 w 525007"/>
                        <a:gd name="connsiteY3" fmla="*/ 396626 h 607568"/>
                        <a:gd name="connsiteX4" fmla="*/ 398853 w 525007"/>
                        <a:gd name="connsiteY4" fmla="*/ 397877 h 607568"/>
                        <a:gd name="connsiteX5" fmla="*/ 313790 w 525007"/>
                        <a:gd name="connsiteY5" fmla="*/ 482839 h 607568"/>
                        <a:gd name="connsiteX6" fmla="*/ 352501 w 525007"/>
                        <a:gd name="connsiteY6" fmla="*/ 521503 h 607568"/>
                        <a:gd name="connsiteX7" fmla="*/ 398853 w 525007"/>
                        <a:gd name="connsiteY7" fmla="*/ 475206 h 607568"/>
                        <a:gd name="connsiteX8" fmla="*/ 438691 w 525007"/>
                        <a:gd name="connsiteY8" fmla="*/ 435416 h 607568"/>
                        <a:gd name="connsiteX9" fmla="*/ 435559 w 525007"/>
                        <a:gd name="connsiteY9" fmla="*/ 361465 h 607568"/>
                        <a:gd name="connsiteX10" fmla="*/ 412508 w 525007"/>
                        <a:gd name="connsiteY10" fmla="*/ 384489 h 607568"/>
                        <a:gd name="connsiteX11" fmla="*/ 451219 w 525007"/>
                        <a:gd name="connsiteY11" fmla="*/ 423153 h 607568"/>
                        <a:gd name="connsiteX12" fmla="*/ 474270 w 525007"/>
                        <a:gd name="connsiteY12" fmla="*/ 400130 h 607568"/>
                        <a:gd name="connsiteX13" fmla="*/ 377180 w 525007"/>
                        <a:gd name="connsiteY13" fmla="*/ 312040 h 607568"/>
                        <a:gd name="connsiteX14" fmla="*/ 398853 w 525007"/>
                        <a:gd name="connsiteY14" fmla="*/ 313792 h 607568"/>
                        <a:gd name="connsiteX15" fmla="*/ 525007 w 525007"/>
                        <a:gd name="connsiteY15" fmla="*/ 459690 h 607568"/>
                        <a:gd name="connsiteX16" fmla="*/ 398853 w 525007"/>
                        <a:gd name="connsiteY16" fmla="*/ 605463 h 607568"/>
                        <a:gd name="connsiteX17" fmla="*/ 377180 w 525007"/>
                        <a:gd name="connsiteY17" fmla="*/ 607215 h 607568"/>
                        <a:gd name="connsiteX18" fmla="*/ 229479 w 525007"/>
                        <a:gd name="connsiteY18" fmla="*/ 459690 h 607568"/>
                        <a:gd name="connsiteX19" fmla="*/ 377180 w 525007"/>
                        <a:gd name="connsiteY19" fmla="*/ 312040 h 607568"/>
                        <a:gd name="connsiteX20" fmla="*/ 54381 w 525007"/>
                        <a:gd name="connsiteY20" fmla="*/ 0 h 607568"/>
                        <a:gd name="connsiteX21" fmla="*/ 377911 w 525007"/>
                        <a:gd name="connsiteY21" fmla="*/ 0 h 607568"/>
                        <a:gd name="connsiteX22" fmla="*/ 388311 w 525007"/>
                        <a:gd name="connsiteY22" fmla="*/ 10384 h 607568"/>
                        <a:gd name="connsiteX23" fmla="*/ 379038 w 525007"/>
                        <a:gd name="connsiteY23" fmla="*/ 20644 h 607568"/>
                        <a:gd name="connsiteX24" fmla="*/ 377911 w 525007"/>
                        <a:gd name="connsiteY24" fmla="*/ 20769 h 607568"/>
                        <a:gd name="connsiteX25" fmla="*/ 54381 w 525007"/>
                        <a:gd name="connsiteY25" fmla="*/ 20769 h 607568"/>
                        <a:gd name="connsiteX26" fmla="*/ 20800 w 525007"/>
                        <a:gd name="connsiteY26" fmla="*/ 60807 h 607568"/>
                        <a:gd name="connsiteX27" fmla="*/ 21051 w 525007"/>
                        <a:gd name="connsiteY27" fmla="*/ 63559 h 607568"/>
                        <a:gd name="connsiteX28" fmla="*/ 54381 w 525007"/>
                        <a:gd name="connsiteY28" fmla="*/ 100969 h 607568"/>
                        <a:gd name="connsiteX29" fmla="*/ 387308 w 525007"/>
                        <a:gd name="connsiteY29" fmla="*/ 100969 h 607568"/>
                        <a:gd name="connsiteX30" fmla="*/ 387308 w 525007"/>
                        <a:gd name="connsiteY30" fmla="*/ 100719 h 607568"/>
                        <a:gd name="connsiteX31" fmla="*/ 398836 w 525007"/>
                        <a:gd name="connsiteY31" fmla="*/ 100719 h 607568"/>
                        <a:gd name="connsiteX32" fmla="*/ 398836 w 525007"/>
                        <a:gd name="connsiteY32" fmla="*/ 111354 h 607568"/>
                        <a:gd name="connsiteX33" fmla="*/ 398836 w 525007"/>
                        <a:gd name="connsiteY33" fmla="*/ 282264 h 607568"/>
                        <a:gd name="connsiteX34" fmla="*/ 377159 w 525007"/>
                        <a:gd name="connsiteY34" fmla="*/ 280887 h 607568"/>
                        <a:gd name="connsiteX35" fmla="*/ 198102 w 525007"/>
                        <a:gd name="connsiteY35" fmla="*/ 459680 h 607568"/>
                        <a:gd name="connsiteX36" fmla="*/ 276792 w 525007"/>
                        <a:gd name="connsiteY36" fmla="*/ 607568 h 607568"/>
                        <a:gd name="connsiteX37" fmla="*/ 56260 w 525007"/>
                        <a:gd name="connsiteY37" fmla="*/ 607568 h 607568"/>
                        <a:gd name="connsiteX38" fmla="*/ 125 w 525007"/>
                        <a:gd name="connsiteY38" fmla="*/ 551516 h 607568"/>
                        <a:gd name="connsiteX39" fmla="*/ 125 w 525007"/>
                        <a:gd name="connsiteY39" fmla="*/ 63809 h 607568"/>
                        <a:gd name="connsiteX40" fmla="*/ 0 w 525007"/>
                        <a:gd name="connsiteY40" fmla="*/ 60807 h 607568"/>
                        <a:gd name="connsiteX41" fmla="*/ 54381 w 525007"/>
                        <a:gd name="connsiteY41" fmla="*/ 0 h 60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525007" h="607568">
                          <a:moveTo>
                            <a:pt x="302515" y="510117"/>
                          </a:moveTo>
                          <a:lnTo>
                            <a:pt x="290614" y="544777"/>
                          </a:lnTo>
                          <a:lnTo>
                            <a:pt x="325441" y="533015"/>
                          </a:lnTo>
                          <a:close/>
                          <a:moveTo>
                            <a:pt x="399981" y="396626"/>
                          </a:moveTo>
                          <a:lnTo>
                            <a:pt x="398853" y="397877"/>
                          </a:lnTo>
                          <a:lnTo>
                            <a:pt x="313790" y="482839"/>
                          </a:lnTo>
                          <a:lnTo>
                            <a:pt x="352501" y="521503"/>
                          </a:lnTo>
                          <a:lnTo>
                            <a:pt x="398853" y="475206"/>
                          </a:lnTo>
                          <a:lnTo>
                            <a:pt x="438691" y="435416"/>
                          </a:lnTo>
                          <a:close/>
                          <a:moveTo>
                            <a:pt x="435559" y="361465"/>
                          </a:moveTo>
                          <a:lnTo>
                            <a:pt x="412508" y="384489"/>
                          </a:lnTo>
                          <a:lnTo>
                            <a:pt x="451219" y="423153"/>
                          </a:lnTo>
                          <a:lnTo>
                            <a:pt x="474270" y="400130"/>
                          </a:lnTo>
                          <a:close/>
                          <a:moveTo>
                            <a:pt x="377180" y="312040"/>
                          </a:moveTo>
                          <a:cubicBezTo>
                            <a:pt x="384572" y="312040"/>
                            <a:pt x="391713" y="312791"/>
                            <a:pt x="398853" y="313792"/>
                          </a:cubicBezTo>
                          <a:cubicBezTo>
                            <a:pt x="470011" y="324303"/>
                            <a:pt x="525007" y="385615"/>
                            <a:pt x="525007" y="459690"/>
                          </a:cubicBezTo>
                          <a:cubicBezTo>
                            <a:pt x="525007" y="533640"/>
                            <a:pt x="470011" y="594953"/>
                            <a:pt x="398853" y="605463"/>
                          </a:cubicBezTo>
                          <a:cubicBezTo>
                            <a:pt x="391713" y="606464"/>
                            <a:pt x="384572" y="607215"/>
                            <a:pt x="377180" y="607215"/>
                          </a:cubicBezTo>
                          <a:cubicBezTo>
                            <a:pt x="295751" y="607215"/>
                            <a:pt x="229479" y="541023"/>
                            <a:pt x="229479" y="459690"/>
                          </a:cubicBezTo>
                          <a:cubicBezTo>
                            <a:pt x="229479" y="378233"/>
                            <a:pt x="295751" y="312040"/>
                            <a:pt x="377180" y="312040"/>
                          </a:cubicBezTo>
                          <a:close/>
                          <a:moveTo>
                            <a:pt x="54381" y="0"/>
                          </a:moveTo>
                          <a:lnTo>
                            <a:pt x="377911" y="0"/>
                          </a:lnTo>
                          <a:cubicBezTo>
                            <a:pt x="383675" y="0"/>
                            <a:pt x="388311" y="4629"/>
                            <a:pt x="388311" y="10384"/>
                          </a:cubicBezTo>
                          <a:cubicBezTo>
                            <a:pt x="388311" y="15764"/>
                            <a:pt x="384301" y="20018"/>
                            <a:pt x="379038" y="20644"/>
                          </a:cubicBezTo>
                          <a:cubicBezTo>
                            <a:pt x="378662" y="20644"/>
                            <a:pt x="378287" y="20769"/>
                            <a:pt x="377911" y="20769"/>
                          </a:cubicBezTo>
                          <a:lnTo>
                            <a:pt x="54381" y="20769"/>
                          </a:lnTo>
                          <a:cubicBezTo>
                            <a:pt x="31200" y="20769"/>
                            <a:pt x="20800" y="40913"/>
                            <a:pt x="20800" y="60807"/>
                          </a:cubicBezTo>
                          <a:cubicBezTo>
                            <a:pt x="20800" y="61808"/>
                            <a:pt x="21051" y="62683"/>
                            <a:pt x="21051" y="63559"/>
                          </a:cubicBezTo>
                          <a:cubicBezTo>
                            <a:pt x="21928" y="82577"/>
                            <a:pt x="32203" y="100969"/>
                            <a:pt x="54381" y="100969"/>
                          </a:cubicBezTo>
                          <a:lnTo>
                            <a:pt x="387308" y="100969"/>
                          </a:lnTo>
                          <a:lnTo>
                            <a:pt x="387308" y="100719"/>
                          </a:lnTo>
                          <a:lnTo>
                            <a:pt x="398836" y="100719"/>
                          </a:lnTo>
                          <a:lnTo>
                            <a:pt x="398836" y="111354"/>
                          </a:lnTo>
                          <a:lnTo>
                            <a:pt x="398836" y="282264"/>
                          </a:lnTo>
                          <a:cubicBezTo>
                            <a:pt x="391694" y="281388"/>
                            <a:pt x="384552" y="280887"/>
                            <a:pt x="377159" y="280887"/>
                          </a:cubicBezTo>
                          <a:cubicBezTo>
                            <a:pt x="278546" y="280887"/>
                            <a:pt x="198102" y="361088"/>
                            <a:pt x="198102" y="459680"/>
                          </a:cubicBezTo>
                          <a:cubicBezTo>
                            <a:pt x="198102" y="521112"/>
                            <a:pt x="229428" y="575413"/>
                            <a:pt x="276792" y="607568"/>
                          </a:cubicBezTo>
                          <a:lnTo>
                            <a:pt x="56260" y="607568"/>
                          </a:lnTo>
                          <a:cubicBezTo>
                            <a:pt x="25311" y="607568"/>
                            <a:pt x="125" y="582420"/>
                            <a:pt x="125" y="551516"/>
                          </a:cubicBezTo>
                          <a:lnTo>
                            <a:pt x="125" y="63809"/>
                          </a:lnTo>
                          <a:cubicBezTo>
                            <a:pt x="125" y="62808"/>
                            <a:pt x="0" y="61933"/>
                            <a:pt x="0" y="60807"/>
                          </a:cubicBezTo>
                          <a:cubicBezTo>
                            <a:pt x="0" y="25649"/>
                            <a:pt x="22930" y="0"/>
                            <a:pt x="54381" y="0"/>
                          </a:cubicBezTo>
                          <a:close/>
                        </a:path>
                      </a:pathLst>
                    </a:custGeom>
                    <a:solidFill>
                      <a:schemeClr val="accent2"/>
                    </a:solidFill>
                    <a:ln>
                      <a:no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750" name="íṩḻîḑê">
                      <a:extLst>
                        <a:ext uri="{FF2B5EF4-FFF2-40B4-BE49-F238E27FC236}">
                          <a16:creationId xmlns:a16="http://schemas.microsoft.com/office/drawing/2014/main" id="{426F4F81-D9AB-4F39-99F7-6EF0E4577732}"/>
                        </a:ext>
                      </a:extLst>
                    </p:cNvPr>
                    <p:cNvSpPr/>
                    <p:nvPr/>
                  </p:nvSpPr>
                  <p:spPr>
                    <a:xfrm>
                      <a:off x="7149511" y="3262143"/>
                      <a:ext cx="135771" cy="157123"/>
                    </a:xfrm>
                    <a:custGeom>
                      <a:avLst/>
                      <a:gdLst>
                        <a:gd name="connsiteX0" fmla="*/ 302515 w 525007"/>
                        <a:gd name="connsiteY0" fmla="*/ 510117 h 607568"/>
                        <a:gd name="connsiteX1" fmla="*/ 290614 w 525007"/>
                        <a:gd name="connsiteY1" fmla="*/ 544777 h 607568"/>
                        <a:gd name="connsiteX2" fmla="*/ 325441 w 525007"/>
                        <a:gd name="connsiteY2" fmla="*/ 533015 h 607568"/>
                        <a:gd name="connsiteX3" fmla="*/ 399981 w 525007"/>
                        <a:gd name="connsiteY3" fmla="*/ 396626 h 607568"/>
                        <a:gd name="connsiteX4" fmla="*/ 398853 w 525007"/>
                        <a:gd name="connsiteY4" fmla="*/ 397877 h 607568"/>
                        <a:gd name="connsiteX5" fmla="*/ 313790 w 525007"/>
                        <a:gd name="connsiteY5" fmla="*/ 482839 h 607568"/>
                        <a:gd name="connsiteX6" fmla="*/ 352501 w 525007"/>
                        <a:gd name="connsiteY6" fmla="*/ 521503 h 607568"/>
                        <a:gd name="connsiteX7" fmla="*/ 398853 w 525007"/>
                        <a:gd name="connsiteY7" fmla="*/ 475206 h 607568"/>
                        <a:gd name="connsiteX8" fmla="*/ 438691 w 525007"/>
                        <a:gd name="connsiteY8" fmla="*/ 435416 h 607568"/>
                        <a:gd name="connsiteX9" fmla="*/ 435559 w 525007"/>
                        <a:gd name="connsiteY9" fmla="*/ 361465 h 607568"/>
                        <a:gd name="connsiteX10" fmla="*/ 412508 w 525007"/>
                        <a:gd name="connsiteY10" fmla="*/ 384489 h 607568"/>
                        <a:gd name="connsiteX11" fmla="*/ 451219 w 525007"/>
                        <a:gd name="connsiteY11" fmla="*/ 423153 h 607568"/>
                        <a:gd name="connsiteX12" fmla="*/ 474270 w 525007"/>
                        <a:gd name="connsiteY12" fmla="*/ 400130 h 607568"/>
                        <a:gd name="connsiteX13" fmla="*/ 377180 w 525007"/>
                        <a:gd name="connsiteY13" fmla="*/ 312040 h 607568"/>
                        <a:gd name="connsiteX14" fmla="*/ 398853 w 525007"/>
                        <a:gd name="connsiteY14" fmla="*/ 313792 h 607568"/>
                        <a:gd name="connsiteX15" fmla="*/ 525007 w 525007"/>
                        <a:gd name="connsiteY15" fmla="*/ 459690 h 607568"/>
                        <a:gd name="connsiteX16" fmla="*/ 398853 w 525007"/>
                        <a:gd name="connsiteY16" fmla="*/ 605463 h 607568"/>
                        <a:gd name="connsiteX17" fmla="*/ 377180 w 525007"/>
                        <a:gd name="connsiteY17" fmla="*/ 607215 h 607568"/>
                        <a:gd name="connsiteX18" fmla="*/ 229479 w 525007"/>
                        <a:gd name="connsiteY18" fmla="*/ 459690 h 607568"/>
                        <a:gd name="connsiteX19" fmla="*/ 377180 w 525007"/>
                        <a:gd name="connsiteY19" fmla="*/ 312040 h 607568"/>
                        <a:gd name="connsiteX20" fmla="*/ 54381 w 525007"/>
                        <a:gd name="connsiteY20" fmla="*/ 0 h 607568"/>
                        <a:gd name="connsiteX21" fmla="*/ 377911 w 525007"/>
                        <a:gd name="connsiteY21" fmla="*/ 0 h 607568"/>
                        <a:gd name="connsiteX22" fmla="*/ 388311 w 525007"/>
                        <a:gd name="connsiteY22" fmla="*/ 10384 h 607568"/>
                        <a:gd name="connsiteX23" fmla="*/ 379038 w 525007"/>
                        <a:gd name="connsiteY23" fmla="*/ 20644 h 607568"/>
                        <a:gd name="connsiteX24" fmla="*/ 377911 w 525007"/>
                        <a:gd name="connsiteY24" fmla="*/ 20769 h 607568"/>
                        <a:gd name="connsiteX25" fmla="*/ 54381 w 525007"/>
                        <a:gd name="connsiteY25" fmla="*/ 20769 h 607568"/>
                        <a:gd name="connsiteX26" fmla="*/ 20800 w 525007"/>
                        <a:gd name="connsiteY26" fmla="*/ 60807 h 607568"/>
                        <a:gd name="connsiteX27" fmla="*/ 21051 w 525007"/>
                        <a:gd name="connsiteY27" fmla="*/ 63559 h 607568"/>
                        <a:gd name="connsiteX28" fmla="*/ 54381 w 525007"/>
                        <a:gd name="connsiteY28" fmla="*/ 100969 h 607568"/>
                        <a:gd name="connsiteX29" fmla="*/ 387308 w 525007"/>
                        <a:gd name="connsiteY29" fmla="*/ 100969 h 607568"/>
                        <a:gd name="connsiteX30" fmla="*/ 387308 w 525007"/>
                        <a:gd name="connsiteY30" fmla="*/ 100719 h 607568"/>
                        <a:gd name="connsiteX31" fmla="*/ 398836 w 525007"/>
                        <a:gd name="connsiteY31" fmla="*/ 100719 h 607568"/>
                        <a:gd name="connsiteX32" fmla="*/ 398836 w 525007"/>
                        <a:gd name="connsiteY32" fmla="*/ 111354 h 607568"/>
                        <a:gd name="connsiteX33" fmla="*/ 398836 w 525007"/>
                        <a:gd name="connsiteY33" fmla="*/ 282264 h 607568"/>
                        <a:gd name="connsiteX34" fmla="*/ 377159 w 525007"/>
                        <a:gd name="connsiteY34" fmla="*/ 280887 h 607568"/>
                        <a:gd name="connsiteX35" fmla="*/ 198102 w 525007"/>
                        <a:gd name="connsiteY35" fmla="*/ 459680 h 607568"/>
                        <a:gd name="connsiteX36" fmla="*/ 276792 w 525007"/>
                        <a:gd name="connsiteY36" fmla="*/ 607568 h 607568"/>
                        <a:gd name="connsiteX37" fmla="*/ 56260 w 525007"/>
                        <a:gd name="connsiteY37" fmla="*/ 607568 h 607568"/>
                        <a:gd name="connsiteX38" fmla="*/ 125 w 525007"/>
                        <a:gd name="connsiteY38" fmla="*/ 551516 h 607568"/>
                        <a:gd name="connsiteX39" fmla="*/ 125 w 525007"/>
                        <a:gd name="connsiteY39" fmla="*/ 63809 h 607568"/>
                        <a:gd name="connsiteX40" fmla="*/ 0 w 525007"/>
                        <a:gd name="connsiteY40" fmla="*/ 60807 h 607568"/>
                        <a:gd name="connsiteX41" fmla="*/ 54381 w 525007"/>
                        <a:gd name="connsiteY41" fmla="*/ 0 h 60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525007" h="607568">
                          <a:moveTo>
                            <a:pt x="302515" y="510117"/>
                          </a:moveTo>
                          <a:lnTo>
                            <a:pt x="290614" y="544777"/>
                          </a:lnTo>
                          <a:lnTo>
                            <a:pt x="325441" y="533015"/>
                          </a:lnTo>
                          <a:close/>
                          <a:moveTo>
                            <a:pt x="399981" y="396626"/>
                          </a:moveTo>
                          <a:lnTo>
                            <a:pt x="398853" y="397877"/>
                          </a:lnTo>
                          <a:lnTo>
                            <a:pt x="313790" y="482839"/>
                          </a:lnTo>
                          <a:lnTo>
                            <a:pt x="352501" y="521503"/>
                          </a:lnTo>
                          <a:lnTo>
                            <a:pt x="398853" y="475206"/>
                          </a:lnTo>
                          <a:lnTo>
                            <a:pt x="438691" y="435416"/>
                          </a:lnTo>
                          <a:close/>
                          <a:moveTo>
                            <a:pt x="435559" y="361465"/>
                          </a:moveTo>
                          <a:lnTo>
                            <a:pt x="412508" y="384489"/>
                          </a:lnTo>
                          <a:lnTo>
                            <a:pt x="451219" y="423153"/>
                          </a:lnTo>
                          <a:lnTo>
                            <a:pt x="474270" y="400130"/>
                          </a:lnTo>
                          <a:close/>
                          <a:moveTo>
                            <a:pt x="377180" y="312040"/>
                          </a:moveTo>
                          <a:cubicBezTo>
                            <a:pt x="384572" y="312040"/>
                            <a:pt x="391713" y="312791"/>
                            <a:pt x="398853" y="313792"/>
                          </a:cubicBezTo>
                          <a:cubicBezTo>
                            <a:pt x="470011" y="324303"/>
                            <a:pt x="525007" y="385615"/>
                            <a:pt x="525007" y="459690"/>
                          </a:cubicBezTo>
                          <a:cubicBezTo>
                            <a:pt x="525007" y="533640"/>
                            <a:pt x="470011" y="594953"/>
                            <a:pt x="398853" y="605463"/>
                          </a:cubicBezTo>
                          <a:cubicBezTo>
                            <a:pt x="391713" y="606464"/>
                            <a:pt x="384572" y="607215"/>
                            <a:pt x="377180" y="607215"/>
                          </a:cubicBezTo>
                          <a:cubicBezTo>
                            <a:pt x="295751" y="607215"/>
                            <a:pt x="229479" y="541023"/>
                            <a:pt x="229479" y="459690"/>
                          </a:cubicBezTo>
                          <a:cubicBezTo>
                            <a:pt x="229479" y="378233"/>
                            <a:pt x="295751" y="312040"/>
                            <a:pt x="377180" y="312040"/>
                          </a:cubicBezTo>
                          <a:close/>
                          <a:moveTo>
                            <a:pt x="54381" y="0"/>
                          </a:moveTo>
                          <a:lnTo>
                            <a:pt x="377911" y="0"/>
                          </a:lnTo>
                          <a:cubicBezTo>
                            <a:pt x="383675" y="0"/>
                            <a:pt x="388311" y="4629"/>
                            <a:pt x="388311" y="10384"/>
                          </a:cubicBezTo>
                          <a:cubicBezTo>
                            <a:pt x="388311" y="15764"/>
                            <a:pt x="384301" y="20018"/>
                            <a:pt x="379038" y="20644"/>
                          </a:cubicBezTo>
                          <a:cubicBezTo>
                            <a:pt x="378662" y="20644"/>
                            <a:pt x="378287" y="20769"/>
                            <a:pt x="377911" y="20769"/>
                          </a:cubicBezTo>
                          <a:lnTo>
                            <a:pt x="54381" y="20769"/>
                          </a:lnTo>
                          <a:cubicBezTo>
                            <a:pt x="31200" y="20769"/>
                            <a:pt x="20800" y="40913"/>
                            <a:pt x="20800" y="60807"/>
                          </a:cubicBezTo>
                          <a:cubicBezTo>
                            <a:pt x="20800" y="61808"/>
                            <a:pt x="21051" y="62683"/>
                            <a:pt x="21051" y="63559"/>
                          </a:cubicBezTo>
                          <a:cubicBezTo>
                            <a:pt x="21928" y="82577"/>
                            <a:pt x="32203" y="100969"/>
                            <a:pt x="54381" y="100969"/>
                          </a:cubicBezTo>
                          <a:lnTo>
                            <a:pt x="387308" y="100969"/>
                          </a:lnTo>
                          <a:lnTo>
                            <a:pt x="387308" y="100719"/>
                          </a:lnTo>
                          <a:lnTo>
                            <a:pt x="398836" y="100719"/>
                          </a:lnTo>
                          <a:lnTo>
                            <a:pt x="398836" y="111354"/>
                          </a:lnTo>
                          <a:lnTo>
                            <a:pt x="398836" y="282264"/>
                          </a:lnTo>
                          <a:cubicBezTo>
                            <a:pt x="391694" y="281388"/>
                            <a:pt x="384552" y="280887"/>
                            <a:pt x="377159" y="280887"/>
                          </a:cubicBezTo>
                          <a:cubicBezTo>
                            <a:pt x="278546" y="280887"/>
                            <a:pt x="198102" y="361088"/>
                            <a:pt x="198102" y="459680"/>
                          </a:cubicBezTo>
                          <a:cubicBezTo>
                            <a:pt x="198102" y="521112"/>
                            <a:pt x="229428" y="575413"/>
                            <a:pt x="276792" y="607568"/>
                          </a:cubicBezTo>
                          <a:lnTo>
                            <a:pt x="56260" y="607568"/>
                          </a:lnTo>
                          <a:cubicBezTo>
                            <a:pt x="25311" y="607568"/>
                            <a:pt x="125" y="582420"/>
                            <a:pt x="125" y="551516"/>
                          </a:cubicBezTo>
                          <a:lnTo>
                            <a:pt x="125" y="63809"/>
                          </a:lnTo>
                          <a:cubicBezTo>
                            <a:pt x="125" y="62808"/>
                            <a:pt x="0" y="61933"/>
                            <a:pt x="0" y="60807"/>
                          </a:cubicBezTo>
                          <a:cubicBezTo>
                            <a:pt x="0" y="25649"/>
                            <a:pt x="22930" y="0"/>
                            <a:pt x="5438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p>
                  </p:txBody>
                </p:sp>
                <p:sp>
                  <p:nvSpPr>
                    <p:cNvPr id="751" name="íṥļïḓe">
                      <a:extLst>
                        <a:ext uri="{FF2B5EF4-FFF2-40B4-BE49-F238E27FC236}">
                          <a16:creationId xmlns:a16="http://schemas.microsoft.com/office/drawing/2014/main" id="{E67C9E9A-156F-432B-B412-7CCD93C1C266}"/>
                        </a:ext>
                      </a:extLst>
                    </p:cNvPr>
                    <p:cNvSpPr/>
                    <p:nvPr/>
                  </p:nvSpPr>
                  <p:spPr>
                    <a:xfrm>
                      <a:off x="7395268" y="3262143"/>
                      <a:ext cx="135771" cy="157123"/>
                    </a:xfrm>
                    <a:custGeom>
                      <a:avLst/>
                      <a:gdLst>
                        <a:gd name="connsiteX0" fmla="*/ 302515 w 525007"/>
                        <a:gd name="connsiteY0" fmla="*/ 510117 h 607568"/>
                        <a:gd name="connsiteX1" fmla="*/ 290614 w 525007"/>
                        <a:gd name="connsiteY1" fmla="*/ 544777 h 607568"/>
                        <a:gd name="connsiteX2" fmla="*/ 325441 w 525007"/>
                        <a:gd name="connsiteY2" fmla="*/ 533015 h 607568"/>
                        <a:gd name="connsiteX3" fmla="*/ 399981 w 525007"/>
                        <a:gd name="connsiteY3" fmla="*/ 396626 h 607568"/>
                        <a:gd name="connsiteX4" fmla="*/ 398853 w 525007"/>
                        <a:gd name="connsiteY4" fmla="*/ 397877 h 607568"/>
                        <a:gd name="connsiteX5" fmla="*/ 313790 w 525007"/>
                        <a:gd name="connsiteY5" fmla="*/ 482839 h 607568"/>
                        <a:gd name="connsiteX6" fmla="*/ 352501 w 525007"/>
                        <a:gd name="connsiteY6" fmla="*/ 521503 h 607568"/>
                        <a:gd name="connsiteX7" fmla="*/ 398853 w 525007"/>
                        <a:gd name="connsiteY7" fmla="*/ 475206 h 607568"/>
                        <a:gd name="connsiteX8" fmla="*/ 438691 w 525007"/>
                        <a:gd name="connsiteY8" fmla="*/ 435416 h 607568"/>
                        <a:gd name="connsiteX9" fmla="*/ 435559 w 525007"/>
                        <a:gd name="connsiteY9" fmla="*/ 361465 h 607568"/>
                        <a:gd name="connsiteX10" fmla="*/ 412508 w 525007"/>
                        <a:gd name="connsiteY10" fmla="*/ 384489 h 607568"/>
                        <a:gd name="connsiteX11" fmla="*/ 451219 w 525007"/>
                        <a:gd name="connsiteY11" fmla="*/ 423153 h 607568"/>
                        <a:gd name="connsiteX12" fmla="*/ 474270 w 525007"/>
                        <a:gd name="connsiteY12" fmla="*/ 400130 h 607568"/>
                        <a:gd name="connsiteX13" fmla="*/ 377180 w 525007"/>
                        <a:gd name="connsiteY13" fmla="*/ 312040 h 607568"/>
                        <a:gd name="connsiteX14" fmla="*/ 398853 w 525007"/>
                        <a:gd name="connsiteY14" fmla="*/ 313792 h 607568"/>
                        <a:gd name="connsiteX15" fmla="*/ 525007 w 525007"/>
                        <a:gd name="connsiteY15" fmla="*/ 459690 h 607568"/>
                        <a:gd name="connsiteX16" fmla="*/ 398853 w 525007"/>
                        <a:gd name="connsiteY16" fmla="*/ 605463 h 607568"/>
                        <a:gd name="connsiteX17" fmla="*/ 377180 w 525007"/>
                        <a:gd name="connsiteY17" fmla="*/ 607215 h 607568"/>
                        <a:gd name="connsiteX18" fmla="*/ 229479 w 525007"/>
                        <a:gd name="connsiteY18" fmla="*/ 459690 h 607568"/>
                        <a:gd name="connsiteX19" fmla="*/ 377180 w 525007"/>
                        <a:gd name="connsiteY19" fmla="*/ 312040 h 607568"/>
                        <a:gd name="connsiteX20" fmla="*/ 54381 w 525007"/>
                        <a:gd name="connsiteY20" fmla="*/ 0 h 607568"/>
                        <a:gd name="connsiteX21" fmla="*/ 377911 w 525007"/>
                        <a:gd name="connsiteY21" fmla="*/ 0 h 607568"/>
                        <a:gd name="connsiteX22" fmla="*/ 388311 w 525007"/>
                        <a:gd name="connsiteY22" fmla="*/ 10384 h 607568"/>
                        <a:gd name="connsiteX23" fmla="*/ 379038 w 525007"/>
                        <a:gd name="connsiteY23" fmla="*/ 20644 h 607568"/>
                        <a:gd name="connsiteX24" fmla="*/ 377911 w 525007"/>
                        <a:gd name="connsiteY24" fmla="*/ 20769 h 607568"/>
                        <a:gd name="connsiteX25" fmla="*/ 54381 w 525007"/>
                        <a:gd name="connsiteY25" fmla="*/ 20769 h 607568"/>
                        <a:gd name="connsiteX26" fmla="*/ 20800 w 525007"/>
                        <a:gd name="connsiteY26" fmla="*/ 60807 h 607568"/>
                        <a:gd name="connsiteX27" fmla="*/ 21051 w 525007"/>
                        <a:gd name="connsiteY27" fmla="*/ 63559 h 607568"/>
                        <a:gd name="connsiteX28" fmla="*/ 54381 w 525007"/>
                        <a:gd name="connsiteY28" fmla="*/ 100969 h 607568"/>
                        <a:gd name="connsiteX29" fmla="*/ 387308 w 525007"/>
                        <a:gd name="connsiteY29" fmla="*/ 100969 h 607568"/>
                        <a:gd name="connsiteX30" fmla="*/ 387308 w 525007"/>
                        <a:gd name="connsiteY30" fmla="*/ 100719 h 607568"/>
                        <a:gd name="connsiteX31" fmla="*/ 398836 w 525007"/>
                        <a:gd name="connsiteY31" fmla="*/ 100719 h 607568"/>
                        <a:gd name="connsiteX32" fmla="*/ 398836 w 525007"/>
                        <a:gd name="connsiteY32" fmla="*/ 111354 h 607568"/>
                        <a:gd name="connsiteX33" fmla="*/ 398836 w 525007"/>
                        <a:gd name="connsiteY33" fmla="*/ 282264 h 607568"/>
                        <a:gd name="connsiteX34" fmla="*/ 377159 w 525007"/>
                        <a:gd name="connsiteY34" fmla="*/ 280887 h 607568"/>
                        <a:gd name="connsiteX35" fmla="*/ 198102 w 525007"/>
                        <a:gd name="connsiteY35" fmla="*/ 459680 h 607568"/>
                        <a:gd name="connsiteX36" fmla="*/ 276792 w 525007"/>
                        <a:gd name="connsiteY36" fmla="*/ 607568 h 607568"/>
                        <a:gd name="connsiteX37" fmla="*/ 56260 w 525007"/>
                        <a:gd name="connsiteY37" fmla="*/ 607568 h 607568"/>
                        <a:gd name="connsiteX38" fmla="*/ 125 w 525007"/>
                        <a:gd name="connsiteY38" fmla="*/ 551516 h 607568"/>
                        <a:gd name="connsiteX39" fmla="*/ 125 w 525007"/>
                        <a:gd name="connsiteY39" fmla="*/ 63809 h 607568"/>
                        <a:gd name="connsiteX40" fmla="*/ 0 w 525007"/>
                        <a:gd name="connsiteY40" fmla="*/ 60807 h 607568"/>
                        <a:gd name="connsiteX41" fmla="*/ 54381 w 525007"/>
                        <a:gd name="connsiteY41" fmla="*/ 0 h 60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525007" h="607568">
                          <a:moveTo>
                            <a:pt x="302515" y="510117"/>
                          </a:moveTo>
                          <a:lnTo>
                            <a:pt x="290614" y="544777"/>
                          </a:lnTo>
                          <a:lnTo>
                            <a:pt x="325441" y="533015"/>
                          </a:lnTo>
                          <a:close/>
                          <a:moveTo>
                            <a:pt x="399981" y="396626"/>
                          </a:moveTo>
                          <a:lnTo>
                            <a:pt x="398853" y="397877"/>
                          </a:lnTo>
                          <a:lnTo>
                            <a:pt x="313790" y="482839"/>
                          </a:lnTo>
                          <a:lnTo>
                            <a:pt x="352501" y="521503"/>
                          </a:lnTo>
                          <a:lnTo>
                            <a:pt x="398853" y="475206"/>
                          </a:lnTo>
                          <a:lnTo>
                            <a:pt x="438691" y="435416"/>
                          </a:lnTo>
                          <a:close/>
                          <a:moveTo>
                            <a:pt x="435559" y="361465"/>
                          </a:moveTo>
                          <a:lnTo>
                            <a:pt x="412508" y="384489"/>
                          </a:lnTo>
                          <a:lnTo>
                            <a:pt x="451219" y="423153"/>
                          </a:lnTo>
                          <a:lnTo>
                            <a:pt x="474270" y="400130"/>
                          </a:lnTo>
                          <a:close/>
                          <a:moveTo>
                            <a:pt x="377180" y="312040"/>
                          </a:moveTo>
                          <a:cubicBezTo>
                            <a:pt x="384572" y="312040"/>
                            <a:pt x="391713" y="312791"/>
                            <a:pt x="398853" y="313792"/>
                          </a:cubicBezTo>
                          <a:cubicBezTo>
                            <a:pt x="470011" y="324303"/>
                            <a:pt x="525007" y="385615"/>
                            <a:pt x="525007" y="459690"/>
                          </a:cubicBezTo>
                          <a:cubicBezTo>
                            <a:pt x="525007" y="533640"/>
                            <a:pt x="470011" y="594953"/>
                            <a:pt x="398853" y="605463"/>
                          </a:cubicBezTo>
                          <a:cubicBezTo>
                            <a:pt x="391713" y="606464"/>
                            <a:pt x="384572" y="607215"/>
                            <a:pt x="377180" y="607215"/>
                          </a:cubicBezTo>
                          <a:cubicBezTo>
                            <a:pt x="295751" y="607215"/>
                            <a:pt x="229479" y="541023"/>
                            <a:pt x="229479" y="459690"/>
                          </a:cubicBezTo>
                          <a:cubicBezTo>
                            <a:pt x="229479" y="378233"/>
                            <a:pt x="295751" y="312040"/>
                            <a:pt x="377180" y="312040"/>
                          </a:cubicBezTo>
                          <a:close/>
                          <a:moveTo>
                            <a:pt x="54381" y="0"/>
                          </a:moveTo>
                          <a:lnTo>
                            <a:pt x="377911" y="0"/>
                          </a:lnTo>
                          <a:cubicBezTo>
                            <a:pt x="383675" y="0"/>
                            <a:pt x="388311" y="4629"/>
                            <a:pt x="388311" y="10384"/>
                          </a:cubicBezTo>
                          <a:cubicBezTo>
                            <a:pt x="388311" y="15764"/>
                            <a:pt x="384301" y="20018"/>
                            <a:pt x="379038" y="20644"/>
                          </a:cubicBezTo>
                          <a:cubicBezTo>
                            <a:pt x="378662" y="20644"/>
                            <a:pt x="378287" y="20769"/>
                            <a:pt x="377911" y="20769"/>
                          </a:cubicBezTo>
                          <a:lnTo>
                            <a:pt x="54381" y="20769"/>
                          </a:lnTo>
                          <a:cubicBezTo>
                            <a:pt x="31200" y="20769"/>
                            <a:pt x="20800" y="40913"/>
                            <a:pt x="20800" y="60807"/>
                          </a:cubicBezTo>
                          <a:cubicBezTo>
                            <a:pt x="20800" y="61808"/>
                            <a:pt x="21051" y="62683"/>
                            <a:pt x="21051" y="63559"/>
                          </a:cubicBezTo>
                          <a:cubicBezTo>
                            <a:pt x="21928" y="82577"/>
                            <a:pt x="32203" y="100969"/>
                            <a:pt x="54381" y="100969"/>
                          </a:cubicBezTo>
                          <a:lnTo>
                            <a:pt x="387308" y="100969"/>
                          </a:lnTo>
                          <a:lnTo>
                            <a:pt x="387308" y="100719"/>
                          </a:lnTo>
                          <a:lnTo>
                            <a:pt x="398836" y="100719"/>
                          </a:lnTo>
                          <a:lnTo>
                            <a:pt x="398836" y="111354"/>
                          </a:lnTo>
                          <a:lnTo>
                            <a:pt x="398836" y="282264"/>
                          </a:lnTo>
                          <a:cubicBezTo>
                            <a:pt x="391694" y="281388"/>
                            <a:pt x="384552" y="280887"/>
                            <a:pt x="377159" y="280887"/>
                          </a:cubicBezTo>
                          <a:cubicBezTo>
                            <a:pt x="278546" y="280887"/>
                            <a:pt x="198102" y="361088"/>
                            <a:pt x="198102" y="459680"/>
                          </a:cubicBezTo>
                          <a:cubicBezTo>
                            <a:pt x="198102" y="521112"/>
                            <a:pt x="229428" y="575413"/>
                            <a:pt x="276792" y="607568"/>
                          </a:cubicBezTo>
                          <a:lnTo>
                            <a:pt x="56260" y="607568"/>
                          </a:lnTo>
                          <a:cubicBezTo>
                            <a:pt x="25311" y="607568"/>
                            <a:pt x="125" y="582420"/>
                            <a:pt x="125" y="551516"/>
                          </a:cubicBezTo>
                          <a:lnTo>
                            <a:pt x="125" y="63809"/>
                          </a:lnTo>
                          <a:cubicBezTo>
                            <a:pt x="125" y="62808"/>
                            <a:pt x="0" y="61933"/>
                            <a:pt x="0" y="60807"/>
                          </a:cubicBezTo>
                          <a:cubicBezTo>
                            <a:pt x="0" y="25649"/>
                            <a:pt x="22930" y="0"/>
                            <a:pt x="5438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p>
                  </p:txBody>
                </p:sp>
              </p:grpSp>
            </p:grpSp>
            <p:sp>
              <p:nvSpPr>
                <p:cNvPr id="743" name="íṥḷïḋê">
                  <a:extLst>
                    <a:ext uri="{FF2B5EF4-FFF2-40B4-BE49-F238E27FC236}">
                      <a16:creationId xmlns:a16="http://schemas.microsoft.com/office/drawing/2014/main" id="{E1372AF5-EEFC-4318-9CAB-EC3A7F675762}"/>
                    </a:ext>
                  </a:extLst>
                </p:cNvPr>
                <p:cNvSpPr txBox="1"/>
                <p:nvPr/>
              </p:nvSpPr>
              <p:spPr bwMode="auto">
                <a:xfrm>
                  <a:off x="1093111" y="4476236"/>
                  <a:ext cx="2650980" cy="698059"/>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normAutofit fontScale="92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lnSpc>
                      <a:spcPct val="100000"/>
                    </a:lnSpc>
                    <a:spcBef>
                      <a:spcPct val="0"/>
                    </a:spcBef>
                  </a:pPr>
                  <a:r>
                    <a:rPr lang="zh-CN" altLang="en-US" sz="2000" b="1" dirty="0" smtClean="0"/>
                    <a:t>编辑</a:t>
                  </a:r>
                  <a:endParaRPr lang="en-US" altLang="zh-CN" sz="2000" b="1" dirty="0"/>
                </a:p>
              </p:txBody>
            </p:sp>
          </p:grpSp>
          <p:grpSp>
            <p:nvGrpSpPr>
              <p:cNvPr id="674" name="îṥľïdè">
                <a:extLst>
                  <a:ext uri="{FF2B5EF4-FFF2-40B4-BE49-F238E27FC236}">
                    <a16:creationId xmlns:a16="http://schemas.microsoft.com/office/drawing/2014/main" id="{2731B828-9ED1-40E8-824A-0E0F5A8C713D}"/>
                  </a:ext>
                </a:extLst>
              </p:cNvPr>
              <p:cNvGrpSpPr/>
              <p:nvPr/>
            </p:nvGrpSpPr>
            <p:grpSpPr>
              <a:xfrm>
                <a:off x="4361144" y="2353827"/>
                <a:ext cx="1608225" cy="1948235"/>
                <a:chOff x="1093111" y="1962852"/>
                <a:chExt cx="2650980" cy="3211443"/>
              </a:xfrm>
            </p:grpSpPr>
            <p:grpSp>
              <p:nvGrpSpPr>
                <p:cNvPr id="726" name="iṡḻîďe">
                  <a:extLst>
                    <a:ext uri="{FF2B5EF4-FFF2-40B4-BE49-F238E27FC236}">
                      <a16:creationId xmlns:a16="http://schemas.microsoft.com/office/drawing/2014/main" id="{9D9B80E9-20E6-4B0D-80F9-0A12FB36B486}"/>
                    </a:ext>
                  </a:extLst>
                </p:cNvPr>
                <p:cNvGrpSpPr/>
                <p:nvPr/>
              </p:nvGrpSpPr>
              <p:grpSpPr>
                <a:xfrm>
                  <a:off x="1187843" y="1962852"/>
                  <a:ext cx="2461517" cy="2354931"/>
                  <a:chOff x="5556000" y="3162312"/>
                  <a:chExt cx="2068177" cy="1978622"/>
                </a:xfrm>
              </p:grpSpPr>
              <p:sp>
                <p:nvSpPr>
                  <p:cNvPr id="728" name="ïṥļîḓé">
                    <a:extLst>
                      <a:ext uri="{FF2B5EF4-FFF2-40B4-BE49-F238E27FC236}">
                        <a16:creationId xmlns:a16="http://schemas.microsoft.com/office/drawing/2014/main" id="{36AA41D7-6C7D-4E76-B664-69FAF019CD78}"/>
                      </a:ext>
                    </a:extLst>
                  </p:cNvPr>
                  <p:cNvSpPr/>
                  <p:nvPr/>
                </p:nvSpPr>
                <p:spPr bwMode="auto">
                  <a:xfrm>
                    <a:off x="6938656" y="3395983"/>
                    <a:ext cx="685521" cy="1644414"/>
                  </a:xfrm>
                  <a:prstGeom prst="rect">
                    <a:avLst/>
                  </a:prstGeom>
                  <a:solidFill>
                    <a:schemeClr val="bg2">
                      <a:alpha val="60000"/>
                    </a:schemeClr>
                  </a:solidFill>
                  <a:ln>
                    <a:no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729" name="îṡ1îḓé">
                    <a:extLst>
                      <a:ext uri="{FF2B5EF4-FFF2-40B4-BE49-F238E27FC236}">
                        <a16:creationId xmlns:a16="http://schemas.microsoft.com/office/drawing/2014/main" id="{281CDF38-63E2-4611-BCA1-4E3667D50DAA}"/>
                      </a:ext>
                    </a:extLst>
                  </p:cNvPr>
                  <p:cNvSpPr/>
                  <p:nvPr/>
                </p:nvSpPr>
                <p:spPr bwMode="auto">
                  <a:xfrm>
                    <a:off x="5556000" y="3395983"/>
                    <a:ext cx="685521" cy="1644414"/>
                  </a:xfrm>
                  <a:prstGeom prst="rect">
                    <a:avLst/>
                  </a:prstGeom>
                  <a:solidFill>
                    <a:schemeClr val="bg2">
                      <a:alpha val="60000"/>
                    </a:schemeClr>
                  </a:solidFill>
                  <a:ln>
                    <a:no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730" name="íśḷîḋé">
                    <a:extLst>
                      <a:ext uri="{FF2B5EF4-FFF2-40B4-BE49-F238E27FC236}">
                        <a16:creationId xmlns:a16="http://schemas.microsoft.com/office/drawing/2014/main" id="{4AC00ADE-1F00-46C4-854B-8DB9F64E06C8}"/>
                      </a:ext>
                    </a:extLst>
                  </p:cNvPr>
                  <p:cNvSpPr/>
                  <p:nvPr/>
                </p:nvSpPr>
                <p:spPr bwMode="auto">
                  <a:xfrm>
                    <a:off x="5799274" y="3162312"/>
                    <a:ext cx="685521" cy="1978622"/>
                  </a:xfrm>
                  <a:prstGeom prst="rect">
                    <a:avLst/>
                  </a:prstGeom>
                  <a:solidFill>
                    <a:schemeClr val="bg2">
                      <a:alpha val="80000"/>
                    </a:schemeClr>
                  </a:solidFill>
                  <a:ln>
                    <a:no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731" name="íṥļïďé">
                    <a:extLst>
                      <a:ext uri="{FF2B5EF4-FFF2-40B4-BE49-F238E27FC236}">
                        <a16:creationId xmlns:a16="http://schemas.microsoft.com/office/drawing/2014/main" id="{ABB1AB3E-E75A-4D10-8EF4-7A8E63E1A6AD}"/>
                      </a:ext>
                    </a:extLst>
                  </p:cNvPr>
                  <p:cNvSpPr/>
                  <p:nvPr/>
                </p:nvSpPr>
                <p:spPr bwMode="auto">
                  <a:xfrm>
                    <a:off x="6591939" y="3162312"/>
                    <a:ext cx="685521" cy="1978622"/>
                  </a:xfrm>
                  <a:prstGeom prst="rect">
                    <a:avLst/>
                  </a:prstGeom>
                  <a:solidFill>
                    <a:schemeClr val="bg2">
                      <a:alpha val="80000"/>
                    </a:schemeClr>
                  </a:solidFill>
                  <a:ln>
                    <a:no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733" name="iṧḷiḓé">
                    <a:extLst>
                      <a:ext uri="{FF2B5EF4-FFF2-40B4-BE49-F238E27FC236}">
                        <a16:creationId xmlns:a16="http://schemas.microsoft.com/office/drawing/2014/main" id="{D0182FB4-4C55-44A3-8C93-A98A32CA2386}"/>
                      </a:ext>
                    </a:extLst>
                  </p:cNvPr>
                  <p:cNvSpPr>
                    <a:spLocks/>
                  </p:cNvSpPr>
                  <p:nvPr/>
                </p:nvSpPr>
                <p:spPr bwMode="auto">
                  <a:xfrm>
                    <a:off x="5914820" y="3604105"/>
                    <a:ext cx="1290103" cy="1206513"/>
                  </a:xfrm>
                  <a:custGeom>
                    <a:avLst/>
                    <a:gdLst>
                      <a:gd name="T0" fmla="*/ 921 w 4323"/>
                      <a:gd name="T1" fmla="*/ 2707 h 4412"/>
                      <a:gd name="T2" fmla="*/ 264 w 4323"/>
                      <a:gd name="T3" fmla="*/ 3363 h 4412"/>
                      <a:gd name="T4" fmla="*/ 161 w 4323"/>
                      <a:gd name="T5" fmla="*/ 3406 h 4412"/>
                      <a:gd name="T6" fmla="*/ 57 w 4323"/>
                      <a:gd name="T7" fmla="*/ 3363 h 4412"/>
                      <a:gd name="T8" fmla="*/ 57 w 4323"/>
                      <a:gd name="T9" fmla="*/ 3156 h 4412"/>
                      <a:gd name="T10" fmla="*/ 714 w 4323"/>
                      <a:gd name="T11" fmla="*/ 2499 h 4412"/>
                      <a:gd name="T12" fmla="*/ 921 w 4323"/>
                      <a:gd name="T13" fmla="*/ 2499 h 4412"/>
                      <a:gd name="T14" fmla="*/ 921 w 4323"/>
                      <a:gd name="T15" fmla="*/ 2707 h 4412"/>
                      <a:gd name="T16" fmla="*/ 1260 w 4323"/>
                      <a:gd name="T17" fmla="*/ 3965 h 4412"/>
                      <a:gd name="T18" fmla="*/ 1063 w 4323"/>
                      <a:gd name="T19" fmla="*/ 4162 h 4412"/>
                      <a:gd name="T20" fmla="*/ 1063 w 4323"/>
                      <a:gd name="T21" fmla="*/ 4369 h 4412"/>
                      <a:gd name="T22" fmla="*/ 1167 w 4323"/>
                      <a:gd name="T23" fmla="*/ 4412 h 4412"/>
                      <a:gd name="T24" fmla="*/ 1270 w 4323"/>
                      <a:gd name="T25" fmla="*/ 4369 h 4412"/>
                      <a:gd name="T26" fmla="*/ 1468 w 4323"/>
                      <a:gd name="T27" fmla="*/ 4172 h 4412"/>
                      <a:gd name="T28" fmla="*/ 1468 w 4323"/>
                      <a:gd name="T29" fmla="*/ 3965 h 4412"/>
                      <a:gd name="T30" fmla="*/ 1260 w 4323"/>
                      <a:gd name="T31" fmla="*/ 3965 h 4412"/>
                      <a:gd name="T32" fmla="*/ 4152 w 4323"/>
                      <a:gd name="T33" fmla="*/ 662 h 4412"/>
                      <a:gd name="T34" fmla="*/ 4108 w 4323"/>
                      <a:gd name="T35" fmla="*/ 772 h 4412"/>
                      <a:gd name="T36" fmla="*/ 3152 w 4323"/>
                      <a:gd name="T37" fmla="*/ 3223 h 4412"/>
                      <a:gd name="T38" fmla="*/ 2751 w 4323"/>
                      <a:gd name="T39" fmla="*/ 3788 h 4412"/>
                      <a:gd name="T40" fmla="*/ 2700 w 4323"/>
                      <a:gd name="T41" fmla="*/ 3794 h 4412"/>
                      <a:gd name="T42" fmla="*/ 2347 w 4323"/>
                      <a:gd name="T43" fmla="*/ 3564 h 4412"/>
                      <a:gd name="T44" fmla="*/ 2337 w 4323"/>
                      <a:gd name="T45" fmla="*/ 3554 h 4412"/>
                      <a:gd name="T46" fmla="*/ 792 w 4323"/>
                      <a:gd name="T47" fmla="*/ 3655 h 4412"/>
                      <a:gd name="T48" fmla="*/ 648 w 4323"/>
                      <a:gd name="T49" fmla="*/ 3569 h 4412"/>
                      <a:gd name="T50" fmla="*/ 678 w 4323"/>
                      <a:gd name="T51" fmla="*/ 3405 h 4412"/>
                      <a:gd name="T52" fmla="*/ 1433 w 4323"/>
                      <a:gd name="T53" fmla="*/ 2650 h 4412"/>
                      <a:gd name="T54" fmla="*/ 786 w 4323"/>
                      <a:gd name="T55" fmla="*/ 2003 h 4412"/>
                      <a:gd name="T56" fmla="*/ 524 w 4323"/>
                      <a:gd name="T57" fmla="*/ 1515 h 4412"/>
                      <a:gd name="T58" fmla="*/ 993 w 4323"/>
                      <a:gd name="T59" fmla="*/ 1180 h 4412"/>
                      <a:gd name="T60" fmla="*/ 1103 w 4323"/>
                      <a:gd name="T61" fmla="*/ 1138 h 4412"/>
                      <a:gd name="T62" fmla="*/ 3554 w 4323"/>
                      <a:gd name="T63" fmla="*/ 181 h 4412"/>
                      <a:gd name="T64" fmla="*/ 4206 w 4323"/>
                      <a:gd name="T65" fmla="*/ 115 h 4412"/>
                      <a:gd name="T66" fmla="*/ 4152 w 4323"/>
                      <a:gd name="T67" fmla="*/ 662 h 4412"/>
                      <a:gd name="T68" fmla="*/ 3955 w 4323"/>
                      <a:gd name="T69" fmla="*/ 355 h 4412"/>
                      <a:gd name="T70" fmla="*/ 3661 w 4323"/>
                      <a:gd name="T71" fmla="*/ 454 h 4412"/>
                      <a:gd name="T72" fmla="*/ 1209 w 4323"/>
                      <a:gd name="T73" fmla="*/ 1411 h 4412"/>
                      <a:gd name="T74" fmla="*/ 1097 w 4323"/>
                      <a:gd name="T75" fmla="*/ 1454 h 4412"/>
                      <a:gd name="T76" fmla="*/ 816 w 4323"/>
                      <a:gd name="T77" fmla="*/ 1579 h 4412"/>
                      <a:gd name="T78" fmla="*/ 994 w 4323"/>
                      <a:gd name="T79" fmla="*/ 1795 h 4412"/>
                      <a:gd name="T80" fmla="*/ 1641 w 4323"/>
                      <a:gd name="T81" fmla="*/ 2443 h 4412"/>
                      <a:gd name="T82" fmla="*/ 2965 w 4323"/>
                      <a:gd name="T83" fmla="*/ 1119 h 4412"/>
                      <a:gd name="T84" fmla="*/ 3172 w 4323"/>
                      <a:gd name="T85" fmla="*/ 1119 h 4412"/>
                      <a:gd name="T86" fmla="*/ 3172 w 4323"/>
                      <a:gd name="T87" fmla="*/ 1326 h 4412"/>
                      <a:gd name="T88" fmla="*/ 1745 w 4323"/>
                      <a:gd name="T89" fmla="*/ 2753 h 4412"/>
                      <a:gd name="T90" fmla="*/ 1745 w 4323"/>
                      <a:gd name="T91" fmla="*/ 2754 h 4412"/>
                      <a:gd name="T92" fmla="*/ 1744 w 4323"/>
                      <a:gd name="T93" fmla="*/ 2754 h 4412"/>
                      <a:gd name="T94" fmla="*/ 1161 w 4323"/>
                      <a:gd name="T95" fmla="*/ 3337 h 4412"/>
                      <a:gd name="T96" fmla="*/ 2062 w 4323"/>
                      <a:gd name="T97" fmla="*/ 3278 h 4412"/>
                      <a:gd name="T98" fmla="*/ 1888 w 4323"/>
                      <a:gd name="T99" fmla="*/ 3104 h 4412"/>
                      <a:gd name="T100" fmla="*/ 1888 w 4323"/>
                      <a:gd name="T101" fmla="*/ 2897 h 4412"/>
                      <a:gd name="T102" fmla="*/ 1992 w 4323"/>
                      <a:gd name="T103" fmla="*/ 2854 h 4412"/>
                      <a:gd name="T104" fmla="*/ 2095 w 4323"/>
                      <a:gd name="T105" fmla="*/ 2897 h 4412"/>
                      <a:gd name="T106" fmla="*/ 2488 w 4323"/>
                      <a:gd name="T107" fmla="*/ 3290 h 4412"/>
                      <a:gd name="T108" fmla="*/ 2557 w 4323"/>
                      <a:gd name="T109" fmla="*/ 3359 h 4412"/>
                      <a:gd name="T110" fmla="*/ 2696 w 4323"/>
                      <a:gd name="T111" fmla="*/ 3491 h 4412"/>
                      <a:gd name="T112" fmla="*/ 2878 w 4323"/>
                      <a:gd name="T113" fmla="*/ 3117 h 4412"/>
                      <a:gd name="T114" fmla="*/ 3835 w 4323"/>
                      <a:gd name="T115" fmla="*/ 665 h 4412"/>
                      <a:gd name="T116" fmla="*/ 3879 w 4323"/>
                      <a:gd name="T117" fmla="*/ 553 h 4412"/>
                      <a:gd name="T118" fmla="*/ 3955 w 4323"/>
                      <a:gd name="T119" fmla="*/ 355 h 4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323" h="4412">
                        <a:moveTo>
                          <a:pt x="921" y="2707"/>
                        </a:moveTo>
                        <a:lnTo>
                          <a:pt x="264" y="3363"/>
                        </a:lnTo>
                        <a:cubicBezTo>
                          <a:pt x="236" y="3392"/>
                          <a:pt x="198" y="3406"/>
                          <a:pt x="161" y="3406"/>
                        </a:cubicBezTo>
                        <a:cubicBezTo>
                          <a:pt x="123" y="3406"/>
                          <a:pt x="86" y="3392"/>
                          <a:pt x="57" y="3363"/>
                        </a:cubicBezTo>
                        <a:cubicBezTo>
                          <a:pt x="0" y="3306"/>
                          <a:pt x="0" y="3213"/>
                          <a:pt x="57" y="3156"/>
                        </a:cubicBezTo>
                        <a:lnTo>
                          <a:pt x="714" y="2499"/>
                        </a:lnTo>
                        <a:cubicBezTo>
                          <a:pt x="771" y="2442"/>
                          <a:pt x="864" y="2442"/>
                          <a:pt x="921" y="2499"/>
                        </a:cubicBezTo>
                        <a:cubicBezTo>
                          <a:pt x="978" y="2556"/>
                          <a:pt x="978" y="2649"/>
                          <a:pt x="921" y="2707"/>
                        </a:cubicBezTo>
                        <a:close/>
                        <a:moveTo>
                          <a:pt x="1260" y="3965"/>
                        </a:moveTo>
                        <a:lnTo>
                          <a:pt x="1063" y="4162"/>
                        </a:lnTo>
                        <a:cubicBezTo>
                          <a:pt x="1006" y="4219"/>
                          <a:pt x="1006" y="4312"/>
                          <a:pt x="1063" y="4369"/>
                        </a:cubicBezTo>
                        <a:cubicBezTo>
                          <a:pt x="1092" y="4398"/>
                          <a:pt x="1129" y="4412"/>
                          <a:pt x="1167" y="4412"/>
                        </a:cubicBezTo>
                        <a:cubicBezTo>
                          <a:pt x="1204" y="4412"/>
                          <a:pt x="1242" y="4398"/>
                          <a:pt x="1270" y="4369"/>
                        </a:cubicBezTo>
                        <a:lnTo>
                          <a:pt x="1468" y="4172"/>
                        </a:lnTo>
                        <a:cubicBezTo>
                          <a:pt x="1525" y="4115"/>
                          <a:pt x="1525" y="4022"/>
                          <a:pt x="1468" y="3965"/>
                        </a:cubicBezTo>
                        <a:cubicBezTo>
                          <a:pt x="1410" y="3908"/>
                          <a:pt x="1318" y="3908"/>
                          <a:pt x="1260" y="3965"/>
                        </a:cubicBezTo>
                        <a:close/>
                        <a:moveTo>
                          <a:pt x="4152" y="662"/>
                        </a:moveTo>
                        <a:cubicBezTo>
                          <a:pt x="4138" y="697"/>
                          <a:pt x="4123" y="733"/>
                          <a:pt x="4108" y="772"/>
                        </a:cubicBezTo>
                        <a:lnTo>
                          <a:pt x="3152" y="3223"/>
                        </a:lnTo>
                        <a:cubicBezTo>
                          <a:pt x="3016" y="3572"/>
                          <a:pt x="2916" y="3755"/>
                          <a:pt x="2751" y="3788"/>
                        </a:cubicBezTo>
                        <a:cubicBezTo>
                          <a:pt x="2734" y="3792"/>
                          <a:pt x="2716" y="3794"/>
                          <a:pt x="2700" y="3794"/>
                        </a:cubicBezTo>
                        <a:cubicBezTo>
                          <a:pt x="2571" y="3794"/>
                          <a:pt x="2470" y="3691"/>
                          <a:pt x="2347" y="3564"/>
                        </a:cubicBezTo>
                        <a:cubicBezTo>
                          <a:pt x="2343" y="3561"/>
                          <a:pt x="2340" y="3557"/>
                          <a:pt x="2337" y="3554"/>
                        </a:cubicBezTo>
                        <a:lnTo>
                          <a:pt x="792" y="3655"/>
                        </a:lnTo>
                        <a:cubicBezTo>
                          <a:pt x="731" y="3659"/>
                          <a:pt x="674" y="3625"/>
                          <a:pt x="648" y="3569"/>
                        </a:cubicBezTo>
                        <a:cubicBezTo>
                          <a:pt x="623" y="3514"/>
                          <a:pt x="635" y="3448"/>
                          <a:pt x="678" y="3405"/>
                        </a:cubicBezTo>
                        <a:lnTo>
                          <a:pt x="1433" y="2650"/>
                        </a:lnTo>
                        <a:lnTo>
                          <a:pt x="786" y="2003"/>
                        </a:lnTo>
                        <a:cubicBezTo>
                          <a:pt x="600" y="1816"/>
                          <a:pt x="491" y="1670"/>
                          <a:pt x="524" y="1515"/>
                        </a:cubicBezTo>
                        <a:cubicBezTo>
                          <a:pt x="560" y="1345"/>
                          <a:pt x="732" y="1280"/>
                          <a:pt x="993" y="1180"/>
                        </a:cubicBezTo>
                        <a:cubicBezTo>
                          <a:pt x="1028" y="1167"/>
                          <a:pt x="1064" y="1153"/>
                          <a:pt x="1103" y="1138"/>
                        </a:cubicBezTo>
                        <a:lnTo>
                          <a:pt x="3554" y="181"/>
                        </a:lnTo>
                        <a:cubicBezTo>
                          <a:pt x="3905" y="44"/>
                          <a:pt x="4091" y="0"/>
                          <a:pt x="4206" y="115"/>
                        </a:cubicBezTo>
                        <a:cubicBezTo>
                          <a:pt x="4323" y="233"/>
                          <a:pt x="4255" y="404"/>
                          <a:pt x="4152" y="662"/>
                        </a:cubicBezTo>
                        <a:close/>
                        <a:moveTo>
                          <a:pt x="3955" y="355"/>
                        </a:moveTo>
                        <a:cubicBezTo>
                          <a:pt x="3900" y="368"/>
                          <a:pt x="3809" y="397"/>
                          <a:pt x="3661" y="454"/>
                        </a:cubicBezTo>
                        <a:lnTo>
                          <a:pt x="1209" y="1411"/>
                        </a:lnTo>
                        <a:cubicBezTo>
                          <a:pt x="1170" y="1427"/>
                          <a:pt x="1133" y="1441"/>
                          <a:pt x="1097" y="1454"/>
                        </a:cubicBezTo>
                        <a:cubicBezTo>
                          <a:pt x="990" y="1495"/>
                          <a:pt x="858" y="1546"/>
                          <a:pt x="816" y="1579"/>
                        </a:cubicBezTo>
                        <a:cubicBezTo>
                          <a:pt x="826" y="1604"/>
                          <a:pt x="863" y="1665"/>
                          <a:pt x="994" y="1795"/>
                        </a:cubicBezTo>
                        <a:lnTo>
                          <a:pt x="1641" y="2443"/>
                        </a:lnTo>
                        <a:lnTo>
                          <a:pt x="2965" y="1119"/>
                        </a:lnTo>
                        <a:cubicBezTo>
                          <a:pt x="3022" y="1062"/>
                          <a:pt x="3115" y="1062"/>
                          <a:pt x="3172" y="1119"/>
                        </a:cubicBezTo>
                        <a:cubicBezTo>
                          <a:pt x="3229" y="1176"/>
                          <a:pt x="3229" y="1269"/>
                          <a:pt x="3172" y="1326"/>
                        </a:cubicBezTo>
                        <a:lnTo>
                          <a:pt x="1745" y="2753"/>
                        </a:lnTo>
                        <a:cubicBezTo>
                          <a:pt x="1745" y="2753"/>
                          <a:pt x="1745" y="2753"/>
                          <a:pt x="1745" y="2754"/>
                        </a:cubicBezTo>
                        <a:cubicBezTo>
                          <a:pt x="1744" y="2754"/>
                          <a:pt x="1744" y="2754"/>
                          <a:pt x="1744" y="2754"/>
                        </a:cubicBezTo>
                        <a:lnTo>
                          <a:pt x="1161" y="3337"/>
                        </a:lnTo>
                        <a:lnTo>
                          <a:pt x="2062" y="3278"/>
                        </a:lnTo>
                        <a:lnTo>
                          <a:pt x="1888" y="3104"/>
                        </a:lnTo>
                        <a:cubicBezTo>
                          <a:pt x="1831" y="3047"/>
                          <a:pt x="1831" y="2954"/>
                          <a:pt x="1888" y="2897"/>
                        </a:cubicBezTo>
                        <a:cubicBezTo>
                          <a:pt x="1916" y="2868"/>
                          <a:pt x="1954" y="2854"/>
                          <a:pt x="1992" y="2854"/>
                        </a:cubicBezTo>
                        <a:cubicBezTo>
                          <a:pt x="2029" y="2854"/>
                          <a:pt x="2067" y="2868"/>
                          <a:pt x="2095" y="2897"/>
                        </a:cubicBezTo>
                        <a:lnTo>
                          <a:pt x="2488" y="3290"/>
                        </a:lnTo>
                        <a:cubicBezTo>
                          <a:pt x="2513" y="3314"/>
                          <a:pt x="2535" y="3337"/>
                          <a:pt x="2557" y="3359"/>
                        </a:cubicBezTo>
                        <a:cubicBezTo>
                          <a:pt x="2604" y="3408"/>
                          <a:pt x="2662" y="3467"/>
                          <a:pt x="2696" y="3491"/>
                        </a:cubicBezTo>
                        <a:cubicBezTo>
                          <a:pt x="2723" y="3461"/>
                          <a:pt x="2779" y="3372"/>
                          <a:pt x="2878" y="3117"/>
                        </a:cubicBezTo>
                        <a:lnTo>
                          <a:pt x="3835" y="665"/>
                        </a:lnTo>
                        <a:cubicBezTo>
                          <a:pt x="3850" y="626"/>
                          <a:pt x="3865" y="589"/>
                          <a:pt x="3879" y="553"/>
                        </a:cubicBezTo>
                        <a:cubicBezTo>
                          <a:pt x="3906" y="488"/>
                          <a:pt x="3936" y="412"/>
                          <a:pt x="3955" y="355"/>
                        </a:cubicBezTo>
                        <a:close/>
                      </a:path>
                    </a:pathLst>
                  </a:custGeom>
                  <a:solidFill>
                    <a:schemeClr val="accent3"/>
                  </a:solidFill>
                  <a:ln>
                    <a:no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sp>
              <p:nvSpPr>
                <p:cNvPr id="727" name="íṡḷîdé">
                  <a:extLst>
                    <a:ext uri="{FF2B5EF4-FFF2-40B4-BE49-F238E27FC236}">
                      <a16:creationId xmlns:a16="http://schemas.microsoft.com/office/drawing/2014/main" id="{7C3E9EA2-E0CC-48DB-BBF2-DF684B0D5908}"/>
                    </a:ext>
                  </a:extLst>
                </p:cNvPr>
                <p:cNvSpPr txBox="1"/>
                <p:nvPr/>
              </p:nvSpPr>
              <p:spPr bwMode="auto">
                <a:xfrm>
                  <a:off x="1093111" y="4476236"/>
                  <a:ext cx="2650980" cy="698059"/>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normAutofit fontScale="92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lnSpc>
                      <a:spcPct val="100000"/>
                    </a:lnSpc>
                    <a:spcBef>
                      <a:spcPct val="0"/>
                    </a:spcBef>
                  </a:pPr>
                  <a:r>
                    <a:rPr lang="zh-CN" altLang="en-US" sz="2000" b="1" dirty="0" smtClean="0"/>
                    <a:t>分享</a:t>
                  </a:r>
                  <a:endParaRPr lang="en-US" altLang="zh-CN" sz="2000" b="1" dirty="0"/>
                </a:p>
              </p:txBody>
            </p:sp>
          </p:grpSp>
          <p:grpSp>
            <p:nvGrpSpPr>
              <p:cNvPr id="675" name="íşľîḍê">
                <a:extLst>
                  <a:ext uri="{FF2B5EF4-FFF2-40B4-BE49-F238E27FC236}">
                    <a16:creationId xmlns:a16="http://schemas.microsoft.com/office/drawing/2014/main" id="{4C8193BD-CC7D-4694-A15A-832F23EF9FDE}"/>
                  </a:ext>
                </a:extLst>
              </p:cNvPr>
              <p:cNvGrpSpPr/>
              <p:nvPr/>
            </p:nvGrpSpPr>
            <p:grpSpPr>
              <a:xfrm>
                <a:off x="6206754" y="2353826"/>
                <a:ext cx="1608225" cy="1948236"/>
                <a:chOff x="1093111" y="1962849"/>
                <a:chExt cx="2650980" cy="3211446"/>
              </a:xfrm>
            </p:grpSpPr>
            <p:grpSp>
              <p:nvGrpSpPr>
                <p:cNvPr id="710" name="işḷíḑè">
                  <a:extLst>
                    <a:ext uri="{FF2B5EF4-FFF2-40B4-BE49-F238E27FC236}">
                      <a16:creationId xmlns:a16="http://schemas.microsoft.com/office/drawing/2014/main" id="{B9A003F7-CB07-427E-9C4E-C016CEB57451}"/>
                    </a:ext>
                  </a:extLst>
                </p:cNvPr>
                <p:cNvGrpSpPr/>
                <p:nvPr/>
              </p:nvGrpSpPr>
              <p:grpSpPr>
                <a:xfrm>
                  <a:off x="1187842" y="1962849"/>
                  <a:ext cx="2461517" cy="2354929"/>
                  <a:chOff x="5556000" y="3162312"/>
                  <a:chExt cx="2068177" cy="1978622"/>
                </a:xfrm>
              </p:grpSpPr>
              <p:sp>
                <p:nvSpPr>
                  <p:cNvPr id="712" name="íṥļídé">
                    <a:extLst>
                      <a:ext uri="{FF2B5EF4-FFF2-40B4-BE49-F238E27FC236}">
                        <a16:creationId xmlns:a16="http://schemas.microsoft.com/office/drawing/2014/main" id="{3763419E-4FEB-4A34-92BC-DC78D979EE0E}"/>
                      </a:ext>
                    </a:extLst>
                  </p:cNvPr>
                  <p:cNvSpPr/>
                  <p:nvPr/>
                </p:nvSpPr>
                <p:spPr bwMode="auto">
                  <a:xfrm>
                    <a:off x="6938656" y="3395983"/>
                    <a:ext cx="685521" cy="1644414"/>
                  </a:xfrm>
                  <a:prstGeom prst="rect">
                    <a:avLst/>
                  </a:prstGeom>
                  <a:solidFill>
                    <a:schemeClr val="bg2">
                      <a:alpha val="60000"/>
                    </a:schemeClr>
                  </a:solidFill>
                  <a:ln>
                    <a:no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713" name="ïṥḷïďê">
                    <a:extLst>
                      <a:ext uri="{FF2B5EF4-FFF2-40B4-BE49-F238E27FC236}">
                        <a16:creationId xmlns:a16="http://schemas.microsoft.com/office/drawing/2014/main" id="{74EF2B78-2417-4F93-921E-9D3719B99A65}"/>
                      </a:ext>
                    </a:extLst>
                  </p:cNvPr>
                  <p:cNvSpPr/>
                  <p:nvPr/>
                </p:nvSpPr>
                <p:spPr bwMode="auto">
                  <a:xfrm>
                    <a:off x="5556000" y="3395983"/>
                    <a:ext cx="685521" cy="1644414"/>
                  </a:xfrm>
                  <a:prstGeom prst="rect">
                    <a:avLst/>
                  </a:prstGeom>
                  <a:solidFill>
                    <a:schemeClr val="bg2">
                      <a:alpha val="60000"/>
                    </a:schemeClr>
                  </a:solidFill>
                  <a:ln>
                    <a:no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714" name="íšľiḍe">
                    <a:extLst>
                      <a:ext uri="{FF2B5EF4-FFF2-40B4-BE49-F238E27FC236}">
                        <a16:creationId xmlns:a16="http://schemas.microsoft.com/office/drawing/2014/main" id="{DC5559BD-A2E3-4CD6-AC7B-B6355E32161B}"/>
                      </a:ext>
                    </a:extLst>
                  </p:cNvPr>
                  <p:cNvSpPr/>
                  <p:nvPr/>
                </p:nvSpPr>
                <p:spPr bwMode="auto">
                  <a:xfrm>
                    <a:off x="5799274" y="3162312"/>
                    <a:ext cx="685521" cy="1978622"/>
                  </a:xfrm>
                  <a:prstGeom prst="rect">
                    <a:avLst/>
                  </a:prstGeom>
                  <a:solidFill>
                    <a:schemeClr val="bg2">
                      <a:alpha val="80000"/>
                    </a:schemeClr>
                  </a:solidFill>
                  <a:ln>
                    <a:no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715" name="íṡlïḓè">
                    <a:extLst>
                      <a:ext uri="{FF2B5EF4-FFF2-40B4-BE49-F238E27FC236}">
                        <a16:creationId xmlns:a16="http://schemas.microsoft.com/office/drawing/2014/main" id="{899F316A-939C-4AA5-8BBE-0476746363E6}"/>
                      </a:ext>
                    </a:extLst>
                  </p:cNvPr>
                  <p:cNvSpPr/>
                  <p:nvPr/>
                </p:nvSpPr>
                <p:spPr bwMode="auto">
                  <a:xfrm>
                    <a:off x="6591939" y="3162312"/>
                    <a:ext cx="685521" cy="1978622"/>
                  </a:xfrm>
                  <a:prstGeom prst="rect">
                    <a:avLst/>
                  </a:prstGeom>
                  <a:solidFill>
                    <a:schemeClr val="bg2">
                      <a:alpha val="80000"/>
                    </a:schemeClr>
                  </a:solidFill>
                  <a:ln>
                    <a:no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717" name="ïS1îde">
                    <a:extLst>
                      <a:ext uri="{FF2B5EF4-FFF2-40B4-BE49-F238E27FC236}">
                        <a16:creationId xmlns:a16="http://schemas.microsoft.com/office/drawing/2014/main" id="{A5E79F69-5DA1-437A-819B-67B88ED0F040}"/>
                      </a:ext>
                    </a:extLst>
                  </p:cNvPr>
                  <p:cNvSpPr>
                    <a:spLocks/>
                  </p:cNvSpPr>
                  <p:nvPr/>
                </p:nvSpPr>
                <p:spPr bwMode="auto">
                  <a:xfrm>
                    <a:off x="5825827" y="3604110"/>
                    <a:ext cx="1290102" cy="1206511"/>
                  </a:xfrm>
                  <a:custGeom>
                    <a:avLst/>
                    <a:gdLst>
                      <a:gd name="connsiteX0" fmla="*/ 304094 w 608274"/>
                      <a:gd name="connsiteY0" fmla="*/ 322696 h 607851"/>
                      <a:gd name="connsiteX1" fmla="*/ 313714 w 608274"/>
                      <a:gd name="connsiteY1" fmla="*/ 322696 h 607851"/>
                      <a:gd name="connsiteX2" fmla="*/ 323238 w 608274"/>
                      <a:gd name="connsiteY2" fmla="*/ 322696 h 607851"/>
                      <a:gd name="connsiteX3" fmla="*/ 383955 w 608274"/>
                      <a:gd name="connsiteY3" fmla="*/ 322696 h 607851"/>
                      <a:gd name="connsiteX4" fmla="*/ 376716 w 608274"/>
                      <a:gd name="connsiteY4" fmla="*/ 356882 h 607851"/>
                      <a:gd name="connsiteX5" fmla="*/ 400003 w 608274"/>
                      <a:gd name="connsiteY5" fmla="*/ 411893 h 607851"/>
                      <a:gd name="connsiteX6" fmla="*/ 455101 w 608274"/>
                      <a:gd name="connsiteY6" fmla="*/ 435238 h 607851"/>
                      <a:gd name="connsiteX7" fmla="*/ 456244 w 608274"/>
                      <a:gd name="connsiteY7" fmla="*/ 435238 h 607851"/>
                      <a:gd name="connsiteX8" fmla="*/ 512484 w 608274"/>
                      <a:gd name="connsiteY8" fmla="*/ 411988 h 607851"/>
                      <a:gd name="connsiteX9" fmla="*/ 535771 w 608274"/>
                      <a:gd name="connsiteY9" fmla="*/ 355836 h 607851"/>
                      <a:gd name="connsiteX10" fmla="*/ 528533 w 608274"/>
                      <a:gd name="connsiteY10" fmla="*/ 322696 h 607851"/>
                      <a:gd name="connsiteX11" fmla="*/ 608203 w 608274"/>
                      <a:gd name="connsiteY11" fmla="*/ 322696 h 607851"/>
                      <a:gd name="connsiteX12" fmla="*/ 608203 w 608274"/>
                      <a:gd name="connsiteY12" fmla="*/ 582156 h 607851"/>
                      <a:gd name="connsiteX13" fmla="*/ 582821 w 608274"/>
                      <a:gd name="connsiteY13" fmla="*/ 607498 h 607851"/>
                      <a:gd name="connsiteX14" fmla="*/ 323238 w 608274"/>
                      <a:gd name="connsiteY14" fmla="*/ 607498 h 607851"/>
                      <a:gd name="connsiteX15" fmla="*/ 313714 w 608274"/>
                      <a:gd name="connsiteY15" fmla="*/ 607498 h 607851"/>
                      <a:gd name="connsiteX16" fmla="*/ 304189 w 608274"/>
                      <a:gd name="connsiteY16" fmla="*/ 607498 h 607851"/>
                      <a:gd name="connsiteX17" fmla="*/ 304094 w 608274"/>
                      <a:gd name="connsiteY17" fmla="*/ 607498 h 607851"/>
                      <a:gd name="connsiteX18" fmla="*/ 304094 w 608274"/>
                      <a:gd name="connsiteY18" fmla="*/ 493910 h 607851"/>
                      <a:gd name="connsiteX19" fmla="*/ 304094 w 608274"/>
                      <a:gd name="connsiteY19" fmla="*/ 493482 h 607851"/>
                      <a:gd name="connsiteX20" fmla="*/ 288760 w 608274"/>
                      <a:gd name="connsiteY20" fmla="*/ 503562 h 607851"/>
                      <a:gd name="connsiteX21" fmla="*/ 251854 w 608274"/>
                      <a:gd name="connsiteY21" fmla="*/ 516067 h 607851"/>
                      <a:gd name="connsiteX22" fmla="*/ 199232 w 608274"/>
                      <a:gd name="connsiteY22" fmla="*/ 485495 h 607851"/>
                      <a:gd name="connsiteX23" fmla="*/ 191375 w 608274"/>
                      <a:gd name="connsiteY23" fmla="*/ 454827 h 607851"/>
                      <a:gd name="connsiteX24" fmla="*/ 251092 w 608274"/>
                      <a:gd name="connsiteY24" fmla="*/ 395299 h 607851"/>
                      <a:gd name="connsiteX25" fmla="*/ 251854 w 608274"/>
                      <a:gd name="connsiteY25" fmla="*/ 395299 h 607851"/>
                      <a:gd name="connsiteX26" fmla="*/ 288760 w 608274"/>
                      <a:gd name="connsiteY26" fmla="*/ 407852 h 607851"/>
                      <a:gd name="connsiteX27" fmla="*/ 304094 w 608274"/>
                      <a:gd name="connsiteY27" fmla="*/ 417884 h 607851"/>
                      <a:gd name="connsiteX28" fmla="*/ 152127 w 608274"/>
                      <a:gd name="connsiteY28" fmla="*/ 191656 h 607851"/>
                      <a:gd name="connsiteX29" fmla="*/ 152984 w 608274"/>
                      <a:gd name="connsiteY29" fmla="*/ 191656 h 607851"/>
                      <a:gd name="connsiteX30" fmla="*/ 212616 w 608274"/>
                      <a:gd name="connsiteY30" fmla="*/ 251282 h 607851"/>
                      <a:gd name="connsiteX31" fmla="*/ 199566 w 608274"/>
                      <a:gd name="connsiteY31" fmla="*/ 289464 h 607851"/>
                      <a:gd name="connsiteX32" fmla="*/ 189945 w 608274"/>
                      <a:gd name="connsiteY32" fmla="*/ 304204 h 607851"/>
                      <a:gd name="connsiteX33" fmla="*/ 285155 w 608274"/>
                      <a:gd name="connsiteY33" fmla="*/ 304204 h 607851"/>
                      <a:gd name="connsiteX34" fmla="*/ 285060 w 608274"/>
                      <a:gd name="connsiteY34" fmla="*/ 383516 h 607851"/>
                      <a:gd name="connsiteX35" fmla="*/ 251862 w 608274"/>
                      <a:gd name="connsiteY35" fmla="*/ 376288 h 607851"/>
                      <a:gd name="connsiteX36" fmla="*/ 250862 w 608274"/>
                      <a:gd name="connsiteY36" fmla="*/ 376288 h 607851"/>
                      <a:gd name="connsiteX37" fmla="*/ 195708 w 608274"/>
                      <a:gd name="connsiteY37" fmla="*/ 399540 h 607851"/>
                      <a:gd name="connsiteX38" fmla="*/ 172322 w 608274"/>
                      <a:gd name="connsiteY38" fmla="*/ 454601 h 607851"/>
                      <a:gd name="connsiteX39" fmla="*/ 195231 w 608274"/>
                      <a:gd name="connsiteY39" fmla="*/ 511470 h 607851"/>
                      <a:gd name="connsiteX40" fmla="*/ 220618 w 608274"/>
                      <a:gd name="connsiteY40" fmla="*/ 528778 h 607851"/>
                      <a:gd name="connsiteX41" fmla="*/ 251862 w 608274"/>
                      <a:gd name="connsiteY41" fmla="*/ 535102 h 607851"/>
                      <a:gd name="connsiteX42" fmla="*/ 285060 w 608274"/>
                      <a:gd name="connsiteY42" fmla="*/ 527874 h 607851"/>
                      <a:gd name="connsiteX43" fmla="*/ 285060 w 608274"/>
                      <a:gd name="connsiteY43" fmla="*/ 607518 h 607851"/>
                      <a:gd name="connsiteX44" fmla="*/ 285060 w 608274"/>
                      <a:gd name="connsiteY44" fmla="*/ 607851 h 607851"/>
                      <a:gd name="connsiteX45" fmla="*/ 25434 w 608274"/>
                      <a:gd name="connsiteY45" fmla="*/ 607851 h 607851"/>
                      <a:gd name="connsiteX46" fmla="*/ 0 w 608274"/>
                      <a:gd name="connsiteY46" fmla="*/ 582508 h 607851"/>
                      <a:gd name="connsiteX47" fmla="*/ 0 w 608274"/>
                      <a:gd name="connsiteY47" fmla="*/ 329548 h 607851"/>
                      <a:gd name="connsiteX48" fmla="*/ 25434 w 608274"/>
                      <a:gd name="connsiteY48" fmla="*/ 304204 h 607851"/>
                      <a:gd name="connsiteX49" fmla="*/ 114262 w 608274"/>
                      <a:gd name="connsiteY49" fmla="*/ 304204 h 607851"/>
                      <a:gd name="connsiteX50" fmla="*/ 104593 w 608274"/>
                      <a:gd name="connsiteY50" fmla="*/ 289417 h 607851"/>
                      <a:gd name="connsiteX51" fmla="*/ 91591 w 608274"/>
                      <a:gd name="connsiteY51" fmla="*/ 252043 h 607851"/>
                      <a:gd name="connsiteX52" fmla="*/ 152127 w 608274"/>
                      <a:gd name="connsiteY52" fmla="*/ 191656 h 607851"/>
                      <a:gd name="connsiteX53" fmla="*/ 304208 w 608274"/>
                      <a:gd name="connsiteY53" fmla="*/ 0 h 607851"/>
                      <a:gd name="connsiteX54" fmla="*/ 582895 w 608274"/>
                      <a:gd name="connsiteY54" fmla="*/ 0 h 607851"/>
                      <a:gd name="connsiteX55" fmla="*/ 608274 w 608274"/>
                      <a:gd name="connsiteY55" fmla="*/ 25344 h 607851"/>
                      <a:gd name="connsiteX56" fmla="*/ 608274 w 608274"/>
                      <a:gd name="connsiteY56" fmla="*/ 292854 h 607851"/>
                      <a:gd name="connsiteX57" fmla="*/ 608274 w 608274"/>
                      <a:gd name="connsiteY57" fmla="*/ 303647 h 607851"/>
                      <a:gd name="connsiteX58" fmla="*/ 606512 w 608274"/>
                      <a:gd name="connsiteY58" fmla="*/ 303647 h 607851"/>
                      <a:gd name="connsiteX59" fmla="*/ 494095 w 608274"/>
                      <a:gd name="connsiteY59" fmla="*/ 303647 h 607851"/>
                      <a:gd name="connsiteX60" fmla="*/ 494190 w 608274"/>
                      <a:gd name="connsiteY60" fmla="*/ 303837 h 607851"/>
                      <a:gd name="connsiteX61" fmla="*/ 504189 w 608274"/>
                      <a:gd name="connsiteY61" fmla="*/ 319053 h 607851"/>
                      <a:gd name="connsiteX62" fmla="*/ 516711 w 608274"/>
                      <a:gd name="connsiteY62" fmla="*/ 355808 h 607851"/>
                      <a:gd name="connsiteX63" fmla="*/ 496856 w 608274"/>
                      <a:gd name="connsiteY63" fmla="*/ 400552 h 607851"/>
                      <a:gd name="connsiteX64" fmla="*/ 456241 w 608274"/>
                      <a:gd name="connsiteY64" fmla="*/ 416195 h 607851"/>
                      <a:gd name="connsiteX65" fmla="*/ 455384 w 608274"/>
                      <a:gd name="connsiteY65" fmla="*/ 416195 h 607851"/>
                      <a:gd name="connsiteX66" fmla="*/ 395771 w 608274"/>
                      <a:gd name="connsiteY66" fmla="*/ 356617 h 607851"/>
                      <a:gd name="connsiteX67" fmla="*/ 408246 w 608274"/>
                      <a:gd name="connsiteY67" fmla="*/ 319053 h 607851"/>
                      <a:gd name="connsiteX68" fmla="*/ 418387 w 608274"/>
                      <a:gd name="connsiteY68" fmla="*/ 303647 h 607851"/>
                      <a:gd name="connsiteX69" fmla="*/ 323254 w 608274"/>
                      <a:gd name="connsiteY69" fmla="*/ 303647 h 607851"/>
                      <a:gd name="connsiteX70" fmla="*/ 304208 w 608274"/>
                      <a:gd name="connsiteY70" fmla="*/ 303647 h 607851"/>
                      <a:gd name="connsiteX71" fmla="*/ 304208 w 608274"/>
                      <a:gd name="connsiteY71" fmla="*/ 187152 h 607851"/>
                      <a:gd name="connsiteX72" fmla="*/ 317683 w 608274"/>
                      <a:gd name="connsiteY72" fmla="*/ 198279 h 607851"/>
                      <a:gd name="connsiteX73" fmla="*/ 356298 w 608274"/>
                      <a:gd name="connsiteY73" fmla="*/ 212211 h 607851"/>
                      <a:gd name="connsiteX74" fmla="*/ 357108 w 608274"/>
                      <a:gd name="connsiteY74" fmla="*/ 212211 h 607851"/>
                      <a:gd name="connsiteX75" fmla="*/ 416769 w 608274"/>
                      <a:gd name="connsiteY75" fmla="*/ 152680 h 607851"/>
                      <a:gd name="connsiteX76" fmla="*/ 356298 w 608274"/>
                      <a:gd name="connsiteY76" fmla="*/ 91437 h 607851"/>
                      <a:gd name="connsiteX77" fmla="*/ 317683 w 608274"/>
                      <a:gd name="connsiteY77" fmla="*/ 105368 h 607851"/>
                      <a:gd name="connsiteX78" fmla="*/ 304208 w 608274"/>
                      <a:gd name="connsiteY78" fmla="*/ 116495 h 607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608274" h="607851">
                        <a:moveTo>
                          <a:pt x="304094" y="322696"/>
                        </a:moveTo>
                        <a:lnTo>
                          <a:pt x="313714" y="322696"/>
                        </a:lnTo>
                        <a:lnTo>
                          <a:pt x="323238" y="322696"/>
                        </a:lnTo>
                        <a:lnTo>
                          <a:pt x="383955" y="322696"/>
                        </a:lnTo>
                        <a:cubicBezTo>
                          <a:pt x="379050" y="333347"/>
                          <a:pt x="376574" y="344995"/>
                          <a:pt x="376716" y="356882"/>
                        </a:cubicBezTo>
                        <a:cubicBezTo>
                          <a:pt x="376955" y="377612"/>
                          <a:pt x="385241" y="397154"/>
                          <a:pt x="400003" y="411893"/>
                        </a:cubicBezTo>
                        <a:cubicBezTo>
                          <a:pt x="414766" y="426680"/>
                          <a:pt x="434338" y="434953"/>
                          <a:pt x="455101" y="435238"/>
                        </a:cubicBezTo>
                        <a:cubicBezTo>
                          <a:pt x="455482" y="435238"/>
                          <a:pt x="455863" y="435238"/>
                          <a:pt x="456244" y="435238"/>
                        </a:cubicBezTo>
                        <a:cubicBezTo>
                          <a:pt x="477483" y="435238"/>
                          <a:pt x="497436" y="427013"/>
                          <a:pt x="512484" y="411988"/>
                        </a:cubicBezTo>
                        <a:cubicBezTo>
                          <a:pt x="527485" y="397011"/>
                          <a:pt x="535771" y="377042"/>
                          <a:pt x="535771" y="355836"/>
                        </a:cubicBezTo>
                        <a:cubicBezTo>
                          <a:pt x="535771" y="344330"/>
                          <a:pt x="533247" y="333014"/>
                          <a:pt x="528533" y="322696"/>
                        </a:cubicBezTo>
                        <a:lnTo>
                          <a:pt x="608203" y="322696"/>
                        </a:lnTo>
                        <a:lnTo>
                          <a:pt x="608203" y="582156"/>
                        </a:lnTo>
                        <a:cubicBezTo>
                          <a:pt x="608203" y="596182"/>
                          <a:pt x="596822" y="607498"/>
                          <a:pt x="582821" y="607498"/>
                        </a:cubicBezTo>
                        <a:lnTo>
                          <a:pt x="323238" y="607498"/>
                        </a:lnTo>
                        <a:lnTo>
                          <a:pt x="313714" y="607498"/>
                        </a:lnTo>
                        <a:lnTo>
                          <a:pt x="304189" y="607498"/>
                        </a:lnTo>
                        <a:lnTo>
                          <a:pt x="304094" y="607498"/>
                        </a:lnTo>
                        <a:lnTo>
                          <a:pt x="304094" y="493910"/>
                        </a:lnTo>
                        <a:lnTo>
                          <a:pt x="304094" y="493482"/>
                        </a:lnTo>
                        <a:cubicBezTo>
                          <a:pt x="300713" y="495384"/>
                          <a:pt x="295475" y="499283"/>
                          <a:pt x="288760" y="503562"/>
                        </a:cubicBezTo>
                        <a:cubicBezTo>
                          <a:pt x="277855" y="510409"/>
                          <a:pt x="265759" y="516067"/>
                          <a:pt x="251854" y="516067"/>
                        </a:cubicBezTo>
                        <a:cubicBezTo>
                          <a:pt x="229281" y="516067"/>
                          <a:pt x="209614" y="503752"/>
                          <a:pt x="199232" y="485495"/>
                        </a:cubicBezTo>
                        <a:cubicBezTo>
                          <a:pt x="194089" y="476461"/>
                          <a:pt x="191232" y="466001"/>
                          <a:pt x="191375" y="454827"/>
                        </a:cubicBezTo>
                        <a:cubicBezTo>
                          <a:pt x="191803" y="422258"/>
                          <a:pt x="218471" y="395727"/>
                          <a:pt x="251092" y="395299"/>
                        </a:cubicBezTo>
                        <a:cubicBezTo>
                          <a:pt x="251330" y="395299"/>
                          <a:pt x="251616" y="395299"/>
                          <a:pt x="251854" y="395299"/>
                        </a:cubicBezTo>
                        <a:cubicBezTo>
                          <a:pt x="265759" y="395299"/>
                          <a:pt x="278141" y="400529"/>
                          <a:pt x="288760" y="407852"/>
                        </a:cubicBezTo>
                        <a:cubicBezTo>
                          <a:pt x="294522" y="411798"/>
                          <a:pt x="300713" y="415982"/>
                          <a:pt x="304094" y="417884"/>
                        </a:cubicBezTo>
                        <a:close/>
                        <a:moveTo>
                          <a:pt x="152127" y="191656"/>
                        </a:moveTo>
                        <a:cubicBezTo>
                          <a:pt x="152413" y="191656"/>
                          <a:pt x="152699" y="191656"/>
                          <a:pt x="152984" y="191656"/>
                        </a:cubicBezTo>
                        <a:cubicBezTo>
                          <a:pt x="185563" y="192084"/>
                          <a:pt x="212187" y="218712"/>
                          <a:pt x="212616" y="251282"/>
                        </a:cubicBezTo>
                        <a:cubicBezTo>
                          <a:pt x="212807" y="265737"/>
                          <a:pt x="207139" y="278480"/>
                          <a:pt x="199566" y="289464"/>
                        </a:cubicBezTo>
                        <a:cubicBezTo>
                          <a:pt x="195660" y="295170"/>
                          <a:pt x="192278" y="300210"/>
                          <a:pt x="189945" y="304204"/>
                        </a:cubicBezTo>
                        <a:lnTo>
                          <a:pt x="285155" y="304204"/>
                        </a:lnTo>
                        <a:lnTo>
                          <a:pt x="285060" y="383516"/>
                        </a:lnTo>
                        <a:cubicBezTo>
                          <a:pt x="274724" y="378808"/>
                          <a:pt x="263389" y="376288"/>
                          <a:pt x="251862" y="376288"/>
                        </a:cubicBezTo>
                        <a:cubicBezTo>
                          <a:pt x="251529" y="376288"/>
                          <a:pt x="251195" y="376288"/>
                          <a:pt x="250862" y="376288"/>
                        </a:cubicBezTo>
                        <a:cubicBezTo>
                          <a:pt x="230096" y="376574"/>
                          <a:pt x="210473" y="384800"/>
                          <a:pt x="195708" y="399540"/>
                        </a:cubicBezTo>
                        <a:cubicBezTo>
                          <a:pt x="180895" y="414327"/>
                          <a:pt x="172608" y="433870"/>
                          <a:pt x="172322" y="454601"/>
                        </a:cubicBezTo>
                        <a:cubicBezTo>
                          <a:pt x="172036" y="475998"/>
                          <a:pt x="180133" y="496207"/>
                          <a:pt x="195231" y="511470"/>
                        </a:cubicBezTo>
                        <a:cubicBezTo>
                          <a:pt x="202519" y="518887"/>
                          <a:pt x="211092" y="524688"/>
                          <a:pt x="220618" y="528778"/>
                        </a:cubicBezTo>
                        <a:cubicBezTo>
                          <a:pt x="230525" y="532962"/>
                          <a:pt x="241051" y="535102"/>
                          <a:pt x="251862" y="535102"/>
                        </a:cubicBezTo>
                        <a:cubicBezTo>
                          <a:pt x="263389" y="535102"/>
                          <a:pt x="274724" y="532629"/>
                          <a:pt x="285060" y="527874"/>
                        </a:cubicBezTo>
                        <a:lnTo>
                          <a:pt x="285060" y="607518"/>
                        </a:lnTo>
                        <a:lnTo>
                          <a:pt x="285060" y="607851"/>
                        </a:lnTo>
                        <a:lnTo>
                          <a:pt x="25434" y="607851"/>
                        </a:lnTo>
                        <a:cubicBezTo>
                          <a:pt x="11383" y="607851"/>
                          <a:pt x="0" y="596535"/>
                          <a:pt x="0" y="582508"/>
                        </a:cubicBezTo>
                        <a:lnTo>
                          <a:pt x="0" y="329548"/>
                        </a:lnTo>
                        <a:cubicBezTo>
                          <a:pt x="0" y="315569"/>
                          <a:pt x="11383" y="304204"/>
                          <a:pt x="25434" y="304204"/>
                        </a:cubicBezTo>
                        <a:lnTo>
                          <a:pt x="114262" y="304204"/>
                        </a:lnTo>
                        <a:cubicBezTo>
                          <a:pt x="111928" y="300210"/>
                          <a:pt x="108213" y="294695"/>
                          <a:pt x="104593" y="289417"/>
                        </a:cubicBezTo>
                        <a:cubicBezTo>
                          <a:pt x="97163" y="278623"/>
                          <a:pt x="91591" y="266165"/>
                          <a:pt x="91591" y="252043"/>
                        </a:cubicBezTo>
                        <a:cubicBezTo>
                          <a:pt x="91591" y="218712"/>
                          <a:pt x="118692" y="191656"/>
                          <a:pt x="152127" y="191656"/>
                        </a:cubicBezTo>
                        <a:close/>
                        <a:moveTo>
                          <a:pt x="304208" y="0"/>
                        </a:moveTo>
                        <a:lnTo>
                          <a:pt x="582895" y="0"/>
                        </a:lnTo>
                        <a:cubicBezTo>
                          <a:pt x="596894" y="0"/>
                          <a:pt x="608274" y="11364"/>
                          <a:pt x="608274" y="25344"/>
                        </a:cubicBezTo>
                        <a:lnTo>
                          <a:pt x="608274" y="292854"/>
                        </a:lnTo>
                        <a:lnTo>
                          <a:pt x="608274" y="303647"/>
                        </a:lnTo>
                        <a:lnTo>
                          <a:pt x="606512" y="303647"/>
                        </a:lnTo>
                        <a:lnTo>
                          <a:pt x="494095" y="303647"/>
                        </a:lnTo>
                        <a:cubicBezTo>
                          <a:pt x="494095" y="303742"/>
                          <a:pt x="494142" y="303790"/>
                          <a:pt x="494190" y="303837"/>
                        </a:cubicBezTo>
                        <a:cubicBezTo>
                          <a:pt x="496047" y="307118"/>
                          <a:pt x="499570" y="312301"/>
                          <a:pt x="504189" y="319053"/>
                        </a:cubicBezTo>
                        <a:cubicBezTo>
                          <a:pt x="511474" y="329609"/>
                          <a:pt x="516711" y="341971"/>
                          <a:pt x="516711" y="355808"/>
                        </a:cubicBezTo>
                        <a:cubicBezTo>
                          <a:pt x="516711" y="373544"/>
                          <a:pt x="509045" y="389520"/>
                          <a:pt x="496856" y="400552"/>
                        </a:cubicBezTo>
                        <a:cubicBezTo>
                          <a:pt x="486143" y="410299"/>
                          <a:pt x="471859" y="416195"/>
                          <a:pt x="456241" y="416195"/>
                        </a:cubicBezTo>
                        <a:cubicBezTo>
                          <a:pt x="455955" y="416195"/>
                          <a:pt x="455670" y="416195"/>
                          <a:pt x="455384" y="416195"/>
                        </a:cubicBezTo>
                        <a:cubicBezTo>
                          <a:pt x="422768" y="415767"/>
                          <a:pt x="396152" y="389140"/>
                          <a:pt x="395771" y="356617"/>
                        </a:cubicBezTo>
                        <a:cubicBezTo>
                          <a:pt x="395580" y="342447"/>
                          <a:pt x="400675" y="329751"/>
                          <a:pt x="408246" y="319053"/>
                        </a:cubicBezTo>
                        <a:cubicBezTo>
                          <a:pt x="412388" y="313157"/>
                          <a:pt x="417483" y="305454"/>
                          <a:pt x="418387" y="303647"/>
                        </a:cubicBezTo>
                        <a:lnTo>
                          <a:pt x="323254" y="303647"/>
                        </a:lnTo>
                        <a:lnTo>
                          <a:pt x="304208" y="303647"/>
                        </a:lnTo>
                        <a:lnTo>
                          <a:pt x="304208" y="187152"/>
                        </a:lnTo>
                        <a:cubicBezTo>
                          <a:pt x="304208" y="187152"/>
                          <a:pt x="314397" y="195997"/>
                          <a:pt x="317683" y="198279"/>
                        </a:cubicBezTo>
                        <a:cubicBezTo>
                          <a:pt x="328158" y="206980"/>
                          <a:pt x="341633" y="212211"/>
                          <a:pt x="356298" y="212211"/>
                        </a:cubicBezTo>
                        <a:cubicBezTo>
                          <a:pt x="356584" y="212211"/>
                          <a:pt x="356822" y="212211"/>
                          <a:pt x="357108" y="212211"/>
                        </a:cubicBezTo>
                        <a:cubicBezTo>
                          <a:pt x="389676" y="211830"/>
                          <a:pt x="416340" y="185251"/>
                          <a:pt x="416769" y="152680"/>
                        </a:cubicBezTo>
                        <a:cubicBezTo>
                          <a:pt x="417245" y="118920"/>
                          <a:pt x="390009" y="91437"/>
                          <a:pt x="356298" y="91437"/>
                        </a:cubicBezTo>
                        <a:cubicBezTo>
                          <a:pt x="341633" y="91437"/>
                          <a:pt x="328158" y="96667"/>
                          <a:pt x="317683" y="105368"/>
                        </a:cubicBezTo>
                        <a:cubicBezTo>
                          <a:pt x="314397" y="107698"/>
                          <a:pt x="304208" y="116495"/>
                          <a:pt x="304208" y="116495"/>
                        </a:cubicBezTo>
                        <a:close/>
                      </a:path>
                    </a:pathLst>
                  </a:custGeom>
                  <a:solidFill>
                    <a:schemeClr val="accent4"/>
                  </a:solidFill>
                  <a:ln>
                    <a:no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sp>
              <p:nvSpPr>
                <p:cNvPr id="711" name="iSľiḋe">
                  <a:extLst>
                    <a:ext uri="{FF2B5EF4-FFF2-40B4-BE49-F238E27FC236}">
                      <a16:creationId xmlns:a16="http://schemas.microsoft.com/office/drawing/2014/main" id="{E7963E15-D0B5-44DA-960C-809ACBE5D852}"/>
                    </a:ext>
                  </a:extLst>
                </p:cNvPr>
                <p:cNvSpPr txBox="1"/>
                <p:nvPr/>
              </p:nvSpPr>
              <p:spPr bwMode="auto">
                <a:xfrm>
                  <a:off x="1093111" y="4476236"/>
                  <a:ext cx="2650980" cy="698059"/>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normAutofit fontScale="92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lnSpc>
                      <a:spcPct val="100000"/>
                    </a:lnSpc>
                    <a:spcBef>
                      <a:spcPct val="0"/>
                    </a:spcBef>
                  </a:pPr>
                  <a:r>
                    <a:rPr lang="zh-CN" altLang="en-US" sz="2000" b="1" dirty="0"/>
                    <a:t>拼图</a:t>
                  </a:r>
                  <a:endParaRPr lang="en-US" altLang="zh-CN" sz="2000" b="1" dirty="0"/>
                </a:p>
              </p:txBody>
            </p:sp>
          </p:grpSp>
          <p:grpSp>
            <p:nvGrpSpPr>
              <p:cNvPr id="676" name="iṡľíḓé">
                <a:extLst>
                  <a:ext uri="{FF2B5EF4-FFF2-40B4-BE49-F238E27FC236}">
                    <a16:creationId xmlns:a16="http://schemas.microsoft.com/office/drawing/2014/main" id="{99F40DF2-DD39-422C-B1F3-CA9DD04069A0}"/>
                  </a:ext>
                </a:extLst>
              </p:cNvPr>
              <p:cNvGrpSpPr/>
              <p:nvPr/>
            </p:nvGrpSpPr>
            <p:grpSpPr>
              <a:xfrm>
                <a:off x="8052364" y="2353826"/>
                <a:ext cx="1608225" cy="1948236"/>
                <a:chOff x="1093111" y="1962850"/>
                <a:chExt cx="2650980" cy="3211445"/>
              </a:xfrm>
            </p:grpSpPr>
            <p:grpSp>
              <p:nvGrpSpPr>
                <p:cNvPr id="694" name="îṣ1íḍe">
                  <a:extLst>
                    <a:ext uri="{FF2B5EF4-FFF2-40B4-BE49-F238E27FC236}">
                      <a16:creationId xmlns:a16="http://schemas.microsoft.com/office/drawing/2014/main" id="{CA8A4CBF-98F3-4433-B2C9-F8FBEB045E4B}"/>
                    </a:ext>
                  </a:extLst>
                </p:cNvPr>
                <p:cNvGrpSpPr/>
                <p:nvPr/>
              </p:nvGrpSpPr>
              <p:grpSpPr>
                <a:xfrm>
                  <a:off x="1187840" y="1962850"/>
                  <a:ext cx="2461517" cy="2354930"/>
                  <a:chOff x="5556000" y="3162312"/>
                  <a:chExt cx="2068177" cy="1978622"/>
                </a:xfrm>
              </p:grpSpPr>
              <p:sp>
                <p:nvSpPr>
                  <p:cNvPr id="696" name="iṩḻídé">
                    <a:extLst>
                      <a:ext uri="{FF2B5EF4-FFF2-40B4-BE49-F238E27FC236}">
                        <a16:creationId xmlns:a16="http://schemas.microsoft.com/office/drawing/2014/main" id="{C83CF198-15FF-4091-946E-975862EEBC5C}"/>
                      </a:ext>
                    </a:extLst>
                  </p:cNvPr>
                  <p:cNvSpPr/>
                  <p:nvPr/>
                </p:nvSpPr>
                <p:spPr bwMode="auto">
                  <a:xfrm>
                    <a:off x="6938656" y="3395983"/>
                    <a:ext cx="685521" cy="1644414"/>
                  </a:xfrm>
                  <a:prstGeom prst="rect">
                    <a:avLst/>
                  </a:prstGeom>
                  <a:solidFill>
                    <a:schemeClr val="bg2">
                      <a:alpha val="60000"/>
                    </a:schemeClr>
                  </a:solidFill>
                  <a:ln>
                    <a:no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697" name="ïs1ïďê">
                    <a:extLst>
                      <a:ext uri="{FF2B5EF4-FFF2-40B4-BE49-F238E27FC236}">
                        <a16:creationId xmlns:a16="http://schemas.microsoft.com/office/drawing/2014/main" id="{E988F4FA-24C7-46C6-B81F-B5FEA3E1D018}"/>
                      </a:ext>
                    </a:extLst>
                  </p:cNvPr>
                  <p:cNvSpPr/>
                  <p:nvPr/>
                </p:nvSpPr>
                <p:spPr bwMode="auto">
                  <a:xfrm>
                    <a:off x="5556000" y="3395983"/>
                    <a:ext cx="685521" cy="1644414"/>
                  </a:xfrm>
                  <a:prstGeom prst="rect">
                    <a:avLst/>
                  </a:prstGeom>
                  <a:solidFill>
                    <a:schemeClr val="bg2">
                      <a:alpha val="60000"/>
                    </a:schemeClr>
                  </a:solidFill>
                  <a:ln>
                    <a:no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698" name="iSḷîdé">
                    <a:extLst>
                      <a:ext uri="{FF2B5EF4-FFF2-40B4-BE49-F238E27FC236}">
                        <a16:creationId xmlns:a16="http://schemas.microsoft.com/office/drawing/2014/main" id="{28C21282-1748-4B6B-8370-6536E185558C}"/>
                      </a:ext>
                    </a:extLst>
                  </p:cNvPr>
                  <p:cNvSpPr/>
                  <p:nvPr/>
                </p:nvSpPr>
                <p:spPr bwMode="auto">
                  <a:xfrm>
                    <a:off x="5799274" y="3162312"/>
                    <a:ext cx="685521" cy="1978622"/>
                  </a:xfrm>
                  <a:prstGeom prst="rect">
                    <a:avLst/>
                  </a:prstGeom>
                  <a:solidFill>
                    <a:schemeClr val="bg2">
                      <a:alpha val="80000"/>
                    </a:schemeClr>
                  </a:solidFill>
                  <a:ln>
                    <a:no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699" name="íṩliḓè">
                    <a:extLst>
                      <a:ext uri="{FF2B5EF4-FFF2-40B4-BE49-F238E27FC236}">
                        <a16:creationId xmlns:a16="http://schemas.microsoft.com/office/drawing/2014/main" id="{8871058E-7EE5-4696-881D-D73025A9C82B}"/>
                      </a:ext>
                    </a:extLst>
                  </p:cNvPr>
                  <p:cNvSpPr/>
                  <p:nvPr/>
                </p:nvSpPr>
                <p:spPr bwMode="auto">
                  <a:xfrm>
                    <a:off x="6591939" y="3162312"/>
                    <a:ext cx="685521" cy="1978622"/>
                  </a:xfrm>
                  <a:prstGeom prst="rect">
                    <a:avLst/>
                  </a:prstGeom>
                  <a:solidFill>
                    <a:schemeClr val="bg2">
                      <a:alpha val="80000"/>
                    </a:schemeClr>
                  </a:solidFill>
                  <a:ln>
                    <a:no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701" name="íSļîḑe">
                    <a:extLst>
                      <a:ext uri="{FF2B5EF4-FFF2-40B4-BE49-F238E27FC236}">
                        <a16:creationId xmlns:a16="http://schemas.microsoft.com/office/drawing/2014/main" id="{56D00318-8C08-43F0-8F1F-ECC55EBA5989}"/>
                      </a:ext>
                    </a:extLst>
                  </p:cNvPr>
                  <p:cNvSpPr>
                    <a:spLocks/>
                  </p:cNvSpPr>
                  <p:nvPr/>
                </p:nvSpPr>
                <p:spPr bwMode="auto">
                  <a:xfrm>
                    <a:off x="5810661" y="3603938"/>
                    <a:ext cx="1290102" cy="1206512"/>
                  </a:xfrm>
                  <a:custGeom>
                    <a:avLst/>
                    <a:gdLst>
                      <a:gd name="T0" fmla="*/ 455839 w 606244"/>
                      <a:gd name="T1" fmla="*/ 455839 w 606244"/>
                      <a:gd name="T2" fmla="*/ 600116 w 606244"/>
                      <a:gd name="T3" fmla="*/ 600116 w 606244"/>
                      <a:gd name="T4" fmla="*/ 600116 w 606244"/>
                      <a:gd name="T5" fmla="*/ 600116 w 606244"/>
                      <a:gd name="T6" fmla="*/ 600116 w 606244"/>
                      <a:gd name="T7" fmla="*/ 600116 w 606244"/>
                      <a:gd name="T8" fmla="*/ 600116 w 606244"/>
                      <a:gd name="T9" fmla="*/ 600116 w 606244"/>
                      <a:gd name="T10" fmla="*/ 600116 w 606244"/>
                      <a:gd name="T11" fmla="*/ 600116 w 606244"/>
                      <a:gd name="T12" fmla="*/ 600116 w 606244"/>
                      <a:gd name="T13" fmla="*/ 600116 w 606244"/>
                      <a:gd name="T14" fmla="*/ 600116 w 606244"/>
                      <a:gd name="T15" fmla="*/ 600116 w 606244"/>
                      <a:gd name="T16" fmla="*/ 600116 w 606244"/>
                      <a:gd name="T17" fmla="*/ 600116 w 606244"/>
                      <a:gd name="T18" fmla="*/ 600116 w 606244"/>
                      <a:gd name="T19" fmla="*/ 600116 w 606244"/>
                      <a:gd name="T20" fmla="*/ 600116 w 606244"/>
                      <a:gd name="T21" fmla="*/ 600116 w 606244"/>
                      <a:gd name="T22" fmla="*/ 600116 w 606244"/>
                      <a:gd name="T23" fmla="*/ 600116 w 606244"/>
                      <a:gd name="T24" fmla="*/ 600116 w 606244"/>
                      <a:gd name="T25" fmla="*/ 600116 w 606244"/>
                      <a:gd name="T26" fmla="*/ 600116 w 606244"/>
                      <a:gd name="T27" fmla="*/ 600116 w 606244"/>
                      <a:gd name="T28" fmla="*/ 600116 w 606244"/>
                      <a:gd name="T29" fmla="*/ 600116 w 606244"/>
                      <a:gd name="T30" fmla="*/ 600116 w 606244"/>
                      <a:gd name="T31" fmla="*/ 600116 w 606244"/>
                      <a:gd name="T32" fmla="*/ 600116 w 606244"/>
                      <a:gd name="T33" fmla="*/ 600116 w 606244"/>
                      <a:gd name="T34" fmla="*/ 600116 w 606244"/>
                      <a:gd name="T35" fmla="*/ 600116 w 606244"/>
                      <a:gd name="T36" fmla="*/ 600116 w 606244"/>
                      <a:gd name="T37" fmla="*/ 600116 w 606244"/>
                      <a:gd name="T38" fmla="*/ 455839 w 606244"/>
                      <a:gd name="T39" fmla="*/ 455839 w 606244"/>
                      <a:gd name="T40" fmla="*/ 600116 w 606244"/>
                      <a:gd name="T41" fmla="*/ 600116 w 606244"/>
                      <a:gd name="T42" fmla="*/ 600116 w 606244"/>
                      <a:gd name="T43" fmla="*/ 600116 w 606244"/>
                      <a:gd name="T44" fmla="*/ 600116 w 606244"/>
                      <a:gd name="T45" fmla="*/ 600116 w 606244"/>
                      <a:gd name="T46" fmla="*/ 600116 w 606244"/>
                      <a:gd name="T47" fmla="*/ 600116 w 606244"/>
                      <a:gd name="T48" fmla="*/ 600116 w 606244"/>
                      <a:gd name="T49" fmla="*/ 600116 w 606244"/>
                      <a:gd name="T50" fmla="*/ 600116 w 606244"/>
                      <a:gd name="T51" fmla="*/ 600116 w 606244"/>
                      <a:gd name="T52" fmla="*/ 455839 w 606244"/>
                      <a:gd name="T53" fmla="*/ 455839 w 606244"/>
                      <a:gd name="T54" fmla="*/ 600116 w 606244"/>
                      <a:gd name="T55" fmla="*/ 600116 w 606244"/>
                      <a:gd name="T56" fmla="*/ 600116 w 606244"/>
                      <a:gd name="T57" fmla="*/ 600116 w 606244"/>
                      <a:gd name="T58" fmla="*/ 600116 w 606244"/>
                      <a:gd name="T59" fmla="*/ 600116 w 606244"/>
                      <a:gd name="T60" fmla="*/ 600116 w 606244"/>
                      <a:gd name="T61" fmla="*/ 600116 w 606244"/>
                      <a:gd name="T62" fmla="*/ 600116 w 606244"/>
                      <a:gd name="T63" fmla="*/ 600116 w 606244"/>
                      <a:gd name="T64" fmla="*/ 600116 w 606244"/>
                      <a:gd name="T65" fmla="*/ 600116 w 606244"/>
                      <a:gd name="T66" fmla="*/ 455839 w 606244"/>
                      <a:gd name="T67" fmla="*/ 455839 w 606244"/>
                      <a:gd name="T68" fmla="*/ 600116 w 606244"/>
                      <a:gd name="T69" fmla="*/ 600116 w 606244"/>
                      <a:gd name="T70" fmla="*/ 600116 w 606244"/>
                      <a:gd name="T71" fmla="*/ 600116 w 606244"/>
                      <a:gd name="T72" fmla="*/ 600116 w 606244"/>
                      <a:gd name="T73" fmla="*/ 600116 w 606244"/>
                      <a:gd name="T74" fmla="*/ 600116 w 606244"/>
                      <a:gd name="T75" fmla="*/ 600116 w 606244"/>
                      <a:gd name="T76" fmla="*/ 600116 w 606244"/>
                      <a:gd name="T77" fmla="*/ 600116 w 606244"/>
                      <a:gd name="T78" fmla="*/ 600116 w 606244"/>
                      <a:gd name="T79" fmla="*/ 600116 w 606244"/>
                      <a:gd name="T80" fmla="*/ 600116 w 606244"/>
                      <a:gd name="T81" fmla="*/ 600116 w 606244"/>
                      <a:gd name="T82" fmla="*/ 600116 w 606244"/>
                      <a:gd name="T83" fmla="*/ 600116 w 606244"/>
                      <a:gd name="T84" fmla="*/ 600116 w 606244"/>
                      <a:gd name="T85" fmla="*/ 600116 w 606244"/>
                      <a:gd name="T86" fmla="*/ 600116 w 606244"/>
                      <a:gd name="T87" fmla="*/ 600116 w 606244"/>
                      <a:gd name="T88" fmla="*/ 600116 w 606244"/>
                      <a:gd name="T89" fmla="*/ 600116 w 606244"/>
                      <a:gd name="T90" fmla="*/ 600116 w 606244"/>
                      <a:gd name="T91" fmla="*/ 600116 w 606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241" h="5070">
                        <a:moveTo>
                          <a:pt x="3635" y="262"/>
                        </a:moveTo>
                        <a:lnTo>
                          <a:pt x="2905" y="262"/>
                        </a:lnTo>
                        <a:cubicBezTo>
                          <a:pt x="2793" y="100"/>
                          <a:pt x="2607" y="0"/>
                          <a:pt x="2404" y="0"/>
                        </a:cubicBezTo>
                        <a:lnTo>
                          <a:pt x="1836" y="0"/>
                        </a:lnTo>
                        <a:cubicBezTo>
                          <a:pt x="1633" y="0"/>
                          <a:pt x="1448" y="99"/>
                          <a:pt x="1335" y="262"/>
                        </a:cubicBezTo>
                        <a:lnTo>
                          <a:pt x="605" y="262"/>
                        </a:lnTo>
                        <a:cubicBezTo>
                          <a:pt x="271" y="262"/>
                          <a:pt x="0" y="533"/>
                          <a:pt x="0" y="867"/>
                        </a:cubicBezTo>
                        <a:lnTo>
                          <a:pt x="0" y="1115"/>
                        </a:lnTo>
                        <a:cubicBezTo>
                          <a:pt x="0" y="1252"/>
                          <a:pt x="111" y="1363"/>
                          <a:pt x="247" y="1363"/>
                        </a:cubicBezTo>
                        <a:lnTo>
                          <a:pt x="423" y="1363"/>
                        </a:lnTo>
                        <a:lnTo>
                          <a:pt x="583" y="4588"/>
                        </a:lnTo>
                        <a:cubicBezTo>
                          <a:pt x="599" y="4859"/>
                          <a:pt x="824" y="5070"/>
                          <a:pt x="1095" y="5070"/>
                        </a:cubicBezTo>
                        <a:lnTo>
                          <a:pt x="3145" y="5070"/>
                        </a:lnTo>
                        <a:cubicBezTo>
                          <a:pt x="3416" y="5070"/>
                          <a:pt x="3641" y="4858"/>
                          <a:pt x="3658" y="4587"/>
                        </a:cubicBezTo>
                        <a:lnTo>
                          <a:pt x="3817" y="1363"/>
                        </a:lnTo>
                        <a:lnTo>
                          <a:pt x="3993" y="1363"/>
                        </a:lnTo>
                        <a:cubicBezTo>
                          <a:pt x="4130" y="1363"/>
                          <a:pt x="4241" y="1252"/>
                          <a:pt x="4241" y="1115"/>
                        </a:cubicBezTo>
                        <a:lnTo>
                          <a:pt x="4241" y="867"/>
                        </a:lnTo>
                        <a:cubicBezTo>
                          <a:pt x="4241" y="533"/>
                          <a:pt x="3969" y="262"/>
                          <a:pt x="3635" y="262"/>
                        </a:cubicBezTo>
                        <a:close/>
                        <a:moveTo>
                          <a:pt x="1804" y="3914"/>
                        </a:moveTo>
                        <a:cubicBezTo>
                          <a:pt x="1804" y="4040"/>
                          <a:pt x="1701" y="4143"/>
                          <a:pt x="1575" y="4143"/>
                        </a:cubicBezTo>
                        <a:cubicBezTo>
                          <a:pt x="1448" y="4143"/>
                          <a:pt x="1345" y="4040"/>
                          <a:pt x="1345" y="3914"/>
                        </a:cubicBezTo>
                        <a:lnTo>
                          <a:pt x="1345" y="1862"/>
                        </a:lnTo>
                        <a:cubicBezTo>
                          <a:pt x="1345" y="1735"/>
                          <a:pt x="1448" y="1632"/>
                          <a:pt x="1575" y="1632"/>
                        </a:cubicBezTo>
                        <a:cubicBezTo>
                          <a:pt x="1701" y="1632"/>
                          <a:pt x="1804" y="1735"/>
                          <a:pt x="1804" y="1862"/>
                        </a:cubicBezTo>
                        <a:lnTo>
                          <a:pt x="1804" y="3914"/>
                        </a:lnTo>
                        <a:close/>
                        <a:moveTo>
                          <a:pt x="2895" y="3914"/>
                        </a:moveTo>
                        <a:cubicBezTo>
                          <a:pt x="2895" y="4040"/>
                          <a:pt x="2792" y="4143"/>
                          <a:pt x="2666" y="4143"/>
                        </a:cubicBezTo>
                        <a:cubicBezTo>
                          <a:pt x="2539" y="4143"/>
                          <a:pt x="2436" y="4040"/>
                          <a:pt x="2436" y="3914"/>
                        </a:cubicBezTo>
                        <a:lnTo>
                          <a:pt x="2436" y="1862"/>
                        </a:lnTo>
                        <a:cubicBezTo>
                          <a:pt x="2436" y="1735"/>
                          <a:pt x="2539" y="1632"/>
                          <a:pt x="2666" y="1632"/>
                        </a:cubicBezTo>
                        <a:cubicBezTo>
                          <a:pt x="2792" y="1632"/>
                          <a:pt x="2895" y="1735"/>
                          <a:pt x="2895" y="1862"/>
                        </a:cubicBezTo>
                        <a:lnTo>
                          <a:pt x="2895" y="3914"/>
                        </a:lnTo>
                        <a:close/>
                        <a:moveTo>
                          <a:pt x="3866" y="988"/>
                        </a:moveTo>
                        <a:lnTo>
                          <a:pt x="374" y="988"/>
                        </a:lnTo>
                        <a:lnTo>
                          <a:pt x="374" y="867"/>
                        </a:lnTo>
                        <a:cubicBezTo>
                          <a:pt x="374" y="740"/>
                          <a:pt x="478" y="636"/>
                          <a:pt x="605" y="636"/>
                        </a:cubicBezTo>
                        <a:lnTo>
                          <a:pt x="1445" y="636"/>
                        </a:lnTo>
                        <a:cubicBezTo>
                          <a:pt x="1521" y="636"/>
                          <a:pt x="1589" y="590"/>
                          <a:pt x="1618" y="520"/>
                        </a:cubicBezTo>
                        <a:cubicBezTo>
                          <a:pt x="1655" y="431"/>
                          <a:pt x="1740" y="374"/>
                          <a:pt x="1836" y="374"/>
                        </a:cubicBezTo>
                        <a:lnTo>
                          <a:pt x="2404" y="374"/>
                        </a:lnTo>
                        <a:cubicBezTo>
                          <a:pt x="2500" y="374"/>
                          <a:pt x="2585" y="431"/>
                          <a:pt x="2622" y="520"/>
                        </a:cubicBezTo>
                        <a:cubicBezTo>
                          <a:pt x="2651" y="590"/>
                          <a:pt x="2719" y="636"/>
                          <a:pt x="2795" y="636"/>
                        </a:cubicBezTo>
                        <a:lnTo>
                          <a:pt x="3635" y="636"/>
                        </a:lnTo>
                        <a:cubicBezTo>
                          <a:pt x="3762" y="636"/>
                          <a:pt x="3866" y="740"/>
                          <a:pt x="3866" y="867"/>
                        </a:cubicBezTo>
                        <a:lnTo>
                          <a:pt x="3866" y="988"/>
                        </a:lnTo>
                        <a:close/>
                      </a:path>
                    </a:pathLst>
                  </a:custGeom>
                  <a:solidFill>
                    <a:schemeClr val="accent5"/>
                  </a:solidFill>
                  <a:ln>
                    <a:no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sp>
              <p:nvSpPr>
                <p:cNvPr id="695" name="işļíḑé">
                  <a:extLst>
                    <a:ext uri="{FF2B5EF4-FFF2-40B4-BE49-F238E27FC236}">
                      <a16:creationId xmlns:a16="http://schemas.microsoft.com/office/drawing/2014/main" id="{2260F029-D7DE-4A53-802C-AC6142C4E23F}"/>
                    </a:ext>
                  </a:extLst>
                </p:cNvPr>
                <p:cNvSpPr txBox="1"/>
                <p:nvPr/>
              </p:nvSpPr>
              <p:spPr bwMode="auto">
                <a:xfrm>
                  <a:off x="1093111" y="4476236"/>
                  <a:ext cx="2650980" cy="698059"/>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normAutofit fontScale="92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lnSpc>
                      <a:spcPct val="100000"/>
                    </a:lnSpc>
                    <a:spcBef>
                      <a:spcPct val="0"/>
                    </a:spcBef>
                  </a:pPr>
                  <a:r>
                    <a:rPr lang="zh-CN" altLang="en-US" sz="2000" b="1" dirty="0" smtClean="0"/>
                    <a:t>删除</a:t>
                  </a:r>
                  <a:endParaRPr lang="en-US" altLang="zh-CN" sz="2000" b="1" dirty="0"/>
                </a:p>
              </p:txBody>
            </p:sp>
          </p:grpSp>
          <p:grpSp>
            <p:nvGrpSpPr>
              <p:cNvPr id="677" name="îṥ1íďê">
                <a:extLst>
                  <a:ext uri="{FF2B5EF4-FFF2-40B4-BE49-F238E27FC236}">
                    <a16:creationId xmlns:a16="http://schemas.microsoft.com/office/drawing/2014/main" id="{B9CD4832-76AF-4CA8-9B90-485A1610D039}"/>
                  </a:ext>
                </a:extLst>
              </p:cNvPr>
              <p:cNvGrpSpPr/>
              <p:nvPr/>
            </p:nvGrpSpPr>
            <p:grpSpPr>
              <a:xfrm>
                <a:off x="9897974" y="2353826"/>
                <a:ext cx="1608225" cy="1948236"/>
                <a:chOff x="1093111" y="1962850"/>
                <a:chExt cx="2650980" cy="3211445"/>
              </a:xfrm>
            </p:grpSpPr>
            <p:grpSp>
              <p:nvGrpSpPr>
                <p:cNvPr id="678" name="îšļiḍe">
                  <a:extLst>
                    <a:ext uri="{FF2B5EF4-FFF2-40B4-BE49-F238E27FC236}">
                      <a16:creationId xmlns:a16="http://schemas.microsoft.com/office/drawing/2014/main" id="{846CF362-3A78-4A21-96BA-15628D7CEF52}"/>
                    </a:ext>
                  </a:extLst>
                </p:cNvPr>
                <p:cNvGrpSpPr/>
                <p:nvPr/>
              </p:nvGrpSpPr>
              <p:grpSpPr>
                <a:xfrm>
                  <a:off x="1187837" y="1962850"/>
                  <a:ext cx="2461516" cy="2354930"/>
                  <a:chOff x="5556000" y="3162312"/>
                  <a:chExt cx="2068177" cy="1978622"/>
                </a:xfrm>
              </p:grpSpPr>
              <p:sp>
                <p:nvSpPr>
                  <p:cNvPr id="680" name="íŝľíḓê">
                    <a:extLst>
                      <a:ext uri="{FF2B5EF4-FFF2-40B4-BE49-F238E27FC236}">
                        <a16:creationId xmlns:a16="http://schemas.microsoft.com/office/drawing/2014/main" id="{B8855341-A973-4B73-8645-9224E3354FD1}"/>
                      </a:ext>
                    </a:extLst>
                  </p:cNvPr>
                  <p:cNvSpPr/>
                  <p:nvPr/>
                </p:nvSpPr>
                <p:spPr bwMode="auto">
                  <a:xfrm>
                    <a:off x="6938656" y="3395983"/>
                    <a:ext cx="685521" cy="1644414"/>
                  </a:xfrm>
                  <a:prstGeom prst="rect">
                    <a:avLst/>
                  </a:prstGeom>
                  <a:solidFill>
                    <a:schemeClr val="bg2">
                      <a:alpha val="60000"/>
                    </a:schemeClr>
                  </a:solidFill>
                  <a:ln>
                    <a:no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681" name="íŝliḋé">
                    <a:extLst>
                      <a:ext uri="{FF2B5EF4-FFF2-40B4-BE49-F238E27FC236}">
                        <a16:creationId xmlns:a16="http://schemas.microsoft.com/office/drawing/2014/main" id="{B7BF7118-35AE-4AD1-A18E-1669962981E2}"/>
                      </a:ext>
                    </a:extLst>
                  </p:cNvPr>
                  <p:cNvSpPr/>
                  <p:nvPr/>
                </p:nvSpPr>
                <p:spPr bwMode="auto">
                  <a:xfrm>
                    <a:off x="5556000" y="3395983"/>
                    <a:ext cx="685521" cy="1644414"/>
                  </a:xfrm>
                  <a:prstGeom prst="rect">
                    <a:avLst/>
                  </a:prstGeom>
                  <a:solidFill>
                    <a:schemeClr val="bg2">
                      <a:alpha val="60000"/>
                    </a:schemeClr>
                  </a:solidFill>
                  <a:ln>
                    <a:no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682" name="í$ḻíḓe">
                    <a:extLst>
                      <a:ext uri="{FF2B5EF4-FFF2-40B4-BE49-F238E27FC236}">
                        <a16:creationId xmlns:a16="http://schemas.microsoft.com/office/drawing/2014/main" id="{91BCAD13-B8D4-47AF-85DE-0CEEC36CE98A}"/>
                      </a:ext>
                    </a:extLst>
                  </p:cNvPr>
                  <p:cNvSpPr/>
                  <p:nvPr/>
                </p:nvSpPr>
                <p:spPr bwMode="auto">
                  <a:xfrm>
                    <a:off x="5799274" y="3162312"/>
                    <a:ext cx="685521" cy="1978622"/>
                  </a:xfrm>
                  <a:prstGeom prst="rect">
                    <a:avLst/>
                  </a:prstGeom>
                  <a:solidFill>
                    <a:schemeClr val="bg2">
                      <a:alpha val="80000"/>
                    </a:schemeClr>
                  </a:solidFill>
                  <a:ln>
                    <a:no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683" name="îṡľíde">
                    <a:extLst>
                      <a:ext uri="{FF2B5EF4-FFF2-40B4-BE49-F238E27FC236}">
                        <a16:creationId xmlns:a16="http://schemas.microsoft.com/office/drawing/2014/main" id="{75F0E43E-1EFB-4596-B3AA-66EE4BA84736}"/>
                      </a:ext>
                    </a:extLst>
                  </p:cNvPr>
                  <p:cNvSpPr/>
                  <p:nvPr/>
                </p:nvSpPr>
                <p:spPr bwMode="auto">
                  <a:xfrm>
                    <a:off x="6591939" y="3162312"/>
                    <a:ext cx="685521" cy="1978622"/>
                  </a:xfrm>
                  <a:prstGeom prst="rect">
                    <a:avLst/>
                  </a:prstGeom>
                  <a:solidFill>
                    <a:schemeClr val="bg2">
                      <a:alpha val="80000"/>
                    </a:schemeClr>
                  </a:solidFill>
                  <a:ln>
                    <a:no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685" name="íṡľíďe">
                    <a:extLst>
                      <a:ext uri="{FF2B5EF4-FFF2-40B4-BE49-F238E27FC236}">
                        <a16:creationId xmlns:a16="http://schemas.microsoft.com/office/drawing/2014/main" id="{E68B5EF8-6006-49E8-8FFF-E5B0CBDEBD62}"/>
                      </a:ext>
                    </a:extLst>
                  </p:cNvPr>
                  <p:cNvSpPr>
                    <a:spLocks/>
                  </p:cNvSpPr>
                  <p:nvPr/>
                </p:nvSpPr>
                <p:spPr bwMode="auto">
                  <a:xfrm>
                    <a:off x="5799274" y="3603938"/>
                    <a:ext cx="1290103" cy="1206512"/>
                  </a:xfrm>
                  <a:custGeom>
                    <a:avLst/>
                    <a:gdLst>
                      <a:gd name="connsiteX0" fmla="*/ 424783 w 544207"/>
                      <a:gd name="connsiteY0" fmla="*/ 393167 h 599913"/>
                      <a:gd name="connsiteX1" fmla="*/ 395269 w 544207"/>
                      <a:gd name="connsiteY1" fmla="*/ 491705 h 599913"/>
                      <a:gd name="connsiteX2" fmla="*/ 455219 w 544207"/>
                      <a:gd name="connsiteY2" fmla="*/ 491705 h 599913"/>
                      <a:gd name="connsiteX3" fmla="*/ 399419 w 544207"/>
                      <a:gd name="connsiteY3" fmla="*/ 343897 h 599913"/>
                      <a:gd name="connsiteX4" fmla="*/ 422477 w 544207"/>
                      <a:gd name="connsiteY4" fmla="*/ 343897 h 599913"/>
                      <a:gd name="connsiteX5" fmla="*/ 424322 w 544207"/>
                      <a:gd name="connsiteY5" fmla="*/ 343897 h 599913"/>
                      <a:gd name="connsiteX6" fmla="*/ 426166 w 544207"/>
                      <a:gd name="connsiteY6" fmla="*/ 343897 h 599913"/>
                      <a:gd name="connsiteX7" fmla="*/ 450147 w 544207"/>
                      <a:gd name="connsiteY7" fmla="*/ 343897 h 599913"/>
                      <a:gd name="connsiteX8" fmla="*/ 461676 w 544207"/>
                      <a:gd name="connsiteY8" fmla="*/ 351725 h 599913"/>
                      <a:gd name="connsiteX9" fmla="*/ 543762 w 544207"/>
                      <a:gd name="connsiteY9" fmla="*/ 583797 h 599913"/>
                      <a:gd name="connsiteX10" fmla="*/ 541917 w 544207"/>
                      <a:gd name="connsiteY10" fmla="*/ 594848 h 599913"/>
                      <a:gd name="connsiteX11" fmla="*/ 531772 w 544207"/>
                      <a:gd name="connsiteY11" fmla="*/ 599913 h 599913"/>
                      <a:gd name="connsiteX12" fmla="*/ 496262 w 544207"/>
                      <a:gd name="connsiteY12" fmla="*/ 599913 h 599913"/>
                      <a:gd name="connsiteX13" fmla="*/ 484734 w 544207"/>
                      <a:gd name="connsiteY13" fmla="*/ 591625 h 599913"/>
                      <a:gd name="connsiteX14" fmla="*/ 469054 w 544207"/>
                      <a:gd name="connsiteY14" fmla="*/ 540514 h 599913"/>
                      <a:gd name="connsiteX15" fmla="*/ 380512 w 544207"/>
                      <a:gd name="connsiteY15" fmla="*/ 540514 h 599913"/>
                      <a:gd name="connsiteX16" fmla="*/ 364832 w 544207"/>
                      <a:gd name="connsiteY16" fmla="*/ 591625 h 599913"/>
                      <a:gd name="connsiteX17" fmla="*/ 353304 w 544207"/>
                      <a:gd name="connsiteY17" fmla="*/ 599913 h 599913"/>
                      <a:gd name="connsiteX18" fmla="*/ 317794 w 544207"/>
                      <a:gd name="connsiteY18" fmla="*/ 599913 h 599913"/>
                      <a:gd name="connsiteX19" fmla="*/ 307649 w 544207"/>
                      <a:gd name="connsiteY19" fmla="*/ 594848 h 599913"/>
                      <a:gd name="connsiteX20" fmla="*/ 305804 w 544207"/>
                      <a:gd name="connsiteY20" fmla="*/ 583797 h 599913"/>
                      <a:gd name="connsiteX21" fmla="*/ 387429 w 544207"/>
                      <a:gd name="connsiteY21" fmla="*/ 351725 h 599913"/>
                      <a:gd name="connsiteX22" fmla="*/ 399419 w 544207"/>
                      <a:gd name="connsiteY22" fmla="*/ 343897 h 599913"/>
                      <a:gd name="connsiteX23" fmla="*/ 344532 w 544207"/>
                      <a:gd name="connsiteY23" fmla="*/ 1851 h 599913"/>
                      <a:gd name="connsiteX24" fmla="*/ 505017 w 544207"/>
                      <a:gd name="connsiteY24" fmla="*/ 1851 h 599913"/>
                      <a:gd name="connsiteX25" fmla="*/ 517469 w 544207"/>
                      <a:gd name="connsiteY25" fmla="*/ 14281 h 599913"/>
                      <a:gd name="connsiteX26" fmla="*/ 517469 w 544207"/>
                      <a:gd name="connsiteY26" fmla="*/ 34997 h 599913"/>
                      <a:gd name="connsiteX27" fmla="*/ 515163 w 544207"/>
                      <a:gd name="connsiteY27" fmla="*/ 41902 h 599913"/>
                      <a:gd name="connsiteX28" fmla="*/ 398489 w 544207"/>
                      <a:gd name="connsiteY28" fmla="*/ 209012 h 599913"/>
                      <a:gd name="connsiteX29" fmla="*/ 508246 w 544207"/>
                      <a:gd name="connsiteY29" fmla="*/ 209012 h 599913"/>
                      <a:gd name="connsiteX30" fmla="*/ 520697 w 544207"/>
                      <a:gd name="connsiteY30" fmla="*/ 221441 h 599913"/>
                      <a:gd name="connsiteX31" fmla="*/ 520697 w 544207"/>
                      <a:gd name="connsiteY31" fmla="*/ 244920 h 599913"/>
                      <a:gd name="connsiteX32" fmla="*/ 508246 w 544207"/>
                      <a:gd name="connsiteY32" fmla="*/ 257349 h 599913"/>
                      <a:gd name="connsiteX33" fmla="*/ 341304 w 544207"/>
                      <a:gd name="connsiteY33" fmla="*/ 257349 h 599913"/>
                      <a:gd name="connsiteX34" fmla="*/ 329314 w 544207"/>
                      <a:gd name="connsiteY34" fmla="*/ 244920 h 599913"/>
                      <a:gd name="connsiteX35" fmla="*/ 329314 w 544207"/>
                      <a:gd name="connsiteY35" fmla="*/ 223743 h 599913"/>
                      <a:gd name="connsiteX36" fmla="*/ 331159 w 544207"/>
                      <a:gd name="connsiteY36" fmla="*/ 216838 h 599913"/>
                      <a:gd name="connsiteX37" fmla="*/ 447833 w 544207"/>
                      <a:gd name="connsiteY37" fmla="*/ 49728 h 599913"/>
                      <a:gd name="connsiteX38" fmla="*/ 344532 w 544207"/>
                      <a:gd name="connsiteY38" fmla="*/ 49728 h 599913"/>
                      <a:gd name="connsiteX39" fmla="*/ 332542 w 544207"/>
                      <a:gd name="connsiteY39" fmla="*/ 37759 h 599913"/>
                      <a:gd name="connsiteX40" fmla="*/ 332542 w 544207"/>
                      <a:gd name="connsiteY40" fmla="*/ 14281 h 599913"/>
                      <a:gd name="connsiteX41" fmla="*/ 344532 w 544207"/>
                      <a:gd name="connsiteY41" fmla="*/ 1851 h 599913"/>
                      <a:gd name="connsiteX42" fmla="*/ 73939 w 544207"/>
                      <a:gd name="connsiteY42" fmla="*/ 0 h 599913"/>
                      <a:gd name="connsiteX43" fmla="*/ 173049 w 544207"/>
                      <a:gd name="connsiteY43" fmla="*/ 0 h 599913"/>
                      <a:gd name="connsiteX44" fmla="*/ 185034 w 544207"/>
                      <a:gd name="connsiteY44" fmla="*/ 12431 h 599913"/>
                      <a:gd name="connsiteX45" fmla="*/ 185034 w 544207"/>
                      <a:gd name="connsiteY45" fmla="*/ 402833 h 599913"/>
                      <a:gd name="connsiteX46" fmla="*/ 234358 w 544207"/>
                      <a:gd name="connsiteY46" fmla="*/ 402833 h 599913"/>
                      <a:gd name="connsiteX47" fmla="*/ 245421 w 544207"/>
                      <a:gd name="connsiteY47" fmla="*/ 409738 h 599913"/>
                      <a:gd name="connsiteX48" fmla="*/ 244038 w 544207"/>
                      <a:gd name="connsiteY48" fmla="*/ 422629 h 599913"/>
                      <a:gd name="connsiteX49" fmla="*/ 132944 w 544207"/>
                      <a:gd name="connsiteY49" fmla="*/ 587905 h 599913"/>
                      <a:gd name="connsiteX50" fmla="*/ 123264 w 544207"/>
                      <a:gd name="connsiteY50" fmla="*/ 592509 h 599913"/>
                      <a:gd name="connsiteX51" fmla="*/ 113583 w 544207"/>
                      <a:gd name="connsiteY51" fmla="*/ 587905 h 599913"/>
                      <a:gd name="connsiteX52" fmla="*/ 2489 w 544207"/>
                      <a:gd name="connsiteY52" fmla="*/ 422629 h 599913"/>
                      <a:gd name="connsiteX53" fmla="*/ 1106 w 544207"/>
                      <a:gd name="connsiteY53" fmla="*/ 409738 h 599913"/>
                      <a:gd name="connsiteX54" fmla="*/ 12169 w 544207"/>
                      <a:gd name="connsiteY54" fmla="*/ 402833 h 599913"/>
                      <a:gd name="connsiteX55" fmla="*/ 61493 w 544207"/>
                      <a:gd name="connsiteY55" fmla="*/ 402833 h 599913"/>
                      <a:gd name="connsiteX56" fmla="*/ 61493 w 544207"/>
                      <a:gd name="connsiteY56" fmla="*/ 12431 h 599913"/>
                      <a:gd name="connsiteX57" fmla="*/ 73939 w 544207"/>
                      <a:gd name="connsiteY57" fmla="*/ 0 h 599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44207" h="599913">
                        <a:moveTo>
                          <a:pt x="424783" y="393167"/>
                        </a:moveTo>
                        <a:cubicBezTo>
                          <a:pt x="419710" y="410664"/>
                          <a:pt x="410026" y="443817"/>
                          <a:pt x="395269" y="491705"/>
                        </a:cubicBezTo>
                        <a:lnTo>
                          <a:pt x="455219" y="491705"/>
                        </a:lnTo>
                        <a:close/>
                        <a:moveTo>
                          <a:pt x="399419" y="343897"/>
                        </a:moveTo>
                        <a:lnTo>
                          <a:pt x="422477" y="343897"/>
                        </a:lnTo>
                        <a:cubicBezTo>
                          <a:pt x="422938" y="343897"/>
                          <a:pt x="423861" y="343897"/>
                          <a:pt x="424322" y="343897"/>
                        </a:cubicBezTo>
                        <a:cubicBezTo>
                          <a:pt x="424783" y="343897"/>
                          <a:pt x="425705" y="343897"/>
                          <a:pt x="426166" y="343897"/>
                        </a:cubicBezTo>
                        <a:lnTo>
                          <a:pt x="450147" y="343897"/>
                        </a:lnTo>
                        <a:cubicBezTo>
                          <a:pt x="455219" y="343897"/>
                          <a:pt x="459831" y="347120"/>
                          <a:pt x="461676" y="351725"/>
                        </a:cubicBezTo>
                        <a:lnTo>
                          <a:pt x="543762" y="583797"/>
                        </a:lnTo>
                        <a:cubicBezTo>
                          <a:pt x="544684" y="587481"/>
                          <a:pt x="544223" y="591625"/>
                          <a:pt x="541917" y="594848"/>
                        </a:cubicBezTo>
                        <a:cubicBezTo>
                          <a:pt x="539611" y="598071"/>
                          <a:pt x="535922" y="599913"/>
                          <a:pt x="531772" y="599913"/>
                        </a:cubicBezTo>
                        <a:lnTo>
                          <a:pt x="496262" y="599913"/>
                        </a:lnTo>
                        <a:cubicBezTo>
                          <a:pt x="491190" y="599913"/>
                          <a:pt x="486117" y="596690"/>
                          <a:pt x="484734" y="591625"/>
                        </a:cubicBezTo>
                        <a:lnTo>
                          <a:pt x="469054" y="540514"/>
                        </a:lnTo>
                        <a:lnTo>
                          <a:pt x="380512" y="540514"/>
                        </a:lnTo>
                        <a:lnTo>
                          <a:pt x="364832" y="591625"/>
                        </a:lnTo>
                        <a:cubicBezTo>
                          <a:pt x="363449" y="596690"/>
                          <a:pt x="358376" y="599913"/>
                          <a:pt x="353304" y="599913"/>
                        </a:cubicBezTo>
                        <a:lnTo>
                          <a:pt x="317794" y="599913"/>
                        </a:lnTo>
                        <a:cubicBezTo>
                          <a:pt x="313644" y="599913"/>
                          <a:pt x="309955" y="598071"/>
                          <a:pt x="307649" y="594848"/>
                        </a:cubicBezTo>
                        <a:cubicBezTo>
                          <a:pt x="305343" y="591625"/>
                          <a:pt x="304882" y="587481"/>
                          <a:pt x="305804" y="583797"/>
                        </a:cubicBezTo>
                        <a:lnTo>
                          <a:pt x="387429" y="351725"/>
                        </a:lnTo>
                        <a:cubicBezTo>
                          <a:pt x="389274" y="347120"/>
                          <a:pt x="393885" y="343897"/>
                          <a:pt x="399419" y="343897"/>
                        </a:cubicBezTo>
                        <a:close/>
                        <a:moveTo>
                          <a:pt x="344532" y="1851"/>
                        </a:moveTo>
                        <a:lnTo>
                          <a:pt x="505017" y="1851"/>
                        </a:lnTo>
                        <a:cubicBezTo>
                          <a:pt x="511935" y="1851"/>
                          <a:pt x="517469" y="7376"/>
                          <a:pt x="517469" y="14281"/>
                        </a:cubicBezTo>
                        <a:lnTo>
                          <a:pt x="517469" y="34997"/>
                        </a:lnTo>
                        <a:cubicBezTo>
                          <a:pt x="517469" y="37759"/>
                          <a:pt x="516547" y="40061"/>
                          <a:pt x="515163" y="41902"/>
                        </a:cubicBezTo>
                        <a:lnTo>
                          <a:pt x="398489" y="209012"/>
                        </a:lnTo>
                        <a:lnTo>
                          <a:pt x="508246" y="209012"/>
                        </a:lnTo>
                        <a:cubicBezTo>
                          <a:pt x="515163" y="209012"/>
                          <a:pt x="520697" y="214536"/>
                          <a:pt x="520697" y="221441"/>
                        </a:cubicBezTo>
                        <a:lnTo>
                          <a:pt x="520697" y="244920"/>
                        </a:lnTo>
                        <a:cubicBezTo>
                          <a:pt x="520697" y="251825"/>
                          <a:pt x="515163" y="257349"/>
                          <a:pt x="508246" y="257349"/>
                        </a:cubicBezTo>
                        <a:lnTo>
                          <a:pt x="341304" y="257349"/>
                        </a:lnTo>
                        <a:cubicBezTo>
                          <a:pt x="334387" y="257349"/>
                          <a:pt x="329314" y="251825"/>
                          <a:pt x="329314" y="244920"/>
                        </a:cubicBezTo>
                        <a:lnTo>
                          <a:pt x="329314" y="223743"/>
                        </a:lnTo>
                        <a:cubicBezTo>
                          <a:pt x="329314" y="221441"/>
                          <a:pt x="329775" y="218679"/>
                          <a:pt x="331159" y="216838"/>
                        </a:cubicBezTo>
                        <a:lnTo>
                          <a:pt x="447833" y="49728"/>
                        </a:lnTo>
                        <a:lnTo>
                          <a:pt x="344532" y="49728"/>
                        </a:lnTo>
                        <a:cubicBezTo>
                          <a:pt x="338076" y="49728"/>
                          <a:pt x="332542" y="44664"/>
                          <a:pt x="332542" y="37759"/>
                        </a:cubicBezTo>
                        <a:lnTo>
                          <a:pt x="332542" y="14281"/>
                        </a:lnTo>
                        <a:cubicBezTo>
                          <a:pt x="332542" y="7376"/>
                          <a:pt x="338076" y="1851"/>
                          <a:pt x="344532" y="1851"/>
                        </a:cubicBezTo>
                        <a:close/>
                        <a:moveTo>
                          <a:pt x="73939" y="0"/>
                        </a:moveTo>
                        <a:lnTo>
                          <a:pt x="173049" y="0"/>
                        </a:lnTo>
                        <a:cubicBezTo>
                          <a:pt x="179502" y="0"/>
                          <a:pt x="185034" y="5525"/>
                          <a:pt x="185034" y="12431"/>
                        </a:cubicBezTo>
                        <a:lnTo>
                          <a:pt x="185034" y="402833"/>
                        </a:lnTo>
                        <a:lnTo>
                          <a:pt x="234358" y="402833"/>
                        </a:lnTo>
                        <a:cubicBezTo>
                          <a:pt x="238968" y="402833"/>
                          <a:pt x="243577" y="405595"/>
                          <a:pt x="245421" y="409738"/>
                        </a:cubicBezTo>
                        <a:cubicBezTo>
                          <a:pt x="247726" y="413882"/>
                          <a:pt x="246804" y="418946"/>
                          <a:pt x="244038" y="422629"/>
                        </a:cubicBezTo>
                        <a:lnTo>
                          <a:pt x="132944" y="587905"/>
                        </a:lnTo>
                        <a:cubicBezTo>
                          <a:pt x="130639" y="591128"/>
                          <a:pt x="126951" y="592509"/>
                          <a:pt x="123264" y="592509"/>
                        </a:cubicBezTo>
                        <a:cubicBezTo>
                          <a:pt x="119576" y="592509"/>
                          <a:pt x="115888" y="591128"/>
                          <a:pt x="113583" y="587905"/>
                        </a:cubicBezTo>
                        <a:lnTo>
                          <a:pt x="2489" y="422629"/>
                        </a:lnTo>
                        <a:cubicBezTo>
                          <a:pt x="-277" y="418946"/>
                          <a:pt x="-738" y="413882"/>
                          <a:pt x="1106" y="409738"/>
                        </a:cubicBezTo>
                        <a:cubicBezTo>
                          <a:pt x="2950" y="405595"/>
                          <a:pt x="7559" y="402833"/>
                          <a:pt x="12169" y="402833"/>
                        </a:cubicBezTo>
                        <a:lnTo>
                          <a:pt x="61493" y="402833"/>
                        </a:lnTo>
                        <a:lnTo>
                          <a:pt x="61493" y="12431"/>
                        </a:lnTo>
                        <a:cubicBezTo>
                          <a:pt x="61493" y="5525"/>
                          <a:pt x="67025" y="0"/>
                          <a:pt x="73939" y="0"/>
                        </a:cubicBezTo>
                        <a:close/>
                      </a:path>
                    </a:pathLst>
                  </a:custGeom>
                  <a:solidFill>
                    <a:schemeClr val="accent6"/>
                  </a:solidFill>
                  <a:ln>
                    <a:no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sp>
              <p:nvSpPr>
                <p:cNvPr id="679" name="ïš1ïḓè">
                  <a:extLst>
                    <a:ext uri="{FF2B5EF4-FFF2-40B4-BE49-F238E27FC236}">
                      <a16:creationId xmlns:a16="http://schemas.microsoft.com/office/drawing/2014/main" id="{C66C3259-508D-4341-A5AA-9295BED439FF}"/>
                    </a:ext>
                  </a:extLst>
                </p:cNvPr>
                <p:cNvSpPr txBox="1"/>
                <p:nvPr/>
              </p:nvSpPr>
              <p:spPr bwMode="auto">
                <a:xfrm>
                  <a:off x="1093111" y="4476236"/>
                  <a:ext cx="2650980" cy="698059"/>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normAutofit fontScale="92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lnSpc>
                      <a:spcPct val="100000"/>
                    </a:lnSpc>
                    <a:spcBef>
                      <a:spcPct val="0"/>
                    </a:spcBef>
                  </a:pPr>
                  <a:r>
                    <a:rPr lang="zh-CN" altLang="en-US" sz="2000" b="1" dirty="0" smtClean="0"/>
                    <a:t>分类</a:t>
                  </a:r>
                  <a:endParaRPr lang="en-US" altLang="zh-CN" sz="2000" b="1" dirty="0"/>
                </a:p>
              </p:txBody>
            </p:sp>
          </p:grpSp>
        </p:grpSp>
        <p:cxnSp>
          <p:nvCxnSpPr>
            <p:cNvPr id="667" name="直接连接符 666">
              <a:extLst>
                <a:ext uri="{FF2B5EF4-FFF2-40B4-BE49-F238E27FC236}">
                  <a16:creationId xmlns:a16="http://schemas.microsoft.com/office/drawing/2014/main" id="{AEE64D0A-6FBD-48FF-93DF-B42CB2F87291}"/>
                </a:ext>
              </a:extLst>
            </p:cNvPr>
            <p:cNvCxnSpPr>
              <a:cxnSpLocks/>
            </p:cNvCxnSpPr>
            <p:nvPr/>
          </p:nvCxnSpPr>
          <p:spPr>
            <a:xfrm>
              <a:off x="2368912" y="1934013"/>
              <a:ext cx="0" cy="2368053"/>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668" name="直接连接符 667">
              <a:extLst>
                <a:ext uri="{FF2B5EF4-FFF2-40B4-BE49-F238E27FC236}">
                  <a16:creationId xmlns:a16="http://schemas.microsoft.com/office/drawing/2014/main" id="{6C4A4873-42FB-4248-A869-6E089CDAD6FB}"/>
                </a:ext>
              </a:extLst>
            </p:cNvPr>
            <p:cNvCxnSpPr>
              <a:cxnSpLocks/>
            </p:cNvCxnSpPr>
            <p:nvPr/>
          </p:nvCxnSpPr>
          <p:spPr>
            <a:xfrm>
              <a:off x="4246950" y="1934013"/>
              <a:ext cx="0" cy="2368053"/>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669" name="直接连接符 668">
              <a:extLst>
                <a:ext uri="{FF2B5EF4-FFF2-40B4-BE49-F238E27FC236}">
                  <a16:creationId xmlns:a16="http://schemas.microsoft.com/office/drawing/2014/main" id="{C29C2671-CA68-4B30-944E-7CBD2E571F5E}"/>
                </a:ext>
              </a:extLst>
            </p:cNvPr>
            <p:cNvCxnSpPr>
              <a:cxnSpLocks/>
            </p:cNvCxnSpPr>
            <p:nvPr/>
          </p:nvCxnSpPr>
          <p:spPr>
            <a:xfrm>
              <a:off x="6066225" y="1934013"/>
              <a:ext cx="0" cy="2368053"/>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670" name="直接连接符 669">
              <a:extLst>
                <a:ext uri="{FF2B5EF4-FFF2-40B4-BE49-F238E27FC236}">
                  <a16:creationId xmlns:a16="http://schemas.microsoft.com/office/drawing/2014/main" id="{74154F89-E3C2-4655-901A-B1EFDB4BD6B5}"/>
                </a:ext>
              </a:extLst>
            </p:cNvPr>
            <p:cNvCxnSpPr>
              <a:cxnSpLocks/>
            </p:cNvCxnSpPr>
            <p:nvPr/>
          </p:nvCxnSpPr>
          <p:spPr>
            <a:xfrm>
              <a:off x="7904550" y="1934013"/>
              <a:ext cx="0" cy="2368053"/>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671" name="直接连接符 670">
              <a:extLst>
                <a:ext uri="{FF2B5EF4-FFF2-40B4-BE49-F238E27FC236}">
                  <a16:creationId xmlns:a16="http://schemas.microsoft.com/office/drawing/2014/main" id="{F8821D09-B52D-4393-BCAD-F0507C1B2994}"/>
                </a:ext>
              </a:extLst>
            </p:cNvPr>
            <p:cNvCxnSpPr>
              <a:cxnSpLocks/>
            </p:cNvCxnSpPr>
            <p:nvPr/>
          </p:nvCxnSpPr>
          <p:spPr>
            <a:xfrm>
              <a:off x="9771450" y="1934013"/>
              <a:ext cx="0" cy="2368053"/>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sp>
        <p:nvSpPr>
          <p:cNvPr id="171" name="文本框 170"/>
          <p:cNvSpPr txBox="1"/>
          <p:nvPr/>
        </p:nvSpPr>
        <p:spPr>
          <a:xfrm>
            <a:off x="1149783" y="1007364"/>
            <a:ext cx="2646878" cy="580415"/>
          </a:xfrm>
          <a:prstGeom prst="rect">
            <a:avLst/>
          </a:prstGeom>
          <a:noFill/>
        </p:spPr>
        <p:txBody>
          <a:bodyPr wrap="none" rtlCol="0">
            <a:spAutoFit/>
          </a:bodyPr>
          <a:lstStyle/>
          <a:p>
            <a:pPr>
              <a:lnSpc>
                <a:spcPct val="150000"/>
              </a:lnSpc>
            </a:pPr>
            <a:r>
              <a:rPr lang="zh-CN" altLang="en-US" sz="2400" dirty="0" smtClean="0">
                <a:solidFill>
                  <a:srgbClr val="008CD7"/>
                </a:solidFill>
              </a:rPr>
              <a:t>相册的关键需求？</a:t>
            </a:r>
            <a:endParaRPr lang="zh-CN" altLang="en-US" sz="2400" dirty="0">
              <a:solidFill>
                <a:srgbClr val="008CD7"/>
              </a:solidFill>
            </a:endParaRPr>
          </a:p>
        </p:txBody>
      </p:sp>
    </p:spTree>
    <p:extLst>
      <p:ext uri="{BB962C8B-B14F-4D97-AF65-F5344CB8AC3E}">
        <p14:creationId xmlns:p14="http://schemas.microsoft.com/office/powerpoint/2010/main" val="1670185963"/>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文本框 2"/>
          <p:cNvSpPr txBox="1"/>
          <p:nvPr/>
        </p:nvSpPr>
        <p:spPr>
          <a:xfrm>
            <a:off x="7956789" y="1370881"/>
            <a:ext cx="4037163" cy="369332"/>
          </a:xfrm>
          <a:prstGeom prst="rect">
            <a:avLst/>
          </a:prstGeom>
          <a:noFill/>
        </p:spPr>
        <p:txBody>
          <a:bodyPr wrap="square" rtlCol="0">
            <a:spAutoFit/>
          </a:bodyPr>
          <a:lstStyle/>
          <a:p>
            <a:r>
              <a:rPr lang="zh-CN" altLang="en-US" dirty="0" smtClean="0"/>
              <a:t>这个设计遵循了哪种设计模式？</a:t>
            </a:r>
            <a:endParaRPr lang="zh-CN" altLang="en-US" dirty="0"/>
          </a:p>
        </p:txBody>
      </p:sp>
      <p:grpSp>
        <p:nvGrpSpPr>
          <p:cNvPr id="6" name="组合 5"/>
          <p:cNvGrpSpPr/>
          <p:nvPr/>
        </p:nvGrpSpPr>
        <p:grpSpPr>
          <a:xfrm>
            <a:off x="517884" y="1777043"/>
            <a:ext cx="9578616" cy="3892862"/>
            <a:chOff x="517884" y="1777043"/>
            <a:chExt cx="8752104" cy="3556958"/>
          </a:xfrm>
        </p:grpSpPr>
        <p:pic>
          <p:nvPicPr>
            <p:cNvPr id="4102" name="Picture 6" descr="http://dl.iteye.com/upload/attachment/0083/1185/34a0f8de-16e0-3cd5-9f69-257fcb2be742.jpg"/>
            <p:cNvPicPr>
              <a:picLocks noChangeAspect="1" noChangeArrowheads="1"/>
            </p:cNvPicPr>
            <p:nvPr/>
          </p:nvPicPr>
          <p:blipFill rotWithShape="1">
            <a:blip r:embed="rId3">
              <a:extLst>
                <a:ext uri="{28A0092B-C50C-407E-A947-70E740481C1C}">
                  <a14:useLocalDpi xmlns:a14="http://schemas.microsoft.com/office/drawing/2010/main" val="0"/>
                </a:ext>
              </a:extLst>
            </a:blip>
            <a:srcRect b="3661"/>
            <a:stretch/>
          </p:blipFill>
          <p:spPr bwMode="auto">
            <a:xfrm>
              <a:off x="517884" y="1777043"/>
              <a:ext cx="8752104" cy="3556958"/>
            </a:xfrm>
            <a:prstGeom prst="rect">
              <a:avLst/>
            </a:prstGeom>
            <a:noFill/>
            <a:extLst>
              <a:ext uri="{909E8E84-426E-40DD-AFC4-6F175D3DCCD1}">
                <a14:hiddenFill xmlns:a14="http://schemas.microsoft.com/office/drawing/2010/main">
                  <a:solidFill>
                    <a:srgbClr val="FFFFFF"/>
                  </a:solidFill>
                </a14:hiddenFill>
              </a:ext>
            </a:extLst>
          </p:spPr>
        </p:pic>
        <p:sp>
          <p:nvSpPr>
            <p:cNvPr id="4" name="矩形 3"/>
            <p:cNvSpPr/>
            <p:nvPr/>
          </p:nvSpPr>
          <p:spPr>
            <a:xfrm>
              <a:off x="3040380" y="2217420"/>
              <a:ext cx="1341120" cy="190500"/>
            </a:xfrm>
            <a:prstGeom prst="rect">
              <a:avLst/>
            </a:prstGeom>
            <a:solidFill>
              <a:srgbClr val="FDFECC"/>
            </a:solidFill>
            <a:ln>
              <a:solidFill>
                <a:srgbClr val="FEFE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err="1" smtClean="0">
                  <a:solidFill>
                    <a:schemeClr val="tx1"/>
                  </a:solidFill>
                </a:rPr>
                <a:t>SenderFactory</a:t>
              </a:r>
              <a:endParaRPr lang="zh-CN" altLang="en-US" sz="1200" dirty="0">
                <a:solidFill>
                  <a:schemeClr val="tx1"/>
                </a:solidFill>
              </a:endParaRPr>
            </a:p>
          </p:txBody>
        </p:sp>
        <p:sp>
          <p:nvSpPr>
            <p:cNvPr id="5" name="矩形 4"/>
            <p:cNvSpPr/>
            <p:nvPr/>
          </p:nvSpPr>
          <p:spPr>
            <a:xfrm>
              <a:off x="3070860" y="4282440"/>
              <a:ext cx="1318260" cy="198120"/>
            </a:xfrm>
            <a:prstGeom prst="rect">
              <a:avLst/>
            </a:prstGeom>
            <a:solidFill>
              <a:srgbClr val="FDFECC"/>
            </a:solidFill>
            <a:ln>
              <a:solidFill>
                <a:srgbClr val="FEFE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err="1" smtClean="0">
                  <a:solidFill>
                    <a:schemeClr val="tx1"/>
                  </a:solidFill>
                </a:rPr>
                <a:t>SenderFactory</a:t>
              </a:r>
              <a:endParaRPr lang="zh-CN" altLang="en-US" sz="1200" dirty="0">
                <a:solidFill>
                  <a:schemeClr val="tx1"/>
                </a:solidFill>
              </a:endParaRPr>
            </a:p>
          </p:txBody>
        </p:sp>
      </p:grpSp>
      <p:grpSp>
        <p:nvGrpSpPr>
          <p:cNvPr id="11" name="组合 10">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12" name="椭圆 11">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13" name="椭圆 12">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grpSp>
      <p:sp>
        <p:nvSpPr>
          <p:cNvPr id="14" name="标题 1">
            <a:extLst>
              <a:ext uri="{FF2B5EF4-FFF2-40B4-BE49-F238E27FC236}">
                <a16:creationId xmlns:a16="http://schemas.microsoft.com/office/drawing/2014/main" id="{1D9D90DD-82BB-4388-81A3-44FA307364C4}"/>
              </a:ext>
            </a:extLst>
          </p:cNvPr>
          <p:cNvSpPr txBox="1">
            <a:spLocks/>
          </p:cNvSpPr>
          <p:nvPr/>
        </p:nvSpPr>
        <p:spPr>
          <a:xfrm>
            <a:off x="1149782" y="210918"/>
            <a:ext cx="4850185" cy="57784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3200" b="0" dirty="0" smtClean="0">
                <a:latin typeface="Arial" panose="020B0604020202020204" pitchFamily="34" charset="0"/>
                <a:ea typeface="Microsoft YaHei" panose="020B0503020204020204" pitchFamily="34" charset="-122"/>
                <a:cs typeface="+mn-ea"/>
                <a:sym typeface="Arial" panose="020B0604020202020204" pitchFamily="34" charset="0"/>
              </a:rPr>
              <a:t>设计模式的识别</a:t>
            </a:r>
            <a:endParaRPr lang="zh-CN" altLang="en-US" sz="3200" b="0" dirty="0">
              <a:latin typeface="Arial" panose="020B0604020202020204" pitchFamily="34" charset="0"/>
              <a:ea typeface="Microsoft YaHei" panose="020B0503020204020204" pitchFamily="34" charset="-122"/>
              <a:cs typeface="+mn-ea"/>
              <a:sym typeface="Arial" panose="020B0604020202020204" pitchFamily="34" charset="0"/>
            </a:endParaRPr>
          </a:p>
        </p:txBody>
      </p:sp>
    </p:spTree>
    <p:extLst>
      <p:ext uri="{BB962C8B-B14F-4D97-AF65-F5344CB8AC3E}">
        <p14:creationId xmlns:p14="http://schemas.microsoft.com/office/powerpoint/2010/main" val="28013331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文本框 2"/>
          <p:cNvSpPr txBox="1"/>
          <p:nvPr/>
        </p:nvSpPr>
        <p:spPr>
          <a:xfrm>
            <a:off x="533400" y="1405165"/>
            <a:ext cx="3614057" cy="923330"/>
          </a:xfrm>
          <a:prstGeom prst="rect">
            <a:avLst/>
          </a:prstGeom>
          <a:noFill/>
        </p:spPr>
        <p:txBody>
          <a:bodyPr wrap="square" rtlCol="0">
            <a:spAutoFit/>
          </a:bodyPr>
          <a:lstStyle/>
          <a:p>
            <a:r>
              <a:rPr lang="zh-CN" altLang="en-US" dirty="0" smtClean="0"/>
              <a:t>针对用户和电脑</a:t>
            </a:r>
            <a:r>
              <a:rPr lang="en-US" altLang="zh-CN" dirty="0" smtClean="0"/>
              <a:t>CPU</a:t>
            </a:r>
            <a:r>
              <a:rPr lang="zh-CN" altLang="en-US" dirty="0" smtClean="0"/>
              <a:t>、内存、磁盘</a:t>
            </a:r>
            <a:r>
              <a:rPr lang="zh-CN" altLang="en-US" b="1" dirty="0" smtClean="0">
                <a:solidFill>
                  <a:srgbClr val="FFC000"/>
                </a:solidFill>
              </a:rPr>
              <a:t>交互</a:t>
            </a:r>
            <a:r>
              <a:rPr lang="zh-CN" altLang="en-US" dirty="0" smtClean="0"/>
              <a:t>的场景，如何选择合适的设计模式来构建关系？</a:t>
            </a:r>
            <a:endParaRPr lang="zh-CN" altLang="en-US" dirty="0"/>
          </a:p>
        </p:txBody>
      </p:sp>
      <p:pic>
        <p:nvPicPr>
          <p:cNvPr id="5122" name="Picture 2" descr="http://dl.iteye.com/upload/attachment/0083/1199/eebe2103-6ced-35f2-8664-3a2e8a557f81.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18558" y="2897641"/>
            <a:ext cx="5973442" cy="3228295"/>
          </a:xfrm>
          <a:prstGeom prst="rect">
            <a:avLst/>
          </a:prstGeom>
          <a:noFill/>
          <a:extLst>
            <a:ext uri="{909E8E84-426E-40DD-AFC4-6F175D3DCCD1}">
              <a14:hiddenFill xmlns:a14="http://schemas.microsoft.com/office/drawing/2010/main">
                <a:solidFill>
                  <a:srgbClr val="FFFFFF"/>
                </a:solidFill>
              </a14:hiddenFill>
            </a:ext>
          </a:extLst>
        </p:spPr>
      </p:pic>
      <p:sp>
        <p:nvSpPr>
          <p:cNvPr id="4" name="右箭头 3"/>
          <p:cNvSpPr/>
          <p:nvPr/>
        </p:nvSpPr>
        <p:spPr>
          <a:xfrm>
            <a:off x="5152571" y="2815771"/>
            <a:ext cx="972457" cy="65314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云形 4"/>
          <p:cNvSpPr/>
          <p:nvPr/>
        </p:nvSpPr>
        <p:spPr>
          <a:xfrm>
            <a:off x="2452006" y="2520951"/>
            <a:ext cx="1509486" cy="1175657"/>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t>代理？外观？</a:t>
            </a:r>
            <a:endParaRPr lang="zh-CN" altLang="en-US" dirty="0"/>
          </a:p>
        </p:txBody>
      </p:sp>
      <p:grpSp>
        <p:nvGrpSpPr>
          <p:cNvPr id="7" name="bdfaff35-3dac-49cc-bf23-6948366d0acf"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1142012" y="3810000"/>
            <a:ext cx="2635550" cy="2762250"/>
            <a:chOff x="3835401" y="1433513"/>
            <a:chExt cx="4491038" cy="4706937"/>
          </a:xfrm>
        </p:grpSpPr>
        <p:sp>
          <p:nvSpPr>
            <p:cNvPr id="8" name="îŝḻiḑe">
              <a:extLst>
                <a:ext uri="{FF2B5EF4-FFF2-40B4-BE49-F238E27FC236}">
                  <a16:creationId xmlns:a16="http://schemas.microsoft.com/office/drawing/2014/main" id="{4C0B8B46-6A1D-444D-B129-119CDD547AF0}"/>
                </a:ext>
              </a:extLst>
            </p:cNvPr>
            <p:cNvSpPr/>
            <p:nvPr/>
          </p:nvSpPr>
          <p:spPr bwMode="auto">
            <a:xfrm>
              <a:off x="7283451" y="4911725"/>
              <a:ext cx="346075" cy="728662"/>
            </a:xfrm>
            <a:custGeom>
              <a:avLst/>
              <a:gdLst>
                <a:gd name="T0" fmla="*/ 218 w 218"/>
                <a:gd name="T1" fmla="*/ 20 h 459"/>
                <a:gd name="T2" fmla="*/ 160 w 218"/>
                <a:gd name="T3" fmla="*/ 0 h 459"/>
                <a:gd name="T4" fmla="*/ 0 w 218"/>
                <a:gd name="T5" fmla="*/ 438 h 459"/>
                <a:gd name="T6" fmla="*/ 58 w 218"/>
                <a:gd name="T7" fmla="*/ 459 h 459"/>
                <a:gd name="T8" fmla="*/ 218 w 218"/>
                <a:gd name="T9" fmla="*/ 20 h 459"/>
              </a:gdLst>
              <a:ahLst/>
              <a:cxnLst>
                <a:cxn ang="0">
                  <a:pos x="T0" y="T1"/>
                </a:cxn>
                <a:cxn ang="0">
                  <a:pos x="T2" y="T3"/>
                </a:cxn>
                <a:cxn ang="0">
                  <a:pos x="T4" y="T5"/>
                </a:cxn>
                <a:cxn ang="0">
                  <a:pos x="T6" y="T7"/>
                </a:cxn>
                <a:cxn ang="0">
                  <a:pos x="T8" y="T9"/>
                </a:cxn>
              </a:cxnLst>
              <a:rect l="0" t="0" r="r" b="b"/>
              <a:pathLst>
                <a:path w="218" h="459">
                  <a:moveTo>
                    <a:pt x="218" y="20"/>
                  </a:moveTo>
                  <a:lnTo>
                    <a:pt x="160" y="0"/>
                  </a:lnTo>
                  <a:lnTo>
                    <a:pt x="0" y="438"/>
                  </a:lnTo>
                  <a:lnTo>
                    <a:pt x="58" y="459"/>
                  </a:lnTo>
                  <a:lnTo>
                    <a:pt x="218" y="20"/>
                  </a:lnTo>
                  <a:close/>
                </a:path>
              </a:pathLst>
            </a:custGeom>
            <a:solidFill>
              <a:srgbClr val="F48F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i$1iḑê">
              <a:extLst>
                <a:ext uri="{FF2B5EF4-FFF2-40B4-BE49-F238E27FC236}">
                  <a16:creationId xmlns:a16="http://schemas.microsoft.com/office/drawing/2014/main" id="{8108D276-8E4E-46F9-826E-428A7DE5B800}"/>
                </a:ext>
              </a:extLst>
            </p:cNvPr>
            <p:cNvSpPr/>
            <p:nvPr/>
          </p:nvSpPr>
          <p:spPr bwMode="auto">
            <a:xfrm>
              <a:off x="7292976" y="4914900"/>
              <a:ext cx="323850" cy="720725"/>
            </a:xfrm>
            <a:custGeom>
              <a:avLst/>
              <a:gdLst>
                <a:gd name="T0" fmla="*/ 44 w 204"/>
                <a:gd name="T1" fmla="*/ 454 h 454"/>
                <a:gd name="T2" fmla="*/ 204 w 204"/>
                <a:gd name="T3" fmla="*/ 14 h 454"/>
                <a:gd name="T4" fmla="*/ 160 w 204"/>
                <a:gd name="T5" fmla="*/ 0 h 454"/>
                <a:gd name="T6" fmla="*/ 0 w 204"/>
                <a:gd name="T7" fmla="*/ 438 h 454"/>
                <a:gd name="T8" fmla="*/ 44 w 204"/>
                <a:gd name="T9" fmla="*/ 454 h 454"/>
              </a:gdLst>
              <a:ahLst/>
              <a:cxnLst>
                <a:cxn ang="0">
                  <a:pos x="T0" y="T1"/>
                </a:cxn>
                <a:cxn ang="0">
                  <a:pos x="T2" y="T3"/>
                </a:cxn>
                <a:cxn ang="0">
                  <a:pos x="T4" y="T5"/>
                </a:cxn>
                <a:cxn ang="0">
                  <a:pos x="T6" y="T7"/>
                </a:cxn>
                <a:cxn ang="0">
                  <a:pos x="T8" y="T9"/>
                </a:cxn>
              </a:cxnLst>
              <a:rect l="0" t="0" r="r" b="b"/>
              <a:pathLst>
                <a:path w="204" h="454">
                  <a:moveTo>
                    <a:pt x="44" y="454"/>
                  </a:moveTo>
                  <a:lnTo>
                    <a:pt x="204" y="14"/>
                  </a:lnTo>
                  <a:lnTo>
                    <a:pt x="160" y="0"/>
                  </a:lnTo>
                  <a:lnTo>
                    <a:pt x="0" y="438"/>
                  </a:lnTo>
                  <a:lnTo>
                    <a:pt x="44" y="4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ïśļíḋè">
              <a:extLst>
                <a:ext uri="{FF2B5EF4-FFF2-40B4-BE49-F238E27FC236}">
                  <a16:creationId xmlns:a16="http://schemas.microsoft.com/office/drawing/2014/main" id="{3D780394-BEDB-4ECA-89D0-4D7E0A6C0852}"/>
                </a:ext>
              </a:extLst>
            </p:cNvPr>
            <p:cNvSpPr/>
            <p:nvPr/>
          </p:nvSpPr>
          <p:spPr bwMode="auto">
            <a:xfrm>
              <a:off x="7553326" y="5503863"/>
              <a:ext cx="773113" cy="142875"/>
            </a:xfrm>
            <a:custGeom>
              <a:avLst/>
              <a:gdLst>
                <a:gd name="T0" fmla="*/ 7 w 234"/>
                <a:gd name="T1" fmla="*/ 0 h 43"/>
                <a:gd name="T2" fmla="*/ 227 w 234"/>
                <a:gd name="T3" fmla="*/ 0 h 43"/>
                <a:gd name="T4" fmla="*/ 234 w 234"/>
                <a:gd name="T5" fmla="*/ 6 h 43"/>
                <a:gd name="T6" fmla="*/ 234 w 234"/>
                <a:gd name="T7" fmla="*/ 37 h 43"/>
                <a:gd name="T8" fmla="*/ 227 w 234"/>
                <a:gd name="T9" fmla="*/ 43 h 43"/>
                <a:gd name="T10" fmla="*/ 7 w 234"/>
                <a:gd name="T11" fmla="*/ 43 h 43"/>
                <a:gd name="T12" fmla="*/ 0 w 234"/>
                <a:gd name="T13" fmla="*/ 37 h 43"/>
                <a:gd name="T14" fmla="*/ 0 w 234"/>
                <a:gd name="T15" fmla="*/ 6 h 43"/>
                <a:gd name="T16" fmla="*/ 7 w 234"/>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4" h="43">
                  <a:moveTo>
                    <a:pt x="7" y="0"/>
                  </a:moveTo>
                  <a:cubicBezTo>
                    <a:pt x="227" y="0"/>
                    <a:pt x="227" y="0"/>
                    <a:pt x="227" y="0"/>
                  </a:cubicBezTo>
                  <a:cubicBezTo>
                    <a:pt x="231" y="0"/>
                    <a:pt x="234" y="3"/>
                    <a:pt x="234" y="6"/>
                  </a:cubicBezTo>
                  <a:cubicBezTo>
                    <a:pt x="234" y="37"/>
                    <a:pt x="234" y="37"/>
                    <a:pt x="234" y="37"/>
                  </a:cubicBezTo>
                  <a:cubicBezTo>
                    <a:pt x="234" y="40"/>
                    <a:pt x="231" y="43"/>
                    <a:pt x="227" y="43"/>
                  </a:cubicBezTo>
                  <a:cubicBezTo>
                    <a:pt x="7" y="43"/>
                    <a:pt x="7" y="43"/>
                    <a:pt x="7" y="43"/>
                  </a:cubicBezTo>
                  <a:cubicBezTo>
                    <a:pt x="3" y="43"/>
                    <a:pt x="0" y="40"/>
                    <a:pt x="0" y="37"/>
                  </a:cubicBezTo>
                  <a:cubicBezTo>
                    <a:pt x="0" y="6"/>
                    <a:pt x="0" y="6"/>
                    <a:pt x="0" y="6"/>
                  </a:cubicBezTo>
                  <a:cubicBezTo>
                    <a:pt x="0" y="3"/>
                    <a:pt x="3" y="0"/>
                    <a:pt x="7" y="0"/>
                  </a:cubicBezTo>
                  <a:close/>
                </a:path>
              </a:pathLst>
            </a:custGeom>
            <a:solidFill>
              <a:srgbClr val="EC407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íṡľíḑe">
              <a:extLst>
                <a:ext uri="{FF2B5EF4-FFF2-40B4-BE49-F238E27FC236}">
                  <a16:creationId xmlns:a16="http://schemas.microsoft.com/office/drawing/2014/main" id="{38DE7F53-4CE9-472B-83A0-1A5ABD17330A}"/>
                </a:ext>
              </a:extLst>
            </p:cNvPr>
            <p:cNvSpPr/>
            <p:nvPr/>
          </p:nvSpPr>
          <p:spPr bwMode="auto">
            <a:xfrm>
              <a:off x="7620001" y="5503863"/>
              <a:ext cx="19050" cy="142875"/>
            </a:xfrm>
            <a:prstGeom prst="rect">
              <a:avLst/>
            </a:prstGeom>
            <a:solidFill>
              <a:srgbClr val="C5116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2" name="íSḷíḋé">
              <a:extLst>
                <a:ext uri="{FF2B5EF4-FFF2-40B4-BE49-F238E27FC236}">
                  <a16:creationId xmlns:a16="http://schemas.microsoft.com/office/drawing/2014/main" id="{6DD5CEA6-92D5-4E67-9669-F98E1E9DC2E4}"/>
                </a:ext>
              </a:extLst>
            </p:cNvPr>
            <p:cNvSpPr/>
            <p:nvPr/>
          </p:nvSpPr>
          <p:spPr bwMode="auto">
            <a:xfrm>
              <a:off x="8243888" y="5503863"/>
              <a:ext cx="19050" cy="142875"/>
            </a:xfrm>
            <a:prstGeom prst="rect">
              <a:avLst/>
            </a:prstGeom>
            <a:solidFill>
              <a:srgbClr val="C5116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3" name="iŝļíḑê">
              <a:extLst>
                <a:ext uri="{FF2B5EF4-FFF2-40B4-BE49-F238E27FC236}">
                  <a16:creationId xmlns:a16="http://schemas.microsoft.com/office/drawing/2014/main" id="{B7103A2A-0F71-44E3-BF14-E9A1FD0BBF29}"/>
                </a:ext>
              </a:extLst>
            </p:cNvPr>
            <p:cNvSpPr/>
            <p:nvPr/>
          </p:nvSpPr>
          <p:spPr bwMode="auto">
            <a:xfrm>
              <a:off x="7689851" y="5530850"/>
              <a:ext cx="85725" cy="88900"/>
            </a:xfrm>
            <a:prstGeom prst="ellipse">
              <a:avLst/>
            </a:prstGeom>
            <a:solidFill>
              <a:srgbClr val="C5116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íŝľîḍê">
              <a:extLst>
                <a:ext uri="{FF2B5EF4-FFF2-40B4-BE49-F238E27FC236}">
                  <a16:creationId xmlns:a16="http://schemas.microsoft.com/office/drawing/2014/main" id="{6F6CFB2E-EB3B-4147-9B4A-80055BE12689}"/>
                </a:ext>
              </a:extLst>
            </p:cNvPr>
            <p:cNvSpPr/>
            <p:nvPr/>
          </p:nvSpPr>
          <p:spPr bwMode="auto">
            <a:xfrm>
              <a:off x="7620001" y="5129213"/>
              <a:ext cx="19050" cy="0"/>
            </a:xfrm>
            <a:custGeom>
              <a:avLst/>
              <a:gdLst>
                <a:gd name="T0" fmla="*/ 0 w 12"/>
                <a:gd name="T1" fmla="*/ 12 w 12"/>
                <a:gd name="T2" fmla="*/ 0 w 12"/>
              </a:gdLst>
              <a:ahLst/>
              <a:cxnLst>
                <a:cxn ang="0">
                  <a:pos x="T0" y="0"/>
                </a:cxn>
                <a:cxn ang="0">
                  <a:pos x="T1" y="0"/>
                </a:cxn>
                <a:cxn ang="0">
                  <a:pos x="T2" y="0"/>
                </a:cxn>
              </a:cxnLst>
              <a:rect l="0" t="0" r="r" b="b"/>
              <a:pathLst>
                <a:path w="12">
                  <a:moveTo>
                    <a:pt x="0" y="0"/>
                  </a:moveTo>
                  <a:lnTo>
                    <a:pt x="12" y="0"/>
                  </a:lnTo>
                  <a:lnTo>
                    <a:pt x="0"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iśḻíḓe">
              <a:extLst>
                <a:ext uri="{FF2B5EF4-FFF2-40B4-BE49-F238E27FC236}">
                  <a16:creationId xmlns:a16="http://schemas.microsoft.com/office/drawing/2014/main" id="{F18A2FBA-523C-4780-9754-AB201B0F252E}"/>
                </a:ext>
              </a:extLst>
            </p:cNvPr>
            <p:cNvSpPr/>
            <p:nvPr/>
          </p:nvSpPr>
          <p:spPr bwMode="auto">
            <a:xfrm>
              <a:off x="8243888" y="5129213"/>
              <a:ext cx="19050" cy="0"/>
            </a:xfrm>
            <a:custGeom>
              <a:avLst/>
              <a:gdLst>
                <a:gd name="T0" fmla="*/ 0 w 12"/>
                <a:gd name="T1" fmla="*/ 12 w 12"/>
                <a:gd name="T2" fmla="*/ 0 w 12"/>
              </a:gdLst>
              <a:ahLst/>
              <a:cxnLst>
                <a:cxn ang="0">
                  <a:pos x="T0" y="0"/>
                </a:cxn>
                <a:cxn ang="0">
                  <a:pos x="T1" y="0"/>
                </a:cxn>
                <a:cxn ang="0">
                  <a:pos x="T2" y="0"/>
                </a:cxn>
              </a:cxnLst>
              <a:rect l="0" t="0" r="r" b="b"/>
              <a:pathLst>
                <a:path w="12">
                  <a:moveTo>
                    <a:pt x="0" y="0"/>
                  </a:moveTo>
                  <a:lnTo>
                    <a:pt x="12" y="0"/>
                  </a:lnTo>
                  <a:lnTo>
                    <a:pt x="0"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iŝļïḓê">
              <a:extLst>
                <a:ext uri="{FF2B5EF4-FFF2-40B4-BE49-F238E27FC236}">
                  <a16:creationId xmlns:a16="http://schemas.microsoft.com/office/drawing/2014/main" id="{6FAF6944-4DDD-4621-B1DF-F651FC787A26}"/>
                </a:ext>
              </a:extLst>
            </p:cNvPr>
            <p:cNvSpPr/>
            <p:nvPr/>
          </p:nvSpPr>
          <p:spPr bwMode="auto">
            <a:xfrm>
              <a:off x="7553326" y="5129213"/>
              <a:ext cx="773113" cy="177800"/>
            </a:xfrm>
            <a:custGeom>
              <a:avLst/>
              <a:gdLst>
                <a:gd name="T0" fmla="*/ 0 w 234"/>
                <a:gd name="T1" fmla="*/ 47 h 54"/>
                <a:gd name="T2" fmla="*/ 0 w 234"/>
                <a:gd name="T3" fmla="*/ 7 h 54"/>
                <a:gd name="T4" fmla="*/ 7 w 234"/>
                <a:gd name="T5" fmla="*/ 0 h 54"/>
                <a:gd name="T6" fmla="*/ 227 w 234"/>
                <a:gd name="T7" fmla="*/ 0 h 54"/>
                <a:gd name="T8" fmla="*/ 234 w 234"/>
                <a:gd name="T9" fmla="*/ 7 h 54"/>
                <a:gd name="T10" fmla="*/ 234 w 234"/>
                <a:gd name="T11" fmla="*/ 47 h 54"/>
                <a:gd name="T12" fmla="*/ 227 w 234"/>
                <a:gd name="T13" fmla="*/ 54 h 54"/>
                <a:gd name="T14" fmla="*/ 7 w 234"/>
                <a:gd name="T15" fmla="*/ 54 h 54"/>
                <a:gd name="T16" fmla="*/ 0 w 234"/>
                <a:gd name="T17" fmla="*/ 4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4" h="54">
                  <a:moveTo>
                    <a:pt x="0" y="47"/>
                  </a:moveTo>
                  <a:cubicBezTo>
                    <a:pt x="0" y="7"/>
                    <a:pt x="0" y="7"/>
                    <a:pt x="0" y="7"/>
                  </a:cubicBezTo>
                  <a:cubicBezTo>
                    <a:pt x="0" y="3"/>
                    <a:pt x="3" y="0"/>
                    <a:pt x="7" y="0"/>
                  </a:cubicBezTo>
                  <a:cubicBezTo>
                    <a:pt x="227" y="0"/>
                    <a:pt x="227" y="0"/>
                    <a:pt x="227" y="0"/>
                  </a:cubicBezTo>
                  <a:cubicBezTo>
                    <a:pt x="231" y="0"/>
                    <a:pt x="234" y="3"/>
                    <a:pt x="234" y="7"/>
                  </a:cubicBezTo>
                  <a:cubicBezTo>
                    <a:pt x="234" y="47"/>
                    <a:pt x="234" y="47"/>
                    <a:pt x="234" y="47"/>
                  </a:cubicBezTo>
                  <a:cubicBezTo>
                    <a:pt x="234" y="51"/>
                    <a:pt x="231" y="54"/>
                    <a:pt x="227" y="54"/>
                  </a:cubicBezTo>
                  <a:cubicBezTo>
                    <a:pt x="7" y="54"/>
                    <a:pt x="7" y="54"/>
                    <a:pt x="7" y="54"/>
                  </a:cubicBezTo>
                  <a:cubicBezTo>
                    <a:pt x="3" y="54"/>
                    <a:pt x="0" y="51"/>
                    <a:pt x="0" y="47"/>
                  </a:cubicBezTo>
                  <a:close/>
                </a:path>
              </a:pathLst>
            </a:custGeom>
            <a:solidFill>
              <a:srgbClr val="FFCA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 name="iṡ1ïḓé">
              <a:extLst>
                <a:ext uri="{FF2B5EF4-FFF2-40B4-BE49-F238E27FC236}">
                  <a16:creationId xmlns:a16="http://schemas.microsoft.com/office/drawing/2014/main" id="{2B6CA0E2-EA3E-4448-924A-5E24B4112C09}"/>
                </a:ext>
              </a:extLst>
            </p:cNvPr>
            <p:cNvSpPr/>
            <p:nvPr/>
          </p:nvSpPr>
          <p:spPr bwMode="auto">
            <a:xfrm>
              <a:off x="7620001" y="5129213"/>
              <a:ext cx="19050" cy="177800"/>
            </a:xfrm>
            <a:prstGeom prst="rect">
              <a:avLst/>
            </a:prstGeom>
            <a:solidFill>
              <a:srgbClr val="FFD54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 name="íṧḻídê">
              <a:extLst>
                <a:ext uri="{FF2B5EF4-FFF2-40B4-BE49-F238E27FC236}">
                  <a16:creationId xmlns:a16="http://schemas.microsoft.com/office/drawing/2014/main" id="{24638205-4D61-4010-9CEE-34ECC65CBEA6}"/>
                </a:ext>
              </a:extLst>
            </p:cNvPr>
            <p:cNvSpPr/>
            <p:nvPr/>
          </p:nvSpPr>
          <p:spPr bwMode="auto">
            <a:xfrm>
              <a:off x="8243888" y="5129213"/>
              <a:ext cx="19050" cy="177800"/>
            </a:xfrm>
            <a:prstGeom prst="rect">
              <a:avLst/>
            </a:prstGeom>
            <a:solidFill>
              <a:srgbClr val="FFD54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 name="iṡḷîďé">
              <a:extLst>
                <a:ext uri="{FF2B5EF4-FFF2-40B4-BE49-F238E27FC236}">
                  <a16:creationId xmlns:a16="http://schemas.microsoft.com/office/drawing/2014/main" id="{B3D1625F-C4D1-4C33-8870-A34271715A86}"/>
                </a:ext>
              </a:extLst>
            </p:cNvPr>
            <p:cNvSpPr/>
            <p:nvPr/>
          </p:nvSpPr>
          <p:spPr bwMode="auto">
            <a:xfrm>
              <a:off x="8151813" y="5154613"/>
              <a:ext cx="61913" cy="119062"/>
            </a:xfrm>
            <a:prstGeom prst="rect">
              <a:avLst/>
            </a:prstGeom>
            <a:solidFill>
              <a:srgbClr val="FFD54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0" name="ïṣḻîḋè">
              <a:extLst>
                <a:ext uri="{FF2B5EF4-FFF2-40B4-BE49-F238E27FC236}">
                  <a16:creationId xmlns:a16="http://schemas.microsoft.com/office/drawing/2014/main" id="{7767725D-C420-4C97-9E61-CD5CCE4581F8}"/>
                </a:ext>
              </a:extLst>
            </p:cNvPr>
            <p:cNvSpPr/>
            <p:nvPr/>
          </p:nvSpPr>
          <p:spPr bwMode="auto">
            <a:xfrm>
              <a:off x="8240713" y="5503863"/>
              <a:ext cx="19050" cy="0"/>
            </a:xfrm>
            <a:custGeom>
              <a:avLst/>
              <a:gdLst>
                <a:gd name="T0" fmla="*/ 12 w 12"/>
                <a:gd name="T1" fmla="*/ 0 w 12"/>
                <a:gd name="T2" fmla="*/ 12 w 12"/>
              </a:gdLst>
              <a:ahLst/>
              <a:cxnLst>
                <a:cxn ang="0">
                  <a:pos x="T0" y="0"/>
                </a:cxn>
                <a:cxn ang="0">
                  <a:pos x="T1" y="0"/>
                </a:cxn>
                <a:cxn ang="0">
                  <a:pos x="T2" y="0"/>
                </a:cxn>
              </a:cxnLst>
              <a:rect l="0" t="0" r="r" b="b"/>
              <a:pathLst>
                <a:path w="12">
                  <a:moveTo>
                    <a:pt x="12" y="0"/>
                  </a:moveTo>
                  <a:lnTo>
                    <a:pt x="0" y="0"/>
                  </a:lnTo>
                  <a:lnTo>
                    <a:pt x="12"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 name="iSľîḋé">
              <a:extLst>
                <a:ext uri="{FF2B5EF4-FFF2-40B4-BE49-F238E27FC236}">
                  <a16:creationId xmlns:a16="http://schemas.microsoft.com/office/drawing/2014/main" id="{530358BD-9A8E-4155-916D-9DAF5BD40AD8}"/>
                </a:ext>
              </a:extLst>
            </p:cNvPr>
            <p:cNvSpPr/>
            <p:nvPr/>
          </p:nvSpPr>
          <p:spPr bwMode="auto">
            <a:xfrm>
              <a:off x="7616826" y="5503863"/>
              <a:ext cx="19050" cy="0"/>
            </a:xfrm>
            <a:custGeom>
              <a:avLst/>
              <a:gdLst>
                <a:gd name="T0" fmla="*/ 12 w 12"/>
                <a:gd name="T1" fmla="*/ 0 w 12"/>
                <a:gd name="T2" fmla="*/ 12 w 12"/>
              </a:gdLst>
              <a:ahLst/>
              <a:cxnLst>
                <a:cxn ang="0">
                  <a:pos x="T0" y="0"/>
                </a:cxn>
                <a:cxn ang="0">
                  <a:pos x="T1" y="0"/>
                </a:cxn>
                <a:cxn ang="0">
                  <a:pos x="T2" y="0"/>
                </a:cxn>
              </a:cxnLst>
              <a:rect l="0" t="0" r="r" b="b"/>
              <a:pathLst>
                <a:path w="12">
                  <a:moveTo>
                    <a:pt x="12" y="0"/>
                  </a:moveTo>
                  <a:lnTo>
                    <a:pt x="0" y="0"/>
                  </a:lnTo>
                  <a:lnTo>
                    <a:pt x="12"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i$ḻîḍe">
              <a:extLst>
                <a:ext uri="{FF2B5EF4-FFF2-40B4-BE49-F238E27FC236}">
                  <a16:creationId xmlns:a16="http://schemas.microsoft.com/office/drawing/2014/main" id="{A249B136-9E19-4773-A0D6-A09ACF15FA5C}"/>
                </a:ext>
              </a:extLst>
            </p:cNvPr>
            <p:cNvSpPr/>
            <p:nvPr/>
          </p:nvSpPr>
          <p:spPr bwMode="auto">
            <a:xfrm>
              <a:off x="7553326" y="5307013"/>
              <a:ext cx="773113" cy="196850"/>
            </a:xfrm>
            <a:custGeom>
              <a:avLst/>
              <a:gdLst>
                <a:gd name="T0" fmla="*/ 234 w 234"/>
                <a:gd name="T1" fmla="*/ 7 h 60"/>
                <a:gd name="T2" fmla="*/ 234 w 234"/>
                <a:gd name="T3" fmla="*/ 53 h 60"/>
                <a:gd name="T4" fmla="*/ 227 w 234"/>
                <a:gd name="T5" fmla="*/ 60 h 60"/>
                <a:gd name="T6" fmla="*/ 7 w 234"/>
                <a:gd name="T7" fmla="*/ 60 h 60"/>
                <a:gd name="T8" fmla="*/ 0 w 234"/>
                <a:gd name="T9" fmla="*/ 53 h 60"/>
                <a:gd name="T10" fmla="*/ 0 w 234"/>
                <a:gd name="T11" fmla="*/ 7 h 60"/>
                <a:gd name="T12" fmla="*/ 7 w 234"/>
                <a:gd name="T13" fmla="*/ 0 h 60"/>
                <a:gd name="T14" fmla="*/ 227 w 234"/>
                <a:gd name="T15" fmla="*/ 0 h 60"/>
                <a:gd name="T16" fmla="*/ 234 w 234"/>
                <a:gd name="T17" fmla="*/ 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4" h="60">
                  <a:moveTo>
                    <a:pt x="234" y="7"/>
                  </a:moveTo>
                  <a:cubicBezTo>
                    <a:pt x="234" y="53"/>
                    <a:pt x="234" y="53"/>
                    <a:pt x="234" y="53"/>
                  </a:cubicBezTo>
                  <a:cubicBezTo>
                    <a:pt x="234" y="57"/>
                    <a:pt x="231" y="60"/>
                    <a:pt x="227" y="60"/>
                  </a:cubicBezTo>
                  <a:cubicBezTo>
                    <a:pt x="7" y="60"/>
                    <a:pt x="7" y="60"/>
                    <a:pt x="7" y="60"/>
                  </a:cubicBezTo>
                  <a:cubicBezTo>
                    <a:pt x="3" y="60"/>
                    <a:pt x="0" y="57"/>
                    <a:pt x="0" y="53"/>
                  </a:cubicBezTo>
                  <a:cubicBezTo>
                    <a:pt x="0" y="7"/>
                    <a:pt x="0" y="7"/>
                    <a:pt x="0" y="7"/>
                  </a:cubicBezTo>
                  <a:cubicBezTo>
                    <a:pt x="0" y="3"/>
                    <a:pt x="3" y="0"/>
                    <a:pt x="7" y="0"/>
                  </a:cubicBezTo>
                  <a:cubicBezTo>
                    <a:pt x="227" y="0"/>
                    <a:pt x="227" y="0"/>
                    <a:pt x="227" y="0"/>
                  </a:cubicBezTo>
                  <a:cubicBezTo>
                    <a:pt x="231" y="0"/>
                    <a:pt x="234" y="3"/>
                    <a:pt x="234" y="7"/>
                  </a:cubicBezTo>
                  <a:close/>
                </a:path>
              </a:pathLst>
            </a:custGeom>
            <a:solidFill>
              <a:srgbClr val="7E57C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ïṩḻïḋé">
              <a:extLst>
                <a:ext uri="{FF2B5EF4-FFF2-40B4-BE49-F238E27FC236}">
                  <a16:creationId xmlns:a16="http://schemas.microsoft.com/office/drawing/2014/main" id="{20A545C1-2264-4CEC-888D-832B84A0FFF0}"/>
                </a:ext>
              </a:extLst>
            </p:cNvPr>
            <p:cNvSpPr/>
            <p:nvPr/>
          </p:nvSpPr>
          <p:spPr bwMode="auto">
            <a:xfrm>
              <a:off x="8191501" y="5307013"/>
              <a:ext cx="22225" cy="196850"/>
            </a:xfrm>
            <a:prstGeom prst="rect">
              <a:avLst/>
            </a:prstGeom>
            <a:solidFill>
              <a:srgbClr val="9575C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4" name="ïṣlïḋè">
              <a:extLst>
                <a:ext uri="{FF2B5EF4-FFF2-40B4-BE49-F238E27FC236}">
                  <a16:creationId xmlns:a16="http://schemas.microsoft.com/office/drawing/2014/main" id="{DCFE1353-138F-429E-9DA0-0B2A9CC2CF0F}"/>
                </a:ext>
              </a:extLst>
            </p:cNvPr>
            <p:cNvSpPr/>
            <p:nvPr/>
          </p:nvSpPr>
          <p:spPr bwMode="auto">
            <a:xfrm>
              <a:off x="7662863" y="5307013"/>
              <a:ext cx="22225" cy="196850"/>
            </a:xfrm>
            <a:prstGeom prst="rect">
              <a:avLst/>
            </a:prstGeom>
            <a:solidFill>
              <a:srgbClr val="9575C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5" name="íṩḷide">
              <a:extLst>
                <a:ext uri="{FF2B5EF4-FFF2-40B4-BE49-F238E27FC236}">
                  <a16:creationId xmlns:a16="http://schemas.microsoft.com/office/drawing/2014/main" id="{EF754329-71C0-4EB3-B8A9-49CFD970AEF5}"/>
                </a:ext>
              </a:extLst>
            </p:cNvPr>
            <p:cNvSpPr/>
            <p:nvPr/>
          </p:nvSpPr>
          <p:spPr bwMode="auto">
            <a:xfrm>
              <a:off x="7702551" y="5343525"/>
              <a:ext cx="465138" cy="125412"/>
            </a:xfrm>
            <a:prstGeom prst="rect">
              <a:avLst/>
            </a:prstGeom>
            <a:solidFill>
              <a:srgbClr val="9575C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6" name="iṩ1îḓé">
              <a:extLst>
                <a:ext uri="{FF2B5EF4-FFF2-40B4-BE49-F238E27FC236}">
                  <a16:creationId xmlns:a16="http://schemas.microsoft.com/office/drawing/2014/main" id="{C3EC0E2D-6F2B-4903-8688-283638AC35CF}"/>
                </a:ext>
              </a:extLst>
            </p:cNvPr>
            <p:cNvSpPr/>
            <p:nvPr/>
          </p:nvSpPr>
          <p:spPr bwMode="auto">
            <a:xfrm>
              <a:off x="3835401" y="1433513"/>
              <a:ext cx="1163638" cy="790575"/>
            </a:xfrm>
            <a:custGeom>
              <a:avLst/>
              <a:gdLst>
                <a:gd name="T0" fmla="*/ 318 w 352"/>
                <a:gd name="T1" fmla="*/ 0 h 240"/>
                <a:gd name="T2" fmla="*/ 176 w 352"/>
                <a:gd name="T3" fmla="*/ 0 h 240"/>
                <a:gd name="T4" fmla="*/ 34 w 352"/>
                <a:gd name="T5" fmla="*/ 0 h 240"/>
                <a:gd name="T6" fmla="*/ 14 w 352"/>
                <a:gd name="T7" fmla="*/ 43 h 240"/>
                <a:gd name="T8" fmla="*/ 176 w 352"/>
                <a:gd name="T9" fmla="*/ 240 h 240"/>
                <a:gd name="T10" fmla="*/ 338 w 352"/>
                <a:gd name="T11" fmla="*/ 43 h 240"/>
                <a:gd name="T12" fmla="*/ 318 w 352"/>
                <a:gd name="T13" fmla="*/ 0 h 240"/>
              </a:gdLst>
              <a:ahLst/>
              <a:cxnLst>
                <a:cxn ang="0">
                  <a:pos x="T0" y="T1"/>
                </a:cxn>
                <a:cxn ang="0">
                  <a:pos x="T2" y="T3"/>
                </a:cxn>
                <a:cxn ang="0">
                  <a:pos x="T4" y="T5"/>
                </a:cxn>
                <a:cxn ang="0">
                  <a:pos x="T6" y="T7"/>
                </a:cxn>
                <a:cxn ang="0">
                  <a:pos x="T8" y="T9"/>
                </a:cxn>
                <a:cxn ang="0">
                  <a:pos x="T10" y="T11"/>
                </a:cxn>
                <a:cxn ang="0">
                  <a:pos x="T12" y="T13"/>
                </a:cxn>
              </a:cxnLst>
              <a:rect l="0" t="0" r="r" b="b"/>
              <a:pathLst>
                <a:path w="352" h="240">
                  <a:moveTo>
                    <a:pt x="318" y="0"/>
                  </a:moveTo>
                  <a:cubicBezTo>
                    <a:pt x="176" y="0"/>
                    <a:pt x="176" y="0"/>
                    <a:pt x="176" y="0"/>
                  </a:cubicBezTo>
                  <a:cubicBezTo>
                    <a:pt x="34" y="0"/>
                    <a:pt x="34" y="0"/>
                    <a:pt x="34" y="0"/>
                  </a:cubicBezTo>
                  <a:cubicBezTo>
                    <a:pt x="12" y="0"/>
                    <a:pt x="0" y="26"/>
                    <a:pt x="14" y="43"/>
                  </a:cubicBezTo>
                  <a:cubicBezTo>
                    <a:pt x="176" y="240"/>
                    <a:pt x="176" y="240"/>
                    <a:pt x="176" y="240"/>
                  </a:cubicBezTo>
                  <a:cubicBezTo>
                    <a:pt x="338" y="43"/>
                    <a:pt x="338" y="43"/>
                    <a:pt x="338" y="43"/>
                  </a:cubicBezTo>
                  <a:cubicBezTo>
                    <a:pt x="352" y="26"/>
                    <a:pt x="340" y="0"/>
                    <a:pt x="318" y="0"/>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iṧļíḋê">
              <a:extLst>
                <a:ext uri="{FF2B5EF4-FFF2-40B4-BE49-F238E27FC236}">
                  <a16:creationId xmlns:a16="http://schemas.microsoft.com/office/drawing/2014/main" id="{9D474C53-D298-447D-8412-D800D2299A10}"/>
                </a:ext>
              </a:extLst>
            </p:cNvPr>
            <p:cNvSpPr/>
            <p:nvPr/>
          </p:nvSpPr>
          <p:spPr bwMode="auto">
            <a:xfrm>
              <a:off x="4235451" y="2006600"/>
              <a:ext cx="363538" cy="217487"/>
            </a:xfrm>
            <a:custGeom>
              <a:avLst/>
              <a:gdLst>
                <a:gd name="T0" fmla="*/ 0 w 229"/>
                <a:gd name="T1" fmla="*/ 0 h 137"/>
                <a:gd name="T2" fmla="*/ 229 w 229"/>
                <a:gd name="T3" fmla="*/ 0 h 137"/>
                <a:gd name="T4" fmla="*/ 114 w 229"/>
                <a:gd name="T5" fmla="*/ 137 h 137"/>
                <a:gd name="T6" fmla="*/ 0 w 229"/>
                <a:gd name="T7" fmla="*/ 0 h 137"/>
              </a:gdLst>
              <a:ahLst/>
              <a:cxnLst>
                <a:cxn ang="0">
                  <a:pos x="T0" y="T1"/>
                </a:cxn>
                <a:cxn ang="0">
                  <a:pos x="T2" y="T3"/>
                </a:cxn>
                <a:cxn ang="0">
                  <a:pos x="T4" y="T5"/>
                </a:cxn>
                <a:cxn ang="0">
                  <a:pos x="T6" y="T7"/>
                </a:cxn>
              </a:cxnLst>
              <a:rect l="0" t="0" r="r" b="b"/>
              <a:pathLst>
                <a:path w="229" h="137">
                  <a:moveTo>
                    <a:pt x="0" y="0"/>
                  </a:moveTo>
                  <a:lnTo>
                    <a:pt x="229" y="0"/>
                  </a:lnTo>
                  <a:lnTo>
                    <a:pt x="114" y="137"/>
                  </a:lnTo>
                  <a:lnTo>
                    <a:pt x="0" y="0"/>
                  </a:lnTo>
                  <a:close/>
                </a:path>
              </a:pathLst>
            </a:custGeom>
            <a:solidFill>
              <a:srgbClr val="CFD8D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iṩḻíďé">
              <a:extLst>
                <a:ext uri="{FF2B5EF4-FFF2-40B4-BE49-F238E27FC236}">
                  <a16:creationId xmlns:a16="http://schemas.microsoft.com/office/drawing/2014/main" id="{4456673B-3D4B-4885-9C51-AC169E7F63DE}"/>
                </a:ext>
              </a:extLst>
            </p:cNvPr>
            <p:cNvSpPr/>
            <p:nvPr/>
          </p:nvSpPr>
          <p:spPr bwMode="auto">
            <a:xfrm>
              <a:off x="4017963" y="5546725"/>
              <a:ext cx="795338" cy="257175"/>
            </a:xfrm>
            <a:prstGeom prst="ellipse">
              <a:avLst/>
            </a:prstGeom>
            <a:solidFill>
              <a:srgbClr val="CFD8D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îšlíḑé">
              <a:extLst>
                <a:ext uri="{FF2B5EF4-FFF2-40B4-BE49-F238E27FC236}">
                  <a16:creationId xmlns:a16="http://schemas.microsoft.com/office/drawing/2014/main" id="{8A63AC3F-B4E6-4AC2-A350-DFCB4567F5CF}"/>
                </a:ext>
              </a:extLst>
            </p:cNvPr>
            <p:cNvSpPr/>
            <p:nvPr/>
          </p:nvSpPr>
          <p:spPr bwMode="auto">
            <a:xfrm>
              <a:off x="4378326" y="2119313"/>
              <a:ext cx="77788" cy="3559175"/>
            </a:xfrm>
            <a:prstGeom prst="rect">
              <a:avLst/>
            </a:prstGeom>
            <a:solidFill>
              <a:srgbClr val="CFD8D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0" name="i$ḻiḋê">
              <a:extLst>
                <a:ext uri="{FF2B5EF4-FFF2-40B4-BE49-F238E27FC236}">
                  <a16:creationId xmlns:a16="http://schemas.microsoft.com/office/drawing/2014/main" id="{8F4C101A-55B4-4DE7-BB42-40FA1E3624C9}"/>
                </a:ext>
              </a:extLst>
            </p:cNvPr>
            <p:cNvSpPr/>
            <p:nvPr/>
          </p:nvSpPr>
          <p:spPr bwMode="auto">
            <a:xfrm>
              <a:off x="8062913" y="5026025"/>
              <a:ext cx="131763" cy="112712"/>
            </a:xfrm>
            <a:custGeom>
              <a:avLst/>
              <a:gdLst>
                <a:gd name="T0" fmla="*/ 40 w 40"/>
                <a:gd name="T1" fmla="*/ 0 h 34"/>
                <a:gd name="T2" fmla="*/ 40 w 40"/>
                <a:gd name="T3" fmla="*/ 23 h 34"/>
                <a:gd name="T4" fmla="*/ 29 w 40"/>
                <a:gd name="T5" fmla="*/ 34 h 34"/>
                <a:gd name="T6" fmla="*/ 11 w 40"/>
                <a:gd name="T7" fmla="*/ 34 h 34"/>
                <a:gd name="T8" fmla="*/ 0 w 40"/>
                <a:gd name="T9" fmla="*/ 23 h 34"/>
              </a:gdLst>
              <a:ahLst/>
              <a:cxnLst>
                <a:cxn ang="0">
                  <a:pos x="T0" y="T1"/>
                </a:cxn>
                <a:cxn ang="0">
                  <a:pos x="T2" y="T3"/>
                </a:cxn>
                <a:cxn ang="0">
                  <a:pos x="T4" y="T5"/>
                </a:cxn>
                <a:cxn ang="0">
                  <a:pos x="T6" y="T7"/>
                </a:cxn>
                <a:cxn ang="0">
                  <a:pos x="T8" y="T9"/>
                </a:cxn>
              </a:cxnLst>
              <a:rect l="0" t="0" r="r" b="b"/>
              <a:pathLst>
                <a:path w="40" h="34">
                  <a:moveTo>
                    <a:pt x="40" y="0"/>
                  </a:moveTo>
                  <a:cubicBezTo>
                    <a:pt x="40" y="23"/>
                    <a:pt x="40" y="23"/>
                    <a:pt x="40" y="23"/>
                  </a:cubicBezTo>
                  <a:cubicBezTo>
                    <a:pt x="40" y="29"/>
                    <a:pt x="35" y="34"/>
                    <a:pt x="29" y="34"/>
                  </a:cubicBezTo>
                  <a:cubicBezTo>
                    <a:pt x="11" y="34"/>
                    <a:pt x="11" y="34"/>
                    <a:pt x="11" y="34"/>
                  </a:cubicBezTo>
                  <a:cubicBezTo>
                    <a:pt x="5" y="34"/>
                    <a:pt x="0" y="29"/>
                    <a:pt x="0" y="23"/>
                  </a:cubicBezTo>
                </a:path>
              </a:pathLst>
            </a:custGeom>
            <a:solidFill>
              <a:srgbClr val="E992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ïşlîḑê">
              <a:extLst>
                <a:ext uri="{FF2B5EF4-FFF2-40B4-BE49-F238E27FC236}">
                  <a16:creationId xmlns:a16="http://schemas.microsoft.com/office/drawing/2014/main" id="{1BC7E2DF-A560-4512-87AA-30AA2062FCB5}"/>
                </a:ext>
              </a:extLst>
            </p:cNvPr>
            <p:cNvSpPr/>
            <p:nvPr/>
          </p:nvSpPr>
          <p:spPr bwMode="auto">
            <a:xfrm>
              <a:off x="7754938" y="5026025"/>
              <a:ext cx="131763" cy="112712"/>
            </a:xfrm>
            <a:custGeom>
              <a:avLst/>
              <a:gdLst>
                <a:gd name="T0" fmla="*/ 0 w 40"/>
                <a:gd name="T1" fmla="*/ 0 h 34"/>
                <a:gd name="T2" fmla="*/ 0 w 40"/>
                <a:gd name="T3" fmla="*/ 23 h 34"/>
                <a:gd name="T4" fmla="*/ 11 w 40"/>
                <a:gd name="T5" fmla="*/ 34 h 34"/>
                <a:gd name="T6" fmla="*/ 29 w 40"/>
                <a:gd name="T7" fmla="*/ 34 h 34"/>
                <a:gd name="T8" fmla="*/ 40 w 40"/>
                <a:gd name="T9" fmla="*/ 23 h 34"/>
              </a:gdLst>
              <a:ahLst/>
              <a:cxnLst>
                <a:cxn ang="0">
                  <a:pos x="T0" y="T1"/>
                </a:cxn>
                <a:cxn ang="0">
                  <a:pos x="T2" y="T3"/>
                </a:cxn>
                <a:cxn ang="0">
                  <a:pos x="T4" y="T5"/>
                </a:cxn>
                <a:cxn ang="0">
                  <a:pos x="T6" y="T7"/>
                </a:cxn>
                <a:cxn ang="0">
                  <a:pos x="T8" y="T9"/>
                </a:cxn>
              </a:cxnLst>
              <a:rect l="0" t="0" r="r" b="b"/>
              <a:pathLst>
                <a:path w="40" h="34">
                  <a:moveTo>
                    <a:pt x="0" y="0"/>
                  </a:moveTo>
                  <a:cubicBezTo>
                    <a:pt x="0" y="23"/>
                    <a:pt x="0" y="23"/>
                    <a:pt x="0" y="23"/>
                  </a:cubicBezTo>
                  <a:cubicBezTo>
                    <a:pt x="0" y="29"/>
                    <a:pt x="5" y="34"/>
                    <a:pt x="11" y="34"/>
                  </a:cubicBezTo>
                  <a:cubicBezTo>
                    <a:pt x="29" y="34"/>
                    <a:pt x="29" y="34"/>
                    <a:pt x="29" y="34"/>
                  </a:cubicBezTo>
                  <a:cubicBezTo>
                    <a:pt x="35" y="34"/>
                    <a:pt x="40" y="29"/>
                    <a:pt x="40" y="23"/>
                  </a:cubicBezTo>
                </a:path>
              </a:pathLst>
            </a:custGeom>
            <a:solidFill>
              <a:srgbClr val="E992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isḷíḓé">
              <a:extLst>
                <a:ext uri="{FF2B5EF4-FFF2-40B4-BE49-F238E27FC236}">
                  <a16:creationId xmlns:a16="http://schemas.microsoft.com/office/drawing/2014/main" id="{ADCF6B77-8F7D-4027-9740-F80310CA33B3}"/>
                </a:ext>
              </a:extLst>
            </p:cNvPr>
            <p:cNvSpPr/>
            <p:nvPr/>
          </p:nvSpPr>
          <p:spPr bwMode="auto">
            <a:xfrm>
              <a:off x="7653338" y="4476750"/>
              <a:ext cx="639763" cy="638175"/>
            </a:xfrm>
            <a:custGeom>
              <a:avLst/>
              <a:gdLst>
                <a:gd name="T0" fmla="*/ 13 w 194"/>
                <a:gd name="T1" fmla="*/ 49 h 194"/>
                <a:gd name="T2" fmla="*/ 52 w 194"/>
                <a:gd name="T3" fmla="*/ 11 h 194"/>
                <a:gd name="T4" fmla="*/ 92 w 194"/>
                <a:gd name="T5" fmla="*/ 0 h 194"/>
                <a:gd name="T6" fmla="*/ 92 w 194"/>
                <a:gd name="T7" fmla="*/ 20 h 194"/>
                <a:gd name="T8" fmla="*/ 97 w 194"/>
                <a:gd name="T9" fmla="*/ 25 h 194"/>
                <a:gd name="T10" fmla="*/ 103 w 194"/>
                <a:gd name="T11" fmla="*/ 20 h 194"/>
                <a:gd name="T12" fmla="*/ 103 w 194"/>
                <a:gd name="T13" fmla="*/ 0 h 194"/>
                <a:gd name="T14" fmla="*/ 142 w 194"/>
                <a:gd name="T15" fmla="*/ 11 h 194"/>
                <a:gd name="T16" fmla="*/ 181 w 194"/>
                <a:gd name="T17" fmla="*/ 50 h 194"/>
                <a:gd name="T18" fmla="*/ 194 w 194"/>
                <a:gd name="T19" fmla="*/ 97 h 194"/>
                <a:gd name="T20" fmla="*/ 97 w 194"/>
                <a:gd name="T21" fmla="*/ 194 h 194"/>
                <a:gd name="T22" fmla="*/ 0 w 194"/>
                <a:gd name="T23" fmla="*/ 97 h 194"/>
                <a:gd name="T24" fmla="*/ 13 w 194"/>
                <a:gd name="T25" fmla="*/ 49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4" h="194">
                  <a:moveTo>
                    <a:pt x="13" y="49"/>
                  </a:moveTo>
                  <a:cubicBezTo>
                    <a:pt x="22" y="33"/>
                    <a:pt x="36" y="20"/>
                    <a:pt x="52" y="11"/>
                  </a:cubicBezTo>
                  <a:cubicBezTo>
                    <a:pt x="64" y="5"/>
                    <a:pt x="78" y="1"/>
                    <a:pt x="92" y="0"/>
                  </a:cubicBezTo>
                  <a:cubicBezTo>
                    <a:pt x="92" y="20"/>
                    <a:pt x="92" y="20"/>
                    <a:pt x="92" y="20"/>
                  </a:cubicBezTo>
                  <a:cubicBezTo>
                    <a:pt x="92" y="23"/>
                    <a:pt x="94" y="25"/>
                    <a:pt x="97" y="25"/>
                  </a:cubicBezTo>
                  <a:cubicBezTo>
                    <a:pt x="100" y="25"/>
                    <a:pt x="103" y="23"/>
                    <a:pt x="103" y="20"/>
                  </a:cubicBezTo>
                  <a:cubicBezTo>
                    <a:pt x="103" y="0"/>
                    <a:pt x="103" y="0"/>
                    <a:pt x="103" y="0"/>
                  </a:cubicBezTo>
                  <a:cubicBezTo>
                    <a:pt x="117" y="1"/>
                    <a:pt x="130" y="5"/>
                    <a:pt x="142" y="11"/>
                  </a:cubicBezTo>
                  <a:cubicBezTo>
                    <a:pt x="158" y="20"/>
                    <a:pt x="172" y="33"/>
                    <a:pt x="181" y="50"/>
                  </a:cubicBezTo>
                  <a:cubicBezTo>
                    <a:pt x="189" y="64"/>
                    <a:pt x="194" y="80"/>
                    <a:pt x="194" y="97"/>
                  </a:cubicBezTo>
                  <a:cubicBezTo>
                    <a:pt x="194" y="150"/>
                    <a:pt x="150" y="194"/>
                    <a:pt x="97" y="194"/>
                  </a:cubicBezTo>
                  <a:cubicBezTo>
                    <a:pt x="43" y="194"/>
                    <a:pt x="0" y="150"/>
                    <a:pt x="0" y="97"/>
                  </a:cubicBezTo>
                  <a:cubicBezTo>
                    <a:pt x="0" y="80"/>
                    <a:pt x="5" y="63"/>
                    <a:pt x="13" y="49"/>
                  </a:cubicBezTo>
                  <a:close/>
                </a:path>
              </a:pathLst>
            </a:custGeom>
            <a:solidFill>
              <a:srgbClr val="EFBAB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iṣlíďé">
              <a:extLst>
                <a:ext uri="{FF2B5EF4-FFF2-40B4-BE49-F238E27FC236}">
                  <a16:creationId xmlns:a16="http://schemas.microsoft.com/office/drawing/2014/main" id="{16D711DF-99F6-45AA-B4B5-C5D09B6B382C}"/>
                </a:ext>
              </a:extLst>
            </p:cNvPr>
            <p:cNvSpPr/>
            <p:nvPr/>
          </p:nvSpPr>
          <p:spPr bwMode="auto">
            <a:xfrm>
              <a:off x="7956551" y="4476750"/>
              <a:ext cx="36513" cy="80962"/>
            </a:xfrm>
            <a:custGeom>
              <a:avLst/>
              <a:gdLst>
                <a:gd name="T0" fmla="*/ 5 w 11"/>
                <a:gd name="T1" fmla="*/ 25 h 25"/>
                <a:gd name="T2" fmla="*/ 0 w 11"/>
                <a:gd name="T3" fmla="*/ 20 h 25"/>
                <a:gd name="T4" fmla="*/ 0 w 11"/>
                <a:gd name="T5" fmla="*/ 0 h 25"/>
                <a:gd name="T6" fmla="*/ 5 w 11"/>
                <a:gd name="T7" fmla="*/ 0 h 25"/>
                <a:gd name="T8" fmla="*/ 11 w 11"/>
                <a:gd name="T9" fmla="*/ 0 h 25"/>
                <a:gd name="T10" fmla="*/ 11 w 11"/>
                <a:gd name="T11" fmla="*/ 20 h 25"/>
                <a:gd name="T12" fmla="*/ 5 w 11"/>
                <a:gd name="T13" fmla="*/ 25 h 25"/>
              </a:gdLst>
              <a:ahLst/>
              <a:cxnLst>
                <a:cxn ang="0">
                  <a:pos x="T0" y="T1"/>
                </a:cxn>
                <a:cxn ang="0">
                  <a:pos x="T2" y="T3"/>
                </a:cxn>
                <a:cxn ang="0">
                  <a:pos x="T4" y="T5"/>
                </a:cxn>
                <a:cxn ang="0">
                  <a:pos x="T6" y="T7"/>
                </a:cxn>
                <a:cxn ang="0">
                  <a:pos x="T8" y="T9"/>
                </a:cxn>
                <a:cxn ang="0">
                  <a:pos x="T10" y="T11"/>
                </a:cxn>
                <a:cxn ang="0">
                  <a:pos x="T12" y="T13"/>
                </a:cxn>
              </a:cxnLst>
              <a:rect l="0" t="0" r="r" b="b"/>
              <a:pathLst>
                <a:path w="11" h="25">
                  <a:moveTo>
                    <a:pt x="5" y="25"/>
                  </a:moveTo>
                  <a:cubicBezTo>
                    <a:pt x="2" y="25"/>
                    <a:pt x="0" y="23"/>
                    <a:pt x="0" y="20"/>
                  </a:cubicBezTo>
                  <a:cubicBezTo>
                    <a:pt x="0" y="0"/>
                    <a:pt x="0" y="0"/>
                    <a:pt x="0" y="0"/>
                  </a:cubicBezTo>
                  <a:cubicBezTo>
                    <a:pt x="1" y="0"/>
                    <a:pt x="3" y="0"/>
                    <a:pt x="5" y="0"/>
                  </a:cubicBezTo>
                  <a:cubicBezTo>
                    <a:pt x="7" y="0"/>
                    <a:pt x="9" y="0"/>
                    <a:pt x="11" y="0"/>
                  </a:cubicBezTo>
                  <a:cubicBezTo>
                    <a:pt x="11" y="20"/>
                    <a:pt x="11" y="20"/>
                    <a:pt x="11" y="20"/>
                  </a:cubicBezTo>
                  <a:cubicBezTo>
                    <a:pt x="11" y="23"/>
                    <a:pt x="8" y="25"/>
                    <a:pt x="5" y="25"/>
                  </a:cubicBezTo>
                  <a:close/>
                </a:path>
              </a:pathLst>
            </a:custGeom>
            <a:solidFill>
              <a:srgbClr val="BF57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íSļiḑe">
              <a:extLst>
                <a:ext uri="{FF2B5EF4-FFF2-40B4-BE49-F238E27FC236}">
                  <a16:creationId xmlns:a16="http://schemas.microsoft.com/office/drawing/2014/main" id="{75F5EBCE-13EC-4BF6-B264-A60EFA2B1BE2}"/>
                </a:ext>
              </a:extLst>
            </p:cNvPr>
            <p:cNvSpPr/>
            <p:nvPr/>
          </p:nvSpPr>
          <p:spPr bwMode="auto">
            <a:xfrm>
              <a:off x="8121651" y="4449763"/>
              <a:ext cx="180975" cy="190500"/>
            </a:xfrm>
            <a:custGeom>
              <a:avLst/>
              <a:gdLst>
                <a:gd name="T0" fmla="*/ 0 w 55"/>
                <a:gd name="T1" fmla="*/ 19 h 58"/>
                <a:gd name="T2" fmla="*/ 0 w 55"/>
                <a:gd name="T3" fmla="*/ 19 h 58"/>
                <a:gd name="T4" fmla="*/ 44 w 55"/>
                <a:gd name="T5" fmla="*/ 16 h 58"/>
                <a:gd name="T6" fmla="*/ 39 w 55"/>
                <a:gd name="T7" fmla="*/ 58 h 58"/>
                <a:gd name="T8" fmla="*/ 0 w 55"/>
                <a:gd name="T9" fmla="*/ 19 h 58"/>
              </a:gdLst>
              <a:ahLst/>
              <a:cxnLst>
                <a:cxn ang="0">
                  <a:pos x="T0" y="T1"/>
                </a:cxn>
                <a:cxn ang="0">
                  <a:pos x="T2" y="T3"/>
                </a:cxn>
                <a:cxn ang="0">
                  <a:pos x="T4" y="T5"/>
                </a:cxn>
                <a:cxn ang="0">
                  <a:pos x="T6" y="T7"/>
                </a:cxn>
                <a:cxn ang="0">
                  <a:pos x="T8" y="T9"/>
                </a:cxn>
              </a:cxnLst>
              <a:rect l="0" t="0" r="r" b="b"/>
              <a:pathLst>
                <a:path w="55" h="58">
                  <a:moveTo>
                    <a:pt x="0" y="19"/>
                  </a:moveTo>
                  <a:cubicBezTo>
                    <a:pt x="0" y="19"/>
                    <a:pt x="0" y="19"/>
                    <a:pt x="0" y="19"/>
                  </a:cubicBezTo>
                  <a:cubicBezTo>
                    <a:pt x="14" y="0"/>
                    <a:pt x="44" y="16"/>
                    <a:pt x="44" y="16"/>
                  </a:cubicBezTo>
                  <a:cubicBezTo>
                    <a:pt x="55" y="43"/>
                    <a:pt x="39" y="58"/>
                    <a:pt x="39" y="58"/>
                  </a:cubicBezTo>
                  <a:cubicBezTo>
                    <a:pt x="30" y="41"/>
                    <a:pt x="16" y="28"/>
                    <a:pt x="0" y="19"/>
                  </a:cubicBezTo>
                  <a:close/>
                </a:path>
              </a:pathLst>
            </a:custGeom>
            <a:solidFill>
              <a:srgbClr val="E992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ïṧḻíḑé">
              <a:extLst>
                <a:ext uri="{FF2B5EF4-FFF2-40B4-BE49-F238E27FC236}">
                  <a16:creationId xmlns:a16="http://schemas.microsoft.com/office/drawing/2014/main" id="{A560335C-77A3-4B9F-B3DC-4E2A85818617}"/>
                </a:ext>
              </a:extLst>
            </p:cNvPr>
            <p:cNvSpPr/>
            <p:nvPr/>
          </p:nvSpPr>
          <p:spPr bwMode="auto">
            <a:xfrm>
              <a:off x="7645401" y="4449763"/>
              <a:ext cx="179388" cy="187325"/>
            </a:xfrm>
            <a:custGeom>
              <a:avLst/>
              <a:gdLst>
                <a:gd name="T0" fmla="*/ 15 w 54"/>
                <a:gd name="T1" fmla="*/ 57 h 57"/>
                <a:gd name="T2" fmla="*/ 11 w 54"/>
                <a:gd name="T3" fmla="*/ 16 h 57"/>
                <a:gd name="T4" fmla="*/ 54 w 54"/>
                <a:gd name="T5" fmla="*/ 19 h 57"/>
                <a:gd name="T6" fmla="*/ 15 w 54"/>
                <a:gd name="T7" fmla="*/ 57 h 57"/>
              </a:gdLst>
              <a:ahLst/>
              <a:cxnLst>
                <a:cxn ang="0">
                  <a:pos x="T0" y="T1"/>
                </a:cxn>
                <a:cxn ang="0">
                  <a:pos x="T2" y="T3"/>
                </a:cxn>
                <a:cxn ang="0">
                  <a:pos x="T4" y="T5"/>
                </a:cxn>
                <a:cxn ang="0">
                  <a:pos x="T6" y="T7"/>
                </a:cxn>
              </a:cxnLst>
              <a:rect l="0" t="0" r="r" b="b"/>
              <a:pathLst>
                <a:path w="54" h="57">
                  <a:moveTo>
                    <a:pt x="15" y="57"/>
                  </a:moveTo>
                  <a:cubicBezTo>
                    <a:pt x="12" y="55"/>
                    <a:pt x="0" y="40"/>
                    <a:pt x="11" y="16"/>
                  </a:cubicBezTo>
                  <a:cubicBezTo>
                    <a:pt x="11" y="16"/>
                    <a:pt x="41" y="0"/>
                    <a:pt x="54" y="19"/>
                  </a:cubicBezTo>
                  <a:cubicBezTo>
                    <a:pt x="38" y="28"/>
                    <a:pt x="24" y="41"/>
                    <a:pt x="15" y="57"/>
                  </a:cubicBezTo>
                  <a:close/>
                </a:path>
              </a:pathLst>
            </a:custGeom>
            <a:solidFill>
              <a:srgbClr val="E992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ïsļïḍè">
              <a:extLst>
                <a:ext uri="{FF2B5EF4-FFF2-40B4-BE49-F238E27FC236}">
                  <a16:creationId xmlns:a16="http://schemas.microsoft.com/office/drawing/2014/main" id="{416A7C68-F697-4044-B632-60221CA21FFA}"/>
                </a:ext>
              </a:extLst>
            </p:cNvPr>
            <p:cNvSpPr/>
            <p:nvPr/>
          </p:nvSpPr>
          <p:spPr bwMode="auto">
            <a:xfrm>
              <a:off x="7854951" y="4743450"/>
              <a:ext cx="239713" cy="187325"/>
            </a:xfrm>
            <a:prstGeom prst="ellipse">
              <a:avLst/>
            </a:prstGeom>
            <a:solidFill>
              <a:srgbClr val="F9D8D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îṡḻïḋé">
              <a:extLst>
                <a:ext uri="{FF2B5EF4-FFF2-40B4-BE49-F238E27FC236}">
                  <a16:creationId xmlns:a16="http://schemas.microsoft.com/office/drawing/2014/main" id="{D54C94C0-FD63-4616-AB21-5F1418BF738C}"/>
                </a:ext>
              </a:extLst>
            </p:cNvPr>
            <p:cNvSpPr/>
            <p:nvPr/>
          </p:nvSpPr>
          <p:spPr bwMode="auto">
            <a:xfrm>
              <a:off x="5500688" y="4960938"/>
              <a:ext cx="712788" cy="514350"/>
            </a:xfrm>
            <a:prstGeom prst="rect">
              <a:avLst/>
            </a:prstGeom>
            <a:solidFill>
              <a:srgbClr val="0A325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8" name="ïś1ïḋe">
              <a:extLst>
                <a:ext uri="{FF2B5EF4-FFF2-40B4-BE49-F238E27FC236}">
                  <a16:creationId xmlns:a16="http://schemas.microsoft.com/office/drawing/2014/main" id="{1F2BB743-21B9-41FE-A999-24B5BA5EA171}"/>
                </a:ext>
              </a:extLst>
            </p:cNvPr>
            <p:cNvSpPr/>
            <p:nvPr/>
          </p:nvSpPr>
          <p:spPr bwMode="auto">
            <a:xfrm>
              <a:off x="5378451" y="3984625"/>
              <a:ext cx="1254125" cy="1101725"/>
            </a:xfrm>
            <a:custGeom>
              <a:avLst/>
              <a:gdLst>
                <a:gd name="T0" fmla="*/ 347 w 380"/>
                <a:gd name="T1" fmla="*/ 40 h 334"/>
                <a:gd name="T2" fmla="*/ 347 w 380"/>
                <a:gd name="T3" fmla="*/ 40 h 334"/>
                <a:gd name="T4" fmla="*/ 336 w 380"/>
                <a:gd name="T5" fmla="*/ 33 h 334"/>
                <a:gd name="T6" fmla="*/ 318 w 380"/>
                <a:gd name="T7" fmla="*/ 25 h 334"/>
                <a:gd name="T8" fmla="*/ 234 w 380"/>
                <a:gd name="T9" fmla="*/ 0 h 334"/>
                <a:gd name="T10" fmla="*/ 234 w 380"/>
                <a:gd name="T11" fmla="*/ 21 h 334"/>
                <a:gd name="T12" fmla="*/ 190 w 380"/>
                <a:gd name="T13" fmla="*/ 66 h 334"/>
                <a:gd name="T14" fmla="*/ 146 w 380"/>
                <a:gd name="T15" fmla="*/ 21 h 334"/>
                <a:gd name="T16" fmla="*/ 146 w 380"/>
                <a:gd name="T17" fmla="*/ 0 h 334"/>
                <a:gd name="T18" fmla="*/ 62 w 380"/>
                <a:gd name="T19" fmla="*/ 25 h 334"/>
                <a:gd name="T20" fmla="*/ 44 w 380"/>
                <a:gd name="T21" fmla="*/ 33 h 334"/>
                <a:gd name="T22" fmla="*/ 33 w 380"/>
                <a:gd name="T23" fmla="*/ 40 h 334"/>
                <a:gd name="T24" fmla="*/ 0 w 380"/>
                <a:gd name="T25" fmla="*/ 108 h 334"/>
                <a:gd name="T26" fmla="*/ 0 w 380"/>
                <a:gd name="T27" fmla="*/ 174 h 334"/>
                <a:gd name="T28" fmla="*/ 44 w 380"/>
                <a:gd name="T29" fmla="*/ 174 h 334"/>
                <a:gd name="T30" fmla="*/ 44 w 380"/>
                <a:gd name="T31" fmla="*/ 334 h 334"/>
                <a:gd name="T32" fmla="*/ 190 w 380"/>
                <a:gd name="T33" fmla="*/ 334 h 334"/>
                <a:gd name="T34" fmla="*/ 336 w 380"/>
                <a:gd name="T35" fmla="*/ 334 h 334"/>
                <a:gd name="T36" fmla="*/ 336 w 380"/>
                <a:gd name="T37" fmla="*/ 174 h 334"/>
                <a:gd name="T38" fmla="*/ 380 w 380"/>
                <a:gd name="T39" fmla="*/ 174 h 334"/>
                <a:gd name="T40" fmla="*/ 380 w 380"/>
                <a:gd name="T41" fmla="*/ 108 h 334"/>
                <a:gd name="T42" fmla="*/ 347 w 380"/>
                <a:gd name="T43" fmla="*/ 4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0" h="334">
                  <a:moveTo>
                    <a:pt x="347" y="40"/>
                  </a:moveTo>
                  <a:cubicBezTo>
                    <a:pt x="347" y="40"/>
                    <a:pt x="347" y="40"/>
                    <a:pt x="347" y="40"/>
                  </a:cubicBezTo>
                  <a:cubicBezTo>
                    <a:pt x="344" y="37"/>
                    <a:pt x="340" y="35"/>
                    <a:pt x="336" y="33"/>
                  </a:cubicBezTo>
                  <a:cubicBezTo>
                    <a:pt x="330" y="29"/>
                    <a:pt x="324" y="27"/>
                    <a:pt x="318" y="25"/>
                  </a:cubicBezTo>
                  <a:cubicBezTo>
                    <a:pt x="234" y="0"/>
                    <a:pt x="234" y="0"/>
                    <a:pt x="234" y="0"/>
                  </a:cubicBezTo>
                  <a:cubicBezTo>
                    <a:pt x="234" y="21"/>
                    <a:pt x="234" y="21"/>
                    <a:pt x="234" y="21"/>
                  </a:cubicBezTo>
                  <a:cubicBezTo>
                    <a:pt x="234" y="46"/>
                    <a:pt x="214" y="65"/>
                    <a:pt x="190" y="66"/>
                  </a:cubicBezTo>
                  <a:cubicBezTo>
                    <a:pt x="166" y="65"/>
                    <a:pt x="146" y="46"/>
                    <a:pt x="146" y="21"/>
                  </a:cubicBezTo>
                  <a:cubicBezTo>
                    <a:pt x="146" y="0"/>
                    <a:pt x="146" y="0"/>
                    <a:pt x="146" y="0"/>
                  </a:cubicBezTo>
                  <a:cubicBezTo>
                    <a:pt x="62" y="25"/>
                    <a:pt x="62" y="25"/>
                    <a:pt x="62" y="25"/>
                  </a:cubicBezTo>
                  <a:cubicBezTo>
                    <a:pt x="56" y="27"/>
                    <a:pt x="50" y="29"/>
                    <a:pt x="44" y="33"/>
                  </a:cubicBezTo>
                  <a:cubicBezTo>
                    <a:pt x="40" y="35"/>
                    <a:pt x="36" y="37"/>
                    <a:pt x="33" y="40"/>
                  </a:cubicBezTo>
                  <a:cubicBezTo>
                    <a:pt x="12" y="56"/>
                    <a:pt x="0" y="81"/>
                    <a:pt x="0" y="108"/>
                  </a:cubicBezTo>
                  <a:cubicBezTo>
                    <a:pt x="0" y="174"/>
                    <a:pt x="0" y="174"/>
                    <a:pt x="0" y="174"/>
                  </a:cubicBezTo>
                  <a:cubicBezTo>
                    <a:pt x="44" y="174"/>
                    <a:pt x="44" y="174"/>
                    <a:pt x="44" y="174"/>
                  </a:cubicBezTo>
                  <a:cubicBezTo>
                    <a:pt x="44" y="334"/>
                    <a:pt x="44" y="334"/>
                    <a:pt x="44" y="334"/>
                  </a:cubicBezTo>
                  <a:cubicBezTo>
                    <a:pt x="190" y="334"/>
                    <a:pt x="190" y="334"/>
                    <a:pt x="190" y="334"/>
                  </a:cubicBezTo>
                  <a:cubicBezTo>
                    <a:pt x="336" y="334"/>
                    <a:pt x="336" y="334"/>
                    <a:pt x="336" y="334"/>
                  </a:cubicBezTo>
                  <a:cubicBezTo>
                    <a:pt x="336" y="174"/>
                    <a:pt x="336" y="174"/>
                    <a:pt x="336" y="174"/>
                  </a:cubicBezTo>
                  <a:cubicBezTo>
                    <a:pt x="380" y="174"/>
                    <a:pt x="380" y="174"/>
                    <a:pt x="380" y="174"/>
                  </a:cubicBezTo>
                  <a:cubicBezTo>
                    <a:pt x="380" y="108"/>
                    <a:pt x="380" y="108"/>
                    <a:pt x="380" y="108"/>
                  </a:cubicBezTo>
                  <a:cubicBezTo>
                    <a:pt x="380" y="81"/>
                    <a:pt x="368" y="56"/>
                    <a:pt x="347" y="40"/>
                  </a:cubicBezTo>
                  <a:close/>
                </a:path>
              </a:pathLst>
            </a:custGeom>
            <a:solidFill>
              <a:srgbClr val="FFCA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íšľiḑe">
              <a:extLst>
                <a:ext uri="{FF2B5EF4-FFF2-40B4-BE49-F238E27FC236}">
                  <a16:creationId xmlns:a16="http://schemas.microsoft.com/office/drawing/2014/main" id="{2E1EB662-BBFF-4318-8B5C-0F1A774549FA}"/>
                </a:ext>
              </a:extLst>
            </p:cNvPr>
            <p:cNvSpPr/>
            <p:nvPr/>
          </p:nvSpPr>
          <p:spPr bwMode="auto">
            <a:xfrm>
              <a:off x="5859463" y="3892550"/>
              <a:ext cx="298450" cy="309562"/>
            </a:xfrm>
            <a:custGeom>
              <a:avLst/>
              <a:gdLst>
                <a:gd name="T0" fmla="*/ 0 w 90"/>
                <a:gd name="T1" fmla="*/ 0 h 94"/>
                <a:gd name="T2" fmla="*/ 0 w 90"/>
                <a:gd name="T3" fmla="*/ 28 h 94"/>
                <a:gd name="T4" fmla="*/ 0 w 90"/>
                <a:gd name="T5" fmla="*/ 49 h 94"/>
                <a:gd name="T6" fmla="*/ 45 w 90"/>
                <a:gd name="T7" fmla="*/ 94 h 94"/>
                <a:gd name="T8" fmla="*/ 90 w 90"/>
                <a:gd name="T9" fmla="*/ 49 h 94"/>
                <a:gd name="T10" fmla="*/ 90 w 90"/>
                <a:gd name="T11" fmla="*/ 28 h 94"/>
                <a:gd name="T12" fmla="*/ 90 w 90"/>
                <a:gd name="T13" fmla="*/ 0 h 94"/>
                <a:gd name="T14" fmla="*/ 45 w 90"/>
                <a:gd name="T15" fmla="*/ 6 h 94"/>
                <a:gd name="T16" fmla="*/ 0 w 90"/>
                <a:gd name="T17"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94">
                  <a:moveTo>
                    <a:pt x="0" y="0"/>
                  </a:moveTo>
                  <a:cubicBezTo>
                    <a:pt x="0" y="28"/>
                    <a:pt x="0" y="28"/>
                    <a:pt x="0" y="28"/>
                  </a:cubicBezTo>
                  <a:cubicBezTo>
                    <a:pt x="0" y="49"/>
                    <a:pt x="0" y="49"/>
                    <a:pt x="0" y="49"/>
                  </a:cubicBezTo>
                  <a:cubicBezTo>
                    <a:pt x="0" y="74"/>
                    <a:pt x="20" y="94"/>
                    <a:pt x="45" y="94"/>
                  </a:cubicBezTo>
                  <a:cubicBezTo>
                    <a:pt x="70" y="94"/>
                    <a:pt x="90" y="74"/>
                    <a:pt x="90" y="49"/>
                  </a:cubicBezTo>
                  <a:cubicBezTo>
                    <a:pt x="90" y="28"/>
                    <a:pt x="90" y="28"/>
                    <a:pt x="90" y="28"/>
                  </a:cubicBezTo>
                  <a:cubicBezTo>
                    <a:pt x="90" y="0"/>
                    <a:pt x="90" y="0"/>
                    <a:pt x="90" y="0"/>
                  </a:cubicBezTo>
                  <a:cubicBezTo>
                    <a:pt x="76" y="4"/>
                    <a:pt x="61" y="6"/>
                    <a:pt x="45" y="6"/>
                  </a:cubicBezTo>
                  <a:cubicBezTo>
                    <a:pt x="30" y="6"/>
                    <a:pt x="14" y="4"/>
                    <a:pt x="0" y="0"/>
                  </a:cubicBezTo>
                  <a:close/>
                </a:path>
              </a:pathLst>
            </a:custGeom>
            <a:solidFill>
              <a:srgbClr val="CFD8D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iŝľiďê">
              <a:extLst>
                <a:ext uri="{FF2B5EF4-FFF2-40B4-BE49-F238E27FC236}">
                  <a16:creationId xmlns:a16="http://schemas.microsoft.com/office/drawing/2014/main" id="{3EBFC483-2224-4BFF-91DC-F13099B52C51}"/>
                </a:ext>
              </a:extLst>
            </p:cNvPr>
            <p:cNvSpPr/>
            <p:nvPr/>
          </p:nvSpPr>
          <p:spPr bwMode="auto">
            <a:xfrm>
              <a:off x="5537201" y="2817813"/>
              <a:ext cx="942975" cy="1108075"/>
            </a:xfrm>
            <a:custGeom>
              <a:avLst/>
              <a:gdLst>
                <a:gd name="T0" fmla="*/ 286 w 286"/>
                <a:gd name="T1" fmla="*/ 174 h 336"/>
                <a:gd name="T2" fmla="*/ 271 w 286"/>
                <a:gd name="T3" fmla="*/ 148 h 336"/>
                <a:gd name="T4" fmla="*/ 271 w 286"/>
                <a:gd name="T5" fmla="*/ 121 h 336"/>
                <a:gd name="T6" fmla="*/ 143 w 286"/>
                <a:gd name="T7" fmla="*/ 0 h 336"/>
                <a:gd name="T8" fmla="*/ 15 w 286"/>
                <a:gd name="T9" fmla="*/ 121 h 336"/>
                <a:gd name="T10" fmla="*/ 15 w 286"/>
                <a:gd name="T11" fmla="*/ 121 h 336"/>
                <a:gd name="T12" fmla="*/ 15 w 286"/>
                <a:gd name="T13" fmla="*/ 148 h 336"/>
                <a:gd name="T14" fmla="*/ 0 w 286"/>
                <a:gd name="T15" fmla="*/ 174 h 336"/>
                <a:gd name="T16" fmla="*/ 15 w 286"/>
                <a:gd name="T17" fmla="*/ 199 h 336"/>
                <a:gd name="T18" fmla="*/ 15 w 286"/>
                <a:gd name="T19" fmla="*/ 221 h 336"/>
                <a:gd name="T20" fmla="*/ 143 w 286"/>
                <a:gd name="T21" fmla="*/ 336 h 336"/>
                <a:gd name="T22" fmla="*/ 270 w 286"/>
                <a:gd name="T23" fmla="*/ 221 h 336"/>
                <a:gd name="T24" fmla="*/ 271 w 286"/>
                <a:gd name="T25" fmla="*/ 199 h 336"/>
                <a:gd name="T26" fmla="*/ 286 w 286"/>
                <a:gd name="T27" fmla="*/ 17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6" h="336">
                  <a:moveTo>
                    <a:pt x="286" y="174"/>
                  </a:moveTo>
                  <a:cubicBezTo>
                    <a:pt x="286" y="163"/>
                    <a:pt x="280" y="153"/>
                    <a:pt x="271" y="148"/>
                  </a:cubicBezTo>
                  <a:cubicBezTo>
                    <a:pt x="271" y="121"/>
                    <a:pt x="271" y="121"/>
                    <a:pt x="271" y="121"/>
                  </a:cubicBezTo>
                  <a:cubicBezTo>
                    <a:pt x="267" y="54"/>
                    <a:pt x="211" y="0"/>
                    <a:pt x="143" y="0"/>
                  </a:cubicBezTo>
                  <a:cubicBezTo>
                    <a:pt x="75" y="0"/>
                    <a:pt x="19" y="54"/>
                    <a:pt x="15" y="121"/>
                  </a:cubicBezTo>
                  <a:cubicBezTo>
                    <a:pt x="15" y="121"/>
                    <a:pt x="15" y="121"/>
                    <a:pt x="15" y="121"/>
                  </a:cubicBezTo>
                  <a:cubicBezTo>
                    <a:pt x="15" y="148"/>
                    <a:pt x="15" y="148"/>
                    <a:pt x="15" y="148"/>
                  </a:cubicBezTo>
                  <a:cubicBezTo>
                    <a:pt x="6" y="153"/>
                    <a:pt x="0" y="163"/>
                    <a:pt x="0" y="174"/>
                  </a:cubicBezTo>
                  <a:cubicBezTo>
                    <a:pt x="0" y="185"/>
                    <a:pt x="6" y="194"/>
                    <a:pt x="15" y="199"/>
                  </a:cubicBezTo>
                  <a:cubicBezTo>
                    <a:pt x="15" y="221"/>
                    <a:pt x="15" y="221"/>
                    <a:pt x="15" y="221"/>
                  </a:cubicBezTo>
                  <a:cubicBezTo>
                    <a:pt x="22" y="286"/>
                    <a:pt x="77" y="336"/>
                    <a:pt x="143" y="336"/>
                  </a:cubicBezTo>
                  <a:cubicBezTo>
                    <a:pt x="209" y="336"/>
                    <a:pt x="264" y="286"/>
                    <a:pt x="270" y="221"/>
                  </a:cubicBezTo>
                  <a:cubicBezTo>
                    <a:pt x="271" y="199"/>
                    <a:pt x="271" y="199"/>
                    <a:pt x="271" y="199"/>
                  </a:cubicBezTo>
                  <a:cubicBezTo>
                    <a:pt x="280" y="194"/>
                    <a:pt x="286" y="185"/>
                    <a:pt x="286" y="174"/>
                  </a:cubicBezTo>
                </a:path>
              </a:pathLst>
            </a:custGeom>
            <a:solidFill>
              <a:srgbClr val="ECEFF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iṧļiḍé">
              <a:extLst>
                <a:ext uri="{FF2B5EF4-FFF2-40B4-BE49-F238E27FC236}">
                  <a16:creationId xmlns:a16="http://schemas.microsoft.com/office/drawing/2014/main" id="{B62696D6-4FD5-4700-94DE-09801315A59C}"/>
                </a:ext>
              </a:extLst>
            </p:cNvPr>
            <p:cNvSpPr/>
            <p:nvPr/>
          </p:nvSpPr>
          <p:spPr bwMode="auto">
            <a:xfrm>
              <a:off x="5586413" y="2817813"/>
              <a:ext cx="844550" cy="1108075"/>
            </a:xfrm>
            <a:custGeom>
              <a:avLst/>
              <a:gdLst>
                <a:gd name="T0" fmla="*/ 128 w 256"/>
                <a:gd name="T1" fmla="*/ 0 h 336"/>
                <a:gd name="T2" fmla="*/ 0 w 256"/>
                <a:gd name="T3" fmla="*/ 121 h 336"/>
                <a:gd name="T4" fmla="*/ 0 w 256"/>
                <a:gd name="T5" fmla="*/ 121 h 336"/>
                <a:gd name="T6" fmla="*/ 0 w 256"/>
                <a:gd name="T7" fmla="*/ 221 h 336"/>
                <a:gd name="T8" fmla="*/ 128 w 256"/>
                <a:gd name="T9" fmla="*/ 336 h 336"/>
                <a:gd name="T10" fmla="*/ 255 w 256"/>
                <a:gd name="T11" fmla="*/ 221 h 336"/>
                <a:gd name="T12" fmla="*/ 256 w 256"/>
                <a:gd name="T13" fmla="*/ 121 h 336"/>
                <a:gd name="T14" fmla="*/ 128 w 256"/>
                <a:gd name="T15" fmla="*/ 0 h 336"/>
                <a:gd name="T16" fmla="*/ 128 w 256"/>
                <a:gd name="T17" fmla="*/ 307 h 336"/>
                <a:gd name="T18" fmla="*/ 105 w 256"/>
                <a:gd name="T19" fmla="*/ 301 h 336"/>
                <a:gd name="T20" fmla="*/ 86 w 256"/>
                <a:gd name="T21" fmla="*/ 260 h 336"/>
                <a:gd name="T22" fmla="*/ 86 w 256"/>
                <a:gd name="T23" fmla="*/ 260 h 336"/>
                <a:gd name="T24" fmla="*/ 89 w 256"/>
                <a:gd name="T25" fmla="*/ 251 h 336"/>
                <a:gd name="T26" fmla="*/ 106 w 256"/>
                <a:gd name="T27" fmla="*/ 246 h 336"/>
                <a:gd name="T28" fmla="*/ 158 w 256"/>
                <a:gd name="T29" fmla="*/ 246 h 336"/>
                <a:gd name="T30" fmla="*/ 165 w 256"/>
                <a:gd name="T31" fmla="*/ 248 h 336"/>
                <a:gd name="T32" fmla="*/ 170 w 256"/>
                <a:gd name="T33" fmla="*/ 257 h 336"/>
                <a:gd name="T34" fmla="*/ 170 w 256"/>
                <a:gd name="T35" fmla="*/ 264 h 336"/>
                <a:gd name="T36" fmla="*/ 170 w 256"/>
                <a:gd name="T37" fmla="*/ 264 h 336"/>
                <a:gd name="T38" fmla="*/ 149 w 256"/>
                <a:gd name="T39" fmla="*/ 302 h 336"/>
                <a:gd name="T40" fmla="*/ 128 w 256"/>
                <a:gd name="T41" fmla="*/ 307 h 336"/>
                <a:gd name="T42" fmla="*/ 232 w 256"/>
                <a:gd name="T43" fmla="*/ 216 h 336"/>
                <a:gd name="T44" fmla="*/ 180 w 256"/>
                <a:gd name="T45" fmla="*/ 270 h 336"/>
                <a:gd name="T46" fmla="*/ 179 w 256"/>
                <a:gd name="T47" fmla="*/ 263 h 336"/>
                <a:gd name="T48" fmla="*/ 179 w 256"/>
                <a:gd name="T49" fmla="*/ 256 h 336"/>
                <a:gd name="T50" fmla="*/ 169 w 256"/>
                <a:gd name="T51" fmla="*/ 240 h 336"/>
                <a:gd name="T52" fmla="*/ 159 w 256"/>
                <a:gd name="T53" fmla="*/ 237 h 336"/>
                <a:gd name="T54" fmla="*/ 106 w 256"/>
                <a:gd name="T55" fmla="*/ 237 h 336"/>
                <a:gd name="T56" fmla="*/ 81 w 256"/>
                <a:gd name="T57" fmla="*/ 246 h 336"/>
                <a:gd name="T58" fmla="*/ 77 w 256"/>
                <a:gd name="T59" fmla="*/ 259 h 336"/>
                <a:gd name="T60" fmla="*/ 75 w 256"/>
                <a:gd name="T61" fmla="*/ 269 h 336"/>
                <a:gd name="T62" fmla="*/ 24 w 256"/>
                <a:gd name="T63" fmla="*/ 216 h 336"/>
                <a:gd name="T64" fmla="*/ 24 w 256"/>
                <a:gd name="T65" fmla="*/ 134 h 336"/>
                <a:gd name="T66" fmla="*/ 24 w 256"/>
                <a:gd name="T67" fmla="*/ 134 h 336"/>
                <a:gd name="T68" fmla="*/ 128 w 256"/>
                <a:gd name="T69" fmla="*/ 90 h 336"/>
                <a:gd name="T70" fmla="*/ 232 w 256"/>
                <a:gd name="T71" fmla="*/ 134 h 336"/>
                <a:gd name="T72" fmla="*/ 232 w 256"/>
                <a:gd name="T73" fmla="*/ 21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36">
                  <a:moveTo>
                    <a:pt x="128" y="0"/>
                  </a:moveTo>
                  <a:cubicBezTo>
                    <a:pt x="60" y="0"/>
                    <a:pt x="4" y="54"/>
                    <a:pt x="0" y="121"/>
                  </a:cubicBezTo>
                  <a:cubicBezTo>
                    <a:pt x="0" y="121"/>
                    <a:pt x="0" y="121"/>
                    <a:pt x="0" y="121"/>
                  </a:cubicBezTo>
                  <a:cubicBezTo>
                    <a:pt x="0" y="221"/>
                    <a:pt x="0" y="221"/>
                    <a:pt x="0" y="221"/>
                  </a:cubicBezTo>
                  <a:cubicBezTo>
                    <a:pt x="7" y="286"/>
                    <a:pt x="62" y="336"/>
                    <a:pt x="128" y="336"/>
                  </a:cubicBezTo>
                  <a:cubicBezTo>
                    <a:pt x="194" y="336"/>
                    <a:pt x="249" y="286"/>
                    <a:pt x="255" y="221"/>
                  </a:cubicBezTo>
                  <a:cubicBezTo>
                    <a:pt x="256" y="121"/>
                    <a:pt x="256" y="121"/>
                    <a:pt x="256" y="121"/>
                  </a:cubicBezTo>
                  <a:cubicBezTo>
                    <a:pt x="252" y="54"/>
                    <a:pt x="196" y="0"/>
                    <a:pt x="128" y="0"/>
                  </a:cubicBezTo>
                  <a:moveTo>
                    <a:pt x="128" y="307"/>
                  </a:moveTo>
                  <a:cubicBezTo>
                    <a:pt x="120" y="307"/>
                    <a:pt x="112" y="305"/>
                    <a:pt x="105" y="301"/>
                  </a:cubicBezTo>
                  <a:cubicBezTo>
                    <a:pt x="91" y="293"/>
                    <a:pt x="84" y="277"/>
                    <a:pt x="86" y="260"/>
                  </a:cubicBezTo>
                  <a:cubicBezTo>
                    <a:pt x="86" y="260"/>
                    <a:pt x="86" y="260"/>
                    <a:pt x="86" y="260"/>
                  </a:cubicBezTo>
                  <a:cubicBezTo>
                    <a:pt x="86" y="257"/>
                    <a:pt x="87" y="253"/>
                    <a:pt x="89" y="251"/>
                  </a:cubicBezTo>
                  <a:cubicBezTo>
                    <a:pt x="92" y="246"/>
                    <a:pt x="97" y="246"/>
                    <a:pt x="106" y="246"/>
                  </a:cubicBezTo>
                  <a:cubicBezTo>
                    <a:pt x="110" y="246"/>
                    <a:pt x="154" y="246"/>
                    <a:pt x="158" y="246"/>
                  </a:cubicBezTo>
                  <a:cubicBezTo>
                    <a:pt x="160" y="247"/>
                    <a:pt x="163" y="247"/>
                    <a:pt x="165" y="248"/>
                  </a:cubicBezTo>
                  <a:cubicBezTo>
                    <a:pt x="167" y="249"/>
                    <a:pt x="169" y="253"/>
                    <a:pt x="170" y="257"/>
                  </a:cubicBezTo>
                  <a:cubicBezTo>
                    <a:pt x="170" y="259"/>
                    <a:pt x="170" y="261"/>
                    <a:pt x="170" y="264"/>
                  </a:cubicBezTo>
                  <a:cubicBezTo>
                    <a:pt x="170" y="264"/>
                    <a:pt x="170" y="264"/>
                    <a:pt x="170" y="264"/>
                  </a:cubicBezTo>
                  <a:cubicBezTo>
                    <a:pt x="171" y="280"/>
                    <a:pt x="163" y="295"/>
                    <a:pt x="149" y="302"/>
                  </a:cubicBezTo>
                  <a:cubicBezTo>
                    <a:pt x="143" y="305"/>
                    <a:pt x="136" y="307"/>
                    <a:pt x="128" y="307"/>
                  </a:cubicBezTo>
                  <a:moveTo>
                    <a:pt x="232" y="216"/>
                  </a:moveTo>
                  <a:cubicBezTo>
                    <a:pt x="228" y="250"/>
                    <a:pt x="208" y="264"/>
                    <a:pt x="180" y="270"/>
                  </a:cubicBezTo>
                  <a:cubicBezTo>
                    <a:pt x="180" y="268"/>
                    <a:pt x="179" y="266"/>
                    <a:pt x="179" y="263"/>
                  </a:cubicBezTo>
                  <a:cubicBezTo>
                    <a:pt x="179" y="261"/>
                    <a:pt x="179" y="258"/>
                    <a:pt x="179" y="256"/>
                  </a:cubicBezTo>
                  <a:cubicBezTo>
                    <a:pt x="177" y="248"/>
                    <a:pt x="174" y="243"/>
                    <a:pt x="169" y="240"/>
                  </a:cubicBezTo>
                  <a:cubicBezTo>
                    <a:pt x="166" y="238"/>
                    <a:pt x="162" y="238"/>
                    <a:pt x="159" y="237"/>
                  </a:cubicBezTo>
                  <a:cubicBezTo>
                    <a:pt x="157" y="237"/>
                    <a:pt x="111" y="237"/>
                    <a:pt x="106" y="237"/>
                  </a:cubicBezTo>
                  <a:cubicBezTo>
                    <a:pt x="98" y="237"/>
                    <a:pt x="87" y="236"/>
                    <a:pt x="81" y="246"/>
                  </a:cubicBezTo>
                  <a:cubicBezTo>
                    <a:pt x="79" y="250"/>
                    <a:pt x="78" y="255"/>
                    <a:pt x="77" y="259"/>
                  </a:cubicBezTo>
                  <a:cubicBezTo>
                    <a:pt x="77" y="262"/>
                    <a:pt x="76" y="266"/>
                    <a:pt x="75" y="269"/>
                  </a:cubicBezTo>
                  <a:cubicBezTo>
                    <a:pt x="47" y="264"/>
                    <a:pt x="27" y="250"/>
                    <a:pt x="24" y="216"/>
                  </a:cubicBezTo>
                  <a:cubicBezTo>
                    <a:pt x="24" y="134"/>
                    <a:pt x="24" y="134"/>
                    <a:pt x="24" y="134"/>
                  </a:cubicBezTo>
                  <a:cubicBezTo>
                    <a:pt x="24" y="134"/>
                    <a:pt x="24" y="134"/>
                    <a:pt x="24" y="134"/>
                  </a:cubicBezTo>
                  <a:cubicBezTo>
                    <a:pt x="27" y="80"/>
                    <a:pt x="73" y="90"/>
                    <a:pt x="128" y="90"/>
                  </a:cubicBezTo>
                  <a:cubicBezTo>
                    <a:pt x="184" y="90"/>
                    <a:pt x="229" y="80"/>
                    <a:pt x="232" y="134"/>
                  </a:cubicBezTo>
                  <a:cubicBezTo>
                    <a:pt x="232" y="216"/>
                    <a:pt x="232" y="216"/>
                    <a:pt x="232" y="216"/>
                  </a:cubicBezTo>
                </a:path>
              </a:pathLst>
            </a:custGeom>
            <a:solidFill>
              <a:srgbClr val="37474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ïś1ïḑè">
              <a:extLst>
                <a:ext uri="{FF2B5EF4-FFF2-40B4-BE49-F238E27FC236}">
                  <a16:creationId xmlns:a16="http://schemas.microsoft.com/office/drawing/2014/main" id="{F5B15DC3-F1EA-4AF1-92B4-F71CD4089D11}"/>
                </a:ext>
              </a:extLst>
            </p:cNvPr>
            <p:cNvSpPr/>
            <p:nvPr/>
          </p:nvSpPr>
          <p:spPr bwMode="auto">
            <a:xfrm>
              <a:off x="5638801" y="4452938"/>
              <a:ext cx="274638" cy="220662"/>
            </a:xfrm>
            <a:custGeom>
              <a:avLst/>
              <a:gdLst>
                <a:gd name="T0" fmla="*/ 5 w 83"/>
                <a:gd name="T1" fmla="*/ 0 h 67"/>
                <a:gd name="T2" fmla="*/ 78 w 83"/>
                <a:gd name="T3" fmla="*/ 0 h 67"/>
                <a:gd name="T4" fmla="*/ 82 w 83"/>
                <a:gd name="T5" fmla="*/ 5 h 67"/>
                <a:gd name="T6" fmla="*/ 79 w 83"/>
                <a:gd name="T7" fmla="*/ 30 h 67"/>
                <a:gd name="T8" fmla="*/ 69 w 83"/>
                <a:gd name="T9" fmla="*/ 49 h 67"/>
                <a:gd name="T10" fmla="*/ 62 w 83"/>
                <a:gd name="T11" fmla="*/ 56 h 67"/>
                <a:gd name="T12" fmla="*/ 21 w 83"/>
                <a:gd name="T13" fmla="*/ 56 h 67"/>
                <a:gd name="T14" fmla="*/ 13 w 83"/>
                <a:gd name="T15" fmla="*/ 49 h 67"/>
                <a:gd name="T16" fmla="*/ 3 w 83"/>
                <a:gd name="T17" fmla="*/ 31 h 67"/>
                <a:gd name="T18" fmla="*/ 0 w 83"/>
                <a:gd name="T19" fmla="*/ 5 h 67"/>
                <a:gd name="T20" fmla="*/ 5 w 83"/>
                <a:gd name="T21"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 h="67">
                  <a:moveTo>
                    <a:pt x="5" y="0"/>
                  </a:moveTo>
                  <a:cubicBezTo>
                    <a:pt x="78" y="0"/>
                    <a:pt x="78" y="0"/>
                    <a:pt x="78" y="0"/>
                  </a:cubicBezTo>
                  <a:cubicBezTo>
                    <a:pt x="81" y="0"/>
                    <a:pt x="83" y="2"/>
                    <a:pt x="82" y="5"/>
                  </a:cubicBezTo>
                  <a:cubicBezTo>
                    <a:pt x="79" y="30"/>
                    <a:pt x="79" y="30"/>
                    <a:pt x="79" y="30"/>
                  </a:cubicBezTo>
                  <a:cubicBezTo>
                    <a:pt x="78" y="38"/>
                    <a:pt x="75" y="44"/>
                    <a:pt x="69" y="49"/>
                  </a:cubicBezTo>
                  <a:cubicBezTo>
                    <a:pt x="62" y="56"/>
                    <a:pt x="62" y="56"/>
                    <a:pt x="62" y="56"/>
                  </a:cubicBezTo>
                  <a:cubicBezTo>
                    <a:pt x="50" y="67"/>
                    <a:pt x="32" y="67"/>
                    <a:pt x="21" y="56"/>
                  </a:cubicBezTo>
                  <a:cubicBezTo>
                    <a:pt x="13" y="49"/>
                    <a:pt x="13" y="49"/>
                    <a:pt x="13" y="49"/>
                  </a:cubicBezTo>
                  <a:cubicBezTo>
                    <a:pt x="8" y="44"/>
                    <a:pt x="4" y="38"/>
                    <a:pt x="3" y="31"/>
                  </a:cubicBezTo>
                  <a:cubicBezTo>
                    <a:pt x="0" y="5"/>
                    <a:pt x="0" y="5"/>
                    <a:pt x="0" y="5"/>
                  </a:cubicBezTo>
                  <a:cubicBezTo>
                    <a:pt x="0" y="2"/>
                    <a:pt x="2" y="0"/>
                    <a:pt x="5" y="0"/>
                  </a:cubicBezTo>
                  <a:close/>
                </a:path>
              </a:pathLst>
            </a:custGeom>
            <a:solidFill>
              <a:srgbClr val="57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ïṥḷïḍè">
              <a:extLst>
                <a:ext uri="{FF2B5EF4-FFF2-40B4-BE49-F238E27FC236}">
                  <a16:creationId xmlns:a16="http://schemas.microsoft.com/office/drawing/2014/main" id="{7B459F33-837A-4E8D-9A24-C3F28F99FF17}"/>
                </a:ext>
              </a:extLst>
            </p:cNvPr>
            <p:cNvSpPr/>
            <p:nvPr/>
          </p:nvSpPr>
          <p:spPr bwMode="auto">
            <a:xfrm>
              <a:off x="5378451" y="4557713"/>
              <a:ext cx="144463" cy="528637"/>
            </a:xfrm>
            <a:prstGeom prst="rect">
              <a:avLst/>
            </a:prstGeom>
            <a:solidFill>
              <a:srgbClr val="F9BB7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4" name="iSļïdé">
              <a:extLst>
                <a:ext uri="{FF2B5EF4-FFF2-40B4-BE49-F238E27FC236}">
                  <a16:creationId xmlns:a16="http://schemas.microsoft.com/office/drawing/2014/main" id="{32335722-A43A-4F35-8249-2FCD6CC3C3FA}"/>
                </a:ext>
              </a:extLst>
            </p:cNvPr>
            <p:cNvSpPr/>
            <p:nvPr/>
          </p:nvSpPr>
          <p:spPr bwMode="auto">
            <a:xfrm>
              <a:off x="6486526" y="4557713"/>
              <a:ext cx="146050" cy="528637"/>
            </a:xfrm>
            <a:prstGeom prst="rect">
              <a:avLst/>
            </a:prstGeom>
            <a:solidFill>
              <a:srgbClr val="F9BB7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5" name="iŝļíḑé">
              <a:extLst>
                <a:ext uri="{FF2B5EF4-FFF2-40B4-BE49-F238E27FC236}">
                  <a16:creationId xmlns:a16="http://schemas.microsoft.com/office/drawing/2014/main" id="{99AD9D19-3A6E-48BC-99F9-84614865F182}"/>
                </a:ext>
              </a:extLst>
            </p:cNvPr>
            <p:cNvSpPr/>
            <p:nvPr/>
          </p:nvSpPr>
          <p:spPr bwMode="auto">
            <a:xfrm>
              <a:off x="5516563" y="4403725"/>
              <a:ext cx="12700" cy="688975"/>
            </a:xfrm>
            <a:custGeom>
              <a:avLst/>
              <a:gdLst>
                <a:gd name="T0" fmla="*/ 2 w 4"/>
                <a:gd name="T1" fmla="*/ 209 h 209"/>
                <a:gd name="T2" fmla="*/ 0 w 4"/>
                <a:gd name="T3" fmla="*/ 207 h 209"/>
                <a:gd name="T4" fmla="*/ 0 w 4"/>
                <a:gd name="T5" fmla="*/ 1 h 209"/>
                <a:gd name="T6" fmla="*/ 2 w 4"/>
                <a:gd name="T7" fmla="*/ 0 h 209"/>
                <a:gd name="T8" fmla="*/ 4 w 4"/>
                <a:gd name="T9" fmla="*/ 1 h 209"/>
                <a:gd name="T10" fmla="*/ 4 w 4"/>
                <a:gd name="T11" fmla="*/ 207 h 209"/>
                <a:gd name="T12" fmla="*/ 2 w 4"/>
                <a:gd name="T13" fmla="*/ 209 h 209"/>
              </a:gdLst>
              <a:ahLst/>
              <a:cxnLst>
                <a:cxn ang="0">
                  <a:pos x="T0" y="T1"/>
                </a:cxn>
                <a:cxn ang="0">
                  <a:pos x="T2" y="T3"/>
                </a:cxn>
                <a:cxn ang="0">
                  <a:pos x="T4" y="T5"/>
                </a:cxn>
                <a:cxn ang="0">
                  <a:pos x="T6" y="T7"/>
                </a:cxn>
                <a:cxn ang="0">
                  <a:pos x="T8" y="T9"/>
                </a:cxn>
                <a:cxn ang="0">
                  <a:pos x="T10" y="T11"/>
                </a:cxn>
                <a:cxn ang="0">
                  <a:pos x="T12" y="T13"/>
                </a:cxn>
              </a:cxnLst>
              <a:rect l="0" t="0" r="r" b="b"/>
              <a:pathLst>
                <a:path w="4" h="209">
                  <a:moveTo>
                    <a:pt x="2" y="209"/>
                  </a:moveTo>
                  <a:cubicBezTo>
                    <a:pt x="1" y="209"/>
                    <a:pt x="0" y="208"/>
                    <a:pt x="0" y="207"/>
                  </a:cubicBezTo>
                  <a:cubicBezTo>
                    <a:pt x="0" y="1"/>
                    <a:pt x="0" y="1"/>
                    <a:pt x="0" y="1"/>
                  </a:cubicBezTo>
                  <a:cubicBezTo>
                    <a:pt x="0" y="0"/>
                    <a:pt x="1" y="0"/>
                    <a:pt x="2" y="0"/>
                  </a:cubicBezTo>
                  <a:cubicBezTo>
                    <a:pt x="3" y="0"/>
                    <a:pt x="4" y="0"/>
                    <a:pt x="4" y="1"/>
                  </a:cubicBezTo>
                  <a:cubicBezTo>
                    <a:pt x="4" y="207"/>
                    <a:pt x="4" y="207"/>
                    <a:pt x="4" y="207"/>
                  </a:cubicBezTo>
                  <a:cubicBezTo>
                    <a:pt x="4" y="208"/>
                    <a:pt x="3" y="209"/>
                    <a:pt x="2" y="209"/>
                  </a:cubicBezTo>
                  <a:close/>
                </a:path>
              </a:pathLst>
            </a:custGeom>
            <a:solidFill>
              <a:srgbClr val="57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ïŝľiḓè">
              <a:extLst>
                <a:ext uri="{FF2B5EF4-FFF2-40B4-BE49-F238E27FC236}">
                  <a16:creationId xmlns:a16="http://schemas.microsoft.com/office/drawing/2014/main" id="{F6D2A56B-DFFB-46FB-A483-282027465056}"/>
                </a:ext>
              </a:extLst>
            </p:cNvPr>
            <p:cNvSpPr/>
            <p:nvPr/>
          </p:nvSpPr>
          <p:spPr bwMode="auto">
            <a:xfrm>
              <a:off x="6480176" y="4403725"/>
              <a:ext cx="14288" cy="688975"/>
            </a:xfrm>
            <a:custGeom>
              <a:avLst/>
              <a:gdLst>
                <a:gd name="T0" fmla="*/ 2 w 4"/>
                <a:gd name="T1" fmla="*/ 209 h 209"/>
                <a:gd name="T2" fmla="*/ 0 w 4"/>
                <a:gd name="T3" fmla="*/ 207 h 209"/>
                <a:gd name="T4" fmla="*/ 0 w 4"/>
                <a:gd name="T5" fmla="*/ 1 h 209"/>
                <a:gd name="T6" fmla="*/ 2 w 4"/>
                <a:gd name="T7" fmla="*/ 0 h 209"/>
                <a:gd name="T8" fmla="*/ 4 w 4"/>
                <a:gd name="T9" fmla="*/ 1 h 209"/>
                <a:gd name="T10" fmla="*/ 4 w 4"/>
                <a:gd name="T11" fmla="*/ 207 h 209"/>
                <a:gd name="T12" fmla="*/ 2 w 4"/>
                <a:gd name="T13" fmla="*/ 209 h 209"/>
              </a:gdLst>
              <a:ahLst/>
              <a:cxnLst>
                <a:cxn ang="0">
                  <a:pos x="T0" y="T1"/>
                </a:cxn>
                <a:cxn ang="0">
                  <a:pos x="T2" y="T3"/>
                </a:cxn>
                <a:cxn ang="0">
                  <a:pos x="T4" y="T5"/>
                </a:cxn>
                <a:cxn ang="0">
                  <a:pos x="T6" y="T7"/>
                </a:cxn>
                <a:cxn ang="0">
                  <a:pos x="T8" y="T9"/>
                </a:cxn>
                <a:cxn ang="0">
                  <a:pos x="T10" y="T11"/>
                </a:cxn>
                <a:cxn ang="0">
                  <a:pos x="T12" y="T13"/>
                </a:cxn>
              </a:cxnLst>
              <a:rect l="0" t="0" r="r" b="b"/>
              <a:pathLst>
                <a:path w="4" h="209">
                  <a:moveTo>
                    <a:pt x="2" y="209"/>
                  </a:moveTo>
                  <a:cubicBezTo>
                    <a:pt x="1" y="209"/>
                    <a:pt x="0" y="208"/>
                    <a:pt x="0" y="207"/>
                  </a:cubicBezTo>
                  <a:cubicBezTo>
                    <a:pt x="0" y="1"/>
                    <a:pt x="0" y="1"/>
                    <a:pt x="0" y="1"/>
                  </a:cubicBezTo>
                  <a:cubicBezTo>
                    <a:pt x="0" y="0"/>
                    <a:pt x="1" y="0"/>
                    <a:pt x="2" y="0"/>
                  </a:cubicBezTo>
                  <a:cubicBezTo>
                    <a:pt x="3" y="0"/>
                    <a:pt x="4" y="0"/>
                    <a:pt x="4" y="1"/>
                  </a:cubicBezTo>
                  <a:cubicBezTo>
                    <a:pt x="4" y="207"/>
                    <a:pt x="4" y="207"/>
                    <a:pt x="4" y="207"/>
                  </a:cubicBezTo>
                  <a:cubicBezTo>
                    <a:pt x="4" y="208"/>
                    <a:pt x="3" y="209"/>
                    <a:pt x="2" y="209"/>
                  </a:cubicBezTo>
                  <a:close/>
                </a:path>
              </a:pathLst>
            </a:custGeom>
            <a:solidFill>
              <a:srgbClr val="57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iṣḷíḓê">
              <a:extLst>
                <a:ext uri="{FF2B5EF4-FFF2-40B4-BE49-F238E27FC236}">
                  <a16:creationId xmlns:a16="http://schemas.microsoft.com/office/drawing/2014/main" id="{FC784225-AB28-4856-9EA7-3FAB68C50094}"/>
                </a:ext>
              </a:extLst>
            </p:cNvPr>
            <p:cNvSpPr/>
            <p:nvPr/>
          </p:nvSpPr>
          <p:spPr bwMode="auto">
            <a:xfrm>
              <a:off x="5207001" y="4271963"/>
              <a:ext cx="1508125" cy="906462"/>
            </a:xfrm>
            <a:custGeom>
              <a:avLst/>
              <a:gdLst>
                <a:gd name="T0" fmla="*/ 399 w 457"/>
                <a:gd name="T1" fmla="*/ 275 h 275"/>
                <a:gd name="T2" fmla="*/ 58 w 457"/>
                <a:gd name="T3" fmla="*/ 275 h 275"/>
                <a:gd name="T4" fmla="*/ 0 w 457"/>
                <a:gd name="T5" fmla="*/ 217 h 275"/>
                <a:gd name="T6" fmla="*/ 0 w 457"/>
                <a:gd name="T7" fmla="*/ 58 h 275"/>
                <a:gd name="T8" fmla="*/ 58 w 457"/>
                <a:gd name="T9" fmla="*/ 0 h 275"/>
                <a:gd name="T10" fmla="*/ 399 w 457"/>
                <a:gd name="T11" fmla="*/ 0 h 275"/>
                <a:gd name="T12" fmla="*/ 457 w 457"/>
                <a:gd name="T13" fmla="*/ 58 h 275"/>
                <a:gd name="T14" fmla="*/ 457 w 457"/>
                <a:gd name="T15" fmla="*/ 217 h 275"/>
                <a:gd name="T16" fmla="*/ 399 w 457"/>
                <a:gd name="T17" fmla="*/ 275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7" h="275">
                  <a:moveTo>
                    <a:pt x="399" y="275"/>
                  </a:moveTo>
                  <a:cubicBezTo>
                    <a:pt x="58" y="275"/>
                    <a:pt x="58" y="275"/>
                    <a:pt x="58" y="275"/>
                  </a:cubicBezTo>
                  <a:cubicBezTo>
                    <a:pt x="26" y="275"/>
                    <a:pt x="0" y="249"/>
                    <a:pt x="0" y="217"/>
                  </a:cubicBezTo>
                  <a:cubicBezTo>
                    <a:pt x="0" y="58"/>
                    <a:pt x="0" y="58"/>
                    <a:pt x="0" y="58"/>
                  </a:cubicBezTo>
                  <a:cubicBezTo>
                    <a:pt x="0" y="26"/>
                    <a:pt x="26" y="0"/>
                    <a:pt x="58" y="0"/>
                  </a:cubicBezTo>
                  <a:cubicBezTo>
                    <a:pt x="399" y="0"/>
                    <a:pt x="399" y="0"/>
                    <a:pt x="399" y="0"/>
                  </a:cubicBezTo>
                  <a:cubicBezTo>
                    <a:pt x="431" y="0"/>
                    <a:pt x="457" y="26"/>
                    <a:pt x="457" y="58"/>
                  </a:cubicBezTo>
                  <a:cubicBezTo>
                    <a:pt x="457" y="217"/>
                    <a:pt x="457" y="217"/>
                    <a:pt x="457" y="217"/>
                  </a:cubicBezTo>
                  <a:cubicBezTo>
                    <a:pt x="457" y="249"/>
                    <a:pt x="431" y="275"/>
                    <a:pt x="399" y="275"/>
                  </a:cubicBezTo>
                  <a:close/>
                </a:path>
              </a:pathLst>
            </a:custGeom>
            <a:solidFill>
              <a:srgbClr val="CFD8D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ṡlïḍe">
              <a:extLst>
                <a:ext uri="{FF2B5EF4-FFF2-40B4-BE49-F238E27FC236}">
                  <a16:creationId xmlns:a16="http://schemas.microsoft.com/office/drawing/2014/main" id="{A105C679-9DEF-4A4B-AD24-D2FAC1CFC443}"/>
                </a:ext>
              </a:extLst>
            </p:cNvPr>
            <p:cNvSpPr/>
            <p:nvPr/>
          </p:nvSpPr>
          <p:spPr bwMode="auto">
            <a:xfrm>
              <a:off x="5694363" y="4443413"/>
              <a:ext cx="534988" cy="527050"/>
            </a:xfrm>
            <a:custGeom>
              <a:avLst/>
              <a:gdLst>
                <a:gd name="T0" fmla="*/ 162 w 162"/>
                <a:gd name="T1" fmla="*/ 13 h 160"/>
                <a:gd name="T2" fmla="*/ 149 w 162"/>
                <a:gd name="T3" fmla="*/ 0 h 160"/>
                <a:gd name="T4" fmla="*/ 147 w 162"/>
                <a:gd name="T5" fmla="*/ 0 h 160"/>
                <a:gd name="T6" fmla="*/ 141 w 162"/>
                <a:gd name="T7" fmla="*/ 0 h 160"/>
                <a:gd name="T8" fmla="*/ 130 w 162"/>
                <a:gd name="T9" fmla="*/ 2 h 160"/>
                <a:gd name="T10" fmla="*/ 121 w 162"/>
                <a:gd name="T11" fmla="*/ 5 h 160"/>
                <a:gd name="T12" fmla="*/ 116 w 162"/>
                <a:gd name="T13" fmla="*/ 8 h 160"/>
                <a:gd name="T14" fmla="*/ 110 w 162"/>
                <a:gd name="T15" fmla="*/ 11 h 160"/>
                <a:gd name="T16" fmla="*/ 104 w 162"/>
                <a:gd name="T17" fmla="*/ 15 h 160"/>
                <a:gd name="T18" fmla="*/ 97 w 162"/>
                <a:gd name="T19" fmla="*/ 19 h 160"/>
                <a:gd name="T20" fmla="*/ 91 w 162"/>
                <a:gd name="T21" fmla="*/ 25 h 160"/>
                <a:gd name="T22" fmla="*/ 84 w 162"/>
                <a:gd name="T23" fmla="*/ 31 h 160"/>
                <a:gd name="T24" fmla="*/ 76 w 162"/>
                <a:gd name="T25" fmla="*/ 39 h 160"/>
                <a:gd name="T26" fmla="*/ 69 w 162"/>
                <a:gd name="T27" fmla="*/ 47 h 160"/>
                <a:gd name="T28" fmla="*/ 66 w 162"/>
                <a:gd name="T29" fmla="*/ 51 h 160"/>
                <a:gd name="T30" fmla="*/ 65 w 162"/>
                <a:gd name="T31" fmla="*/ 52 h 160"/>
                <a:gd name="T32" fmla="*/ 53 w 162"/>
                <a:gd name="T33" fmla="*/ 51 h 160"/>
                <a:gd name="T34" fmla="*/ 13 w 162"/>
                <a:gd name="T35" fmla="*/ 79 h 160"/>
                <a:gd name="T36" fmla="*/ 14 w 162"/>
                <a:gd name="T37" fmla="*/ 86 h 160"/>
                <a:gd name="T38" fmla="*/ 14 w 162"/>
                <a:gd name="T39" fmla="*/ 86 h 160"/>
                <a:gd name="T40" fmla="*/ 14 w 162"/>
                <a:gd name="T41" fmla="*/ 86 h 160"/>
                <a:gd name="T42" fmla="*/ 18 w 162"/>
                <a:gd name="T43" fmla="*/ 88 h 160"/>
                <a:gd name="T44" fmla="*/ 21 w 162"/>
                <a:gd name="T45" fmla="*/ 87 h 160"/>
                <a:gd name="T46" fmla="*/ 35 w 162"/>
                <a:gd name="T47" fmla="*/ 83 h 160"/>
                <a:gd name="T48" fmla="*/ 45 w 162"/>
                <a:gd name="T49" fmla="*/ 86 h 160"/>
                <a:gd name="T50" fmla="*/ 46 w 162"/>
                <a:gd name="T51" fmla="*/ 93 h 160"/>
                <a:gd name="T52" fmla="*/ 46 w 162"/>
                <a:gd name="T53" fmla="*/ 94 h 160"/>
                <a:gd name="T54" fmla="*/ 34 w 162"/>
                <a:gd name="T55" fmla="*/ 89 h 160"/>
                <a:gd name="T56" fmla="*/ 17 w 162"/>
                <a:gd name="T57" fmla="*/ 106 h 160"/>
                <a:gd name="T58" fmla="*/ 17 w 162"/>
                <a:gd name="T59" fmla="*/ 110 h 160"/>
                <a:gd name="T60" fmla="*/ 8 w 162"/>
                <a:gd name="T61" fmla="*/ 125 h 160"/>
                <a:gd name="T62" fmla="*/ 8 w 162"/>
                <a:gd name="T63" fmla="*/ 128 h 160"/>
                <a:gd name="T64" fmla="*/ 0 w 162"/>
                <a:gd name="T65" fmla="*/ 143 h 160"/>
                <a:gd name="T66" fmla="*/ 17 w 162"/>
                <a:gd name="T67" fmla="*/ 160 h 160"/>
                <a:gd name="T68" fmla="*/ 30 w 162"/>
                <a:gd name="T69" fmla="*/ 154 h 160"/>
                <a:gd name="T70" fmla="*/ 32 w 162"/>
                <a:gd name="T71" fmla="*/ 154 h 160"/>
                <a:gd name="T72" fmla="*/ 49 w 162"/>
                <a:gd name="T73" fmla="*/ 142 h 160"/>
                <a:gd name="T74" fmla="*/ 57 w 162"/>
                <a:gd name="T75" fmla="*/ 144 h 160"/>
                <a:gd name="T76" fmla="*/ 74 w 162"/>
                <a:gd name="T77" fmla="*/ 127 h 160"/>
                <a:gd name="T78" fmla="*/ 70 w 162"/>
                <a:gd name="T79" fmla="*/ 116 h 160"/>
                <a:gd name="T80" fmla="*/ 74 w 162"/>
                <a:gd name="T81" fmla="*/ 116 h 160"/>
                <a:gd name="T82" fmla="*/ 76 w 162"/>
                <a:gd name="T83" fmla="*/ 116 h 160"/>
                <a:gd name="T84" fmla="*/ 74 w 162"/>
                <a:gd name="T85" fmla="*/ 140 h 160"/>
                <a:gd name="T86" fmla="*/ 75 w 162"/>
                <a:gd name="T87" fmla="*/ 147 h 160"/>
                <a:gd name="T88" fmla="*/ 75 w 162"/>
                <a:gd name="T89" fmla="*/ 147 h 160"/>
                <a:gd name="T90" fmla="*/ 75 w 162"/>
                <a:gd name="T91" fmla="*/ 148 h 160"/>
                <a:gd name="T92" fmla="*/ 80 w 162"/>
                <a:gd name="T93" fmla="*/ 149 h 160"/>
                <a:gd name="T94" fmla="*/ 82 w 162"/>
                <a:gd name="T95" fmla="*/ 149 h 160"/>
                <a:gd name="T96" fmla="*/ 103 w 162"/>
                <a:gd name="T97" fmla="*/ 132 h 160"/>
                <a:gd name="T98" fmla="*/ 109 w 162"/>
                <a:gd name="T99" fmla="*/ 97 h 160"/>
                <a:gd name="T100" fmla="*/ 158 w 162"/>
                <a:gd name="T101" fmla="*/ 36 h 160"/>
                <a:gd name="T102" fmla="*/ 158 w 162"/>
                <a:gd name="T103" fmla="*/ 36 h 160"/>
                <a:gd name="T104" fmla="*/ 158 w 162"/>
                <a:gd name="T105" fmla="*/ 36 h 160"/>
                <a:gd name="T106" fmla="*/ 162 w 162"/>
                <a:gd name="T107" fmla="*/ 1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2" h="160">
                  <a:moveTo>
                    <a:pt x="162" y="13"/>
                  </a:moveTo>
                  <a:cubicBezTo>
                    <a:pt x="161" y="6"/>
                    <a:pt x="156" y="0"/>
                    <a:pt x="149" y="0"/>
                  </a:cubicBezTo>
                  <a:cubicBezTo>
                    <a:pt x="148" y="0"/>
                    <a:pt x="148" y="0"/>
                    <a:pt x="147" y="0"/>
                  </a:cubicBezTo>
                  <a:cubicBezTo>
                    <a:pt x="145" y="0"/>
                    <a:pt x="143" y="0"/>
                    <a:pt x="141" y="0"/>
                  </a:cubicBezTo>
                  <a:cubicBezTo>
                    <a:pt x="137" y="1"/>
                    <a:pt x="133" y="1"/>
                    <a:pt x="130" y="2"/>
                  </a:cubicBezTo>
                  <a:cubicBezTo>
                    <a:pt x="127" y="3"/>
                    <a:pt x="124" y="4"/>
                    <a:pt x="121" y="5"/>
                  </a:cubicBezTo>
                  <a:cubicBezTo>
                    <a:pt x="120" y="6"/>
                    <a:pt x="118" y="7"/>
                    <a:pt x="116" y="8"/>
                  </a:cubicBezTo>
                  <a:cubicBezTo>
                    <a:pt x="114" y="9"/>
                    <a:pt x="112" y="10"/>
                    <a:pt x="110" y="11"/>
                  </a:cubicBezTo>
                  <a:cubicBezTo>
                    <a:pt x="108" y="12"/>
                    <a:pt x="106" y="13"/>
                    <a:pt x="104" y="15"/>
                  </a:cubicBezTo>
                  <a:cubicBezTo>
                    <a:pt x="102" y="16"/>
                    <a:pt x="100" y="18"/>
                    <a:pt x="97" y="19"/>
                  </a:cubicBezTo>
                  <a:cubicBezTo>
                    <a:pt x="95" y="21"/>
                    <a:pt x="93" y="23"/>
                    <a:pt x="91" y="25"/>
                  </a:cubicBezTo>
                  <a:cubicBezTo>
                    <a:pt x="88" y="27"/>
                    <a:pt x="86" y="29"/>
                    <a:pt x="84" y="31"/>
                  </a:cubicBezTo>
                  <a:cubicBezTo>
                    <a:pt x="81" y="33"/>
                    <a:pt x="79" y="36"/>
                    <a:pt x="76" y="39"/>
                  </a:cubicBezTo>
                  <a:cubicBezTo>
                    <a:pt x="74" y="41"/>
                    <a:pt x="71" y="44"/>
                    <a:pt x="69" y="47"/>
                  </a:cubicBezTo>
                  <a:cubicBezTo>
                    <a:pt x="68" y="48"/>
                    <a:pt x="67" y="49"/>
                    <a:pt x="66" y="51"/>
                  </a:cubicBezTo>
                  <a:cubicBezTo>
                    <a:pt x="66" y="51"/>
                    <a:pt x="65" y="52"/>
                    <a:pt x="65" y="52"/>
                  </a:cubicBezTo>
                  <a:cubicBezTo>
                    <a:pt x="61" y="51"/>
                    <a:pt x="57" y="51"/>
                    <a:pt x="53" y="51"/>
                  </a:cubicBezTo>
                  <a:cubicBezTo>
                    <a:pt x="30" y="51"/>
                    <a:pt x="17" y="71"/>
                    <a:pt x="13" y="79"/>
                  </a:cubicBezTo>
                  <a:cubicBezTo>
                    <a:pt x="12" y="82"/>
                    <a:pt x="12" y="84"/>
                    <a:pt x="14" y="86"/>
                  </a:cubicBezTo>
                  <a:cubicBezTo>
                    <a:pt x="14" y="86"/>
                    <a:pt x="14" y="86"/>
                    <a:pt x="14" y="86"/>
                  </a:cubicBezTo>
                  <a:cubicBezTo>
                    <a:pt x="14" y="86"/>
                    <a:pt x="14" y="86"/>
                    <a:pt x="14" y="86"/>
                  </a:cubicBezTo>
                  <a:cubicBezTo>
                    <a:pt x="15" y="88"/>
                    <a:pt x="17" y="88"/>
                    <a:pt x="18" y="88"/>
                  </a:cubicBezTo>
                  <a:cubicBezTo>
                    <a:pt x="19" y="88"/>
                    <a:pt x="21" y="88"/>
                    <a:pt x="21" y="87"/>
                  </a:cubicBezTo>
                  <a:cubicBezTo>
                    <a:pt x="26" y="85"/>
                    <a:pt x="30" y="83"/>
                    <a:pt x="35" y="83"/>
                  </a:cubicBezTo>
                  <a:cubicBezTo>
                    <a:pt x="39" y="83"/>
                    <a:pt x="43" y="85"/>
                    <a:pt x="45" y="86"/>
                  </a:cubicBezTo>
                  <a:cubicBezTo>
                    <a:pt x="45" y="88"/>
                    <a:pt x="45" y="91"/>
                    <a:pt x="46" y="93"/>
                  </a:cubicBezTo>
                  <a:cubicBezTo>
                    <a:pt x="46" y="93"/>
                    <a:pt x="46" y="94"/>
                    <a:pt x="46" y="94"/>
                  </a:cubicBezTo>
                  <a:cubicBezTo>
                    <a:pt x="43" y="91"/>
                    <a:pt x="39" y="89"/>
                    <a:pt x="34" y="89"/>
                  </a:cubicBezTo>
                  <a:cubicBezTo>
                    <a:pt x="24" y="89"/>
                    <a:pt x="17" y="97"/>
                    <a:pt x="17" y="106"/>
                  </a:cubicBezTo>
                  <a:cubicBezTo>
                    <a:pt x="17" y="108"/>
                    <a:pt x="17" y="109"/>
                    <a:pt x="17" y="110"/>
                  </a:cubicBezTo>
                  <a:cubicBezTo>
                    <a:pt x="12" y="113"/>
                    <a:pt x="8" y="119"/>
                    <a:pt x="8" y="125"/>
                  </a:cubicBezTo>
                  <a:cubicBezTo>
                    <a:pt x="8" y="126"/>
                    <a:pt x="8" y="127"/>
                    <a:pt x="8" y="128"/>
                  </a:cubicBezTo>
                  <a:cubicBezTo>
                    <a:pt x="3" y="131"/>
                    <a:pt x="0" y="137"/>
                    <a:pt x="0" y="143"/>
                  </a:cubicBezTo>
                  <a:cubicBezTo>
                    <a:pt x="0" y="153"/>
                    <a:pt x="8" y="160"/>
                    <a:pt x="17" y="160"/>
                  </a:cubicBezTo>
                  <a:cubicBezTo>
                    <a:pt x="22" y="160"/>
                    <a:pt x="27" y="158"/>
                    <a:pt x="30" y="154"/>
                  </a:cubicBezTo>
                  <a:cubicBezTo>
                    <a:pt x="31" y="154"/>
                    <a:pt x="31" y="154"/>
                    <a:pt x="32" y="154"/>
                  </a:cubicBezTo>
                  <a:cubicBezTo>
                    <a:pt x="40" y="154"/>
                    <a:pt x="47" y="149"/>
                    <a:pt x="49" y="142"/>
                  </a:cubicBezTo>
                  <a:cubicBezTo>
                    <a:pt x="51" y="143"/>
                    <a:pt x="54" y="144"/>
                    <a:pt x="57" y="144"/>
                  </a:cubicBezTo>
                  <a:cubicBezTo>
                    <a:pt x="66" y="144"/>
                    <a:pt x="74" y="136"/>
                    <a:pt x="74" y="127"/>
                  </a:cubicBezTo>
                  <a:cubicBezTo>
                    <a:pt x="74" y="123"/>
                    <a:pt x="73" y="119"/>
                    <a:pt x="70" y="116"/>
                  </a:cubicBezTo>
                  <a:cubicBezTo>
                    <a:pt x="71" y="116"/>
                    <a:pt x="73" y="116"/>
                    <a:pt x="74" y="116"/>
                  </a:cubicBezTo>
                  <a:cubicBezTo>
                    <a:pt x="75" y="116"/>
                    <a:pt x="75" y="116"/>
                    <a:pt x="76" y="116"/>
                  </a:cubicBezTo>
                  <a:cubicBezTo>
                    <a:pt x="78" y="120"/>
                    <a:pt x="81" y="129"/>
                    <a:pt x="74" y="140"/>
                  </a:cubicBezTo>
                  <a:cubicBezTo>
                    <a:pt x="73" y="142"/>
                    <a:pt x="73" y="145"/>
                    <a:pt x="75" y="147"/>
                  </a:cubicBezTo>
                  <a:cubicBezTo>
                    <a:pt x="75" y="147"/>
                    <a:pt x="75" y="147"/>
                    <a:pt x="75" y="147"/>
                  </a:cubicBezTo>
                  <a:cubicBezTo>
                    <a:pt x="75" y="148"/>
                    <a:pt x="75" y="148"/>
                    <a:pt x="75" y="148"/>
                  </a:cubicBezTo>
                  <a:cubicBezTo>
                    <a:pt x="76" y="149"/>
                    <a:pt x="78" y="149"/>
                    <a:pt x="80" y="149"/>
                  </a:cubicBezTo>
                  <a:cubicBezTo>
                    <a:pt x="81" y="149"/>
                    <a:pt x="81" y="149"/>
                    <a:pt x="82" y="149"/>
                  </a:cubicBezTo>
                  <a:cubicBezTo>
                    <a:pt x="88" y="146"/>
                    <a:pt x="97" y="140"/>
                    <a:pt x="103" y="132"/>
                  </a:cubicBezTo>
                  <a:cubicBezTo>
                    <a:pt x="111" y="121"/>
                    <a:pt x="113" y="110"/>
                    <a:pt x="109" y="97"/>
                  </a:cubicBezTo>
                  <a:cubicBezTo>
                    <a:pt x="140" y="72"/>
                    <a:pt x="153" y="51"/>
                    <a:pt x="158" y="36"/>
                  </a:cubicBezTo>
                  <a:cubicBezTo>
                    <a:pt x="158" y="36"/>
                    <a:pt x="158" y="36"/>
                    <a:pt x="158" y="36"/>
                  </a:cubicBezTo>
                  <a:cubicBezTo>
                    <a:pt x="158" y="36"/>
                    <a:pt x="158" y="36"/>
                    <a:pt x="158" y="36"/>
                  </a:cubicBezTo>
                  <a:cubicBezTo>
                    <a:pt x="161" y="26"/>
                    <a:pt x="162" y="18"/>
                    <a:pt x="162" y="13"/>
                  </a:cubicBezTo>
                  <a:close/>
                </a:path>
              </a:pathLst>
            </a:custGeom>
            <a:solidFill>
              <a:srgbClr val="FCFD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íṡľiďê">
              <a:extLst>
                <a:ext uri="{FF2B5EF4-FFF2-40B4-BE49-F238E27FC236}">
                  <a16:creationId xmlns:a16="http://schemas.microsoft.com/office/drawing/2014/main" id="{D5F78285-7219-4BAF-85F9-5525B2055214}"/>
                </a:ext>
              </a:extLst>
            </p:cNvPr>
            <p:cNvSpPr/>
            <p:nvPr/>
          </p:nvSpPr>
          <p:spPr bwMode="auto">
            <a:xfrm>
              <a:off x="5953126" y="4759325"/>
              <a:ext cx="114300" cy="161925"/>
            </a:xfrm>
            <a:custGeom>
              <a:avLst/>
              <a:gdLst>
                <a:gd name="T0" fmla="*/ 26 w 35"/>
                <a:gd name="T1" fmla="*/ 0 h 49"/>
                <a:gd name="T2" fmla="*/ 2 w 35"/>
                <a:gd name="T3" fmla="*/ 48 h 49"/>
                <a:gd name="T4" fmla="*/ 1 w 35"/>
                <a:gd name="T5" fmla="*/ 48 h 49"/>
                <a:gd name="T6" fmla="*/ 1 w 35"/>
                <a:gd name="T7" fmla="*/ 47 h 49"/>
                <a:gd name="T8" fmla="*/ 1 w 35"/>
                <a:gd name="T9" fmla="*/ 16 h 49"/>
                <a:gd name="T10" fmla="*/ 6 w 35"/>
                <a:gd name="T11" fmla="*/ 13 h 49"/>
                <a:gd name="T12" fmla="*/ 6 w 35"/>
                <a:gd name="T13" fmla="*/ 13 h 49"/>
                <a:gd name="T14" fmla="*/ 8 w 35"/>
                <a:gd name="T15" fmla="*/ 12 h 49"/>
                <a:gd name="T16" fmla="*/ 8 w 35"/>
                <a:gd name="T17" fmla="*/ 12 h 49"/>
                <a:gd name="T18" fmla="*/ 26 w 35"/>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49">
                  <a:moveTo>
                    <a:pt x="26" y="0"/>
                  </a:moveTo>
                  <a:cubicBezTo>
                    <a:pt x="35" y="28"/>
                    <a:pt x="12" y="43"/>
                    <a:pt x="2" y="48"/>
                  </a:cubicBezTo>
                  <a:cubicBezTo>
                    <a:pt x="2" y="49"/>
                    <a:pt x="1" y="48"/>
                    <a:pt x="1" y="48"/>
                  </a:cubicBezTo>
                  <a:cubicBezTo>
                    <a:pt x="0" y="48"/>
                    <a:pt x="0" y="47"/>
                    <a:pt x="1" y="47"/>
                  </a:cubicBezTo>
                  <a:cubicBezTo>
                    <a:pt x="10" y="31"/>
                    <a:pt x="2" y="18"/>
                    <a:pt x="1" y="16"/>
                  </a:cubicBezTo>
                  <a:cubicBezTo>
                    <a:pt x="2" y="15"/>
                    <a:pt x="4" y="14"/>
                    <a:pt x="6" y="13"/>
                  </a:cubicBezTo>
                  <a:cubicBezTo>
                    <a:pt x="6" y="13"/>
                    <a:pt x="6" y="13"/>
                    <a:pt x="6" y="13"/>
                  </a:cubicBezTo>
                  <a:cubicBezTo>
                    <a:pt x="8" y="12"/>
                    <a:pt x="8" y="12"/>
                    <a:pt x="8" y="12"/>
                  </a:cubicBezTo>
                  <a:cubicBezTo>
                    <a:pt x="8" y="12"/>
                    <a:pt x="8" y="12"/>
                    <a:pt x="8" y="12"/>
                  </a:cubicBezTo>
                  <a:cubicBezTo>
                    <a:pt x="14" y="8"/>
                    <a:pt x="20" y="4"/>
                    <a:pt x="26" y="0"/>
                  </a:cubicBezTo>
                  <a:close/>
                </a:path>
              </a:pathLst>
            </a:custGeom>
            <a:solidFill>
              <a:srgbClr val="1A237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íśļïdé">
              <a:extLst>
                <a:ext uri="{FF2B5EF4-FFF2-40B4-BE49-F238E27FC236}">
                  <a16:creationId xmlns:a16="http://schemas.microsoft.com/office/drawing/2014/main" id="{4F09B771-97D3-4C80-AF50-C63DF2F59105}"/>
                </a:ext>
              </a:extLst>
            </p:cNvPr>
            <p:cNvSpPr/>
            <p:nvPr/>
          </p:nvSpPr>
          <p:spPr bwMode="auto">
            <a:xfrm>
              <a:off x="5995988" y="4532313"/>
              <a:ext cx="144463" cy="141287"/>
            </a:xfrm>
            <a:custGeom>
              <a:avLst/>
              <a:gdLst>
                <a:gd name="T0" fmla="*/ 36 w 44"/>
                <a:gd name="T1" fmla="*/ 7 h 43"/>
                <a:gd name="T2" fmla="*/ 36 w 44"/>
                <a:gd name="T3" fmla="*/ 36 h 43"/>
                <a:gd name="T4" fmla="*/ 8 w 44"/>
                <a:gd name="T5" fmla="*/ 36 h 43"/>
                <a:gd name="T6" fmla="*/ 8 w 44"/>
                <a:gd name="T7" fmla="*/ 7 h 43"/>
                <a:gd name="T8" fmla="*/ 36 w 44"/>
                <a:gd name="T9" fmla="*/ 7 h 43"/>
                <a:gd name="T10" fmla="*/ 32 w 44"/>
                <a:gd name="T11" fmla="*/ 31 h 43"/>
                <a:gd name="T12" fmla="*/ 32 w 44"/>
                <a:gd name="T13" fmla="*/ 12 h 43"/>
                <a:gd name="T14" fmla="*/ 12 w 44"/>
                <a:gd name="T15" fmla="*/ 12 h 43"/>
                <a:gd name="T16" fmla="*/ 12 w 44"/>
                <a:gd name="T17" fmla="*/ 31 h 43"/>
                <a:gd name="T18" fmla="*/ 32 w 44"/>
                <a:gd name="T19"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43">
                  <a:moveTo>
                    <a:pt x="36" y="7"/>
                  </a:moveTo>
                  <a:cubicBezTo>
                    <a:pt x="44" y="15"/>
                    <a:pt x="44" y="28"/>
                    <a:pt x="36" y="36"/>
                  </a:cubicBezTo>
                  <a:cubicBezTo>
                    <a:pt x="28" y="43"/>
                    <a:pt x="16" y="43"/>
                    <a:pt x="8" y="36"/>
                  </a:cubicBezTo>
                  <a:cubicBezTo>
                    <a:pt x="0" y="28"/>
                    <a:pt x="0" y="15"/>
                    <a:pt x="8" y="7"/>
                  </a:cubicBezTo>
                  <a:cubicBezTo>
                    <a:pt x="16" y="0"/>
                    <a:pt x="28" y="0"/>
                    <a:pt x="36" y="7"/>
                  </a:cubicBezTo>
                  <a:close/>
                  <a:moveTo>
                    <a:pt x="32" y="31"/>
                  </a:moveTo>
                  <a:cubicBezTo>
                    <a:pt x="37" y="26"/>
                    <a:pt x="37" y="17"/>
                    <a:pt x="32" y="12"/>
                  </a:cubicBezTo>
                  <a:cubicBezTo>
                    <a:pt x="26" y="6"/>
                    <a:pt x="18" y="6"/>
                    <a:pt x="12" y="12"/>
                  </a:cubicBezTo>
                  <a:cubicBezTo>
                    <a:pt x="7" y="17"/>
                    <a:pt x="7" y="26"/>
                    <a:pt x="12" y="31"/>
                  </a:cubicBezTo>
                  <a:cubicBezTo>
                    <a:pt x="18" y="37"/>
                    <a:pt x="26" y="37"/>
                    <a:pt x="32" y="31"/>
                  </a:cubicBezTo>
                  <a:close/>
                </a:path>
              </a:pathLst>
            </a:custGeom>
            <a:solidFill>
              <a:srgbClr val="FCFD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iṥḷídê">
              <a:extLst>
                <a:ext uri="{FF2B5EF4-FFF2-40B4-BE49-F238E27FC236}">
                  <a16:creationId xmlns:a16="http://schemas.microsoft.com/office/drawing/2014/main" id="{EFEB1A9D-6EAA-475A-AF17-6F6926A38FBB}"/>
                </a:ext>
              </a:extLst>
            </p:cNvPr>
            <p:cNvSpPr/>
            <p:nvPr/>
          </p:nvSpPr>
          <p:spPr bwMode="auto">
            <a:xfrm>
              <a:off x="6021388" y="4554538"/>
              <a:ext cx="92075" cy="96837"/>
            </a:xfrm>
            <a:custGeom>
              <a:avLst/>
              <a:gdLst>
                <a:gd name="T0" fmla="*/ 23 w 28"/>
                <a:gd name="T1" fmla="*/ 5 h 29"/>
                <a:gd name="T2" fmla="*/ 23 w 28"/>
                <a:gd name="T3" fmla="*/ 24 h 29"/>
                <a:gd name="T4" fmla="*/ 5 w 28"/>
                <a:gd name="T5" fmla="*/ 24 h 29"/>
                <a:gd name="T6" fmla="*/ 5 w 28"/>
                <a:gd name="T7" fmla="*/ 5 h 29"/>
                <a:gd name="T8" fmla="*/ 23 w 28"/>
                <a:gd name="T9" fmla="*/ 5 h 29"/>
              </a:gdLst>
              <a:ahLst/>
              <a:cxnLst>
                <a:cxn ang="0">
                  <a:pos x="T0" y="T1"/>
                </a:cxn>
                <a:cxn ang="0">
                  <a:pos x="T2" y="T3"/>
                </a:cxn>
                <a:cxn ang="0">
                  <a:pos x="T4" y="T5"/>
                </a:cxn>
                <a:cxn ang="0">
                  <a:pos x="T6" y="T7"/>
                </a:cxn>
                <a:cxn ang="0">
                  <a:pos x="T8" y="T9"/>
                </a:cxn>
              </a:cxnLst>
              <a:rect l="0" t="0" r="r" b="b"/>
              <a:pathLst>
                <a:path w="28" h="29">
                  <a:moveTo>
                    <a:pt x="23" y="5"/>
                  </a:moveTo>
                  <a:cubicBezTo>
                    <a:pt x="28" y="10"/>
                    <a:pt x="28" y="19"/>
                    <a:pt x="23" y="24"/>
                  </a:cubicBezTo>
                  <a:cubicBezTo>
                    <a:pt x="18" y="29"/>
                    <a:pt x="10" y="29"/>
                    <a:pt x="5" y="24"/>
                  </a:cubicBezTo>
                  <a:cubicBezTo>
                    <a:pt x="0" y="19"/>
                    <a:pt x="0" y="10"/>
                    <a:pt x="5" y="5"/>
                  </a:cubicBezTo>
                  <a:cubicBezTo>
                    <a:pt x="10" y="0"/>
                    <a:pt x="18" y="0"/>
                    <a:pt x="23" y="5"/>
                  </a:cubicBezTo>
                  <a:close/>
                </a:path>
              </a:pathLst>
            </a:custGeom>
            <a:solidFill>
              <a:srgbClr val="8CD0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iŝḷiḓê">
              <a:extLst>
                <a:ext uri="{FF2B5EF4-FFF2-40B4-BE49-F238E27FC236}">
                  <a16:creationId xmlns:a16="http://schemas.microsoft.com/office/drawing/2014/main" id="{E7FADAF4-D2A3-486E-9825-F3D2E4D17FF6}"/>
                </a:ext>
              </a:extLst>
            </p:cNvPr>
            <p:cNvSpPr/>
            <p:nvPr/>
          </p:nvSpPr>
          <p:spPr bwMode="auto">
            <a:xfrm>
              <a:off x="5751513" y="4605338"/>
              <a:ext cx="161925" cy="111125"/>
            </a:xfrm>
            <a:custGeom>
              <a:avLst/>
              <a:gdLst>
                <a:gd name="T0" fmla="*/ 36 w 49"/>
                <a:gd name="T1" fmla="*/ 27 h 34"/>
                <a:gd name="T2" fmla="*/ 35 w 49"/>
                <a:gd name="T3" fmla="*/ 28 h 34"/>
                <a:gd name="T4" fmla="*/ 35 w 49"/>
                <a:gd name="T5" fmla="*/ 28 h 34"/>
                <a:gd name="T6" fmla="*/ 33 w 49"/>
                <a:gd name="T7" fmla="*/ 34 h 34"/>
                <a:gd name="T8" fmla="*/ 2 w 49"/>
                <a:gd name="T9" fmla="*/ 34 h 34"/>
                <a:gd name="T10" fmla="*/ 0 w 49"/>
                <a:gd name="T11" fmla="*/ 34 h 34"/>
                <a:gd name="T12" fmla="*/ 0 w 49"/>
                <a:gd name="T13" fmla="*/ 32 h 34"/>
                <a:gd name="T14" fmla="*/ 49 w 49"/>
                <a:gd name="T15" fmla="*/ 9 h 34"/>
                <a:gd name="T16" fmla="*/ 36 w 49"/>
                <a:gd name="T17" fmla="*/ 2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34">
                  <a:moveTo>
                    <a:pt x="36" y="27"/>
                  </a:moveTo>
                  <a:cubicBezTo>
                    <a:pt x="36" y="27"/>
                    <a:pt x="36" y="28"/>
                    <a:pt x="35" y="28"/>
                  </a:cubicBezTo>
                  <a:cubicBezTo>
                    <a:pt x="35" y="28"/>
                    <a:pt x="35" y="28"/>
                    <a:pt x="35" y="28"/>
                  </a:cubicBezTo>
                  <a:cubicBezTo>
                    <a:pt x="34" y="30"/>
                    <a:pt x="33" y="32"/>
                    <a:pt x="33" y="34"/>
                  </a:cubicBezTo>
                  <a:cubicBezTo>
                    <a:pt x="30" y="32"/>
                    <a:pt x="17" y="25"/>
                    <a:pt x="2" y="34"/>
                  </a:cubicBezTo>
                  <a:cubicBezTo>
                    <a:pt x="1" y="34"/>
                    <a:pt x="1" y="34"/>
                    <a:pt x="0" y="34"/>
                  </a:cubicBezTo>
                  <a:cubicBezTo>
                    <a:pt x="0" y="34"/>
                    <a:pt x="0" y="33"/>
                    <a:pt x="0" y="32"/>
                  </a:cubicBezTo>
                  <a:cubicBezTo>
                    <a:pt x="5" y="22"/>
                    <a:pt x="20" y="0"/>
                    <a:pt x="49" y="9"/>
                  </a:cubicBezTo>
                  <a:cubicBezTo>
                    <a:pt x="45" y="14"/>
                    <a:pt x="41" y="20"/>
                    <a:pt x="36" y="27"/>
                  </a:cubicBezTo>
                  <a:close/>
                </a:path>
              </a:pathLst>
            </a:custGeom>
            <a:solidFill>
              <a:srgbClr val="1A237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íŝlîďé">
              <a:extLst>
                <a:ext uri="{FF2B5EF4-FFF2-40B4-BE49-F238E27FC236}">
                  <a16:creationId xmlns:a16="http://schemas.microsoft.com/office/drawing/2014/main" id="{F53088F2-8837-44CB-AA55-DB2872357483}"/>
                </a:ext>
              </a:extLst>
            </p:cNvPr>
            <p:cNvSpPr/>
            <p:nvPr/>
          </p:nvSpPr>
          <p:spPr bwMode="auto">
            <a:xfrm>
              <a:off x="5992813" y="4529138"/>
              <a:ext cx="150813" cy="147637"/>
            </a:xfrm>
            <a:custGeom>
              <a:avLst/>
              <a:gdLst>
                <a:gd name="T0" fmla="*/ 8 w 46"/>
                <a:gd name="T1" fmla="*/ 37 h 45"/>
                <a:gd name="T2" fmla="*/ 8 w 46"/>
                <a:gd name="T3" fmla="*/ 8 h 45"/>
                <a:gd name="T4" fmla="*/ 38 w 46"/>
                <a:gd name="T5" fmla="*/ 8 h 45"/>
                <a:gd name="T6" fmla="*/ 38 w 46"/>
                <a:gd name="T7" fmla="*/ 37 h 45"/>
                <a:gd name="T8" fmla="*/ 8 w 46"/>
                <a:gd name="T9" fmla="*/ 37 h 45"/>
              </a:gdLst>
              <a:ahLst/>
              <a:cxnLst>
                <a:cxn ang="0">
                  <a:pos x="T0" y="T1"/>
                </a:cxn>
                <a:cxn ang="0">
                  <a:pos x="T2" y="T3"/>
                </a:cxn>
                <a:cxn ang="0">
                  <a:pos x="T4" y="T5"/>
                </a:cxn>
                <a:cxn ang="0">
                  <a:pos x="T6" y="T7"/>
                </a:cxn>
                <a:cxn ang="0">
                  <a:pos x="T8" y="T9"/>
                </a:cxn>
              </a:cxnLst>
              <a:rect l="0" t="0" r="r" b="b"/>
              <a:pathLst>
                <a:path w="46" h="45">
                  <a:moveTo>
                    <a:pt x="8" y="37"/>
                  </a:moveTo>
                  <a:cubicBezTo>
                    <a:pt x="0" y="29"/>
                    <a:pt x="0" y="16"/>
                    <a:pt x="8" y="8"/>
                  </a:cubicBezTo>
                  <a:cubicBezTo>
                    <a:pt x="16" y="0"/>
                    <a:pt x="30" y="0"/>
                    <a:pt x="38" y="8"/>
                  </a:cubicBezTo>
                  <a:cubicBezTo>
                    <a:pt x="46" y="16"/>
                    <a:pt x="46" y="29"/>
                    <a:pt x="38" y="37"/>
                  </a:cubicBezTo>
                  <a:cubicBezTo>
                    <a:pt x="30" y="45"/>
                    <a:pt x="16" y="45"/>
                    <a:pt x="8" y="37"/>
                  </a:cubicBezTo>
                  <a:close/>
                </a:path>
              </a:pathLst>
            </a:custGeom>
            <a:solidFill>
              <a:srgbClr val="CFD8D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íśľîďe">
              <a:extLst>
                <a:ext uri="{FF2B5EF4-FFF2-40B4-BE49-F238E27FC236}">
                  <a16:creationId xmlns:a16="http://schemas.microsoft.com/office/drawing/2014/main" id="{D830A905-6164-4254-A646-584B128D9A56}"/>
                </a:ext>
              </a:extLst>
            </p:cNvPr>
            <p:cNvSpPr/>
            <p:nvPr/>
          </p:nvSpPr>
          <p:spPr bwMode="auto">
            <a:xfrm>
              <a:off x="6021388" y="4554538"/>
              <a:ext cx="92075" cy="96837"/>
            </a:xfrm>
            <a:custGeom>
              <a:avLst/>
              <a:gdLst>
                <a:gd name="T0" fmla="*/ 23 w 28"/>
                <a:gd name="T1" fmla="*/ 5 h 29"/>
                <a:gd name="T2" fmla="*/ 5 w 28"/>
                <a:gd name="T3" fmla="*/ 5 h 29"/>
                <a:gd name="T4" fmla="*/ 5 w 28"/>
                <a:gd name="T5" fmla="*/ 24 h 29"/>
                <a:gd name="T6" fmla="*/ 23 w 28"/>
                <a:gd name="T7" fmla="*/ 24 h 29"/>
                <a:gd name="T8" fmla="*/ 23 w 28"/>
                <a:gd name="T9" fmla="*/ 5 h 29"/>
              </a:gdLst>
              <a:ahLst/>
              <a:cxnLst>
                <a:cxn ang="0">
                  <a:pos x="T0" y="T1"/>
                </a:cxn>
                <a:cxn ang="0">
                  <a:pos x="T2" y="T3"/>
                </a:cxn>
                <a:cxn ang="0">
                  <a:pos x="T4" y="T5"/>
                </a:cxn>
                <a:cxn ang="0">
                  <a:pos x="T6" y="T7"/>
                </a:cxn>
                <a:cxn ang="0">
                  <a:pos x="T8" y="T9"/>
                </a:cxn>
              </a:cxnLst>
              <a:rect l="0" t="0" r="r" b="b"/>
              <a:pathLst>
                <a:path w="28" h="29">
                  <a:moveTo>
                    <a:pt x="23" y="5"/>
                  </a:moveTo>
                  <a:cubicBezTo>
                    <a:pt x="18" y="0"/>
                    <a:pt x="10" y="0"/>
                    <a:pt x="5" y="5"/>
                  </a:cubicBezTo>
                  <a:cubicBezTo>
                    <a:pt x="0" y="10"/>
                    <a:pt x="0" y="19"/>
                    <a:pt x="5" y="24"/>
                  </a:cubicBezTo>
                  <a:cubicBezTo>
                    <a:pt x="10" y="29"/>
                    <a:pt x="18" y="29"/>
                    <a:pt x="23" y="24"/>
                  </a:cubicBezTo>
                  <a:cubicBezTo>
                    <a:pt x="28" y="19"/>
                    <a:pt x="28" y="10"/>
                    <a:pt x="23" y="5"/>
                  </a:cubicBezTo>
                  <a:close/>
                </a:path>
              </a:pathLst>
            </a:custGeom>
            <a:solidFill>
              <a:srgbClr val="FFCA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íṧḷîḓè">
              <a:extLst>
                <a:ext uri="{FF2B5EF4-FFF2-40B4-BE49-F238E27FC236}">
                  <a16:creationId xmlns:a16="http://schemas.microsoft.com/office/drawing/2014/main" id="{BC168EDF-8955-4942-9AA7-89F7FFC3FDF6}"/>
                </a:ext>
              </a:extLst>
            </p:cNvPr>
            <p:cNvSpPr/>
            <p:nvPr/>
          </p:nvSpPr>
          <p:spPr bwMode="auto">
            <a:xfrm>
              <a:off x="5853113" y="4694238"/>
              <a:ext cx="42863" cy="92075"/>
            </a:xfrm>
            <a:custGeom>
              <a:avLst/>
              <a:gdLst>
                <a:gd name="T0" fmla="*/ 13 w 13"/>
                <a:gd name="T1" fmla="*/ 22 h 28"/>
                <a:gd name="T2" fmla="*/ 8 w 13"/>
                <a:gd name="T3" fmla="*/ 28 h 28"/>
                <a:gd name="T4" fmla="*/ 7 w 13"/>
                <a:gd name="T5" fmla="*/ 28 h 28"/>
                <a:gd name="T6" fmla="*/ 4 w 13"/>
                <a:gd name="T7" fmla="*/ 23 h 28"/>
                <a:gd name="T8" fmla="*/ 3 w 13"/>
                <a:gd name="T9" fmla="*/ 18 h 28"/>
                <a:gd name="T10" fmla="*/ 4 w 13"/>
                <a:gd name="T11" fmla="*/ 1 h 28"/>
                <a:gd name="T12" fmla="*/ 5 w 13"/>
                <a:gd name="T13" fmla="*/ 0 h 28"/>
                <a:gd name="T14" fmla="*/ 5 w 13"/>
                <a:gd name="T15" fmla="*/ 2 h 28"/>
                <a:gd name="T16" fmla="*/ 13 w 13"/>
                <a:gd name="T17" fmla="*/ 2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8">
                  <a:moveTo>
                    <a:pt x="13" y="22"/>
                  </a:moveTo>
                  <a:cubicBezTo>
                    <a:pt x="8" y="28"/>
                    <a:pt x="8" y="28"/>
                    <a:pt x="8" y="28"/>
                  </a:cubicBezTo>
                  <a:cubicBezTo>
                    <a:pt x="7" y="28"/>
                    <a:pt x="7" y="28"/>
                    <a:pt x="7" y="28"/>
                  </a:cubicBezTo>
                  <a:cubicBezTo>
                    <a:pt x="6" y="26"/>
                    <a:pt x="5" y="25"/>
                    <a:pt x="4" y="23"/>
                  </a:cubicBezTo>
                  <a:cubicBezTo>
                    <a:pt x="3" y="18"/>
                    <a:pt x="3" y="18"/>
                    <a:pt x="3" y="18"/>
                  </a:cubicBezTo>
                  <a:cubicBezTo>
                    <a:pt x="0" y="13"/>
                    <a:pt x="1" y="6"/>
                    <a:pt x="4" y="1"/>
                  </a:cubicBezTo>
                  <a:cubicBezTo>
                    <a:pt x="5" y="0"/>
                    <a:pt x="5" y="0"/>
                    <a:pt x="5" y="0"/>
                  </a:cubicBezTo>
                  <a:cubicBezTo>
                    <a:pt x="5" y="2"/>
                    <a:pt x="5" y="2"/>
                    <a:pt x="5" y="2"/>
                  </a:cubicBezTo>
                  <a:cubicBezTo>
                    <a:pt x="4" y="8"/>
                    <a:pt x="7" y="15"/>
                    <a:pt x="13" y="22"/>
                  </a:cubicBezTo>
                  <a:close/>
                </a:path>
              </a:pathLst>
            </a:custGeom>
            <a:solidFill>
              <a:srgbClr val="CFD8D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ļiḍè">
              <a:extLst>
                <a:ext uri="{FF2B5EF4-FFF2-40B4-BE49-F238E27FC236}">
                  <a16:creationId xmlns:a16="http://schemas.microsoft.com/office/drawing/2014/main" id="{CC67490F-3A1E-4AEA-B9D6-96B0A5C6E0DE}"/>
                </a:ext>
              </a:extLst>
            </p:cNvPr>
            <p:cNvSpPr/>
            <p:nvPr/>
          </p:nvSpPr>
          <p:spPr bwMode="auto">
            <a:xfrm>
              <a:off x="5886451" y="4776788"/>
              <a:ext cx="92075" cy="38100"/>
            </a:xfrm>
            <a:custGeom>
              <a:avLst/>
              <a:gdLst>
                <a:gd name="T0" fmla="*/ 28 w 28"/>
                <a:gd name="T1" fmla="*/ 7 h 12"/>
                <a:gd name="T2" fmla="*/ 26 w 28"/>
                <a:gd name="T3" fmla="*/ 8 h 12"/>
                <a:gd name="T4" fmla="*/ 9 w 28"/>
                <a:gd name="T5" fmla="*/ 10 h 12"/>
                <a:gd name="T6" fmla="*/ 5 w 28"/>
                <a:gd name="T7" fmla="*/ 8 h 12"/>
                <a:gd name="T8" fmla="*/ 1 w 28"/>
                <a:gd name="T9" fmla="*/ 6 h 12"/>
                <a:gd name="T10" fmla="*/ 0 w 28"/>
                <a:gd name="T11" fmla="*/ 6 h 12"/>
                <a:gd name="T12" fmla="*/ 7 w 28"/>
                <a:gd name="T13" fmla="*/ 0 h 12"/>
                <a:gd name="T14" fmla="*/ 7 w 28"/>
                <a:gd name="T15" fmla="*/ 1 h 12"/>
                <a:gd name="T16" fmla="*/ 26 w 28"/>
                <a:gd name="T17" fmla="*/ 8 h 12"/>
                <a:gd name="T18" fmla="*/ 28 w 28"/>
                <a:gd name="T19"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12">
                  <a:moveTo>
                    <a:pt x="28" y="7"/>
                  </a:moveTo>
                  <a:cubicBezTo>
                    <a:pt x="26" y="8"/>
                    <a:pt x="26" y="8"/>
                    <a:pt x="26" y="8"/>
                  </a:cubicBezTo>
                  <a:cubicBezTo>
                    <a:pt x="21" y="11"/>
                    <a:pt x="15" y="12"/>
                    <a:pt x="9" y="10"/>
                  </a:cubicBezTo>
                  <a:cubicBezTo>
                    <a:pt x="5" y="8"/>
                    <a:pt x="5" y="8"/>
                    <a:pt x="5" y="8"/>
                  </a:cubicBezTo>
                  <a:cubicBezTo>
                    <a:pt x="3" y="8"/>
                    <a:pt x="2" y="7"/>
                    <a:pt x="1" y="6"/>
                  </a:cubicBezTo>
                  <a:cubicBezTo>
                    <a:pt x="0" y="6"/>
                    <a:pt x="0" y="6"/>
                    <a:pt x="0" y="6"/>
                  </a:cubicBezTo>
                  <a:cubicBezTo>
                    <a:pt x="7" y="0"/>
                    <a:pt x="7" y="0"/>
                    <a:pt x="7" y="0"/>
                  </a:cubicBezTo>
                  <a:cubicBezTo>
                    <a:pt x="7" y="1"/>
                    <a:pt x="7" y="1"/>
                    <a:pt x="7" y="1"/>
                  </a:cubicBezTo>
                  <a:cubicBezTo>
                    <a:pt x="13" y="6"/>
                    <a:pt x="20" y="8"/>
                    <a:pt x="26" y="8"/>
                  </a:cubicBezTo>
                  <a:lnTo>
                    <a:pt x="28" y="7"/>
                  </a:lnTo>
                  <a:close/>
                </a:path>
              </a:pathLst>
            </a:custGeom>
            <a:solidFill>
              <a:srgbClr val="CFD8D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íṡľíḓé">
              <a:extLst>
                <a:ext uri="{FF2B5EF4-FFF2-40B4-BE49-F238E27FC236}">
                  <a16:creationId xmlns:a16="http://schemas.microsoft.com/office/drawing/2014/main" id="{1C51E121-5BD4-4944-9E39-1AC4B9E3C868}"/>
                </a:ext>
              </a:extLst>
            </p:cNvPr>
            <p:cNvSpPr/>
            <p:nvPr/>
          </p:nvSpPr>
          <p:spPr bwMode="auto">
            <a:xfrm>
              <a:off x="6103938" y="4452938"/>
              <a:ext cx="115888" cy="112712"/>
            </a:xfrm>
            <a:custGeom>
              <a:avLst/>
              <a:gdLst>
                <a:gd name="T0" fmla="*/ 31 w 35"/>
                <a:gd name="T1" fmla="*/ 33 h 34"/>
                <a:gd name="T2" fmla="*/ 30 w 35"/>
                <a:gd name="T3" fmla="*/ 34 h 34"/>
                <a:gd name="T4" fmla="*/ 29 w 35"/>
                <a:gd name="T5" fmla="*/ 34 h 34"/>
                <a:gd name="T6" fmla="*/ 10 w 35"/>
                <a:gd name="T7" fmla="*/ 24 h 34"/>
                <a:gd name="T8" fmla="*/ 1 w 35"/>
                <a:gd name="T9" fmla="*/ 6 h 34"/>
                <a:gd name="T10" fmla="*/ 0 w 35"/>
                <a:gd name="T11" fmla="*/ 4 h 34"/>
                <a:gd name="T12" fmla="*/ 2 w 35"/>
                <a:gd name="T13" fmla="*/ 4 h 34"/>
                <a:gd name="T14" fmla="*/ 24 w 35"/>
                <a:gd name="T15" fmla="*/ 0 h 34"/>
                <a:gd name="T16" fmla="*/ 35 w 35"/>
                <a:gd name="T17" fmla="*/ 11 h 34"/>
                <a:gd name="T18" fmla="*/ 31 w 35"/>
                <a:gd name="T19"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4">
                  <a:moveTo>
                    <a:pt x="31" y="33"/>
                  </a:moveTo>
                  <a:cubicBezTo>
                    <a:pt x="30" y="34"/>
                    <a:pt x="30" y="34"/>
                    <a:pt x="30" y="34"/>
                  </a:cubicBezTo>
                  <a:cubicBezTo>
                    <a:pt x="29" y="34"/>
                    <a:pt x="29" y="34"/>
                    <a:pt x="29" y="34"/>
                  </a:cubicBezTo>
                  <a:cubicBezTo>
                    <a:pt x="23" y="33"/>
                    <a:pt x="16" y="29"/>
                    <a:pt x="10" y="24"/>
                  </a:cubicBezTo>
                  <a:cubicBezTo>
                    <a:pt x="5" y="18"/>
                    <a:pt x="2" y="12"/>
                    <a:pt x="1" y="6"/>
                  </a:cubicBezTo>
                  <a:cubicBezTo>
                    <a:pt x="0" y="4"/>
                    <a:pt x="0" y="4"/>
                    <a:pt x="0" y="4"/>
                  </a:cubicBezTo>
                  <a:cubicBezTo>
                    <a:pt x="2" y="4"/>
                    <a:pt x="2" y="4"/>
                    <a:pt x="2" y="4"/>
                  </a:cubicBezTo>
                  <a:cubicBezTo>
                    <a:pt x="13" y="0"/>
                    <a:pt x="21" y="0"/>
                    <a:pt x="24" y="0"/>
                  </a:cubicBezTo>
                  <a:cubicBezTo>
                    <a:pt x="29" y="0"/>
                    <a:pt x="34" y="5"/>
                    <a:pt x="35" y="11"/>
                  </a:cubicBezTo>
                  <a:cubicBezTo>
                    <a:pt x="35" y="14"/>
                    <a:pt x="34" y="22"/>
                    <a:pt x="31" y="33"/>
                  </a:cubicBezTo>
                  <a:close/>
                </a:path>
              </a:pathLst>
            </a:custGeom>
            <a:solidFill>
              <a:srgbClr val="C5116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í$ļîḓe">
              <a:extLst>
                <a:ext uri="{FF2B5EF4-FFF2-40B4-BE49-F238E27FC236}">
                  <a16:creationId xmlns:a16="http://schemas.microsoft.com/office/drawing/2014/main" id="{1F19C1F5-8EF6-43A6-BB5B-D9D1D3C02BED}"/>
                </a:ext>
              </a:extLst>
            </p:cNvPr>
            <p:cNvSpPr/>
            <p:nvPr/>
          </p:nvSpPr>
          <p:spPr bwMode="auto">
            <a:xfrm>
              <a:off x="5846763" y="4683125"/>
              <a:ext cx="141288" cy="142875"/>
            </a:xfrm>
            <a:custGeom>
              <a:avLst/>
              <a:gdLst>
                <a:gd name="T0" fmla="*/ 41 w 43"/>
                <a:gd name="T1" fmla="*/ 11 h 43"/>
                <a:gd name="T2" fmla="*/ 19 w 43"/>
                <a:gd name="T3" fmla="*/ 29 h 43"/>
                <a:gd name="T4" fmla="*/ 3 w 43"/>
                <a:gd name="T5" fmla="*/ 42 h 43"/>
                <a:gd name="T6" fmla="*/ 1 w 43"/>
                <a:gd name="T7" fmla="*/ 42 h 43"/>
                <a:gd name="T8" fmla="*/ 1 w 43"/>
                <a:gd name="T9" fmla="*/ 40 h 43"/>
                <a:gd name="T10" fmla="*/ 16 w 43"/>
                <a:gd name="T11" fmla="*/ 22 h 43"/>
                <a:gd name="T12" fmla="*/ 32 w 43"/>
                <a:gd name="T13" fmla="*/ 2 h 43"/>
                <a:gd name="T14" fmla="*/ 38 w 43"/>
                <a:gd name="T15" fmla="*/ 0 h 43"/>
                <a:gd name="T16" fmla="*/ 43 w 43"/>
                <a:gd name="T17" fmla="*/ 5 h 43"/>
                <a:gd name="T18" fmla="*/ 41 w 43"/>
                <a:gd name="T19" fmla="*/ 1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41" y="11"/>
                  </a:moveTo>
                  <a:cubicBezTo>
                    <a:pt x="19" y="29"/>
                    <a:pt x="19" y="29"/>
                    <a:pt x="19" y="29"/>
                  </a:cubicBezTo>
                  <a:cubicBezTo>
                    <a:pt x="3" y="42"/>
                    <a:pt x="3" y="42"/>
                    <a:pt x="3" y="42"/>
                  </a:cubicBezTo>
                  <a:cubicBezTo>
                    <a:pt x="2" y="43"/>
                    <a:pt x="2" y="43"/>
                    <a:pt x="1" y="42"/>
                  </a:cubicBezTo>
                  <a:cubicBezTo>
                    <a:pt x="1" y="42"/>
                    <a:pt x="0" y="41"/>
                    <a:pt x="1" y="40"/>
                  </a:cubicBezTo>
                  <a:cubicBezTo>
                    <a:pt x="16" y="22"/>
                    <a:pt x="16" y="22"/>
                    <a:pt x="16" y="22"/>
                  </a:cubicBezTo>
                  <a:cubicBezTo>
                    <a:pt x="32" y="2"/>
                    <a:pt x="32" y="2"/>
                    <a:pt x="32" y="2"/>
                  </a:cubicBezTo>
                  <a:cubicBezTo>
                    <a:pt x="34" y="1"/>
                    <a:pt x="36" y="0"/>
                    <a:pt x="38" y="0"/>
                  </a:cubicBezTo>
                  <a:cubicBezTo>
                    <a:pt x="41" y="1"/>
                    <a:pt x="43" y="3"/>
                    <a:pt x="43" y="5"/>
                  </a:cubicBezTo>
                  <a:cubicBezTo>
                    <a:pt x="43" y="7"/>
                    <a:pt x="43" y="10"/>
                    <a:pt x="41" y="11"/>
                  </a:cubicBezTo>
                  <a:close/>
                </a:path>
              </a:pathLst>
            </a:custGeom>
            <a:solidFill>
              <a:srgbClr val="1A237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îŝľïḑê">
              <a:extLst>
                <a:ext uri="{FF2B5EF4-FFF2-40B4-BE49-F238E27FC236}">
                  <a16:creationId xmlns:a16="http://schemas.microsoft.com/office/drawing/2014/main" id="{F682D028-038D-4C90-960A-871804C47020}"/>
                </a:ext>
              </a:extLst>
            </p:cNvPr>
            <p:cNvSpPr/>
            <p:nvPr/>
          </p:nvSpPr>
          <p:spPr bwMode="auto">
            <a:xfrm>
              <a:off x="5651501" y="4838700"/>
              <a:ext cx="1427163" cy="839787"/>
            </a:xfrm>
            <a:custGeom>
              <a:avLst/>
              <a:gdLst>
                <a:gd name="T0" fmla="*/ 60 w 432"/>
                <a:gd name="T1" fmla="*/ 254 h 255"/>
                <a:gd name="T2" fmla="*/ 306 w 432"/>
                <a:gd name="T3" fmla="*/ 218 h 255"/>
                <a:gd name="T4" fmla="*/ 306 w 432"/>
                <a:gd name="T5" fmla="*/ 218 h 255"/>
                <a:gd name="T6" fmla="*/ 307 w 432"/>
                <a:gd name="T7" fmla="*/ 218 h 255"/>
                <a:gd name="T8" fmla="*/ 307 w 432"/>
                <a:gd name="T9" fmla="*/ 218 h 255"/>
                <a:gd name="T10" fmla="*/ 336 w 432"/>
                <a:gd name="T11" fmla="*/ 210 h 255"/>
                <a:gd name="T12" fmla="*/ 409 w 432"/>
                <a:gd name="T13" fmla="*/ 74 h 255"/>
                <a:gd name="T14" fmla="*/ 250 w 432"/>
                <a:gd name="T15" fmla="*/ 23 h 255"/>
                <a:gd name="T16" fmla="*/ 237 w 432"/>
                <a:gd name="T17" fmla="*/ 29 h 255"/>
                <a:gd name="T18" fmla="*/ 237 w 432"/>
                <a:gd name="T19" fmla="*/ 29 h 255"/>
                <a:gd name="T20" fmla="*/ 237 w 432"/>
                <a:gd name="T21" fmla="*/ 29 h 255"/>
                <a:gd name="T22" fmla="*/ 217 w 432"/>
                <a:gd name="T23" fmla="*/ 41 h 255"/>
                <a:gd name="T24" fmla="*/ 23 w 432"/>
                <a:gd name="T25" fmla="*/ 157 h 255"/>
                <a:gd name="T26" fmla="*/ 7 w 432"/>
                <a:gd name="T27" fmla="*/ 204 h 255"/>
                <a:gd name="T28" fmla="*/ 14 w 432"/>
                <a:gd name="T29" fmla="*/ 223 h 255"/>
                <a:gd name="T30" fmla="*/ 60 w 432"/>
                <a:gd name="T31" fmla="*/ 254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2" h="255">
                  <a:moveTo>
                    <a:pt x="60" y="254"/>
                  </a:moveTo>
                  <a:cubicBezTo>
                    <a:pt x="306" y="218"/>
                    <a:pt x="306" y="218"/>
                    <a:pt x="306" y="218"/>
                  </a:cubicBezTo>
                  <a:cubicBezTo>
                    <a:pt x="306" y="218"/>
                    <a:pt x="306" y="218"/>
                    <a:pt x="306" y="218"/>
                  </a:cubicBezTo>
                  <a:cubicBezTo>
                    <a:pt x="307" y="218"/>
                    <a:pt x="307" y="218"/>
                    <a:pt x="307" y="218"/>
                  </a:cubicBezTo>
                  <a:cubicBezTo>
                    <a:pt x="307" y="218"/>
                    <a:pt x="307" y="218"/>
                    <a:pt x="307" y="218"/>
                  </a:cubicBezTo>
                  <a:cubicBezTo>
                    <a:pt x="316" y="216"/>
                    <a:pt x="326" y="214"/>
                    <a:pt x="336" y="210"/>
                  </a:cubicBezTo>
                  <a:cubicBezTo>
                    <a:pt x="400" y="187"/>
                    <a:pt x="432" y="125"/>
                    <a:pt x="409" y="74"/>
                  </a:cubicBezTo>
                  <a:cubicBezTo>
                    <a:pt x="385" y="22"/>
                    <a:pt x="314" y="0"/>
                    <a:pt x="250" y="23"/>
                  </a:cubicBezTo>
                  <a:cubicBezTo>
                    <a:pt x="246" y="25"/>
                    <a:pt x="241" y="27"/>
                    <a:pt x="237" y="29"/>
                  </a:cubicBezTo>
                  <a:cubicBezTo>
                    <a:pt x="237" y="29"/>
                    <a:pt x="237" y="29"/>
                    <a:pt x="237" y="29"/>
                  </a:cubicBezTo>
                  <a:cubicBezTo>
                    <a:pt x="237" y="29"/>
                    <a:pt x="237" y="29"/>
                    <a:pt x="237" y="29"/>
                  </a:cubicBezTo>
                  <a:cubicBezTo>
                    <a:pt x="230" y="33"/>
                    <a:pt x="223" y="37"/>
                    <a:pt x="217" y="41"/>
                  </a:cubicBezTo>
                  <a:cubicBezTo>
                    <a:pt x="23" y="157"/>
                    <a:pt x="23" y="157"/>
                    <a:pt x="23" y="157"/>
                  </a:cubicBezTo>
                  <a:cubicBezTo>
                    <a:pt x="7" y="166"/>
                    <a:pt x="0" y="186"/>
                    <a:pt x="7" y="204"/>
                  </a:cubicBezTo>
                  <a:cubicBezTo>
                    <a:pt x="14" y="223"/>
                    <a:pt x="14" y="223"/>
                    <a:pt x="14" y="223"/>
                  </a:cubicBezTo>
                  <a:cubicBezTo>
                    <a:pt x="21" y="242"/>
                    <a:pt x="40" y="255"/>
                    <a:pt x="60" y="254"/>
                  </a:cubicBezTo>
                  <a:close/>
                </a:path>
              </a:pathLst>
            </a:custGeom>
            <a:solidFill>
              <a:srgbClr val="0C3E8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íṥļîdè">
              <a:extLst>
                <a:ext uri="{FF2B5EF4-FFF2-40B4-BE49-F238E27FC236}">
                  <a16:creationId xmlns:a16="http://schemas.microsoft.com/office/drawing/2014/main" id="{8460FAD9-A3C5-4767-B9DB-8DFBEEE2D0C1}"/>
                </a:ext>
              </a:extLst>
            </p:cNvPr>
            <p:cNvSpPr/>
            <p:nvPr/>
          </p:nvSpPr>
          <p:spPr bwMode="auto">
            <a:xfrm>
              <a:off x="5956301" y="5491163"/>
              <a:ext cx="652463" cy="649287"/>
            </a:xfrm>
            <a:custGeom>
              <a:avLst/>
              <a:gdLst>
                <a:gd name="T0" fmla="*/ 16 w 198"/>
                <a:gd name="T1" fmla="*/ 83 h 197"/>
                <a:gd name="T2" fmla="*/ 74 w 198"/>
                <a:gd name="T3" fmla="*/ 113 h 197"/>
                <a:gd name="T4" fmla="*/ 107 w 198"/>
                <a:gd name="T5" fmla="*/ 129 h 197"/>
                <a:gd name="T6" fmla="*/ 122 w 198"/>
                <a:gd name="T7" fmla="*/ 139 h 197"/>
                <a:gd name="T8" fmla="*/ 131 w 198"/>
                <a:gd name="T9" fmla="*/ 155 h 197"/>
                <a:gd name="T10" fmla="*/ 149 w 198"/>
                <a:gd name="T11" fmla="*/ 187 h 197"/>
                <a:gd name="T12" fmla="*/ 178 w 198"/>
                <a:gd name="T13" fmla="*/ 193 h 197"/>
                <a:gd name="T14" fmla="*/ 198 w 198"/>
                <a:gd name="T15" fmla="*/ 154 h 197"/>
                <a:gd name="T16" fmla="*/ 174 w 198"/>
                <a:gd name="T17" fmla="*/ 113 h 197"/>
                <a:gd name="T18" fmla="*/ 149 w 198"/>
                <a:gd name="T19" fmla="*/ 80 h 197"/>
                <a:gd name="T20" fmla="*/ 149 w 198"/>
                <a:gd name="T21" fmla="*/ 80 h 197"/>
                <a:gd name="T22" fmla="*/ 145 w 198"/>
                <a:gd name="T23" fmla="*/ 54 h 197"/>
                <a:gd name="T24" fmla="*/ 136 w 198"/>
                <a:gd name="T25" fmla="*/ 22 h 197"/>
                <a:gd name="T26" fmla="*/ 113 w 198"/>
                <a:gd name="T27" fmla="*/ 18 h 197"/>
                <a:gd name="T28" fmla="*/ 92 w 198"/>
                <a:gd name="T29" fmla="*/ 27 h 197"/>
                <a:gd name="T30" fmla="*/ 52 w 198"/>
                <a:gd name="T31" fmla="*/ 15 h 197"/>
                <a:gd name="T32" fmla="*/ 27 w 198"/>
                <a:gd name="T33" fmla="*/ 0 h 197"/>
                <a:gd name="T34" fmla="*/ 6 w 198"/>
                <a:gd name="T35" fmla="*/ 23 h 197"/>
                <a:gd name="T36" fmla="*/ 2 w 198"/>
                <a:gd name="T37" fmla="*/ 56 h 197"/>
                <a:gd name="T38" fmla="*/ 16 w 198"/>
                <a:gd name="T39" fmla="*/ 8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8" h="197">
                  <a:moveTo>
                    <a:pt x="16" y="83"/>
                  </a:moveTo>
                  <a:cubicBezTo>
                    <a:pt x="35" y="93"/>
                    <a:pt x="55" y="103"/>
                    <a:pt x="74" y="113"/>
                  </a:cubicBezTo>
                  <a:cubicBezTo>
                    <a:pt x="85" y="118"/>
                    <a:pt x="96" y="124"/>
                    <a:pt x="107" y="129"/>
                  </a:cubicBezTo>
                  <a:cubicBezTo>
                    <a:pt x="112" y="132"/>
                    <a:pt x="118" y="135"/>
                    <a:pt x="122" y="139"/>
                  </a:cubicBezTo>
                  <a:cubicBezTo>
                    <a:pt x="126" y="144"/>
                    <a:pt x="129" y="149"/>
                    <a:pt x="131" y="155"/>
                  </a:cubicBezTo>
                  <a:cubicBezTo>
                    <a:pt x="136" y="165"/>
                    <a:pt x="141" y="179"/>
                    <a:pt x="149" y="187"/>
                  </a:cubicBezTo>
                  <a:cubicBezTo>
                    <a:pt x="157" y="195"/>
                    <a:pt x="168" y="197"/>
                    <a:pt x="178" y="193"/>
                  </a:cubicBezTo>
                  <a:cubicBezTo>
                    <a:pt x="191" y="187"/>
                    <a:pt x="198" y="168"/>
                    <a:pt x="198" y="154"/>
                  </a:cubicBezTo>
                  <a:cubicBezTo>
                    <a:pt x="198" y="139"/>
                    <a:pt x="182" y="124"/>
                    <a:pt x="174" y="113"/>
                  </a:cubicBezTo>
                  <a:cubicBezTo>
                    <a:pt x="166" y="102"/>
                    <a:pt x="157" y="91"/>
                    <a:pt x="149" y="80"/>
                  </a:cubicBezTo>
                  <a:cubicBezTo>
                    <a:pt x="149" y="80"/>
                    <a:pt x="149" y="80"/>
                    <a:pt x="149" y="80"/>
                  </a:cubicBezTo>
                  <a:cubicBezTo>
                    <a:pt x="143" y="72"/>
                    <a:pt x="142" y="62"/>
                    <a:pt x="145" y="54"/>
                  </a:cubicBezTo>
                  <a:cubicBezTo>
                    <a:pt x="150" y="42"/>
                    <a:pt x="146" y="29"/>
                    <a:pt x="136" y="22"/>
                  </a:cubicBezTo>
                  <a:cubicBezTo>
                    <a:pt x="129" y="17"/>
                    <a:pt x="121" y="16"/>
                    <a:pt x="113" y="18"/>
                  </a:cubicBezTo>
                  <a:cubicBezTo>
                    <a:pt x="106" y="20"/>
                    <a:pt x="100" y="25"/>
                    <a:pt x="92" y="27"/>
                  </a:cubicBezTo>
                  <a:cubicBezTo>
                    <a:pt x="78" y="31"/>
                    <a:pt x="62" y="26"/>
                    <a:pt x="52" y="15"/>
                  </a:cubicBezTo>
                  <a:cubicBezTo>
                    <a:pt x="46" y="8"/>
                    <a:pt x="37" y="0"/>
                    <a:pt x="27" y="0"/>
                  </a:cubicBezTo>
                  <a:cubicBezTo>
                    <a:pt x="16" y="1"/>
                    <a:pt x="7" y="12"/>
                    <a:pt x="6" y="23"/>
                  </a:cubicBezTo>
                  <a:cubicBezTo>
                    <a:pt x="2" y="56"/>
                    <a:pt x="2" y="56"/>
                    <a:pt x="2" y="56"/>
                  </a:cubicBezTo>
                  <a:cubicBezTo>
                    <a:pt x="0" y="67"/>
                    <a:pt x="6" y="78"/>
                    <a:pt x="16"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iṩḻíḍé">
              <a:extLst>
                <a:ext uri="{FF2B5EF4-FFF2-40B4-BE49-F238E27FC236}">
                  <a16:creationId xmlns:a16="http://schemas.microsoft.com/office/drawing/2014/main" id="{F30EF6BB-3222-4057-A792-2D98B545878B}"/>
                </a:ext>
              </a:extLst>
            </p:cNvPr>
            <p:cNvSpPr/>
            <p:nvPr/>
          </p:nvSpPr>
          <p:spPr bwMode="auto">
            <a:xfrm>
              <a:off x="5375276" y="5429250"/>
              <a:ext cx="679450" cy="365125"/>
            </a:xfrm>
            <a:custGeom>
              <a:avLst/>
              <a:gdLst>
                <a:gd name="T0" fmla="*/ 106 w 206"/>
                <a:gd name="T1" fmla="*/ 0 h 111"/>
                <a:gd name="T2" fmla="*/ 81 w 206"/>
                <a:gd name="T3" fmla="*/ 26 h 111"/>
                <a:gd name="T4" fmla="*/ 67 w 206"/>
                <a:gd name="T5" fmla="*/ 38 h 111"/>
                <a:gd name="T6" fmla="*/ 50 w 206"/>
                <a:gd name="T7" fmla="*/ 43 h 111"/>
                <a:gd name="T8" fmla="*/ 14 w 206"/>
                <a:gd name="T9" fmla="*/ 51 h 111"/>
                <a:gd name="T10" fmla="*/ 1 w 206"/>
                <a:gd name="T11" fmla="*/ 77 h 111"/>
                <a:gd name="T12" fmla="*/ 32 w 206"/>
                <a:gd name="T13" fmla="*/ 107 h 111"/>
                <a:gd name="T14" fmla="*/ 78 w 206"/>
                <a:gd name="T15" fmla="*/ 95 h 111"/>
                <a:gd name="T16" fmla="*/ 116 w 206"/>
                <a:gd name="T17" fmla="*/ 81 h 111"/>
                <a:gd name="T18" fmla="*/ 117 w 206"/>
                <a:gd name="T19" fmla="*/ 80 h 111"/>
                <a:gd name="T20" fmla="*/ 143 w 206"/>
                <a:gd name="T21" fmla="*/ 84 h 111"/>
                <a:gd name="T22" fmla="*/ 176 w 206"/>
                <a:gd name="T23" fmla="*/ 84 h 111"/>
                <a:gd name="T24" fmla="*/ 186 w 206"/>
                <a:gd name="T25" fmla="*/ 64 h 111"/>
                <a:gd name="T26" fmla="*/ 183 w 206"/>
                <a:gd name="T27" fmla="*/ 41 h 111"/>
                <a:gd name="T28" fmla="*/ 206 w 206"/>
                <a:gd name="T29" fmla="*/ 6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6" h="111">
                  <a:moveTo>
                    <a:pt x="106" y="0"/>
                  </a:moveTo>
                  <a:cubicBezTo>
                    <a:pt x="98" y="9"/>
                    <a:pt x="90" y="18"/>
                    <a:pt x="81" y="26"/>
                  </a:cubicBezTo>
                  <a:cubicBezTo>
                    <a:pt x="77" y="31"/>
                    <a:pt x="73" y="35"/>
                    <a:pt x="67" y="38"/>
                  </a:cubicBezTo>
                  <a:cubicBezTo>
                    <a:pt x="62" y="41"/>
                    <a:pt x="56" y="42"/>
                    <a:pt x="50" y="43"/>
                  </a:cubicBezTo>
                  <a:cubicBezTo>
                    <a:pt x="38" y="45"/>
                    <a:pt x="24" y="45"/>
                    <a:pt x="14" y="51"/>
                  </a:cubicBezTo>
                  <a:cubicBezTo>
                    <a:pt x="5" y="56"/>
                    <a:pt x="0" y="66"/>
                    <a:pt x="1" y="77"/>
                  </a:cubicBezTo>
                  <a:cubicBezTo>
                    <a:pt x="2" y="92"/>
                    <a:pt x="18" y="103"/>
                    <a:pt x="32" y="107"/>
                  </a:cubicBezTo>
                  <a:cubicBezTo>
                    <a:pt x="46" y="111"/>
                    <a:pt x="65" y="100"/>
                    <a:pt x="78" y="95"/>
                  </a:cubicBezTo>
                  <a:cubicBezTo>
                    <a:pt x="91" y="90"/>
                    <a:pt x="104" y="86"/>
                    <a:pt x="116" y="81"/>
                  </a:cubicBezTo>
                  <a:cubicBezTo>
                    <a:pt x="117" y="80"/>
                    <a:pt x="117" y="80"/>
                    <a:pt x="117" y="80"/>
                  </a:cubicBezTo>
                  <a:cubicBezTo>
                    <a:pt x="126" y="77"/>
                    <a:pt x="136" y="79"/>
                    <a:pt x="143" y="84"/>
                  </a:cubicBezTo>
                  <a:cubicBezTo>
                    <a:pt x="153" y="92"/>
                    <a:pt x="167" y="92"/>
                    <a:pt x="176" y="84"/>
                  </a:cubicBezTo>
                  <a:cubicBezTo>
                    <a:pt x="183" y="79"/>
                    <a:pt x="186" y="72"/>
                    <a:pt x="186" y="64"/>
                  </a:cubicBezTo>
                  <a:cubicBezTo>
                    <a:pt x="187" y="56"/>
                    <a:pt x="183" y="49"/>
                    <a:pt x="183" y="41"/>
                  </a:cubicBezTo>
                  <a:cubicBezTo>
                    <a:pt x="184" y="26"/>
                    <a:pt x="193" y="12"/>
                    <a:pt x="206"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iṡlïḋé">
              <a:extLst>
                <a:ext uri="{FF2B5EF4-FFF2-40B4-BE49-F238E27FC236}">
                  <a16:creationId xmlns:a16="http://schemas.microsoft.com/office/drawing/2014/main" id="{CC3AF655-A091-4948-AD62-41D7EF55F1D3}"/>
                </a:ext>
              </a:extLst>
            </p:cNvPr>
            <p:cNvSpPr/>
            <p:nvPr/>
          </p:nvSpPr>
          <p:spPr bwMode="auto">
            <a:xfrm>
              <a:off x="4852988" y="4805363"/>
              <a:ext cx="1333500" cy="1028700"/>
            </a:xfrm>
            <a:custGeom>
              <a:avLst/>
              <a:gdLst>
                <a:gd name="T0" fmla="*/ 387 w 404"/>
                <a:gd name="T1" fmla="*/ 214 h 312"/>
                <a:gd name="T2" fmla="*/ 200 w 404"/>
                <a:gd name="T3" fmla="*/ 51 h 312"/>
                <a:gd name="T4" fmla="*/ 200 w 404"/>
                <a:gd name="T5" fmla="*/ 50 h 312"/>
                <a:gd name="T6" fmla="*/ 200 w 404"/>
                <a:gd name="T7" fmla="*/ 50 h 312"/>
                <a:gd name="T8" fmla="*/ 175 w 404"/>
                <a:gd name="T9" fmla="*/ 33 h 312"/>
                <a:gd name="T10" fmla="*/ 24 w 404"/>
                <a:gd name="T11" fmla="*/ 66 h 312"/>
                <a:gd name="T12" fmla="*/ 88 w 404"/>
                <a:gd name="T13" fmla="*/ 220 h 312"/>
                <a:gd name="T14" fmla="*/ 101 w 404"/>
                <a:gd name="T15" fmla="*/ 226 h 312"/>
                <a:gd name="T16" fmla="*/ 101 w 404"/>
                <a:gd name="T17" fmla="*/ 226 h 312"/>
                <a:gd name="T18" fmla="*/ 102 w 404"/>
                <a:gd name="T19" fmla="*/ 226 h 312"/>
                <a:gd name="T20" fmla="*/ 123 w 404"/>
                <a:gd name="T21" fmla="*/ 233 h 312"/>
                <a:gd name="T22" fmla="*/ 338 w 404"/>
                <a:gd name="T23" fmla="*/ 306 h 312"/>
                <a:gd name="T24" fmla="*/ 384 w 404"/>
                <a:gd name="T25" fmla="*/ 287 h 312"/>
                <a:gd name="T26" fmla="*/ 394 w 404"/>
                <a:gd name="T27" fmla="*/ 269 h 312"/>
                <a:gd name="T28" fmla="*/ 387 w 404"/>
                <a:gd name="T29" fmla="*/ 21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4" h="312">
                  <a:moveTo>
                    <a:pt x="387" y="214"/>
                  </a:moveTo>
                  <a:cubicBezTo>
                    <a:pt x="200" y="51"/>
                    <a:pt x="200" y="51"/>
                    <a:pt x="200" y="51"/>
                  </a:cubicBezTo>
                  <a:cubicBezTo>
                    <a:pt x="200" y="50"/>
                    <a:pt x="200" y="50"/>
                    <a:pt x="200" y="50"/>
                  </a:cubicBezTo>
                  <a:cubicBezTo>
                    <a:pt x="200" y="50"/>
                    <a:pt x="200" y="50"/>
                    <a:pt x="200" y="50"/>
                  </a:cubicBezTo>
                  <a:cubicBezTo>
                    <a:pt x="192" y="44"/>
                    <a:pt x="184" y="38"/>
                    <a:pt x="175" y="33"/>
                  </a:cubicBezTo>
                  <a:cubicBezTo>
                    <a:pt x="115" y="0"/>
                    <a:pt x="47" y="15"/>
                    <a:pt x="24" y="66"/>
                  </a:cubicBezTo>
                  <a:cubicBezTo>
                    <a:pt x="0" y="118"/>
                    <a:pt x="29" y="186"/>
                    <a:pt x="88" y="220"/>
                  </a:cubicBezTo>
                  <a:cubicBezTo>
                    <a:pt x="93" y="222"/>
                    <a:pt x="97" y="224"/>
                    <a:pt x="101" y="226"/>
                  </a:cubicBezTo>
                  <a:cubicBezTo>
                    <a:pt x="101" y="226"/>
                    <a:pt x="101" y="226"/>
                    <a:pt x="101" y="226"/>
                  </a:cubicBezTo>
                  <a:cubicBezTo>
                    <a:pt x="102" y="226"/>
                    <a:pt x="102" y="226"/>
                    <a:pt x="102" y="226"/>
                  </a:cubicBezTo>
                  <a:cubicBezTo>
                    <a:pt x="109" y="229"/>
                    <a:pt x="116" y="232"/>
                    <a:pt x="123" y="233"/>
                  </a:cubicBezTo>
                  <a:cubicBezTo>
                    <a:pt x="338" y="306"/>
                    <a:pt x="338" y="306"/>
                    <a:pt x="338" y="306"/>
                  </a:cubicBezTo>
                  <a:cubicBezTo>
                    <a:pt x="355" y="312"/>
                    <a:pt x="374" y="304"/>
                    <a:pt x="384" y="287"/>
                  </a:cubicBezTo>
                  <a:cubicBezTo>
                    <a:pt x="394" y="269"/>
                    <a:pt x="394" y="269"/>
                    <a:pt x="394" y="269"/>
                  </a:cubicBezTo>
                  <a:cubicBezTo>
                    <a:pt x="404" y="251"/>
                    <a:pt x="401" y="229"/>
                    <a:pt x="387" y="214"/>
                  </a:cubicBezTo>
                  <a:close/>
                </a:path>
              </a:pathLst>
            </a:custGeom>
            <a:solidFill>
              <a:srgbClr val="0D47A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íSľïḋé">
              <a:extLst>
                <a:ext uri="{FF2B5EF4-FFF2-40B4-BE49-F238E27FC236}">
                  <a16:creationId xmlns:a16="http://schemas.microsoft.com/office/drawing/2014/main" id="{CC706B6B-0D88-4783-A3C7-0DC7E752530D}"/>
                </a:ext>
              </a:extLst>
            </p:cNvPr>
            <p:cNvSpPr/>
            <p:nvPr/>
          </p:nvSpPr>
          <p:spPr bwMode="auto">
            <a:xfrm>
              <a:off x="5783263" y="3375025"/>
              <a:ext cx="103188" cy="52387"/>
            </a:xfrm>
            <a:custGeom>
              <a:avLst/>
              <a:gdLst>
                <a:gd name="T0" fmla="*/ 15 w 31"/>
                <a:gd name="T1" fmla="*/ 0 h 16"/>
                <a:gd name="T2" fmla="*/ 0 w 31"/>
                <a:gd name="T3" fmla="*/ 16 h 16"/>
                <a:gd name="T4" fmla="*/ 31 w 31"/>
                <a:gd name="T5" fmla="*/ 16 h 16"/>
                <a:gd name="T6" fmla="*/ 15 w 31"/>
                <a:gd name="T7" fmla="*/ 0 h 16"/>
              </a:gdLst>
              <a:ahLst/>
              <a:cxnLst>
                <a:cxn ang="0">
                  <a:pos x="T0" y="T1"/>
                </a:cxn>
                <a:cxn ang="0">
                  <a:pos x="T2" y="T3"/>
                </a:cxn>
                <a:cxn ang="0">
                  <a:pos x="T4" y="T5"/>
                </a:cxn>
                <a:cxn ang="0">
                  <a:pos x="T6" y="T7"/>
                </a:cxn>
              </a:cxnLst>
              <a:rect l="0" t="0" r="r" b="b"/>
              <a:pathLst>
                <a:path w="31" h="16">
                  <a:moveTo>
                    <a:pt x="15" y="0"/>
                  </a:moveTo>
                  <a:cubicBezTo>
                    <a:pt x="7" y="0"/>
                    <a:pt x="0" y="7"/>
                    <a:pt x="0" y="16"/>
                  </a:cubicBezTo>
                  <a:cubicBezTo>
                    <a:pt x="31" y="16"/>
                    <a:pt x="31" y="16"/>
                    <a:pt x="31" y="16"/>
                  </a:cubicBezTo>
                  <a:cubicBezTo>
                    <a:pt x="31" y="7"/>
                    <a:pt x="24" y="0"/>
                    <a:pt x="15" y="0"/>
                  </a:cubicBezTo>
                </a:path>
              </a:pathLst>
            </a:custGeom>
            <a:solidFill>
              <a:srgbClr val="C2CDD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îṧḻîďe">
              <a:extLst>
                <a:ext uri="{FF2B5EF4-FFF2-40B4-BE49-F238E27FC236}">
                  <a16:creationId xmlns:a16="http://schemas.microsoft.com/office/drawing/2014/main" id="{EBDE52A5-493E-4825-A675-981A2F927D26}"/>
                </a:ext>
              </a:extLst>
            </p:cNvPr>
            <p:cNvSpPr/>
            <p:nvPr/>
          </p:nvSpPr>
          <p:spPr bwMode="auto">
            <a:xfrm>
              <a:off x="6130926" y="3375025"/>
              <a:ext cx="101600" cy="52387"/>
            </a:xfrm>
            <a:custGeom>
              <a:avLst/>
              <a:gdLst>
                <a:gd name="T0" fmla="*/ 16 w 31"/>
                <a:gd name="T1" fmla="*/ 0 h 16"/>
                <a:gd name="T2" fmla="*/ 0 w 31"/>
                <a:gd name="T3" fmla="*/ 16 h 16"/>
                <a:gd name="T4" fmla="*/ 31 w 31"/>
                <a:gd name="T5" fmla="*/ 16 h 16"/>
                <a:gd name="T6" fmla="*/ 16 w 31"/>
                <a:gd name="T7" fmla="*/ 0 h 16"/>
              </a:gdLst>
              <a:ahLst/>
              <a:cxnLst>
                <a:cxn ang="0">
                  <a:pos x="T0" y="T1"/>
                </a:cxn>
                <a:cxn ang="0">
                  <a:pos x="T2" y="T3"/>
                </a:cxn>
                <a:cxn ang="0">
                  <a:pos x="T4" y="T5"/>
                </a:cxn>
                <a:cxn ang="0">
                  <a:pos x="T6" y="T7"/>
                </a:cxn>
              </a:cxnLst>
              <a:rect l="0" t="0" r="r" b="b"/>
              <a:pathLst>
                <a:path w="31" h="16">
                  <a:moveTo>
                    <a:pt x="16" y="0"/>
                  </a:moveTo>
                  <a:cubicBezTo>
                    <a:pt x="7" y="0"/>
                    <a:pt x="0" y="7"/>
                    <a:pt x="0" y="16"/>
                  </a:cubicBezTo>
                  <a:cubicBezTo>
                    <a:pt x="31" y="16"/>
                    <a:pt x="31" y="16"/>
                    <a:pt x="31" y="16"/>
                  </a:cubicBezTo>
                  <a:cubicBezTo>
                    <a:pt x="31" y="7"/>
                    <a:pt x="24" y="0"/>
                    <a:pt x="16" y="0"/>
                  </a:cubicBezTo>
                </a:path>
              </a:pathLst>
            </a:custGeom>
            <a:solidFill>
              <a:srgbClr val="C2CDD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išḷîḓê">
              <a:extLst>
                <a:ext uri="{FF2B5EF4-FFF2-40B4-BE49-F238E27FC236}">
                  <a16:creationId xmlns:a16="http://schemas.microsoft.com/office/drawing/2014/main" id="{355527C5-36FE-4042-9726-1E91A4D570D3}"/>
                </a:ext>
              </a:extLst>
            </p:cNvPr>
            <p:cNvSpPr/>
            <p:nvPr/>
          </p:nvSpPr>
          <p:spPr bwMode="auto">
            <a:xfrm>
              <a:off x="5956301" y="3684588"/>
              <a:ext cx="104775" cy="52387"/>
            </a:xfrm>
            <a:custGeom>
              <a:avLst/>
              <a:gdLst>
                <a:gd name="T0" fmla="*/ 32 w 32"/>
                <a:gd name="T1" fmla="*/ 0 h 16"/>
                <a:gd name="T2" fmla="*/ 0 w 32"/>
                <a:gd name="T3" fmla="*/ 0 h 16"/>
                <a:gd name="T4" fmla="*/ 16 w 32"/>
                <a:gd name="T5" fmla="*/ 16 h 16"/>
                <a:gd name="T6" fmla="*/ 32 w 32"/>
                <a:gd name="T7" fmla="*/ 0 h 16"/>
              </a:gdLst>
              <a:ahLst/>
              <a:cxnLst>
                <a:cxn ang="0">
                  <a:pos x="T0" y="T1"/>
                </a:cxn>
                <a:cxn ang="0">
                  <a:pos x="T2" y="T3"/>
                </a:cxn>
                <a:cxn ang="0">
                  <a:pos x="T4" y="T5"/>
                </a:cxn>
                <a:cxn ang="0">
                  <a:pos x="T6" y="T7"/>
                </a:cxn>
              </a:cxnLst>
              <a:rect l="0" t="0" r="r" b="b"/>
              <a:pathLst>
                <a:path w="32" h="16">
                  <a:moveTo>
                    <a:pt x="32" y="0"/>
                  </a:moveTo>
                  <a:cubicBezTo>
                    <a:pt x="0" y="0"/>
                    <a:pt x="0" y="0"/>
                    <a:pt x="0" y="0"/>
                  </a:cubicBezTo>
                  <a:cubicBezTo>
                    <a:pt x="0" y="9"/>
                    <a:pt x="7" y="16"/>
                    <a:pt x="16" y="16"/>
                  </a:cubicBezTo>
                  <a:cubicBezTo>
                    <a:pt x="25" y="16"/>
                    <a:pt x="32" y="9"/>
                    <a:pt x="32" y="0"/>
                  </a:cubicBezTo>
                </a:path>
              </a:pathLst>
            </a:custGeom>
            <a:solidFill>
              <a:srgbClr val="C2CDD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îŝliḋè">
              <a:extLst>
                <a:ext uri="{FF2B5EF4-FFF2-40B4-BE49-F238E27FC236}">
                  <a16:creationId xmlns:a16="http://schemas.microsoft.com/office/drawing/2014/main" id="{12C3DC14-F73B-4E4A-93D3-D0192C72305A}"/>
                </a:ext>
              </a:extLst>
            </p:cNvPr>
            <p:cNvSpPr/>
            <p:nvPr/>
          </p:nvSpPr>
          <p:spPr bwMode="auto">
            <a:xfrm>
              <a:off x="5972176" y="3421063"/>
              <a:ext cx="73025" cy="168275"/>
            </a:xfrm>
            <a:custGeom>
              <a:avLst/>
              <a:gdLst>
                <a:gd name="T0" fmla="*/ 11 w 22"/>
                <a:gd name="T1" fmla="*/ 0 h 51"/>
                <a:gd name="T2" fmla="*/ 0 w 22"/>
                <a:gd name="T3" fmla="*/ 11 h 51"/>
                <a:gd name="T4" fmla="*/ 0 w 22"/>
                <a:gd name="T5" fmla="*/ 40 h 51"/>
                <a:gd name="T6" fmla="*/ 11 w 22"/>
                <a:gd name="T7" fmla="*/ 51 h 51"/>
                <a:gd name="T8" fmla="*/ 22 w 22"/>
                <a:gd name="T9" fmla="*/ 40 h 51"/>
                <a:gd name="T10" fmla="*/ 22 w 22"/>
                <a:gd name="T11" fmla="*/ 11 h 51"/>
                <a:gd name="T12" fmla="*/ 11 w 22"/>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22" h="51">
                  <a:moveTo>
                    <a:pt x="11" y="0"/>
                  </a:moveTo>
                  <a:cubicBezTo>
                    <a:pt x="5" y="0"/>
                    <a:pt x="0" y="5"/>
                    <a:pt x="0" y="11"/>
                  </a:cubicBezTo>
                  <a:cubicBezTo>
                    <a:pt x="0" y="40"/>
                    <a:pt x="0" y="40"/>
                    <a:pt x="0" y="40"/>
                  </a:cubicBezTo>
                  <a:cubicBezTo>
                    <a:pt x="0" y="46"/>
                    <a:pt x="5" y="51"/>
                    <a:pt x="11" y="51"/>
                  </a:cubicBezTo>
                  <a:cubicBezTo>
                    <a:pt x="17" y="51"/>
                    <a:pt x="22" y="46"/>
                    <a:pt x="22" y="40"/>
                  </a:cubicBezTo>
                  <a:cubicBezTo>
                    <a:pt x="22" y="11"/>
                    <a:pt x="22" y="11"/>
                    <a:pt x="22" y="11"/>
                  </a:cubicBezTo>
                  <a:cubicBezTo>
                    <a:pt x="22" y="5"/>
                    <a:pt x="17" y="0"/>
                    <a:pt x="11" y="0"/>
                  </a:cubicBezTo>
                </a:path>
              </a:pathLst>
            </a:custGeom>
            <a:solidFill>
              <a:srgbClr val="B7D0F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îşḷiḍè">
              <a:extLst>
                <a:ext uri="{FF2B5EF4-FFF2-40B4-BE49-F238E27FC236}">
                  <a16:creationId xmlns:a16="http://schemas.microsoft.com/office/drawing/2014/main" id="{DAB14D6B-E7A9-46A2-A908-2AFCDB467900}"/>
                </a:ext>
              </a:extLst>
            </p:cNvPr>
            <p:cNvSpPr/>
            <p:nvPr/>
          </p:nvSpPr>
          <p:spPr bwMode="auto">
            <a:xfrm>
              <a:off x="4116388" y="5108575"/>
              <a:ext cx="142875" cy="142875"/>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ïŝľïḑè">
              <a:extLst>
                <a:ext uri="{FF2B5EF4-FFF2-40B4-BE49-F238E27FC236}">
                  <a16:creationId xmlns:a16="http://schemas.microsoft.com/office/drawing/2014/main" id="{992EC53D-1A0C-4DF7-BF69-09E69ED279B5}"/>
                </a:ext>
              </a:extLst>
            </p:cNvPr>
            <p:cNvSpPr/>
            <p:nvPr/>
          </p:nvSpPr>
          <p:spPr bwMode="auto">
            <a:xfrm>
              <a:off x="4143376" y="5168900"/>
              <a:ext cx="22225" cy="22225"/>
            </a:xfrm>
            <a:prstGeom prst="ellipse">
              <a:avLst/>
            </a:prstGeom>
            <a:solidFill>
              <a:srgbClr val="0D47A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íṣlïďè">
              <a:extLst>
                <a:ext uri="{FF2B5EF4-FFF2-40B4-BE49-F238E27FC236}">
                  <a16:creationId xmlns:a16="http://schemas.microsoft.com/office/drawing/2014/main" id="{068C40E7-3E50-406B-8EE5-74C5ABF4B2DF}"/>
                </a:ext>
              </a:extLst>
            </p:cNvPr>
            <p:cNvSpPr/>
            <p:nvPr/>
          </p:nvSpPr>
          <p:spPr bwMode="auto">
            <a:xfrm>
              <a:off x="4205288" y="5168900"/>
              <a:ext cx="23813" cy="22225"/>
            </a:xfrm>
            <a:prstGeom prst="ellipse">
              <a:avLst/>
            </a:prstGeom>
            <a:solidFill>
              <a:srgbClr val="0D47A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íṥļïḋè">
              <a:extLst>
                <a:ext uri="{FF2B5EF4-FFF2-40B4-BE49-F238E27FC236}">
                  <a16:creationId xmlns:a16="http://schemas.microsoft.com/office/drawing/2014/main" id="{75F9F780-5484-4572-893C-214DA0F21CA8}"/>
                </a:ext>
              </a:extLst>
            </p:cNvPr>
            <p:cNvSpPr/>
            <p:nvPr/>
          </p:nvSpPr>
          <p:spPr bwMode="auto">
            <a:xfrm>
              <a:off x="4911726" y="2360613"/>
              <a:ext cx="592138" cy="588962"/>
            </a:xfrm>
            <a:prstGeom prst="ellipse">
              <a:avLst/>
            </a:pr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ïṩļíḍé">
              <a:extLst>
                <a:ext uri="{FF2B5EF4-FFF2-40B4-BE49-F238E27FC236}">
                  <a16:creationId xmlns:a16="http://schemas.microsoft.com/office/drawing/2014/main" id="{885762C5-2311-43EA-AF85-D96FD0C93A7D}"/>
                </a:ext>
              </a:extLst>
            </p:cNvPr>
            <p:cNvSpPr/>
            <p:nvPr/>
          </p:nvSpPr>
          <p:spPr bwMode="auto">
            <a:xfrm>
              <a:off x="5103813" y="2541588"/>
              <a:ext cx="204788" cy="223837"/>
            </a:xfrm>
            <a:custGeom>
              <a:avLst/>
              <a:gdLst>
                <a:gd name="T0" fmla="*/ 62 w 62"/>
                <a:gd name="T1" fmla="*/ 21 h 68"/>
                <a:gd name="T2" fmla="*/ 53 w 62"/>
                <a:gd name="T3" fmla="*/ 10 h 68"/>
                <a:gd name="T4" fmla="*/ 11 w 62"/>
                <a:gd name="T5" fmla="*/ 15 h 68"/>
                <a:gd name="T6" fmla="*/ 15 w 62"/>
                <a:gd name="T7" fmla="*/ 58 h 68"/>
                <a:gd name="T8" fmla="*/ 57 w 62"/>
                <a:gd name="T9" fmla="*/ 54 h 68"/>
                <a:gd name="T10" fmla="*/ 34 w 62"/>
                <a:gd name="T11" fmla="*/ 34 h 68"/>
                <a:gd name="T12" fmla="*/ 62 w 62"/>
                <a:gd name="T13" fmla="*/ 21 h 68"/>
              </a:gdLst>
              <a:ahLst/>
              <a:cxnLst>
                <a:cxn ang="0">
                  <a:pos x="T0" y="T1"/>
                </a:cxn>
                <a:cxn ang="0">
                  <a:pos x="T2" y="T3"/>
                </a:cxn>
                <a:cxn ang="0">
                  <a:pos x="T4" y="T5"/>
                </a:cxn>
                <a:cxn ang="0">
                  <a:pos x="T6" y="T7"/>
                </a:cxn>
                <a:cxn ang="0">
                  <a:pos x="T8" y="T9"/>
                </a:cxn>
                <a:cxn ang="0">
                  <a:pos x="T10" y="T11"/>
                </a:cxn>
                <a:cxn ang="0">
                  <a:pos x="T12" y="T13"/>
                </a:cxn>
              </a:cxnLst>
              <a:rect l="0" t="0" r="r" b="b"/>
              <a:pathLst>
                <a:path w="62" h="68">
                  <a:moveTo>
                    <a:pt x="62" y="21"/>
                  </a:moveTo>
                  <a:cubicBezTo>
                    <a:pt x="60" y="17"/>
                    <a:pt x="57" y="13"/>
                    <a:pt x="53" y="10"/>
                  </a:cubicBezTo>
                  <a:cubicBezTo>
                    <a:pt x="40" y="0"/>
                    <a:pt x="21" y="2"/>
                    <a:pt x="11" y="15"/>
                  </a:cubicBezTo>
                  <a:cubicBezTo>
                    <a:pt x="0" y="28"/>
                    <a:pt x="2" y="48"/>
                    <a:pt x="15" y="58"/>
                  </a:cubicBezTo>
                  <a:cubicBezTo>
                    <a:pt x="28" y="68"/>
                    <a:pt x="47" y="67"/>
                    <a:pt x="57" y="54"/>
                  </a:cubicBezTo>
                  <a:cubicBezTo>
                    <a:pt x="34" y="34"/>
                    <a:pt x="34" y="34"/>
                    <a:pt x="34" y="34"/>
                  </a:cubicBezTo>
                  <a:lnTo>
                    <a:pt x="62" y="21"/>
                  </a:lnTo>
                  <a:close/>
                </a:path>
              </a:pathLst>
            </a:custGeom>
            <a:solidFill>
              <a:srgbClr val="7E57C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iśḷidè">
              <a:extLst>
                <a:ext uri="{FF2B5EF4-FFF2-40B4-BE49-F238E27FC236}">
                  <a16:creationId xmlns:a16="http://schemas.microsoft.com/office/drawing/2014/main" id="{CACBC7FB-33A5-4880-BFF1-7D9DE2E8C5CD}"/>
                </a:ext>
              </a:extLst>
            </p:cNvPr>
            <p:cNvSpPr/>
            <p:nvPr/>
          </p:nvSpPr>
          <p:spPr bwMode="auto">
            <a:xfrm>
              <a:off x="5216526" y="2609850"/>
              <a:ext cx="107950" cy="109537"/>
            </a:xfrm>
            <a:custGeom>
              <a:avLst/>
              <a:gdLst>
                <a:gd name="T0" fmla="*/ 28 w 33"/>
                <a:gd name="T1" fmla="*/ 0 h 33"/>
                <a:gd name="T2" fmla="*/ 0 w 33"/>
                <a:gd name="T3" fmla="*/ 13 h 33"/>
                <a:gd name="T4" fmla="*/ 23 w 33"/>
                <a:gd name="T5" fmla="*/ 33 h 33"/>
                <a:gd name="T6" fmla="*/ 24 w 33"/>
                <a:gd name="T7" fmla="*/ 32 h 33"/>
                <a:gd name="T8" fmla="*/ 28 w 33"/>
                <a:gd name="T9" fmla="*/ 0 h 33"/>
              </a:gdLst>
              <a:ahLst/>
              <a:cxnLst>
                <a:cxn ang="0">
                  <a:pos x="T0" y="T1"/>
                </a:cxn>
                <a:cxn ang="0">
                  <a:pos x="T2" y="T3"/>
                </a:cxn>
                <a:cxn ang="0">
                  <a:pos x="T4" y="T5"/>
                </a:cxn>
                <a:cxn ang="0">
                  <a:pos x="T6" y="T7"/>
                </a:cxn>
                <a:cxn ang="0">
                  <a:pos x="T8" y="T9"/>
                </a:cxn>
              </a:cxnLst>
              <a:rect l="0" t="0" r="r" b="b"/>
              <a:pathLst>
                <a:path w="33" h="33">
                  <a:moveTo>
                    <a:pt x="28" y="0"/>
                  </a:moveTo>
                  <a:cubicBezTo>
                    <a:pt x="0" y="13"/>
                    <a:pt x="0" y="13"/>
                    <a:pt x="0" y="13"/>
                  </a:cubicBezTo>
                  <a:cubicBezTo>
                    <a:pt x="23" y="33"/>
                    <a:pt x="23" y="33"/>
                    <a:pt x="23" y="33"/>
                  </a:cubicBezTo>
                  <a:cubicBezTo>
                    <a:pt x="24" y="32"/>
                    <a:pt x="24" y="32"/>
                    <a:pt x="24" y="32"/>
                  </a:cubicBezTo>
                  <a:cubicBezTo>
                    <a:pt x="32" y="23"/>
                    <a:pt x="33" y="10"/>
                    <a:pt x="28" y="0"/>
                  </a:cubicBezTo>
                  <a:close/>
                </a:path>
              </a:pathLst>
            </a:custGeom>
            <a:solidFill>
              <a:srgbClr val="FFCA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ṥľîḑe">
              <a:extLst>
                <a:ext uri="{FF2B5EF4-FFF2-40B4-BE49-F238E27FC236}">
                  <a16:creationId xmlns:a16="http://schemas.microsoft.com/office/drawing/2014/main" id="{46BCC9A3-FCED-4752-9157-F0701C5D196D}"/>
                </a:ext>
              </a:extLst>
            </p:cNvPr>
            <p:cNvSpPr/>
            <p:nvPr/>
          </p:nvSpPr>
          <p:spPr bwMode="auto">
            <a:xfrm>
              <a:off x="6873876" y="2979738"/>
              <a:ext cx="706438" cy="704850"/>
            </a:xfrm>
            <a:prstGeom prst="ellipse">
              <a:avLst/>
            </a:pr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îśľiḍe">
              <a:extLst>
                <a:ext uri="{FF2B5EF4-FFF2-40B4-BE49-F238E27FC236}">
                  <a16:creationId xmlns:a16="http://schemas.microsoft.com/office/drawing/2014/main" id="{8FC0981D-671C-4C9F-9058-8ED50A19B8D4}"/>
                </a:ext>
              </a:extLst>
            </p:cNvPr>
            <p:cNvSpPr/>
            <p:nvPr/>
          </p:nvSpPr>
          <p:spPr bwMode="auto">
            <a:xfrm>
              <a:off x="7064376" y="3206750"/>
              <a:ext cx="87313" cy="247650"/>
            </a:xfrm>
            <a:prstGeom prst="rect">
              <a:avLst/>
            </a:prstGeom>
            <a:solidFill>
              <a:srgbClr val="EC407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75" name="îṣḷiḓê">
              <a:extLst>
                <a:ext uri="{FF2B5EF4-FFF2-40B4-BE49-F238E27FC236}">
                  <a16:creationId xmlns:a16="http://schemas.microsoft.com/office/drawing/2014/main" id="{4DFC8229-A407-418F-BCC8-F450BCCAE25F}"/>
                </a:ext>
              </a:extLst>
            </p:cNvPr>
            <p:cNvSpPr/>
            <p:nvPr/>
          </p:nvSpPr>
          <p:spPr bwMode="auto">
            <a:xfrm>
              <a:off x="7183438" y="3259138"/>
              <a:ext cx="85725" cy="195262"/>
            </a:xfrm>
            <a:prstGeom prst="rect">
              <a:avLst/>
            </a:prstGeom>
            <a:solidFill>
              <a:srgbClr val="EC407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76" name="ïṧḷídê">
              <a:extLst>
                <a:ext uri="{FF2B5EF4-FFF2-40B4-BE49-F238E27FC236}">
                  <a16:creationId xmlns:a16="http://schemas.microsoft.com/office/drawing/2014/main" id="{1B11A960-F9A7-4FD4-9B10-3703026E3E31}"/>
                </a:ext>
              </a:extLst>
            </p:cNvPr>
            <p:cNvSpPr/>
            <p:nvPr/>
          </p:nvSpPr>
          <p:spPr bwMode="auto">
            <a:xfrm>
              <a:off x="7302501" y="3332163"/>
              <a:ext cx="85725" cy="122237"/>
            </a:xfrm>
            <a:prstGeom prst="rect">
              <a:avLst/>
            </a:prstGeom>
            <a:solidFill>
              <a:srgbClr val="EC407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77" name="ïṥľïḑe">
              <a:extLst>
                <a:ext uri="{FF2B5EF4-FFF2-40B4-BE49-F238E27FC236}">
                  <a16:creationId xmlns:a16="http://schemas.microsoft.com/office/drawing/2014/main" id="{A50068F2-4A01-4FD9-A7C1-74BEB791D959}"/>
                </a:ext>
              </a:extLst>
            </p:cNvPr>
            <p:cNvSpPr/>
            <p:nvPr/>
          </p:nvSpPr>
          <p:spPr bwMode="auto">
            <a:xfrm>
              <a:off x="6088063" y="1749425"/>
              <a:ext cx="788988" cy="785812"/>
            </a:xfrm>
            <a:prstGeom prst="ellipse">
              <a:avLst/>
            </a:pr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îśľïdè">
              <a:extLst>
                <a:ext uri="{FF2B5EF4-FFF2-40B4-BE49-F238E27FC236}">
                  <a16:creationId xmlns:a16="http://schemas.microsoft.com/office/drawing/2014/main" id="{2AF2C9C8-5AAB-4005-8B0E-7CB71C6233E6}"/>
                </a:ext>
              </a:extLst>
            </p:cNvPr>
            <p:cNvSpPr/>
            <p:nvPr/>
          </p:nvSpPr>
          <p:spPr bwMode="auto">
            <a:xfrm>
              <a:off x="6292851" y="1960563"/>
              <a:ext cx="300038" cy="336550"/>
            </a:xfrm>
            <a:custGeom>
              <a:avLst/>
              <a:gdLst>
                <a:gd name="T0" fmla="*/ 84 w 91"/>
                <a:gd name="T1" fmla="*/ 29 h 102"/>
                <a:gd name="T2" fmla="*/ 31 w 91"/>
                <a:gd name="T3" fmla="*/ 9 h 102"/>
                <a:gd name="T4" fmla="*/ 12 w 91"/>
                <a:gd name="T5" fmla="*/ 63 h 102"/>
                <a:gd name="T6" fmla="*/ 40 w 91"/>
                <a:gd name="T7" fmla="*/ 91 h 102"/>
                <a:gd name="T8" fmla="*/ 48 w 91"/>
                <a:gd name="T9" fmla="*/ 96 h 102"/>
                <a:gd name="T10" fmla="*/ 71 w 91"/>
                <a:gd name="T11" fmla="*/ 95 h 102"/>
                <a:gd name="T12" fmla="*/ 86 w 91"/>
                <a:gd name="T13" fmla="*/ 79 h 102"/>
                <a:gd name="T14" fmla="*/ 87 w 91"/>
                <a:gd name="T15" fmla="*/ 69 h 102"/>
                <a:gd name="T16" fmla="*/ 84 w 91"/>
                <a:gd name="T17" fmla="*/ 2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102">
                  <a:moveTo>
                    <a:pt x="84" y="29"/>
                  </a:moveTo>
                  <a:cubicBezTo>
                    <a:pt x="72" y="4"/>
                    <a:pt x="51" y="0"/>
                    <a:pt x="31" y="9"/>
                  </a:cubicBezTo>
                  <a:cubicBezTo>
                    <a:pt x="11" y="19"/>
                    <a:pt x="0" y="38"/>
                    <a:pt x="12" y="63"/>
                  </a:cubicBezTo>
                  <a:cubicBezTo>
                    <a:pt x="18" y="76"/>
                    <a:pt x="28" y="86"/>
                    <a:pt x="40" y="91"/>
                  </a:cubicBezTo>
                  <a:cubicBezTo>
                    <a:pt x="43" y="92"/>
                    <a:pt x="46" y="94"/>
                    <a:pt x="48" y="96"/>
                  </a:cubicBezTo>
                  <a:cubicBezTo>
                    <a:pt x="55" y="102"/>
                    <a:pt x="62" y="99"/>
                    <a:pt x="71" y="95"/>
                  </a:cubicBezTo>
                  <a:cubicBezTo>
                    <a:pt x="79" y="91"/>
                    <a:pt x="87" y="87"/>
                    <a:pt x="86" y="79"/>
                  </a:cubicBezTo>
                  <a:cubicBezTo>
                    <a:pt x="86" y="75"/>
                    <a:pt x="86" y="72"/>
                    <a:pt x="87" y="69"/>
                  </a:cubicBezTo>
                  <a:cubicBezTo>
                    <a:pt x="91" y="57"/>
                    <a:pt x="90" y="42"/>
                    <a:pt x="84" y="29"/>
                  </a:cubicBezTo>
                  <a:close/>
                </a:path>
              </a:pathLst>
            </a:custGeom>
            <a:solidFill>
              <a:srgbClr val="FFCA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ïŝḻídê">
              <a:extLst>
                <a:ext uri="{FF2B5EF4-FFF2-40B4-BE49-F238E27FC236}">
                  <a16:creationId xmlns:a16="http://schemas.microsoft.com/office/drawing/2014/main" id="{F5F9F01A-EABC-44F8-BB6E-6C0F9D407AC6}"/>
                </a:ext>
              </a:extLst>
            </p:cNvPr>
            <p:cNvSpPr/>
            <p:nvPr/>
          </p:nvSpPr>
          <p:spPr bwMode="auto">
            <a:xfrm>
              <a:off x="6415088" y="2135188"/>
              <a:ext cx="128588" cy="149225"/>
            </a:xfrm>
            <a:custGeom>
              <a:avLst/>
              <a:gdLst>
                <a:gd name="T0" fmla="*/ 26 w 39"/>
                <a:gd name="T1" fmla="*/ 45 h 45"/>
                <a:gd name="T2" fmla="*/ 17 w 39"/>
                <a:gd name="T3" fmla="*/ 28 h 45"/>
                <a:gd name="T4" fmla="*/ 16 w 39"/>
                <a:gd name="T5" fmla="*/ 27 h 45"/>
                <a:gd name="T6" fmla="*/ 6 w 39"/>
                <a:gd name="T7" fmla="*/ 26 h 45"/>
                <a:gd name="T8" fmla="*/ 1 w 39"/>
                <a:gd name="T9" fmla="*/ 20 h 45"/>
                <a:gd name="T10" fmla="*/ 3 w 39"/>
                <a:gd name="T11" fmla="*/ 13 h 45"/>
                <a:gd name="T12" fmla="*/ 7 w 39"/>
                <a:gd name="T13" fmla="*/ 11 h 45"/>
                <a:gd name="T14" fmla="*/ 12 w 39"/>
                <a:gd name="T15" fmla="*/ 11 h 45"/>
                <a:gd name="T16" fmla="*/ 14 w 39"/>
                <a:gd name="T17" fmla="*/ 15 h 45"/>
                <a:gd name="T18" fmla="*/ 18 w 39"/>
                <a:gd name="T19" fmla="*/ 22 h 45"/>
                <a:gd name="T20" fmla="*/ 19 w 39"/>
                <a:gd name="T21" fmla="*/ 22 h 45"/>
                <a:gd name="T22" fmla="*/ 22 w 39"/>
                <a:gd name="T23" fmla="*/ 21 h 45"/>
                <a:gd name="T24" fmla="*/ 26 w 39"/>
                <a:gd name="T25" fmla="*/ 19 h 45"/>
                <a:gd name="T26" fmla="*/ 23 w 39"/>
                <a:gd name="T27" fmla="*/ 12 h 45"/>
                <a:gd name="T28" fmla="*/ 22 w 39"/>
                <a:gd name="T29" fmla="*/ 7 h 45"/>
                <a:gd name="T30" fmla="*/ 26 w 39"/>
                <a:gd name="T31" fmla="*/ 2 h 45"/>
                <a:gd name="T32" fmla="*/ 33 w 39"/>
                <a:gd name="T33" fmla="*/ 1 h 45"/>
                <a:gd name="T34" fmla="*/ 37 w 39"/>
                <a:gd name="T35" fmla="*/ 10 h 45"/>
                <a:gd name="T36" fmla="*/ 32 w 39"/>
                <a:gd name="T37" fmla="*/ 18 h 45"/>
                <a:gd name="T38" fmla="*/ 31 w 39"/>
                <a:gd name="T39" fmla="*/ 20 h 45"/>
                <a:gd name="T40" fmla="*/ 39 w 39"/>
                <a:gd name="T41" fmla="*/ 40 h 45"/>
                <a:gd name="T42" fmla="*/ 35 w 39"/>
                <a:gd name="T43" fmla="*/ 41 h 45"/>
                <a:gd name="T44" fmla="*/ 27 w 39"/>
                <a:gd name="T45" fmla="*/ 23 h 45"/>
                <a:gd name="T46" fmla="*/ 24 w 39"/>
                <a:gd name="T47" fmla="*/ 25 h 45"/>
                <a:gd name="T48" fmla="*/ 21 w 39"/>
                <a:gd name="T49" fmla="*/ 26 h 45"/>
                <a:gd name="T50" fmla="*/ 30 w 39"/>
                <a:gd name="T51" fmla="*/ 43 h 45"/>
                <a:gd name="T52" fmla="*/ 26 w 39"/>
                <a:gd name="T53" fmla="*/ 45 h 45"/>
                <a:gd name="T54" fmla="*/ 9 w 39"/>
                <a:gd name="T55" fmla="*/ 15 h 45"/>
                <a:gd name="T56" fmla="*/ 8 w 39"/>
                <a:gd name="T57" fmla="*/ 15 h 45"/>
                <a:gd name="T58" fmla="*/ 5 w 39"/>
                <a:gd name="T59" fmla="*/ 16 h 45"/>
                <a:gd name="T60" fmla="*/ 5 w 39"/>
                <a:gd name="T61" fmla="*/ 19 h 45"/>
                <a:gd name="T62" fmla="*/ 8 w 39"/>
                <a:gd name="T63" fmla="*/ 22 h 45"/>
                <a:gd name="T64" fmla="*/ 14 w 39"/>
                <a:gd name="T65" fmla="*/ 23 h 45"/>
                <a:gd name="T66" fmla="*/ 11 w 39"/>
                <a:gd name="T67" fmla="*/ 16 h 45"/>
                <a:gd name="T68" fmla="*/ 10 w 39"/>
                <a:gd name="T69" fmla="*/ 15 h 45"/>
                <a:gd name="T70" fmla="*/ 9 w 39"/>
                <a:gd name="T71" fmla="*/ 15 h 45"/>
                <a:gd name="T72" fmla="*/ 30 w 39"/>
                <a:gd name="T73" fmla="*/ 5 h 45"/>
                <a:gd name="T74" fmla="*/ 28 w 39"/>
                <a:gd name="T75" fmla="*/ 5 h 45"/>
                <a:gd name="T76" fmla="*/ 26 w 39"/>
                <a:gd name="T77" fmla="*/ 7 h 45"/>
                <a:gd name="T78" fmla="*/ 26 w 39"/>
                <a:gd name="T79" fmla="*/ 11 h 45"/>
                <a:gd name="T80" fmla="*/ 29 w 39"/>
                <a:gd name="T81" fmla="*/ 16 h 45"/>
                <a:gd name="T82" fmla="*/ 29 w 39"/>
                <a:gd name="T83" fmla="*/ 16 h 45"/>
                <a:gd name="T84" fmla="*/ 33 w 39"/>
                <a:gd name="T85" fmla="*/ 9 h 45"/>
                <a:gd name="T86" fmla="*/ 31 w 39"/>
                <a:gd name="T87" fmla="*/ 5 h 45"/>
                <a:gd name="T88" fmla="*/ 30 w 39"/>
                <a:gd name="T89"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9" h="45">
                  <a:moveTo>
                    <a:pt x="26" y="45"/>
                  </a:moveTo>
                  <a:cubicBezTo>
                    <a:pt x="17" y="28"/>
                    <a:pt x="17" y="28"/>
                    <a:pt x="17" y="28"/>
                  </a:cubicBezTo>
                  <a:cubicBezTo>
                    <a:pt x="16" y="27"/>
                    <a:pt x="16" y="27"/>
                    <a:pt x="16" y="27"/>
                  </a:cubicBezTo>
                  <a:cubicBezTo>
                    <a:pt x="13" y="27"/>
                    <a:pt x="9" y="27"/>
                    <a:pt x="6" y="26"/>
                  </a:cubicBezTo>
                  <a:cubicBezTo>
                    <a:pt x="4" y="25"/>
                    <a:pt x="2" y="23"/>
                    <a:pt x="1" y="20"/>
                  </a:cubicBezTo>
                  <a:cubicBezTo>
                    <a:pt x="0" y="18"/>
                    <a:pt x="1" y="15"/>
                    <a:pt x="3" y="13"/>
                  </a:cubicBezTo>
                  <a:cubicBezTo>
                    <a:pt x="4" y="12"/>
                    <a:pt x="5" y="12"/>
                    <a:pt x="7" y="11"/>
                  </a:cubicBezTo>
                  <a:cubicBezTo>
                    <a:pt x="9" y="11"/>
                    <a:pt x="11" y="11"/>
                    <a:pt x="12" y="11"/>
                  </a:cubicBezTo>
                  <a:cubicBezTo>
                    <a:pt x="13" y="12"/>
                    <a:pt x="14" y="14"/>
                    <a:pt x="14" y="15"/>
                  </a:cubicBezTo>
                  <a:cubicBezTo>
                    <a:pt x="16" y="17"/>
                    <a:pt x="17" y="20"/>
                    <a:pt x="18" y="22"/>
                  </a:cubicBezTo>
                  <a:cubicBezTo>
                    <a:pt x="19" y="22"/>
                    <a:pt x="19" y="22"/>
                    <a:pt x="19" y="22"/>
                  </a:cubicBezTo>
                  <a:cubicBezTo>
                    <a:pt x="20" y="22"/>
                    <a:pt x="21" y="22"/>
                    <a:pt x="22" y="21"/>
                  </a:cubicBezTo>
                  <a:cubicBezTo>
                    <a:pt x="24" y="21"/>
                    <a:pt x="25" y="20"/>
                    <a:pt x="26" y="19"/>
                  </a:cubicBezTo>
                  <a:cubicBezTo>
                    <a:pt x="25" y="17"/>
                    <a:pt x="24" y="14"/>
                    <a:pt x="23" y="12"/>
                  </a:cubicBezTo>
                  <a:cubicBezTo>
                    <a:pt x="22" y="11"/>
                    <a:pt x="21" y="9"/>
                    <a:pt x="22" y="7"/>
                  </a:cubicBezTo>
                  <a:cubicBezTo>
                    <a:pt x="22" y="5"/>
                    <a:pt x="24" y="3"/>
                    <a:pt x="26" y="2"/>
                  </a:cubicBezTo>
                  <a:cubicBezTo>
                    <a:pt x="29" y="1"/>
                    <a:pt x="31" y="0"/>
                    <a:pt x="33" y="1"/>
                  </a:cubicBezTo>
                  <a:cubicBezTo>
                    <a:pt x="36" y="3"/>
                    <a:pt x="37" y="6"/>
                    <a:pt x="37" y="10"/>
                  </a:cubicBezTo>
                  <a:cubicBezTo>
                    <a:pt x="36" y="13"/>
                    <a:pt x="34" y="16"/>
                    <a:pt x="32" y="18"/>
                  </a:cubicBezTo>
                  <a:cubicBezTo>
                    <a:pt x="32" y="19"/>
                    <a:pt x="31" y="20"/>
                    <a:pt x="31" y="20"/>
                  </a:cubicBezTo>
                  <a:cubicBezTo>
                    <a:pt x="39" y="40"/>
                    <a:pt x="39" y="40"/>
                    <a:pt x="39" y="40"/>
                  </a:cubicBezTo>
                  <a:cubicBezTo>
                    <a:pt x="35" y="41"/>
                    <a:pt x="35" y="41"/>
                    <a:pt x="35" y="41"/>
                  </a:cubicBezTo>
                  <a:cubicBezTo>
                    <a:pt x="27" y="23"/>
                    <a:pt x="27" y="23"/>
                    <a:pt x="27" y="23"/>
                  </a:cubicBezTo>
                  <a:cubicBezTo>
                    <a:pt x="26" y="24"/>
                    <a:pt x="25" y="24"/>
                    <a:pt x="24" y="25"/>
                  </a:cubicBezTo>
                  <a:cubicBezTo>
                    <a:pt x="23" y="25"/>
                    <a:pt x="22" y="26"/>
                    <a:pt x="21" y="26"/>
                  </a:cubicBezTo>
                  <a:cubicBezTo>
                    <a:pt x="30" y="43"/>
                    <a:pt x="30" y="43"/>
                    <a:pt x="30" y="43"/>
                  </a:cubicBezTo>
                  <a:lnTo>
                    <a:pt x="26" y="45"/>
                  </a:lnTo>
                  <a:close/>
                  <a:moveTo>
                    <a:pt x="9" y="15"/>
                  </a:moveTo>
                  <a:cubicBezTo>
                    <a:pt x="9" y="15"/>
                    <a:pt x="8" y="15"/>
                    <a:pt x="8" y="15"/>
                  </a:cubicBezTo>
                  <a:cubicBezTo>
                    <a:pt x="7" y="15"/>
                    <a:pt x="6" y="16"/>
                    <a:pt x="5" y="16"/>
                  </a:cubicBezTo>
                  <a:cubicBezTo>
                    <a:pt x="5" y="17"/>
                    <a:pt x="4" y="18"/>
                    <a:pt x="5" y="19"/>
                  </a:cubicBezTo>
                  <a:cubicBezTo>
                    <a:pt x="5" y="20"/>
                    <a:pt x="6" y="22"/>
                    <a:pt x="8" y="22"/>
                  </a:cubicBezTo>
                  <a:cubicBezTo>
                    <a:pt x="9" y="23"/>
                    <a:pt x="12" y="23"/>
                    <a:pt x="14" y="23"/>
                  </a:cubicBezTo>
                  <a:cubicBezTo>
                    <a:pt x="13" y="21"/>
                    <a:pt x="12" y="19"/>
                    <a:pt x="11" y="16"/>
                  </a:cubicBezTo>
                  <a:cubicBezTo>
                    <a:pt x="11" y="16"/>
                    <a:pt x="10" y="15"/>
                    <a:pt x="10" y="15"/>
                  </a:cubicBezTo>
                  <a:lnTo>
                    <a:pt x="9" y="15"/>
                  </a:lnTo>
                  <a:close/>
                  <a:moveTo>
                    <a:pt x="30" y="5"/>
                  </a:moveTo>
                  <a:cubicBezTo>
                    <a:pt x="29" y="5"/>
                    <a:pt x="29" y="5"/>
                    <a:pt x="28" y="5"/>
                  </a:cubicBezTo>
                  <a:cubicBezTo>
                    <a:pt x="27" y="6"/>
                    <a:pt x="26" y="7"/>
                    <a:pt x="26" y="7"/>
                  </a:cubicBezTo>
                  <a:cubicBezTo>
                    <a:pt x="25" y="8"/>
                    <a:pt x="26" y="9"/>
                    <a:pt x="26" y="11"/>
                  </a:cubicBezTo>
                  <a:cubicBezTo>
                    <a:pt x="27" y="12"/>
                    <a:pt x="28" y="14"/>
                    <a:pt x="29" y="16"/>
                  </a:cubicBezTo>
                  <a:cubicBezTo>
                    <a:pt x="29" y="16"/>
                    <a:pt x="29" y="16"/>
                    <a:pt x="29" y="16"/>
                  </a:cubicBezTo>
                  <a:cubicBezTo>
                    <a:pt x="31" y="14"/>
                    <a:pt x="32" y="12"/>
                    <a:pt x="33" y="9"/>
                  </a:cubicBezTo>
                  <a:cubicBezTo>
                    <a:pt x="33" y="9"/>
                    <a:pt x="33" y="6"/>
                    <a:pt x="31" y="5"/>
                  </a:cubicBezTo>
                  <a:cubicBezTo>
                    <a:pt x="31" y="5"/>
                    <a:pt x="30" y="5"/>
                    <a:pt x="30" y="5"/>
                  </a:cubicBezTo>
                  <a:close/>
                </a:path>
              </a:pathLst>
            </a:custGeom>
            <a:solidFill>
              <a:srgbClr val="90A4A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iŝ1îḓé">
              <a:extLst>
                <a:ext uri="{FF2B5EF4-FFF2-40B4-BE49-F238E27FC236}">
                  <a16:creationId xmlns:a16="http://schemas.microsoft.com/office/drawing/2014/main" id="{BA226810-1F0B-41C4-A4A5-6A3249DD11A5}"/>
                </a:ext>
              </a:extLst>
            </p:cNvPr>
            <p:cNvSpPr/>
            <p:nvPr/>
          </p:nvSpPr>
          <p:spPr bwMode="auto">
            <a:xfrm>
              <a:off x="6464301" y="2238375"/>
              <a:ext cx="134938" cy="107950"/>
            </a:xfrm>
            <a:custGeom>
              <a:avLst/>
              <a:gdLst>
                <a:gd name="T0" fmla="*/ 33 w 41"/>
                <a:gd name="T1" fmla="*/ 0 h 33"/>
                <a:gd name="T2" fmla="*/ 40 w 41"/>
                <a:gd name="T3" fmla="*/ 16 h 33"/>
                <a:gd name="T4" fmla="*/ 39 w 41"/>
                <a:gd name="T5" fmla="*/ 19 h 33"/>
                <a:gd name="T6" fmla="*/ 11 w 41"/>
                <a:gd name="T7" fmla="*/ 32 h 33"/>
                <a:gd name="T8" fmla="*/ 8 w 41"/>
                <a:gd name="T9" fmla="*/ 31 h 33"/>
                <a:gd name="T10" fmla="*/ 0 w 41"/>
                <a:gd name="T11" fmla="*/ 15 h 33"/>
              </a:gdLst>
              <a:ahLst/>
              <a:cxnLst>
                <a:cxn ang="0">
                  <a:pos x="T0" y="T1"/>
                </a:cxn>
                <a:cxn ang="0">
                  <a:pos x="T2" y="T3"/>
                </a:cxn>
                <a:cxn ang="0">
                  <a:pos x="T4" y="T5"/>
                </a:cxn>
                <a:cxn ang="0">
                  <a:pos x="T6" y="T7"/>
                </a:cxn>
                <a:cxn ang="0">
                  <a:pos x="T8" y="T9"/>
                </a:cxn>
                <a:cxn ang="0">
                  <a:pos x="T10" y="T11"/>
                </a:cxn>
              </a:cxnLst>
              <a:rect l="0" t="0" r="r" b="b"/>
              <a:pathLst>
                <a:path w="41" h="33">
                  <a:moveTo>
                    <a:pt x="33" y="0"/>
                  </a:moveTo>
                  <a:cubicBezTo>
                    <a:pt x="40" y="16"/>
                    <a:pt x="40" y="16"/>
                    <a:pt x="40" y="16"/>
                  </a:cubicBezTo>
                  <a:cubicBezTo>
                    <a:pt x="41" y="17"/>
                    <a:pt x="40" y="18"/>
                    <a:pt x="39" y="19"/>
                  </a:cubicBezTo>
                  <a:cubicBezTo>
                    <a:pt x="11" y="32"/>
                    <a:pt x="11" y="32"/>
                    <a:pt x="11" y="32"/>
                  </a:cubicBezTo>
                  <a:cubicBezTo>
                    <a:pt x="10" y="33"/>
                    <a:pt x="8" y="32"/>
                    <a:pt x="8" y="31"/>
                  </a:cubicBezTo>
                  <a:cubicBezTo>
                    <a:pt x="0" y="15"/>
                    <a:pt x="0" y="15"/>
                    <a:pt x="0" y="15"/>
                  </a:cubicBezTo>
                </a:path>
              </a:pathLst>
            </a:custGeom>
            <a:solidFill>
              <a:srgbClr val="90A4A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ï$ļïḋè">
              <a:extLst>
                <a:ext uri="{FF2B5EF4-FFF2-40B4-BE49-F238E27FC236}">
                  <a16:creationId xmlns:a16="http://schemas.microsoft.com/office/drawing/2014/main" id="{DDA0CE34-8271-45DA-9820-06C0270310AF}"/>
                </a:ext>
              </a:extLst>
            </p:cNvPr>
            <p:cNvSpPr/>
            <p:nvPr/>
          </p:nvSpPr>
          <p:spPr bwMode="auto">
            <a:xfrm>
              <a:off x="6513513" y="2309813"/>
              <a:ext cx="63500" cy="50800"/>
            </a:xfrm>
            <a:custGeom>
              <a:avLst/>
              <a:gdLst>
                <a:gd name="T0" fmla="*/ 16 w 19"/>
                <a:gd name="T1" fmla="*/ 12 h 15"/>
                <a:gd name="T2" fmla="*/ 11 w 19"/>
                <a:gd name="T3" fmla="*/ 14 h 15"/>
                <a:gd name="T4" fmla="*/ 5 w 19"/>
                <a:gd name="T5" fmla="*/ 13 h 15"/>
                <a:gd name="T6" fmla="*/ 0 w 19"/>
                <a:gd name="T7" fmla="*/ 8 h 15"/>
                <a:gd name="T8" fmla="*/ 19 w 19"/>
                <a:gd name="T9" fmla="*/ 0 h 15"/>
                <a:gd name="T10" fmla="*/ 19 w 19"/>
                <a:gd name="T11" fmla="*/ 7 h 15"/>
                <a:gd name="T12" fmla="*/ 16 w 19"/>
                <a:gd name="T13" fmla="*/ 12 h 15"/>
              </a:gdLst>
              <a:ahLst/>
              <a:cxnLst>
                <a:cxn ang="0">
                  <a:pos x="T0" y="T1"/>
                </a:cxn>
                <a:cxn ang="0">
                  <a:pos x="T2" y="T3"/>
                </a:cxn>
                <a:cxn ang="0">
                  <a:pos x="T4" y="T5"/>
                </a:cxn>
                <a:cxn ang="0">
                  <a:pos x="T6" y="T7"/>
                </a:cxn>
                <a:cxn ang="0">
                  <a:pos x="T8" y="T9"/>
                </a:cxn>
                <a:cxn ang="0">
                  <a:pos x="T10" y="T11"/>
                </a:cxn>
                <a:cxn ang="0">
                  <a:pos x="T12" y="T13"/>
                </a:cxn>
              </a:cxnLst>
              <a:rect l="0" t="0" r="r" b="b"/>
              <a:pathLst>
                <a:path w="19" h="15">
                  <a:moveTo>
                    <a:pt x="16" y="12"/>
                  </a:moveTo>
                  <a:cubicBezTo>
                    <a:pt x="11" y="14"/>
                    <a:pt x="11" y="14"/>
                    <a:pt x="11" y="14"/>
                  </a:cubicBezTo>
                  <a:cubicBezTo>
                    <a:pt x="9" y="15"/>
                    <a:pt x="7" y="15"/>
                    <a:pt x="5" y="13"/>
                  </a:cubicBezTo>
                  <a:cubicBezTo>
                    <a:pt x="0" y="8"/>
                    <a:pt x="0" y="8"/>
                    <a:pt x="0" y="8"/>
                  </a:cubicBezTo>
                  <a:cubicBezTo>
                    <a:pt x="19" y="0"/>
                    <a:pt x="19" y="0"/>
                    <a:pt x="19" y="0"/>
                  </a:cubicBezTo>
                  <a:cubicBezTo>
                    <a:pt x="19" y="7"/>
                    <a:pt x="19" y="7"/>
                    <a:pt x="19" y="7"/>
                  </a:cubicBezTo>
                  <a:cubicBezTo>
                    <a:pt x="19" y="9"/>
                    <a:pt x="18" y="11"/>
                    <a:pt x="16" y="12"/>
                  </a:cubicBezTo>
                  <a:close/>
                </a:path>
              </a:pathLst>
            </a:custGeom>
            <a:solidFill>
              <a:srgbClr val="90A4A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îṣľîďe">
              <a:extLst>
                <a:ext uri="{FF2B5EF4-FFF2-40B4-BE49-F238E27FC236}">
                  <a16:creationId xmlns:a16="http://schemas.microsoft.com/office/drawing/2014/main" id="{EDCDD329-2F7F-41CC-A5E5-86A400C12210}"/>
                </a:ext>
              </a:extLst>
            </p:cNvPr>
            <p:cNvSpPr/>
            <p:nvPr/>
          </p:nvSpPr>
          <p:spPr bwMode="auto">
            <a:xfrm>
              <a:off x="6929438" y="5329238"/>
              <a:ext cx="155575" cy="327025"/>
            </a:xfrm>
            <a:custGeom>
              <a:avLst/>
              <a:gdLst>
                <a:gd name="T0" fmla="*/ 0 w 98"/>
                <a:gd name="T1" fmla="*/ 200 h 206"/>
                <a:gd name="T2" fmla="*/ 85 w 98"/>
                <a:gd name="T3" fmla="*/ 0 h 206"/>
                <a:gd name="T4" fmla="*/ 98 w 98"/>
                <a:gd name="T5" fmla="*/ 7 h 206"/>
                <a:gd name="T6" fmla="*/ 13 w 98"/>
                <a:gd name="T7" fmla="*/ 206 h 206"/>
                <a:gd name="T8" fmla="*/ 0 w 98"/>
                <a:gd name="T9" fmla="*/ 200 h 206"/>
              </a:gdLst>
              <a:ahLst/>
              <a:cxnLst>
                <a:cxn ang="0">
                  <a:pos x="T0" y="T1"/>
                </a:cxn>
                <a:cxn ang="0">
                  <a:pos x="T2" y="T3"/>
                </a:cxn>
                <a:cxn ang="0">
                  <a:pos x="T4" y="T5"/>
                </a:cxn>
                <a:cxn ang="0">
                  <a:pos x="T6" y="T7"/>
                </a:cxn>
                <a:cxn ang="0">
                  <a:pos x="T8" y="T9"/>
                </a:cxn>
              </a:cxnLst>
              <a:rect l="0" t="0" r="r" b="b"/>
              <a:pathLst>
                <a:path w="98" h="206">
                  <a:moveTo>
                    <a:pt x="0" y="200"/>
                  </a:moveTo>
                  <a:lnTo>
                    <a:pt x="85" y="0"/>
                  </a:lnTo>
                  <a:lnTo>
                    <a:pt x="98" y="7"/>
                  </a:lnTo>
                  <a:lnTo>
                    <a:pt x="13" y="206"/>
                  </a:lnTo>
                  <a:lnTo>
                    <a:pt x="0" y="200"/>
                  </a:lnTo>
                  <a:close/>
                </a:path>
              </a:pathLst>
            </a:custGeom>
            <a:solidFill>
              <a:srgbClr val="EC407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ïšḷiḑe">
              <a:extLst>
                <a:ext uri="{FF2B5EF4-FFF2-40B4-BE49-F238E27FC236}">
                  <a16:creationId xmlns:a16="http://schemas.microsoft.com/office/drawing/2014/main" id="{C2A1C2D1-C8E1-4D26-8D18-F6F49453328A}"/>
                </a:ext>
              </a:extLst>
            </p:cNvPr>
            <p:cNvSpPr/>
            <p:nvPr/>
          </p:nvSpPr>
          <p:spPr bwMode="auto">
            <a:xfrm>
              <a:off x="6923088" y="5646738"/>
              <a:ext cx="26988" cy="39687"/>
            </a:xfrm>
            <a:custGeom>
              <a:avLst/>
              <a:gdLst>
                <a:gd name="T0" fmla="*/ 17 w 17"/>
                <a:gd name="T1" fmla="*/ 6 h 25"/>
                <a:gd name="T2" fmla="*/ 4 w 17"/>
                <a:gd name="T3" fmla="*/ 0 h 25"/>
                <a:gd name="T4" fmla="*/ 0 w 17"/>
                <a:gd name="T5" fmla="*/ 23 h 25"/>
                <a:gd name="T6" fmla="*/ 4 w 17"/>
                <a:gd name="T7" fmla="*/ 25 h 25"/>
                <a:gd name="T8" fmla="*/ 17 w 17"/>
                <a:gd name="T9" fmla="*/ 6 h 25"/>
              </a:gdLst>
              <a:ahLst/>
              <a:cxnLst>
                <a:cxn ang="0">
                  <a:pos x="T0" y="T1"/>
                </a:cxn>
                <a:cxn ang="0">
                  <a:pos x="T2" y="T3"/>
                </a:cxn>
                <a:cxn ang="0">
                  <a:pos x="T4" y="T5"/>
                </a:cxn>
                <a:cxn ang="0">
                  <a:pos x="T6" y="T7"/>
                </a:cxn>
                <a:cxn ang="0">
                  <a:pos x="T8" y="T9"/>
                </a:cxn>
              </a:cxnLst>
              <a:rect l="0" t="0" r="r" b="b"/>
              <a:pathLst>
                <a:path w="17" h="25">
                  <a:moveTo>
                    <a:pt x="17" y="6"/>
                  </a:moveTo>
                  <a:lnTo>
                    <a:pt x="4" y="0"/>
                  </a:lnTo>
                  <a:lnTo>
                    <a:pt x="0" y="23"/>
                  </a:lnTo>
                  <a:lnTo>
                    <a:pt x="4" y="25"/>
                  </a:lnTo>
                  <a:lnTo>
                    <a:pt x="17" y="6"/>
                  </a:lnTo>
                  <a:close/>
                </a:path>
              </a:pathLst>
            </a:custGeom>
            <a:solidFill>
              <a:srgbClr val="F3BC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îṣļíde">
              <a:extLst>
                <a:ext uri="{FF2B5EF4-FFF2-40B4-BE49-F238E27FC236}">
                  <a16:creationId xmlns:a16="http://schemas.microsoft.com/office/drawing/2014/main" id="{722E6AB7-06E6-4652-B4AC-7773B0ADA49B}"/>
                </a:ext>
              </a:extLst>
            </p:cNvPr>
            <p:cNvSpPr/>
            <p:nvPr/>
          </p:nvSpPr>
          <p:spPr bwMode="auto">
            <a:xfrm>
              <a:off x="6919913" y="5683250"/>
              <a:ext cx="9525" cy="12700"/>
            </a:xfrm>
            <a:custGeom>
              <a:avLst/>
              <a:gdLst>
                <a:gd name="T0" fmla="*/ 6 w 6"/>
                <a:gd name="T1" fmla="*/ 2 h 8"/>
                <a:gd name="T2" fmla="*/ 2 w 6"/>
                <a:gd name="T3" fmla="*/ 0 h 8"/>
                <a:gd name="T4" fmla="*/ 0 w 6"/>
                <a:gd name="T5" fmla="*/ 8 h 8"/>
                <a:gd name="T6" fmla="*/ 6 w 6"/>
                <a:gd name="T7" fmla="*/ 2 h 8"/>
              </a:gdLst>
              <a:ahLst/>
              <a:cxnLst>
                <a:cxn ang="0">
                  <a:pos x="T0" y="T1"/>
                </a:cxn>
                <a:cxn ang="0">
                  <a:pos x="T2" y="T3"/>
                </a:cxn>
                <a:cxn ang="0">
                  <a:pos x="T4" y="T5"/>
                </a:cxn>
                <a:cxn ang="0">
                  <a:pos x="T6" y="T7"/>
                </a:cxn>
              </a:cxnLst>
              <a:rect l="0" t="0" r="r" b="b"/>
              <a:pathLst>
                <a:path w="6" h="8">
                  <a:moveTo>
                    <a:pt x="6" y="2"/>
                  </a:moveTo>
                  <a:lnTo>
                    <a:pt x="2" y="0"/>
                  </a:lnTo>
                  <a:lnTo>
                    <a:pt x="0" y="8"/>
                  </a:lnTo>
                  <a:lnTo>
                    <a:pt x="6" y="2"/>
                  </a:lnTo>
                  <a:close/>
                </a:path>
              </a:pathLst>
            </a:custGeom>
            <a:solidFill>
              <a:srgbClr val="B500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ïṥḷïḋè">
              <a:extLst>
                <a:ext uri="{FF2B5EF4-FFF2-40B4-BE49-F238E27FC236}">
                  <a16:creationId xmlns:a16="http://schemas.microsoft.com/office/drawing/2014/main" id="{E4CB7BBB-3A51-40D2-B34D-D82E0D21AB69}"/>
                </a:ext>
              </a:extLst>
            </p:cNvPr>
            <p:cNvSpPr/>
            <p:nvPr/>
          </p:nvSpPr>
          <p:spPr bwMode="auto">
            <a:xfrm>
              <a:off x="6834188" y="5300663"/>
              <a:ext cx="85725" cy="339725"/>
            </a:xfrm>
            <a:custGeom>
              <a:avLst/>
              <a:gdLst>
                <a:gd name="T0" fmla="*/ 39 w 54"/>
                <a:gd name="T1" fmla="*/ 214 h 214"/>
                <a:gd name="T2" fmla="*/ 0 w 54"/>
                <a:gd name="T3" fmla="*/ 2 h 214"/>
                <a:gd name="T4" fmla="*/ 14 w 54"/>
                <a:gd name="T5" fmla="*/ 0 h 214"/>
                <a:gd name="T6" fmla="*/ 54 w 54"/>
                <a:gd name="T7" fmla="*/ 211 h 214"/>
                <a:gd name="T8" fmla="*/ 39 w 54"/>
                <a:gd name="T9" fmla="*/ 214 h 214"/>
              </a:gdLst>
              <a:ahLst/>
              <a:cxnLst>
                <a:cxn ang="0">
                  <a:pos x="T0" y="T1"/>
                </a:cxn>
                <a:cxn ang="0">
                  <a:pos x="T2" y="T3"/>
                </a:cxn>
                <a:cxn ang="0">
                  <a:pos x="T4" y="T5"/>
                </a:cxn>
                <a:cxn ang="0">
                  <a:pos x="T6" y="T7"/>
                </a:cxn>
                <a:cxn ang="0">
                  <a:pos x="T8" y="T9"/>
                </a:cxn>
              </a:cxnLst>
              <a:rect l="0" t="0" r="r" b="b"/>
              <a:pathLst>
                <a:path w="54" h="214">
                  <a:moveTo>
                    <a:pt x="39" y="214"/>
                  </a:moveTo>
                  <a:lnTo>
                    <a:pt x="0" y="2"/>
                  </a:lnTo>
                  <a:lnTo>
                    <a:pt x="14" y="0"/>
                  </a:lnTo>
                  <a:lnTo>
                    <a:pt x="54" y="211"/>
                  </a:lnTo>
                  <a:lnTo>
                    <a:pt x="39" y="214"/>
                  </a:ln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î$ḷîďè">
              <a:extLst>
                <a:ext uri="{FF2B5EF4-FFF2-40B4-BE49-F238E27FC236}">
                  <a16:creationId xmlns:a16="http://schemas.microsoft.com/office/drawing/2014/main" id="{072B443A-4A04-457F-8387-A2552265BBCA}"/>
                </a:ext>
              </a:extLst>
            </p:cNvPr>
            <p:cNvSpPr/>
            <p:nvPr/>
          </p:nvSpPr>
          <p:spPr bwMode="auto">
            <a:xfrm>
              <a:off x="6896101" y="5635625"/>
              <a:ext cx="23813" cy="39687"/>
            </a:xfrm>
            <a:custGeom>
              <a:avLst/>
              <a:gdLst>
                <a:gd name="T0" fmla="*/ 15 w 15"/>
                <a:gd name="T1" fmla="*/ 0 h 25"/>
                <a:gd name="T2" fmla="*/ 0 w 15"/>
                <a:gd name="T3" fmla="*/ 3 h 25"/>
                <a:gd name="T4" fmla="*/ 9 w 15"/>
                <a:gd name="T5" fmla="*/ 25 h 25"/>
                <a:gd name="T6" fmla="*/ 13 w 15"/>
                <a:gd name="T7" fmla="*/ 23 h 25"/>
                <a:gd name="T8" fmla="*/ 15 w 15"/>
                <a:gd name="T9" fmla="*/ 0 h 25"/>
              </a:gdLst>
              <a:ahLst/>
              <a:cxnLst>
                <a:cxn ang="0">
                  <a:pos x="T0" y="T1"/>
                </a:cxn>
                <a:cxn ang="0">
                  <a:pos x="T2" y="T3"/>
                </a:cxn>
                <a:cxn ang="0">
                  <a:pos x="T4" y="T5"/>
                </a:cxn>
                <a:cxn ang="0">
                  <a:pos x="T6" y="T7"/>
                </a:cxn>
                <a:cxn ang="0">
                  <a:pos x="T8" y="T9"/>
                </a:cxn>
              </a:cxnLst>
              <a:rect l="0" t="0" r="r" b="b"/>
              <a:pathLst>
                <a:path w="15" h="25">
                  <a:moveTo>
                    <a:pt x="15" y="0"/>
                  </a:moveTo>
                  <a:lnTo>
                    <a:pt x="0" y="3"/>
                  </a:lnTo>
                  <a:lnTo>
                    <a:pt x="9" y="25"/>
                  </a:lnTo>
                  <a:lnTo>
                    <a:pt x="13" y="23"/>
                  </a:lnTo>
                  <a:lnTo>
                    <a:pt x="15" y="0"/>
                  </a:lnTo>
                  <a:close/>
                </a:path>
              </a:pathLst>
            </a:custGeom>
            <a:solidFill>
              <a:srgbClr val="F3BC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îŝ1iḍè">
              <a:extLst>
                <a:ext uri="{FF2B5EF4-FFF2-40B4-BE49-F238E27FC236}">
                  <a16:creationId xmlns:a16="http://schemas.microsoft.com/office/drawing/2014/main" id="{46C11B5D-A6DD-4C04-86EE-7B6D870E3769}"/>
                </a:ext>
              </a:extLst>
            </p:cNvPr>
            <p:cNvSpPr/>
            <p:nvPr/>
          </p:nvSpPr>
          <p:spPr bwMode="auto">
            <a:xfrm>
              <a:off x="6910388" y="5672138"/>
              <a:ext cx="6350" cy="14287"/>
            </a:xfrm>
            <a:custGeom>
              <a:avLst/>
              <a:gdLst>
                <a:gd name="T0" fmla="*/ 4 w 4"/>
                <a:gd name="T1" fmla="*/ 0 h 9"/>
                <a:gd name="T2" fmla="*/ 0 w 4"/>
                <a:gd name="T3" fmla="*/ 2 h 9"/>
                <a:gd name="T4" fmla="*/ 4 w 4"/>
                <a:gd name="T5" fmla="*/ 9 h 9"/>
                <a:gd name="T6" fmla="*/ 4 w 4"/>
                <a:gd name="T7" fmla="*/ 0 h 9"/>
              </a:gdLst>
              <a:ahLst/>
              <a:cxnLst>
                <a:cxn ang="0">
                  <a:pos x="T0" y="T1"/>
                </a:cxn>
                <a:cxn ang="0">
                  <a:pos x="T2" y="T3"/>
                </a:cxn>
                <a:cxn ang="0">
                  <a:pos x="T4" y="T5"/>
                </a:cxn>
                <a:cxn ang="0">
                  <a:pos x="T6" y="T7"/>
                </a:cxn>
              </a:cxnLst>
              <a:rect l="0" t="0" r="r" b="b"/>
              <a:pathLst>
                <a:path w="4" h="9">
                  <a:moveTo>
                    <a:pt x="4" y="0"/>
                  </a:moveTo>
                  <a:lnTo>
                    <a:pt x="0" y="2"/>
                  </a:lnTo>
                  <a:lnTo>
                    <a:pt x="4" y="9"/>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iśḻîḍe">
              <a:extLst>
                <a:ext uri="{FF2B5EF4-FFF2-40B4-BE49-F238E27FC236}">
                  <a16:creationId xmlns:a16="http://schemas.microsoft.com/office/drawing/2014/main" id="{3501CD45-2E56-4F90-BF78-D28E909D2735}"/>
                </a:ext>
              </a:extLst>
            </p:cNvPr>
            <p:cNvSpPr/>
            <p:nvPr/>
          </p:nvSpPr>
          <p:spPr bwMode="auto">
            <a:xfrm>
              <a:off x="6751638" y="5378450"/>
              <a:ext cx="122238" cy="257175"/>
            </a:xfrm>
            <a:custGeom>
              <a:avLst/>
              <a:gdLst>
                <a:gd name="T0" fmla="*/ 62 w 77"/>
                <a:gd name="T1" fmla="*/ 162 h 162"/>
                <a:gd name="T2" fmla="*/ 0 w 77"/>
                <a:gd name="T3" fmla="*/ 7 h 162"/>
                <a:gd name="T4" fmla="*/ 12 w 77"/>
                <a:gd name="T5" fmla="*/ 0 h 162"/>
                <a:gd name="T6" fmla="*/ 77 w 77"/>
                <a:gd name="T7" fmla="*/ 158 h 162"/>
                <a:gd name="T8" fmla="*/ 62 w 77"/>
                <a:gd name="T9" fmla="*/ 162 h 162"/>
              </a:gdLst>
              <a:ahLst/>
              <a:cxnLst>
                <a:cxn ang="0">
                  <a:pos x="T0" y="T1"/>
                </a:cxn>
                <a:cxn ang="0">
                  <a:pos x="T2" y="T3"/>
                </a:cxn>
                <a:cxn ang="0">
                  <a:pos x="T4" y="T5"/>
                </a:cxn>
                <a:cxn ang="0">
                  <a:pos x="T6" y="T7"/>
                </a:cxn>
                <a:cxn ang="0">
                  <a:pos x="T8" y="T9"/>
                </a:cxn>
              </a:cxnLst>
              <a:rect l="0" t="0" r="r" b="b"/>
              <a:pathLst>
                <a:path w="77" h="162">
                  <a:moveTo>
                    <a:pt x="62" y="162"/>
                  </a:moveTo>
                  <a:lnTo>
                    <a:pt x="0" y="7"/>
                  </a:lnTo>
                  <a:lnTo>
                    <a:pt x="12" y="0"/>
                  </a:lnTo>
                  <a:lnTo>
                    <a:pt x="77" y="158"/>
                  </a:lnTo>
                  <a:lnTo>
                    <a:pt x="62" y="162"/>
                  </a:lnTo>
                  <a:close/>
                </a:path>
              </a:pathLst>
            </a:custGeom>
            <a:solidFill>
              <a:srgbClr val="78909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išlïďe">
              <a:extLst>
                <a:ext uri="{FF2B5EF4-FFF2-40B4-BE49-F238E27FC236}">
                  <a16:creationId xmlns:a16="http://schemas.microsoft.com/office/drawing/2014/main" id="{AE3D5969-C440-454B-97E3-59E72B5AD356}"/>
                </a:ext>
              </a:extLst>
            </p:cNvPr>
            <p:cNvSpPr/>
            <p:nvPr/>
          </p:nvSpPr>
          <p:spPr bwMode="auto">
            <a:xfrm>
              <a:off x="6850063" y="5629275"/>
              <a:ext cx="26988" cy="33337"/>
            </a:xfrm>
            <a:custGeom>
              <a:avLst/>
              <a:gdLst>
                <a:gd name="T0" fmla="*/ 15 w 17"/>
                <a:gd name="T1" fmla="*/ 0 h 21"/>
                <a:gd name="T2" fmla="*/ 0 w 17"/>
                <a:gd name="T3" fmla="*/ 4 h 21"/>
                <a:gd name="T4" fmla="*/ 13 w 17"/>
                <a:gd name="T5" fmla="*/ 21 h 21"/>
                <a:gd name="T6" fmla="*/ 17 w 17"/>
                <a:gd name="T7" fmla="*/ 19 h 21"/>
                <a:gd name="T8" fmla="*/ 15 w 17"/>
                <a:gd name="T9" fmla="*/ 0 h 21"/>
              </a:gdLst>
              <a:ahLst/>
              <a:cxnLst>
                <a:cxn ang="0">
                  <a:pos x="T0" y="T1"/>
                </a:cxn>
                <a:cxn ang="0">
                  <a:pos x="T2" y="T3"/>
                </a:cxn>
                <a:cxn ang="0">
                  <a:pos x="T4" y="T5"/>
                </a:cxn>
                <a:cxn ang="0">
                  <a:pos x="T6" y="T7"/>
                </a:cxn>
                <a:cxn ang="0">
                  <a:pos x="T8" y="T9"/>
                </a:cxn>
              </a:cxnLst>
              <a:rect l="0" t="0" r="r" b="b"/>
              <a:pathLst>
                <a:path w="17" h="21">
                  <a:moveTo>
                    <a:pt x="15" y="0"/>
                  </a:moveTo>
                  <a:lnTo>
                    <a:pt x="0" y="4"/>
                  </a:lnTo>
                  <a:lnTo>
                    <a:pt x="13" y="21"/>
                  </a:lnTo>
                  <a:lnTo>
                    <a:pt x="17" y="19"/>
                  </a:lnTo>
                  <a:lnTo>
                    <a:pt x="15" y="0"/>
                  </a:lnTo>
                  <a:close/>
                </a:path>
              </a:pathLst>
            </a:custGeom>
            <a:solidFill>
              <a:srgbClr val="F3BC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ṣ1ídé">
              <a:extLst>
                <a:ext uri="{FF2B5EF4-FFF2-40B4-BE49-F238E27FC236}">
                  <a16:creationId xmlns:a16="http://schemas.microsoft.com/office/drawing/2014/main" id="{C17B5B12-B4BA-4B22-AEF9-CB01FC00C50A}"/>
                </a:ext>
              </a:extLst>
            </p:cNvPr>
            <p:cNvSpPr/>
            <p:nvPr/>
          </p:nvSpPr>
          <p:spPr bwMode="auto">
            <a:xfrm>
              <a:off x="6870701" y="5659438"/>
              <a:ext cx="6350" cy="9525"/>
            </a:xfrm>
            <a:custGeom>
              <a:avLst/>
              <a:gdLst>
                <a:gd name="T0" fmla="*/ 4 w 4"/>
                <a:gd name="T1" fmla="*/ 0 h 6"/>
                <a:gd name="T2" fmla="*/ 0 w 4"/>
                <a:gd name="T3" fmla="*/ 2 h 6"/>
                <a:gd name="T4" fmla="*/ 4 w 4"/>
                <a:gd name="T5" fmla="*/ 6 h 6"/>
                <a:gd name="T6" fmla="*/ 4 w 4"/>
                <a:gd name="T7" fmla="*/ 0 h 6"/>
              </a:gdLst>
              <a:ahLst/>
              <a:cxnLst>
                <a:cxn ang="0">
                  <a:pos x="T0" y="T1"/>
                </a:cxn>
                <a:cxn ang="0">
                  <a:pos x="T2" y="T3"/>
                </a:cxn>
                <a:cxn ang="0">
                  <a:pos x="T4" y="T5"/>
                </a:cxn>
                <a:cxn ang="0">
                  <a:pos x="T6" y="T7"/>
                </a:cxn>
              </a:cxnLst>
              <a:rect l="0" t="0" r="r" b="b"/>
              <a:pathLst>
                <a:path w="4" h="6">
                  <a:moveTo>
                    <a:pt x="4" y="0"/>
                  </a:moveTo>
                  <a:lnTo>
                    <a:pt x="0" y="2"/>
                  </a:lnTo>
                  <a:lnTo>
                    <a:pt x="4" y="6"/>
                  </a:lnTo>
                  <a:lnTo>
                    <a:pt x="4" y="0"/>
                  </a:lnTo>
                  <a:close/>
                </a:path>
              </a:pathLst>
            </a:custGeom>
            <a:solidFill>
              <a:srgbClr val="5EC5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îṧľiḓé">
              <a:extLst>
                <a:ext uri="{FF2B5EF4-FFF2-40B4-BE49-F238E27FC236}">
                  <a16:creationId xmlns:a16="http://schemas.microsoft.com/office/drawing/2014/main" id="{FE55A839-C64D-4811-B78D-471B9DF9AB5A}"/>
                </a:ext>
              </a:extLst>
            </p:cNvPr>
            <p:cNvSpPr/>
            <p:nvPr/>
          </p:nvSpPr>
          <p:spPr bwMode="auto">
            <a:xfrm>
              <a:off x="6883401" y="5665788"/>
              <a:ext cx="23813" cy="39687"/>
            </a:xfrm>
            <a:custGeom>
              <a:avLst/>
              <a:gdLst>
                <a:gd name="T0" fmla="*/ 2 w 15"/>
                <a:gd name="T1" fmla="*/ 23 h 25"/>
                <a:gd name="T2" fmla="*/ 6 w 15"/>
                <a:gd name="T3" fmla="*/ 25 h 25"/>
                <a:gd name="T4" fmla="*/ 15 w 15"/>
                <a:gd name="T5" fmla="*/ 2 h 25"/>
                <a:gd name="T6" fmla="*/ 0 w 15"/>
                <a:gd name="T7" fmla="*/ 0 h 25"/>
                <a:gd name="T8" fmla="*/ 2 w 15"/>
                <a:gd name="T9" fmla="*/ 23 h 25"/>
              </a:gdLst>
              <a:ahLst/>
              <a:cxnLst>
                <a:cxn ang="0">
                  <a:pos x="T0" y="T1"/>
                </a:cxn>
                <a:cxn ang="0">
                  <a:pos x="T2" y="T3"/>
                </a:cxn>
                <a:cxn ang="0">
                  <a:pos x="T4" y="T5"/>
                </a:cxn>
                <a:cxn ang="0">
                  <a:pos x="T6" y="T7"/>
                </a:cxn>
                <a:cxn ang="0">
                  <a:pos x="T8" y="T9"/>
                </a:cxn>
              </a:cxnLst>
              <a:rect l="0" t="0" r="r" b="b"/>
              <a:pathLst>
                <a:path w="15" h="25">
                  <a:moveTo>
                    <a:pt x="2" y="23"/>
                  </a:moveTo>
                  <a:lnTo>
                    <a:pt x="6" y="25"/>
                  </a:lnTo>
                  <a:lnTo>
                    <a:pt x="15" y="2"/>
                  </a:lnTo>
                  <a:lnTo>
                    <a:pt x="0" y="0"/>
                  </a:lnTo>
                  <a:lnTo>
                    <a:pt x="2" y="23"/>
                  </a:lnTo>
                  <a:close/>
                </a:path>
              </a:pathLst>
            </a:custGeom>
            <a:solidFill>
              <a:srgbClr val="F3BC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í$ḻíḑê">
              <a:extLst>
                <a:ext uri="{FF2B5EF4-FFF2-40B4-BE49-F238E27FC236}">
                  <a16:creationId xmlns:a16="http://schemas.microsoft.com/office/drawing/2014/main" id="{78243D56-87D2-42F5-B9A1-CD08E100905E}"/>
                </a:ext>
              </a:extLst>
            </p:cNvPr>
            <p:cNvSpPr/>
            <p:nvPr/>
          </p:nvSpPr>
          <p:spPr bwMode="auto">
            <a:xfrm>
              <a:off x="6883401" y="5665788"/>
              <a:ext cx="23813" cy="3175"/>
            </a:xfrm>
            <a:custGeom>
              <a:avLst/>
              <a:gdLst>
                <a:gd name="T0" fmla="*/ 0 w 15"/>
                <a:gd name="T1" fmla="*/ 0 h 2"/>
                <a:gd name="T2" fmla="*/ 15 w 15"/>
                <a:gd name="T3" fmla="*/ 2 h 2"/>
                <a:gd name="T4" fmla="*/ 8 w 15"/>
                <a:gd name="T5" fmla="*/ 0 h 2"/>
                <a:gd name="T6" fmla="*/ 0 w 15"/>
                <a:gd name="T7" fmla="*/ 0 h 2"/>
              </a:gdLst>
              <a:ahLst/>
              <a:cxnLst>
                <a:cxn ang="0">
                  <a:pos x="T0" y="T1"/>
                </a:cxn>
                <a:cxn ang="0">
                  <a:pos x="T2" y="T3"/>
                </a:cxn>
                <a:cxn ang="0">
                  <a:pos x="T4" y="T5"/>
                </a:cxn>
                <a:cxn ang="0">
                  <a:pos x="T6" y="T7"/>
                </a:cxn>
              </a:cxnLst>
              <a:rect l="0" t="0" r="r" b="b"/>
              <a:pathLst>
                <a:path w="15" h="2">
                  <a:moveTo>
                    <a:pt x="0" y="0"/>
                  </a:moveTo>
                  <a:lnTo>
                    <a:pt x="15" y="2"/>
                  </a:lnTo>
                  <a:lnTo>
                    <a:pt x="8" y="0"/>
                  </a:lnTo>
                  <a:lnTo>
                    <a:pt x="0" y="0"/>
                  </a:lnTo>
                  <a:close/>
                </a:path>
              </a:pathLst>
            </a:custGeom>
            <a:solidFill>
              <a:srgbClr val="F3BC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iṡliḋê">
              <a:extLst>
                <a:ext uri="{FF2B5EF4-FFF2-40B4-BE49-F238E27FC236}">
                  <a16:creationId xmlns:a16="http://schemas.microsoft.com/office/drawing/2014/main" id="{B96C695C-3F05-4315-8D35-A539BF88A922}"/>
                </a:ext>
              </a:extLst>
            </p:cNvPr>
            <p:cNvSpPr/>
            <p:nvPr/>
          </p:nvSpPr>
          <p:spPr bwMode="auto">
            <a:xfrm>
              <a:off x="6886576" y="5702300"/>
              <a:ext cx="6350" cy="15875"/>
            </a:xfrm>
            <a:custGeom>
              <a:avLst/>
              <a:gdLst>
                <a:gd name="T0" fmla="*/ 2 w 4"/>
                <a:gd name="T1" fmla="*/ 10 h 10"/>
                <a:gd name="T2" fmla="*/ 4 w 4"/>
                <a:gd name="T3" fmla="*/ 2 h 10"/>
                <a:gd name="T4" fmla="*/ 0 w 4"/>
                <a:gd name="T5" fmla="*/ 0 h 10"/>
                <a:gd name="T6" fmla="*/ 2 w 4"/>
                <a:gd name="T7" fmla="*/ 10 h 10"/>
              </a:gdLst>
              <a:ahLst/>
              <a:cxnLst>
                <a:cxn ang="0">
                  <a:pos x="T0" y="T1"/>
                </a:cxn>
                <a:cxn ang="0">
                  <a:pos x="T2" y="T3"/>
                </a:cxn>
                <a:cxn ang="0">
                  <a:pos x="T4" y="T5"/>
                </a:cxn>
                <a:cxn ang="0">
                  <a:pos x="T6" y="T7"/>
                </a:cxn>
              </a:cxnLst>
              <a:rect l="0" t="0" r="r" b="b"/>
              <a:pathLst>
                <a:path w="4" h="10">
                  <a:moveTo>
                    <a:pt x="2" y="10"/>
                  </a:moveTo>
                  <a:lnTo>
                    <a:pt x="4" y="2"/>
                  </a:lnTo>
                  <a:lnTo>
                    <a:pt x="0" y="0"/>
                  </a:lnTo>
                  <a:lnTo>
                    <a:pt x="2"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1íḑè">
              <a:extLst>
                <a:ext uri="{FF2B5EF4-FFF2-40B4-BE49-F238E27FC236}">
                  <a16:creationId xmlns:a16="http://schemas.microsoft.com/office/drawing/2014/main" id="{396CBF93-48A4-475A-925B-920E88A29E86}"/>
                </a:ext>
              </a:extLst>
            </p:cNvPr>
            <p:cNvSpPr/>
            <p:nvPr/>
          </p:nvSpPr>
          <p:spPr bwMode="auto">
            <a:xfrm>
              <a:off x="6919913" y="5346700"/>
              <a:ext cx="30163" cy="36512"/>
            </a:xfrm>
            <a:custGeom>
              <a:avLst/>
              <a:gdLst>
                <a:gd name="T0" fmla="*/ 7 w 9"/>
                <a:gd name="T1" fmla="*/ 11 h 11"/>
                <a:gd name="T2" fmla="*/ 8 w 9"/>
                <a:gd name="T3" fmla="*/ 4 h 11"/>
                <a:gd name="T4" fmla="*/ 5 w 9"/>
                <a:gd name="T5" fmla="*/ 0 h 11"/>
                <a:gd name="T6" fmla="*/ 1 w 9"/>
                <a:gd name="T7" fmla="*/ 3 h 11"/>
                <a:gd name="T8" fmla="*/ 0 w 9"/>
                <a:gd name="T9" fmla="*/ 10 h 11"/>
                <a:gd name="T10" fmla="*/ 4 w 9"/>
                <a:gd name="T11" fmla="*/ 10 h 11"/>
                <a:gd name="T12" fmla="*/ 7 w 9"/>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9" h="11">
                  <a:moveTo>
                    <a:pt x="7" y="11"/>
                  </a:moveTo>
                  <a:cubicBezTo>
                    <a:pt x="8" y="4"/>
                    <a:pt x="8" y="4"/>
                    <a:pt x="8" y="4"/>
                  </a:cubicBezTo>
                  <a:cubicBezTo>
                    <a:pt x="9" y="2"/>
                    <a:pt x="7" y="1"/>
                    <a:pt x="5" y="0"/>
                  </a:cubicBezTo>
                  <a:cubicBezTo>
                    <a:pt x="3" y="0"/>
                    <a:pt x="2" y="1"/>
                    <a:pt x="1" y="3"/>
                  </a:cubicBezTo>
                  <a:cubicBezTo>
                    <a:pt x="0" y="10"/>
                    <a:pt x="0" y="10"/>
                    <a:pt x="0" y="10"/>
                  </a:cubicBezTo>
                  <a:cubicBezTo>
                    <a:pt x="4" y="10"/>
                    <a:pt x="4" y="10"/>
                    <a:pt x="4" y="10"/>
                  </a:cubicBezTo>
                  <a:lnTo>
                    <a:pt x="7" y="11"/>
                  </a:lnTo>
                  <a:close/>
                </a:path>
              </a:pathLst>
            </a:custGeom>
            <a:solidFill>
              <a:srgbClr val="F48F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iṧlîḑè">
              <a:extLst>
                <a:ext uri="{FF2B5EF4-FFF2-40B4-BE49-F238E27FC236}">
                  <a16:creationId xmlns:a16="http://schemas.microsoft.com/office/drawing/2014/main" id="{08A1B322-7242-415F-87B2-39FA61CFDD53}"/>
                </a:ext>
              </a:extLst>
            </p:cNvPr>
            <p:cNvSpPr/>
            <p:nvPr/>
          </p:nvSpPr>
          <p:spPr bwMode="auto">
            <a:xfrm>
              <a:off x="6919913" y="5365750"/>
              <a:ext cx="26988" cy="17462"/>
            </a:xfrm>
            <a:custGeom>
              <a:avLst/>
              <a:gdLst>
                <a:gd name="T0" fmla="*/ 8 w 17"/>
                <a:gd name="T1" fmla="*/ 2 h 11"/>
                <a:gd name="T2" fmla="*/ 2 w 17"/>
                <a:gd name="T3" fmla="*/ 0 h 11"/>
                <a:gd name="T4" fmla="*/ 0 w 17"/>
                <a:gd name="T5" fmla="*/ 8 h 11"/>
                <a:gd name="T6" fmla="*/ 8 w 17"/>
                <a:gd name="T7" fmla="*/ 8 h 11"/>
                <a:gd name="T8" fmla="*/ 15 w 17"/>
                <a:gd name="T9" fmla="*/ 11 h 11"/>
                <a:gd name="T10" fmla="*/ 17 w 17"/>
                <a:gd name="T11" fmla="*/ 2 h 11"/>
                <a:gd name="T12" fmla="*/ 8 w 17"/>
                <a:gd name="T13" fmla="*/ 2 h 11"/>
              </a:gdLst>
              <a:ahLst/>
              <a:cxnLst>
                <a:cxn ang="0">
                  <a:pos x="T0" y="T1"/>
                </a:cxn>
                <a:cxn ang="0">
                  <a:pos x="T2" y="T3"/>
                </a:cxn>
                <a:cxn ang="0">
                  <a:pos x="T4" y="T5"/>
                </a:cxn>
                <a:cxn ang="0">
                  <a:pos x="T6" y="T7"/>
                </a:cxn>
                <a:cxn ang="0">
                  <a:pos x="T8" y="T9"/>
                </a:cxn>
                <a:cxn ang="0">
                  <a:pos x="T10" y="T11"/>
                </a:cxn>
                <a:cxn ang="0">
                  <a:pos x="T12" y="T13"/>
                </a:cxn>
              </a:cxnLst>
              <a:rect l="0" t="0" r="r" b="b"/>
              <a:pathLst>
                <a:path w="17" h="11">
                  <a:moveTo>
                    <a:pt x="8" y="2"/>
                  </a:moveTo>
                  <a:lnTo>
                    <a:pt x="2" y="0"/>
                  </a:lnTo>
                  <a:lnTo>
                    <a:pt x="0" y="8"/>
                  </a:lnTo>
                  <a:lnTo>
                    <a:pt x="8" y="8"/>
                  </a:lnTo>
                  <a:lnTo>
                    <a:pt x="15" y="11"/>
                  </a:lnTo>
                  <a:lnTo>
                    <a:pt x="17" y="2"/>
                  </a:lnTo>
                  <a:lnTo>
                    <a:pt x="8" y="2"/>
                  </a:lnTo>
                  <a:close/>
                </a:path>
              </a:pathLst>
            </a:custGeom>
            <a:solidFill>
              <a:srgbClr val="8F8F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śļíḑé">
              <a:extLst>
                <a:ext uri="{FF2B5EF4-FFF2-40B4-BE49-F238E27FC236}">
                  <a16:creationId xmlns:a16="http://schemas.microsoft.com/office/drawing/2014/main" id="{90D3BA7E-AA28-4A35-8FFE-04A81B777488}"/>
                </a:ext>
              </a:extLst>
            </p:cNvPr>
            <p:cNvSpPr/>
            <p:nvPr/>
          </p:nvSpPr>
          <p:spPr bwMode="auto">
            <a:xfrm>
              <a:off x="6883401" y="5378450"/>
              <a:ext cx="60325" cy="290512"/>
            </a:xfrm>
            <a:custGeom>
              <a:avLst/>
              <a:gdLst>
                <a:gd name="T0" fmla="*/ 31 w 38"/>
                <a:gd name="T1" fmla="*/ 0 h 183"/>
                <a:gd name="T2" fmla="*/ 23 w 38"/>
                <a:gd name="T3" fmla="*/ 0 h 183"/>
                <a:gd name="T4" fmla="*/ 0 w 38"/>
                <a:gd name="T5" fmla="*/ 181 h 183"/>
                <a:gd name="T6" fmla="*/ 8 w 38"/>
                <a:gd name="T7" fmla="*/ 181 h 183"/>
                <a:gd name="T8" fmla="*/ 15 w 38"/>
                <a:gd name="T9" fmla="*/ 183 h 183"/>
                <a:gd name="T10" fmla="*/ 38 w 38"/>
                <a:gd name="T11" fmla="*/ 3 h 183"/>
                <a:gd name="T12" fmla="*/ 31 w 38"/>
                <a:gd name="T13" fmla="*/ 0 h 183"/>
              </a:gdLst>
              <a:ahLst/>
              <a:cxnLst>
                <a:cxn ang="0">
                  <a:pos x="T0" y="T1"/>
                </a:cxn>
                <a:cxn ang="0">
                  <a:pos x="T2" y="T3"/>
                </a:cxn>
                <a:cxn ang="0">
                  <a:pos x="T4" y="T5"/>
                </a:cxn>
                <a:cxn ang="0">
                  <a:pos x="T6" y="T7"/>
                </a:cxn>
                <a:cxn ang="0">
                  <a:pos x="T8" y="T9"/>
                </a:cxn>
                <a:cxn ang="0">
                  <a:pos x="T10" y="T11"/>
                </a:cxn>
                <a:cxn ang="0">
                  <a:pos x="T12" y="T13"/>
                </a:cxn>
              </a:cxnLst>
              <a:rect l="0" t="0" r="r" b="b"/>
              <a:pathLst>
                <a:path w="38" h="183">
                  <a:moveTo>
                    <a:pt x="31" y="0"/>
                  </a:moveTo>
                  <a:lnTo>
                    <a:pt x="23" y="0"/>
                  </a:lnTo>
                  <a:lnTo>
                    <a:pt x="0" y="181"/>
                  </a:lnTo>
                  <a:lnTo>
                    <a:pt x="8" y="181"/>
                  </a:lnTo>
                  <a:lnTo>
                    <a:pt x="15" y="183"/>
                  </a:lnTo>
                  <a:lnTo>
                    <a:pt x="38" y="3"/>
                  </a:lnTo>
                  <a:lnTo>
                    <a:pt x="31" y="0"/>
                  </a:lnTo>
                  <a:close/>
                </a:path>
              </a:pathLst>
            </a:custGeom>
            <a:solidFill>
              <a:srgbClr val="F9C3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iSľiḋe">
              <a:extLst>
                <a:ext uri="{FF2B5EF4-FFF2-40B4-BE49-F238E27FC236}">
                  <a16:creationId xmlns:a16="http://schemas.microsoft.com/office/drawing/2014/main" id="{9AFF4DC3-B669-448A-8DCE-1044023F403C}"/>
                </a:ext>
              </a:extLst>
            </p:cNvPr>
            <p:cNvSpPr/>
            <p:nvPr/>
          </p:nvSpPr>
          <p:spPr bwMode="auto">
            <a:xfrm>
              <a:off x="6757988" y="5511800"/>
              <a:ext cx="277813" cy="22225"/>
            </a:xfrm>
            <a:custGeom>
              <a:avLst/>
              <a:gdLst>
                <a:gd name="T0" fmla="*/ 84 w 84"/>
                <a:gd name="T1" fmla="*/ 7 h 7"/>
                <a:gd name="T2" fmla="*/ 80 w 84"/>
                <a:gd name="T3" fmla="*/ 1 h 7"/>
                <a:gd name="T4" fmla="*/ 72 w 84"/>
                <a:gd name="T5" fmla="*/ 1 h 7"/>
                <a:gd name="T6" fmla="*/ 62 w 84"/>
                <a:gd name="T7" fmla="*/ 1 h 7"/>
                <a:gd name="T8" fmla="*/ 38 w 84"/>
                <a:gd name="T9" fmla="*/ 1 h 7"/>
                <a:gd name="T10" fmla="*/ 12 w 84"/>
                <a:gd name="T11" fmla="*/ 1 h 7"/>
                <a:gd name="T12" fmla="*/ 1 w 84"/>
                <a:gd name="T13" fmla="*/ 7 h 7"/>
                <a:gd name="T14" fmla="*/ 1 w 84"/>
                <a:gd name="T15" fmla="*/ 7 h 7"/>
                <a:gd name="T16" fmla="*/ 84 w 84"/>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7">
                  <a:moveTo>
                    <a:pt x="84" y="7"/>
                  </a:moveTo>
                  <a:cubicBezTo>
                    <a:pt x="84" y="4"/>
                    <a:pt x="83" y="2"/>
                    <a:pt x="80" y="1"/>
                  </a:cubicBezTo>
                  <a:cubicBezTo>
                    <a:pt x="78" y="1"/>
                    <a:pt x="75" y="1"/>
                    <a:pt x="72" y="1"/>
                  </a:cubicBezTo>
                  <a:cubicBezTo>
                    <a:pt x="69" y="1"/>
                    <a:pt x="65" y="1"/>
                    <a:pt x="62" y="1"/>
                  </a:cubicBezTo>
                  <a:cubicBezTo>
                    <a:pt x="54" y="1"/>
                    <a:pt x="46" y="1"/>
                    <a:pt x="38" y="1"/>
                  </a:cubicBezTo>
                  <a:cubicBezTo>
                    <a:pt x="29" y="1"/>
                    <a:pt x="20" y="1"/>
                    <a:pt x="12" y="1"/>
                  </a:cubicBezTo>
                  <a:cubicBezTo>
                    <a:pt x="7" y="1"/>
                    <a:pt x="0" y="0"/>
                    <a:pt x="1" y="7"/>
                  </a:cubicBezTo>
                  <a:cubicBezTo>
                    <a:pt x="1" y="7"/>
                    <a:pt x="1" y="7"/>
                    <a:pt x="1" y="7"/>
                  </a:cubicBezTo>
                  <a:cubicBezTo>
                    <a:pt x="84" y="7"/>
                    <a:pt x="84" y="7"/>
                    <a:pt x="84" y="7"/>
                  </a:cubicBezTo>
                  <a:close/>
                </a:path>
              </a:pathLst>
            </a:custGeom>
            <a:solidFill>
              <a:srgbClr val="CFD8D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iṧľíďé">
              <a:extLst>
                <a:ext uri="{FF2B5EF4-FFF2-40B4-BE49-F238E27FC236}">
                  <a16:creationId xmlns:a16="http://schemas.microsoft.com/office/drawing/2014/main" id="{D42D0576-4E68-4B44-BFF6-2207C1F5BFD1}"/>
                </a:ext>
              </a:extLst>
            </p:cNvPr>
            <p:cNvSpPr/>
            <p:nvPr/>
          </p:nvSpPr>
          <p:spPr bwMode="auto">
            <a:xfrm>
              <a:off x="6761163" y="5534025"/>
              <a:ext cx="274638" cy="227012"/>
            </a:xfrm>
            <a:custGeom>
              <a:avLst/>
              <a:gdLst>
                <a:gd name="T0" fmla="*/ 173 w 173"/>
                <a:gd name="T1" fmla="*/ 0 h 143"/>
                <a:gd name="T2" fmla="*/ 0 w 173"/>
                <a:gd name="T3" fmla="*/ 0 h 143"/>
                <a:gd name="T4" fmla="*/ 19 w 173"/>
                <a:gd name="T5" fmla="*/ 143 h 143"/>
                <a:gd name="T6" fmla="*/ 152 w 173"/>
                <a:gd name="T7" fmla="*/ 143 h 143"/>
                <a:gd name="T8" fmla="*/ 173 w 173"/>
                <a:gd name="T9" fmla="*/ 0 h 143"/>
              </a:gdLst>
              <a:ahLst/>
              <a:cxnLst>
                <a:cxn ang="0">
                  <a:pos x="T0" y="T1"/>
                </a:cxn>
                <a:cxn ang="0">
                  <a:pos x="T2" y="T3"/>
                </a:cxn>
                <a:cxn ang="0">
                  <a:pos x="T4" y="T5"/>
                </a:cxn>
                <a:cxn ang="0">
                  <a:pos x="T6" y="T7"/>
                </a:cxn>
                <a:cxn ang="0">
                  <a:pos x="T8" y="T9"/>
                </a:cxn>
              </a:cxnLst>
              <a:rect l="0" t="0" r="r" b="b"/>
              <a:pathLst>
                <a:path w="173" h="143">
                  <a:moveTo>
                    <a:pt x="173" y="0"/>
                  </a:moveTo>
                  <a:lnTo>
                    <a:pt x="0" y="0"/>
                  </a:lnTo>
                  <a:lnTo>
                    <a:pt x="19" y="143"/>
                  </a:lnTo>
                  <a:lnTo>
                    <a:pt x="152" y="143"/>
                  </a:lnTo>
                  <a:lnTo>
                    <a:pt x="173" y="0"/>
                  </a:lnTo>
                  <a:close/>
                </a:path>
              </a:pathLst>
            </a:custGeom>
            <a:solidFill>
              <a:srgbClr val="ECEFF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ïṧľidê">
              <a:extLst>
                <a:ext uri="{FF2B5EF4-FFF2-40B4-BE49-F238E27FC236}">
                  <a16:creationId xmlns:a16="http://schemas.microsoft.com/office/drawing/2014/main" id="{6BEBC09E-BCC7-4EFE-8A2A-E48BA4F0F1C3}"/>
                </a:ext>
              </a:extLst>
            </p:cNvPr>
            <p:cNvSpPr/>
            <p:nvPr/>
          </p:nvSpPr>
          <p:spPr bwMode="auto">
            <a:xfrm>
              <a:off x="6791326" y="5761038"/>
              <a:ext cx="211138" cy="39687"/>
            </a:xfrm>
            <a:custGeom>
              <a:avLst/>
              <a:gdLst>
                <a:gd name="T0" fmla="*/ 133 w 133"/>
                <a:gd name="T1" fmla="*/ 0 h 25"/>
                <a:gd name="T2" fmla="*/ 0 w 133"/>
                <a:gd name="T3" fmla="*/ 0 h 25"/>
                <a:gd name="T4" fmla="*/ 4 w 133"/>
                <a:gd name="T5" fmla="*/ 25 h 25"/>
                <a:gd name="T6" fmla="*/ 131 w 133"/>
                <a:gd name="T7" fmla="*/ 25 h 25"/>
                <a:gd name="T8" fmla="*/ 133 w 133"/>
                <a:gd name="T9" fmla="*/ 0 h 25"/>
              </a:gdLst>
              <a:ahLst/>
              <a:cxnLst>
                <a:cxn ang="0">
                  <a:pos x="T0" y="T1"/>
                </a:cxn>
                <a:cxn ang="0">
                  <a:pos x="T2" y="T3"/>
                </a:cxn>
                <a:cxn ang="0">
                  <a:pos x="T4" y="T5"/>
                </a:cxn>
                <a:cxn ang="0">
                  <a:pos x="T6" y="T7"/>
                </a:cxn>
                <a:cxn ang="0">
                  <a:pos x="T8" y="T9"/>
                </a:cxn>
              </a:cxnLst>
              <a:rect l="0" t="0" r="r" b="b"/>
              <a:pathLst>
                <a:path w="133" h="25">
                  <a:moveTo>
                    <a:pt x="133" y="0"/>
                  </a:moveTo>
                  <a:lnTo>
                    <a:pt x="0" y="0"/>
                  </a:lnTo>
                  <a:lnTo>
                    <a:pt x="4" y="25"/>
                  </a:lnTo>
                  <a:lnTo>
                    <a:pt x="131" y="25"/>
                  </a:lnTo>
                  <a:lnTo>
                    <a:pt x="133" y="0"/>
                  </a:lnTo>
                  <a:close/>
                </a:path>
              </a:pathLst>
            </a:custGeom>
            <a:solidFill>
              <a:srgbClr val="CFD8D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00" name="云形 99"/>
          <p:cNvSpPr/>
          <p:nvPr/>
        </p:nvSpPr>
        <p:spPr>
          <a:xfrm>
            <a:off x="299356" y="2540001"/>
            <a:ext cx="1509486" cy="1175657"/>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t>那种类型？</a:t>
            </a:r>
            <a:endParaRPr lang="zh-CN" altLang="en-US" dirty="0"/>
          </a:p>
        </p:txBody>
      </p:sp>
      <p:grpSp>
        <p:nvGrpSpPr>
          <p:cNvPr id="101" name="组合 100">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102" name="椭圆 101">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103" name="椭圆 102">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grpSp>
      <p:sp>
        <p:nvSpPr>
          <p:cNvPr id="104" name="标题 1">
            <a:extLst>
              <a:ext uri="{FF2B5EF4-FFF2-40B4-BE49-F238E27FC236}">
                <a16:creationId xmlns:a16="http://schemas.microsoft.com/office/drawing/2014/main" id="{1D9D90DD-82BB-4388-81A3-44FA307364C4}"/>
              </a:ext>
            </a:extLst>
          </p:cNvPr>
          <p:cNvSpPr txBox="1">
            <a:spLocks/>
          </p:cNvSpPr>
          <p:nvPr/>
        </p:nvSpPr>
        <p:spPr>
          <a:xfrm>
            <a:off x="1149782" y="210918"/>
            <a:ext cx="4850185" cy="57784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3200" b="0" dirty="0" smtClean="0">
                <a:latin typeface="Arial" panose="020B0604020202020204" pitchFamily="34" charset="0"/>
                <a:ea typeface="Microsoft YaHei" panose="020B0503020204020204" pitchFamily="34" charset="-122"/>
                <a:cs typeface="+mn-ea"/>
                <a:sym typeface="Arial" panose="020B0604020202020204" pitchFamily="34" charset="0"/>
              </a:rPr>
              <a:t>设计模式的选择</a:t>
            </a:r>
            <a:endParaRPr lang="zh-CN" altLang="en-US" sz="3200" b="0" dirty="0">
              <a:latin typeface="Arial" panose="020B0604020202020204" pitchFamily="34" charset="0"/>
              <a:ea typeface="Microsoft YaHei" panose="020B0503020204020204" pitchFamily="34" charset="-122"/>
              <a:cs typeface="+mn-ea"/>
              <a:sym typeface="Arial" panose="020B0604020202020204" pitchFamily="34" charset="0"/>
            </a:endParaRPr>
          </a:p>
        </p:txBody>
      </p:sp>
    </p:spTree>
    <p:extLst>
      <p:ext uri="{BB962C8B-B14F-4D97-AF65-F5344CB8AC3E}">
        <p14:creationId xmlns:p14="http://schemas.microsoft.com/office/powerpoint/2010/main" val="6407356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1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100" grpId="0" animBg="1"/>
    </p:bldLst>
  </p:timing>
</p:sld>
</file>

<file path=ppt/slides/slide112.xml><?xml version="1.0" encoding="utf-8"?>
<p:sld xmlns:a="http://schemas.openxmlformats.org/drawingml/2006/main" xmlns:r="http://schemas.openxmlformats.org/officeDocument/2006/relationships" xmlns:p="http://schemas.openxmlformats.org/presentationml/2006/main" show="0">
  <p:cSld>
    <p:bg>
      <p:bgPr>
        <a:solidFill>
          <a:schemeClr val="accent4">
            <a:lumMod val="40000"/>
            <a:lumOff val="60000"/>
          </a:schemeClr>
        </a:solidFill>
        <a:effectLst/>
      </p:bgPr>
    </p:bg>
    <p:spTree>
      <p:nvGrpSpPr>
        <p:cNvPr id="1" name=""/>
        <p:cNvGrpSpPr/>
        <p:nvPr/>
      </p:nvGrpSpPr>
      <p:grpSpPr>
        <a:xfrm>
          <a:off x="0" y="0"/>
          <a:ext cx="0" cy="0"/>
          <a:chOff x="0" y="0"/>
          <a:chExt cx="0" cy="0"/>
        </a:xfrm>
      </p:grpSpPr>
      <p:grpSp>
        <p:nvGrpSpPr>
          <p:cNvPr id="4" name="组合 3">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5" name="椭圆 4">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6" name="椭圆 5">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grpSp>
      <p:sp>
        <p:nvSpPr>
          <p:cNvPr id="7" name="标题 1">
            <a:extLst>
              <a:ext uri="{FF2B5EF4-FFF2-40B4-BE49-F238E27FC236}">
                <a16:creationId xmlns:a16="http://schemas.microsoft.com/office/drawing/2014/main" id="{1D9D90DD-82BB-4388-81A3-44FA307364C4}"/>
              </a:ext>
            </a:extLst>
          </p:cNvPr>
          <p:cNvSpPr txBox="1">
            <a:spLocks/>
          </p:cNvSpPr>
          <p:nvPr/>
        </p:nvSpPr>
        <p:spPr>
          <a:xfrm>
            <a:off x="1149782" y="210918"/>
            <a:ext cx="4850185" cy="57784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3200" b="0" dirty="0" smtClean="0">
                <a:latin typeface="Arial" panose="020B0604020202020204" pitchFamily="34" charset="0"/>
                <a:ea typeface="Microsoft YaHei" panose="020B0503020204020204" pitchFamily="34" charset="-122"/>
                <a:cs typeface="+mn-ea"/>
                <a:sym typeface="Arial" panose="020B0604020202020204" pitchFamily="34" charset="0"/>
              </a:rPr>
              <a:t>架构思想</a:t>
            </a:r>
            <a:endParaRPr lang="zh-CN" altLang="en-US" sz="3200" b="0" dirty="0">
              <a:latin typeface="Arial" panose="020B0604020202020204" pitchFamily="34" charset="0"/>
              <a:ea typeface="Microsoft YaHei" panose="020B0503020204020204" pitchFamily="34" charset="-122"/>
              <a:cs typeface="+mn-ea"/>
              <a:sym typeface="Arial" panose="020B0604020202020204" pitchFamily="34" charset="0"/>
            </a:endParaRPr>
          </a:p>
        </p:txBody>
      </p:sp>
      <p:grpSp>
        <p:nvGrpSpPr>
          <p:cNvPr id="52" name="338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707232" y="3107606"/>
            <a:ext cx="10850562" cy="2129251"/>
            <a:chOff x="669925" y="2255959"/>
            <a:chExt cx="10850562" cy="2129251"/>
          </a:xfrm>
        </p:grpSpPr>
        <p:grpSp>
          <p:nvGrpSpPr>
            <p:cNvPr id="53" name="îşlîḓe"/>
            <p:cNvGrpSpPr/>
            <p:nvPr/>
          </p:nvGrpSpPr>
          <p:grpSpPr>
            <a:xfrm>
              <a:off x="3868401" y="2619360"/>
              <a:ext cx="4476949" cy="1619283"/>
              <a:chOff x="3868401" y="2619360"/>
              <a:chExt cx="4476949" cy="1619283"/>
            </a:xfrm>
          </p:grpSpPr>
          <p:sp>
            <p:nvSpPr>
              <p:cNvPr id="62" name="í$ľíďe"/>
              <p:cNvSpPr/>
              <p:nvPr/>
            </p:nvSpPr>
            <p:spPr>
              <a:xfrm>
                <a:off x="6147753" y="2619360"/>
                <a:ext cx="2197597" cy="1619283"/>
              </a:xfrm>
              <a:prstGeom prst="homePlate">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chorCtr="0">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defTabSz="914378">
                  <a:spcBef>
                    <a:spcPct val="0"/>
                  </a:spcBef>
                  <a:defRPr/>
                </a:pPr>
                <a:r>
                  <a:rPr lang="zh-CN" altLang="en-US" sz="2000" b="1" dirty="0" smtClean="0">
                    <a:solidFill>
                      <a:schemeClr val="bg1"/>
                    </a:solidFill>
                  </a:rPr>
                  <a:t>插件化</a:t>
                </a:r>
                <a:endParaRPr lang="zh-CN" altLang="en-US" sz="2000" b="1" dirty="0">
                  <a:solidFill>
                    <a:schemeClr val="bg1"/>
                  </a:solidFill>
                </a:endParaRPr>
              </a:p>
            </p:txBody>
          </p:sp>
          <p:sp>
            <p:nvSpPr>
              <p:cNvPr id="63" name="îŝlîḋè"/>
              <p:cNvSpPr/>
              <p:nvPr/>
            </p:nvSpPr>
            <p:spPr>
              <a:xfrm flipH="1">
                <a:off x="3868401" y="2619360"/>
                <a:ext cx="2197597" cy="1619283"/>
              </a:xfrm>
              <a:prstGeom prst="homePlate">
                <a:avLst/>
              </a:prstGeom>
              <a:solidFill>
                <a:schemeClr val="tx1">
                  <a:lumMod val="50000"/>
                  <a:lumOff val="50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anchor="ctr" anchorCtr="0">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r" defTabSz="914378">
                  <a:spcBef>
                    <a:spcPct val="0"/>
                  </a:spcBef>
                  <a:defRPr/>
                </a:pPr>
                <a:r>
                  <a:rPr lang="zh-CN" altLang="en-US" sz="2000" b="1" dirty="0" smtClean="0">
                    <a:solidFill>
                      <a:schemeClr val="bg1"/>
                    </a:solidFill>
                  </a:rPr>
                  <a:t>组件化</a:t>
                </a:r>
                <a:endParaRPr lang="zh-CN" altLang="en-US" sz="2000" b="1" dirty="0">
                  <a:solidFill>
                    <a:schemeClr val="bg1"/>
                  </a:solidFill>
                </a:endParaRPr>
              </a:p>
            </p:txBody>
          </p:sp>
        </p:grpSp>
        <p:grpSp>
          <p:nvGrpSpPr>
            <p:cNvPr id="54" name="îşḷîḑè"/>
            <p:cNvGrpSpPr/>
            <p:nvPr/>
          </p:nvGrpSpPr>
          <p:grpSpPr>
            <a:xfrm>
              <a:off x="9471957" y="2255959"/>
              <a:ext cx="914400" cy="914400"/>
              <a:chOff x="9733216" y="2255959"/>
              <a:chExt cx="914400" cy="914400"/>
            </a:xfrm>
          </p:grpSpPr>
          <p:sp>
            <p:nvSpPr>
              <p:cNvPr id="60" name="í$ḷïḍè"/>
              <p:cNvSpPr/>
              <p:nvPr/>
            </p:nvSpPr>
            <p:spPr>
              <a:xfrm>
                <a:off x="9733216" y="2255959"/>
                <a:ext cx="914400" cy="914400"/>
              </a:xfrm>
              <a:prstGeom prst="ellipse">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p>
            </p:txBody>
          </p:sp>
          <p:sp>
            <p:nvSpPr>
              <p:cNvPr id="61" name="iŝ1íḍe"/>
              <p:cNvSpPr/>
              <p:nvPr/>
            </p:nvSpPr>
            <p:spPr bwMode="auto">
              <a:xfrm>
                <a:off x="9961207" y="2484295"/>
                <a:ext cx="458418" cy="457727"/>
              </a:xfrm>
              <a:custGeom>
                <a:avLst/>
                <a:gdLst>
                  <a:gd name="T0" fmla="*/ 5847 w 6130"/>
                  <a:gd name="T1" fmla="*/ 4531 h 6130"/>
                  <a:gd name="T2" fmla="*/ 5530 w 6130"/>
                  <a:gd name="T3" fmla="*/ 4531 h 6130"/>
                  <a:gd name="T4" fmla="*/ 5530 w 6130"/>
                  <a:gd name="T5" fmla="*/ 4463 h 6130"/>
                  <a:gd name="T6" fmla="*/ 4132 w 6130"/>
                  <a:gd name="T7" fmla="*/ 3065 h 6130"/>
                  <a:gd name="T8" fmla="*/ 3265 w 6130"/>
                  <a:gd name="T9" fmla="*/ 3065 h 6130"/>
                  <a:gd name="T10" fmla="*/ 3265 w 6130"/>
                  <a:gd name="T11" fmla="*/ 1599 h 6130"/>
                  <a:gd name="T12" fmla="*/ 3581 w 6130"/>
                  <a:gd name="T13" fmla="*/ 1599 h 6130"/>
                  <a:gd name="T14" fmla="*/ 3864 w 6130"/>
                  <a:gd name="T15" fmla="*/ 1316 h 6130"/>
                  <a:gd name="T16" fmla="*/ 3864 w 6130"/>
                  <a:gd name="T17" fmla="*/ 283 h 6130"/>
                  <a:gd name="T18" fmla="*/ 3581 w 6130"/>
                  <a:gd name="T19" fmla="*/ 0 h 6130"/>
                  <a:gd name="T20" fmla="*/ 2549 w 6130"/>
                  <a:gd name="T21" fmla="*/ 0 h 6130"/>
                  <a:gd name="T22" fmla="*/ 2265 w 6130"/>
                  <a:gd name="T23" fmla="*/ 283 h 6130"/>
                  <a:gd name="T24" fmla="*/ 2265 w 6130"/>
                  <a:gd name="T25" fmla="*/ 1316 h 6130"/>
                  <a:gd name="T26" fmla="*/ 2549 w 6130"/>
                  <a:gd name="T27" fmla="*/ 1599 h 6130"/>
                  <a:gd name="T28" fmla="*/ 2865 w 6130"/>
                  <a:gd name="T29" fmla="*/ 1599 h 6130"/>
                  <a:gd name="T30" fmla="*/ 2865 w 6130"/>
                  <a:gd name="T31" fmla="*/ 3065 h 6130"/>
                  <a:gd name="T32" fmla="*/ 1998 w 6130"/>
                  <a:gd name="T33" fmla="*/ 3065 h 6130"/>
                  <a:gd name="T34" fmla="*/ 600 w 6130"/>
                  <a:gd name="T35" fmla="*/ 4463 h 6130"/>
                  <a:gd name="T36" fmla="*/ 600 w 6130"/>
                  <a:gd name="T37" fmla="*/ 4531 h 6130"/>
                  <a:gd name="T38" fmla="*/ 283 w 6130"/>
                  <a:gd name="T39" fmla="*/ 4531 h 6130"/>
                  <a:gd name="T40" fmla="*/ 0 w 6130"/>
                  <a:gd name="T41" fmla="*/ 4814 h 6130"/>
                  <a:gd name="T42" fmla="*/ 0 w 6130"/>
                  <a:gd name="T43" fmla="*/ 5847 h 6130"/>
                  <a:gd name="T44" fmla="*/ 283 w 6130"/>
                  <a:gd name="T45" fmla="*/ 6130 h 6130"/>
                  <a:gd name="T46" fmla="*/ 1316 w 6130"/>
                  <a:gd name="T47" fmla="*/ 6130 h 6130"/>
                  <a:gd name="T48" fmla="*/ 1599 w 6130"/>
                  <a:gd name="T49" fmla="*/ 5847 h 6130"/>
                  <a:gd name="T50" fmla="*/ 1599 w 6130"/>
                  <a:gd name="T51" fmla="*/ 4814 h 6130"/>
                  <a:gd name="T52" fmla="*/ 1316 w 6130"/>
                  <a:gd name="T53" fmla="*/ 4531 h 6130"/>
                  <a:gd name="T54" fmla="*/ 999 w 6130"/>
                  <a:gd name="T55" fmla="*/ 4531 h 6130"/>
                  <a:gd name="T56" fmla="*/ 999 w 6130"/>
                  <a:gd name="T57" fmla="*/ 4463 h 6130"/>
                  <a:gd name="T58" fmla="*/ 1998 w 6130"/>
                  <a:gd name="T59" fmla="*/ 3465 h 6130"/>
                  <a:gd name="T60" fmla="*/ 2865 w 6130"/>
                  <a:gd name="T61" fmla="*/ 3465 h 6130"/>
                  <a:gd name="T62" fmla="*/ 2865 w 6130"/>
                  <a:gd name="T63" fmla="*/ 4531 h 6130"/>
                  <a:gd name="T64" fmla="*/ 2549 w 6130"/>
                  <a:gd name="T65" fmla="*/ 4531 h 6130"/>
                  <a:gd name="T66" fmla="*/ 2265 w 6130"/>
                  <a:gd name="T67" fmla="*/ 4814 h 6130"/>
                  <a:gd name="T68" fmla="*/ 2265 w 6130"/>
                  <a:gd name="T69" fmla="*/ 5847 h 6130"/>
                  <a:gd name="T70" fmla="*/ 2549 w 6130"/>
                  <a:gd name="T71" fmla="*/ 6130 h 6130"/>
                  <a:gd name="T72" fmla="*/ 3581 w 6130"/>
                  <a:gd name="T73" fmla="*/ 6130 h 6130"/>
                  <a:gd name="T74" fmla="*/ 3864 w 6130"/>
                  <a:gd name="T75" fmla="*/ 5847 h 6130"/>
                  <a:gd name="T76" fmla="*/ 3864 w 6130"/>
                  <a:gd name="T77" fmla="*/ 4814 h 6130"/>
                  <a:gd name="T78" fmla="*/ 3581 w 6130"/>
                  <a:gd name="T79" fmla="*/ 4531 h 6130"/>
                  <a:gd name="T80" fmla="*/ 3265 w 6130"/>
                  <a:gd name="T81" fmla="*/ 4531 h 6130"/>
                  <a:gd name="T82" fmla="*/ 3265 w 6130"/>
                  <a:gd name="T83" fmla="*/ 3465 h 6130"/>
                  <a:gd name="T84" fmla="*/ 4132 w 6130"/>
                  <a:gd name="T85" fmla="*/ 3465 h 6130"/>
                  <a:gd name="T86" fmla="*/ 5130 w 6130"/>
                  <a:gd name="T87" fmla="*/ 4463 h 6130"/>
                  <a:gd name="T88" fmla="*/ 5130 w 6130"/>
                  <a:gd name="T89" fmla="*/ 4531 h 6130"/>
                  <a:gd name="T90" fmla="*/ 4814 w 6130"/>
                  <a:gd name="T91" fmla="*/ 4531 h 6130"/>
                  <a:gd name="T92" fmla="*/ 4531 w 6130"/>
                  <a:gd name="T93" fmla="*/ 4814 h 6130"/>
                  <a:gd name="T94" fmla="*/ 4531 w 6130"/>
                  <a:gd name="T95" fmla="*/ 5847 h 6130"/>
                  <a:gd name="T96" fmla="*/ 4814 w 6130"/>
                  <a:gd name="T97" fmla="*/ 6130 h 6130"/>
                  <a:gd name="T98" fmla="*/ 5847 w 6130"/>
                  <a:gd name="T99" fmla="*/ 6130 h 6130"/>
                  <a:gd name="T100" fmla="*/ 6130 w 6130"/>
                  <a:gd name="T101" fmla="*/ 5847 h 6130"/>
                  <a:gd name="T102" fmla="*/ 6130 w 6130"/>
                  <a:gd name="T103" fmla="*/ 4814 h 6130"/>
                  <a:gd name="T104" fmla="*/ 5847 w 6130"/>
                  <a:gd name="T105" fmla="*/ 4531 h 6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130" h="6130">
                    <a:moveTo>
                      <a:pt x="5847" y="4531"/>
                    </a:moveTo>
                    <a:lnTo>
                      <a:pt x="5530" y="4531"/>
                    </a:lnTo>
                    <a:lnTo>
                      <a:pt x="5530" y="4463"/>
                    </a:lnTo>
                    <a:cubicBezTo>
                      <a:pt x="5530" y="3692"/>
                      <a:pt x="4903" y="3065"/>
                      <a:pt x="4132" y="3065"/>
                    </a:cubicBezTo>
                    <a:lnTo>
                      <a:pt x="3265" y="3065"/>
                    </a:lnTo>
                    <a:lnTo>
                      <a:pt x="3265" y="1599"/>
                    </a:lnTo>
                    <a:lnTo>
                      <a:pt x="3581" y="1599"/>
                    </a:lnTo>
                    <a:cubicBezTo>
                      <a:pt x="3738" y="1599"/>
                      <a:pt x="3864" y="1472"/>
                      <a:pt x="3864" y="1316"/>
                    </a:cubicBezTo>
                    <a:lnTo>
                      <a:pt x="3864" y="283"/>
                    </a:lnTo>
                    <a:cubicBezTo>
                      <a:pt x="3864" y="127"/>
                      <a:pt x="3738" y="0"/>
                      <a:pt x="3581" y="0"/>
                    </a:cubicBezTo>
                    <a:lnTo>
                      <a:pt x="2549" y="0"/>
                    </a:lnTo>
                    <a:cubicBezTo>
                      <a:pt x="2392" y="0"/>
                      <a:pt x="2265" y="127"/>
                      <a:pt x="2265" y="283"/>
                    </a:cubicBezTo>
                    <a:lnTo>
                      <a:pt x="2265" y="1316"/>
                    </a:lnTo>
                    <a:cubicBezTo>
                      <a:pt x="2265" y="1472"/>
                      <a:pt x="2392" y="1599"/>
                      <a:pt x="2549" y="1599"/>
                    </a:cubicBezTo>
                    <a:lnTo>
                      <a:pt x="2865" y="1599"/>
                    </a:lnTo>
                    <a:lnTo>
                      <a:pt x="2865" y="3065"/>
                    </a:lnTo>
                    <a:lnTo>
                      <a:pt x="1998" y="3065"/>
                    </a:lnTo>
                    <a:cubicBezTo>
                      <a:pt x="1227" y="3065"/>
                      <a:pt x="600" y="3692"/>
                      <a:pt x="600" y="4463"/>
                    </a:cubicBezTo>
                    <a:lnTo>
                      <a:pt x="600" y="4531"/>
                    </a:lnTo>
                    <a:lnTo>
                      <a:pt x="283" y="4531"/>
                    </a:lnTo>
                    <a:cubicBezTo>
                      <a:pt x="127" y="4531"/>
                      <a:pt x="0" y="4658"/>
                      <a:pt x="0" y="4814"/>
                    </a:cubicBezTo>
                    <a:lnTo>
                      <a:pt x="0" y="5847"/>
                    </a:lnTo>
                    <a:cubicBezTo>
                      <a:pt x="0" y="6003"/>
                      <a:pt x="127" y="6130"/>
                      <a:pt x="283" y="6130"/>
                    </a:cubicBezTo>
                    <a:lnTo>
                      <a:pt x="1316" y="6130"/>
                    </a:lnTo>
                    <a:cubicBezTo>
                      <a:pt x="1472" y="6130"/>
                      <a:pt x="1599" y="6003"/>
                      <a:pt x="1599" y="5847"/>
                    </a:cubicBezTo>
                    <a:lnTo>
                      <a:pt x="1599" y="4814"/>
                    </a:lnTo>
                    <a:cubicBezTo>
                      <a:pt x="1599" y="4658"/>
                      <a:pt x="1472" y="4531"/>
                      <a:pt x="1316" y="4531"/>
                    </a:cubicBezTo>
                    <a:lnTo>
                      <a:pt x="999" y="4531"/>
                    </a:lnTo>
                    <a:lnTo>
                      <a:pt x="999" y="4463"/>
                    </a:lnTo>
                    <a:cubicBezTo>
                      <a:pt x="999" y="3913"/>
                      <a:pt x="1447" y="3465"/>
                      <a:pt x="1998" y="3465"/>
                    </a:cubicBezTo>
                    <a:lnTo>
                      <a:pt x="2865" y="3465"/>
                    </a:lnTo>
                    <a:lnTo>
                      <a:pt x="2865" y="4531"/>
                    </a:lnTo>
                    <a:lnTo>
                      <a:pt x="2549" y="4531"/>
                    </a:lnTo>
                    <a:cubicBezTo>
                      <a:pt x="2392" y="4531"/>
                      <a:pt x="2265" y="4658"/>
                      <a:pt x="2265" y="4814"/>
                    </a:cubicBezTo>
                    <a:lnTo>
                      <a:pt x="2265" y="5847"/>
                    </a:lnTo>
                    <a:cubicBezTo>
                      <a:pt x="2265" y="6003"/>
                      <a:pt x="2392" y="6130"/>
                      <a:pt x="2549" y="6130"/>
                    </a:cubicBezTo>
                    <a:lnTo>
                      <a:pt x="3581" y="6130"/>
                    </a:lnTo>
                    <a:cubicBezTo>
                      <a:pt x="3738" y="6130"/>
                      <a:pt x="3864" y="6003"/>
                      <a:pt x="3864" y="5847"/>
                    </a:cubicBezTo>
                    <a:lnTo>
                      <a:pt x="3864" y="4814"/>
                    </a:lnTo>
                    <a:cubicBezTo>
                      <a:pt x="3864" y="4658"/>
                      <a:pt x="3738" y="4531"/>
                      <a:pt x="3581" y="4531"/>
                    </a:cubicBezTo>
                    <a:lnTo>
                      <a:pt x="3265" y="4531"/>
                    </a:lnTo>
                    <a:lnTo>
                      <a:pt x="3265" y="3465"/>
                    </a:lnTo>
                    <a:lnTo>
                      <a:pt x="4132" y="3465"/>
                    </a:lnTo>
                    <a:cubicBezTo>
                      <a:pt x="4683" y="3465"/>
                      <a:pt x="5130" y="3913"/>
                      <a:pt x="5130" y="4463"/>
                    </a:cubicBezTo>
                    <a:lnTo>
                      <a:pt x="5130" y="4531"/>
                    </a:lnTo>
                    <a:lnTo>
                      <a:pt x="4814" y="4531"/>
                    </a:lnTo>
                    <a:cubicBezTo>
                      <a:pt x="4657" y="4531"/>
                      <a:pt x="4531" y="4658"/>
                      <a:pt x="4531" y="4814"/>
                    </a:cubicBezTo>
                    <a:lnTo>
                      <a:pt x="4531" y="5847"/>
                    </a:lnTo>
                    <a:cubicBezTo>
                      <a:pt x="4531" y="6003"/>
                      <a:pt x="4657" y="6130"/>
                      <a:pt x="4814" y="6130"/>
                    </a:cubicBezTo>
                    <a:lnTo>
                      <a:pt x="5847" y="6130"/>
                    </a:lnTo>
                    <a:cubicBezTo>
                      <a:pt x="6003" y="6130"/>
                      <a:pt x="6130" y="6003"/>
                      <a:pt x="6130" y="5847"/>
                    </a:cubicBezTo>
                    <a:lnTo>
                      <a:pt x="6130" y="4814"/>
                    </a:lnTo>
                    <a:cubicBezTo>
                      <a:pt x="6130" y="4658"/>
                      <a:pt x="6003" y="4531"/>
                      <a:pt x="5847" y="4531"/>
                    </a:cubicBezTo>
                    <a:close/>
                  </a:path>
                </a:pathLst>
              </a:custGeom>
              <a:solidFill>
                <a:schemeClr val="bg1"/>
              </a:solidFill>
              <a:ln>
                <a:noFill/>
              </a:ln>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grpSp>
          <p:nvGrpSpPr>
            <p:cNvPr id="55" name="ísḻîdé"/>
            <p:cNvGrpSpPr/>
            <p:nvPr/>
          </p:nvGrpSpPr>
          <p:grpSpPr>
            <a:xfrm>
              <a:off x="1811962" y="2255959"/>
              <a:ext cx="914400" cy="914400"/>
              <a:chOff x="1970341" y="2255959"/>
              <a:chExt cx="914400" cy="914400"/>
            </a:xfrm>
          </p:grpSpPr>
          <p:sp>
            <p:nvSpPr>
              <p:cNvPr id="58" name="ísľîḑé"/>
              <p:cNvSpPr/>
              <p:nvPr/>
            </p:nvSpPr>
            <p:spPr>
              <a:xfrm>
                <a:off x="1970341" y="2255959"/>
                <a:ext cx="914400" cy="914400"/>
              </a:xfrm>
              <a:prstGeom prst="ellipse">
                <a:avLst/>
              </a:prstGeom>
              <a:solidFill>
                <a:schemeClr val="tx1">
                  <a:lumMod val="50000"/>
                  <a:lumOff val="50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p>
            </p:txBody>
          </p:sp>
          <p:sp>
            <p:nvSpPr>
              <p:cNvPr id="59" name="ïsḷíḍe"/>
              <p:cNvSpPr/>
              <p:nvPr/>
            </p:nvSpPr>
            <p:spPr bwMode="auto">
              <a:xfrm>
                <a:off x="2227030" y="2473405"/>
                <a:ext cx="401018" cy="479506"/>
              </a:xfrm>
              <a:custGeom>
                <a:avLst/>
                <a:gdLst>
                  <a:gd name="connsiteX0" fmla="*/ 468696 w 506660"/>
                  <a:gd name="connsiteY0" fmla="*/ 200990 h 605824"/>
                  <a:gd name="connsiteX1" fmla="*/ 506660 w 506660"/>
                  <a:gd name="connsiteY1" fmla="*/ 238894 h 605824"/>
                  <a:gd name="connsiteX2" fmla="*/ 506660 w 506660"/>
                  <a:gd name="connsiteY2" fmla="*/ 415982 h 605824"/>
                  <a:gd name="connsiteX3" fmla="*/ 468696 w 506660"/>
                  <a:gd name="connsiteY3" fmla="*/ 454037 h 605824"/>
                  <a:gd name="connsiteX4" fmla="*/ 430732 w 506660"/>
                  <a:gd name="connsiteY4" fmla="*/ 415982 h 605824"/>
                  <a:gd name="connsiteX5" fmla="*/ 430732 w 506660"/>
                  <a:gd name="connsiteY5" fmla="*/ 238894 h 605824"/>
                  <a:gd name="connsiteX6" fmla="*/ 468696 w 506660"/>
                  <a:gd name="connsiteY6" fmla="*/ 200990 h 605824"/>
                  <a:gd name="connsiteX7" fmla="*/ 101403 w 506660"/>
                  <a:gd name="connsiteY7" fmla="*/ 200990 h 605824"/>
                  <a:gd name="connsiteX8" fmla="*/ 405399 w 506660"/>
                  <a:gd name="connsiteY8" fmla="*/ 200990 h 605824"/>
                  <a:gd name="connsiteX9" fmla="*/ 405399 w 506660"/>
                  <a:gd name="connsiteY9" fmla="*/ 454049 h 605824"/>
                  <a:gd name="connsiteX10" fmla="*/ 380041 w 506660"/>
                  <a:gd name="connsiteY10" fmla="*/ 479370 h 605824"/>
                  <a:gd name="connsiteX11" fmla="*/ 354682 w 506660"/>
                  <a:gd name="connsiteY11" fmla="*/ 479370 h 605824"/>
                  <a:gd name="connsiteX12" fmla="*/ 354682 w 506660"/>
                  <a:gd name="connsiteY12" fmla="*/ 567918 h 605824"/>
                  <a:gd name="connsiteX13" fmla="*/ 316721 w 506660"/>
                  <a:gd name="connsiteY13" fmla="*/ 605824 h 605824"/>
                  <a:gd name="connsiteX14" fmla="*/ 278759 w 506660"/>
                  <a:gd name="connsiteY14" fmla="*/ 567918 h 605824"/>
                  <a:gd name="connsiteX15" fmla="*/ 278759 w 506660"/>
                  <a:gd name="connsiteY15" fmla="*/ 479370 h 605824"/>
                  <a:gd name="connsiteX16" fmla="*/ 228043 w 506660"/>
                  <a:gd name="connsiteY16" fmla="*/ 479370 h 605824"/>
                  <a:gd name="connsiteX17" fmla="*/ 228043 w 506660"/>
                  <a:gd name="connsiteY17" fmla="*/ 567918 h 605824"/>
                  <a:gd name="connsiteX18" fmla="*/ 190081 w 506660"/>
                  <a:gd name="connsiteY18" fmla="*/ 605824 h 605824"/>
                  <a:gd name="connsiteX19" fmla="*/ 152120 w 506660"/>
                  <a:gd name="connsiteY19" fmla="*/ 567918 h 605824"/>
                  <a:gd name="connsiteX20" fmla="*/ 152120 w 506660"/>
                  <a:gd name="connsiteY20" fmla="*/ 479370 h 605824"/>
                  <a:gd name="connsiteX21" fmla="*/ 126761 w 506660"/>
                  <a:gd name="connsiteY21" fmla="*/ 479370 h 605824"/>
                  <a:gd name="connsiteX22" fmla="*/ 101403 w 506660"/>
                  <a:gd name="connsiteY22" fmla="*/ 454049 h 605824"/>
                  <a:gd name="connsiteX23" fmla="*/ 38111 w 506660"/>
                  <a:gd name="connsiteY23" fmla="*/ 200990 h 605824"/>
                  <a:gd name="connsiteX24" fmla="*/ 76070 w 506660"/>
                  <a:gd name="connsiteY24" fmla="*/ 238894 h 605824"/>
                  <a:gd name="connsiteX25" fmla="*/ 76070 w 506660"/>
                  <a:gd name="connsiteY25" fmla="*/ 415982 h 605824"/>
                  <a:gd name="connsiteX26" fmla="*/ 38111 w 506660"/>
                  <a:gd name="connsiteY26" fmla="*/ 454037 h 605824"/>
                  <a:gd name="connsiteX27" fmla="*/ 0 w 506660"/>
                  <a:gd name="connsiteY27" fmla="*/ 415982 h 605824"/>
                  <a:gd name="connsiteX28" fmla="*/ 0 w 506660"/>
                  <a:gd name="connsiteY28" fmla="*/ 238894 h 605824"/>
                  <a:gd name="connsiteX29" fmla="*/ 38111 w 506660"/>
                  <a:gd name="connsiteY29" fmla="*/ 200990 h 605824"/>
                  <a:gd name="connsiteX30" fmla="*/ 316721 w 506660"/>
                  <a:gd name="connsiteY30" fmla="*/ 93495 h 605824"/>
                  <a:gd name="connsiteX31" fmla="*/ 297740 w 506660"/>
                  <a:gd name="connsiteY31" fmla="*/ 112444 h 605824"/>
                  <a:gd name="connsiteX32" fmla="*/ 316721 w 506660"/>
                  <a:gd name="connsiteY32" fmla="*/ 131544 h 605824"/>
                  <a:gd name="connsiteX33" fmla="*/ 335702 w 506660"/>
                  <a:gd name="connsiteY33" fmla="*/ 112444 h 605824"/>
                  <a:gd name="connsiteX34" fmla="*/ 316721 w 506660"/>
                  <a:gd name="connsiteY34" fmla="*/ 93495 h 605824"/>
                  <a:gd name="connsiteX35" fmla="*/ 189929 w 506660"/>
                  <a:gd name="connsiteY35" fmla="*/ 93495 h 605824"/>
                  <a:gd name="connsiteX36" fmla="*/ 170949 w 506660"/>
                  <a:gd name="connsiteY36" fmla="*/ 112444 h 605824"/>
                  <a:gd name="connsiteX37" fmla="*/ 189929 w 506660"/>
                  <a:gd name="connsiteY37" fmla="*/ 131544 h 605824"/>
                  <a:gd name="connsiteX38" fmla="*/ 209062 w 506660"/>
                  <a:gd name="connsiteY38" fmla="*/ 112444 h 605824"/>
                  <a:gd name="connsiteX39" fmla="*/ 189929 w 506660"/>
                  <a:gd name="connsiteY39" fmla="*/ 93495 h 605824"/>
                  <a:gd name="connsiteX40" fmla="*/ 140598 w 506660"/>
                  <a:gd name="connsiteY40" fmla="*/ 1 h 605824"/>
                  <a:gd name="connsiteX41" fmla="*/ 149538 w 506660"/>
                  <a:gd name="connsiteY41" fmla="*/ 3753 h 605824"/>
                  <a:gd name="connsiteX42" fmla="*/ 183552 w 506660"/>
                  <a:gd name="connsiteY42" fmla="*/ 37557 h 605824"/>
                  <a:gd name="connsiteX43" fmla="*/ 185070 w 506660"/>
                  <a:gd name="connsiteY43" fmla="*/ 39225 h 605824"/>
                  <a:gd name="connsiteX44" fmla="*/ 252945 w 506660"/>
                  <a:gd name="connsiteY44" fmla="*/ 24066 h 605824"/>
                  <a:gd name="connsiteX45" fmla="*/ 253401 w 506660"/>
                  <a:gd name="connsiteY45" fmla="*/ 24066 h 605824"/>
                  <a:gd name="connsiteX46" fmla="*/ 253705 w 506660"/>
                  <a:gd name="connsiteY46" fmla="*/ 24066 h 605824"/>
                  <a:gd name="connsiteX47" fmla="*/ 321732 w 506660"/>
                  <a:gd name="connsiteY47" fmla="*/ 39225 h 605824"/>
                  <a:gd name="connsiteX48" fmla="*/ 323250 w 506660"/>
                  <a:gd name="connsiteY48" fmla="*/ 37557 h 605824"/>
                  <a:gd name="connsiteX49" fmla="*/ 357264 w 506660"/>
                  <a:gd name="connsiteY49" fmla="*/ 3753 h 605824"/>
                  <a:gd name="connsiteX50" fmla="*/ 375030 w 506660"/>
                  <a:gd name="connsiteY50" fmla="*/ 3753 h 605824"/>
                  <a:gd name="connsiteX51" fmla="*/ 375030 w 506660"/>
                  <a:gd name="connsiteY51" fmla="*/ 21489 h 605824"/>
                  <a:gd name="connsiteX52" fmla="*/ 342079 w 506660"/>
                  <a:gd name="connsiteY52" fmla="*/ 54233 h 605824"/>
                  <a:gd name="connsiteX53" fmla="*/ 370626 w 506660"/>
                  <a:gd name="connsiteY53" fmla="*/ 79851 h 605824"/>
                  <a:gd name="connsiteX54" fmla="*/ 405247 w 506660"/>
                  <a:gd name="connsiteY54" fmla="*/ 167774 h 605824"/>
                  <a:gd name="connsiteX55" fmla="*/ 405247 w 506660"/>
                  <a:gd name="connsiteY55" fmla="*/ 168836 h 605824"/>
                  <a:gd name="connsiteX56" fmla="*/ 405399 w 506660"/>
                  <a:gd name="connsiteY56" fmla="*/ 175657 h 605824"/>
                  <a:gd name="connsiteX57" fmla="*/ 101403 w 506660"/>
                  <a:gd name="connsiteY57" fmla="*/ 175657 h 605824"/>
                  <a:gd name="connsiteX58" fmla="*/ 101555 w 506660"/>
                  <a:gd name="connsiteY58" fmla="*/ 168836 h 605824"/>
                  <a:gd name="connsiteX59" fmla="*/ 101555 w 506660"/>
                  <a:gd name="connsiteY59" fmla="*/ 167774 h 605824"/>
                  <a:gd name="connsiteX60" fmla="*/ 136176 w 506660"/>
                  <a:gd name="connsiteY60" fmla="*/ 79851 h 605824"/>
                  <a:gd name="connsiteX61" fmla="*/ 164723 w 506660"/>
                  <a:gd name="connsiteY61" fmla="*/ 54233 h 605824"/>
                  <a:gd name="connsiteX62" fmla="*/ 131772 w 506660"/>
                  <a:gd name="connsiteY62" fmla="*/ 21489 h 605824"/>
                  <a:gd name="connsiteX63" fmla="*/ 131772 w 506660"/>
                  <a:gd name="connsiteY63" fmla="*/ 3753 h 605824"/>
                  <a:gd name="connsiteX64" fmla="*/ 140598 w 506660"/>
                  <a:gd name="connsiteY64" fmla="*/ 1 h 60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506660" h="605824">
                    <a:moveTo>
                      <a:pt x="468696" y="200990"/>
                    </a:moveTo>
                    <a:cubicBezTo>
                      <a:pt x="489045" y="200990"/>
                      <a:pt x="506660" y="218729"/>
                      <a:pt x="506660" y="238894"/>
                    </a:cubicBezTo>
                    <a:lnTo>
                      <a:pt x="506660" y="415982"/>
                    </a:lnTo>
                    <a:cubicBezTo>
                      <a:pt x="506660" y="436298"/>
                      <a:pt x="489045" y="454037"/>
                      <a:pt x="468696" y="454037"/>
                    </a:cubicBezTo>
                    <a:cubicBezTo>
                      <a:pt x="448499" y="454037"/>
                      <a:pt x="430732" y="436298"/>
                      <a:pt x="430732" y="415982"/>
                    </a:cubicBezTo>
                    <a:lnTo>
                      <a:pt x="430732" y="238894"/>
                    </a:lnTo>
                    <a:cubicBezTo>
                      <a:pt x="430732" y="218729"/>
                      <a:pt x="448499" y="200990"/>
                      <a:pt x="468696" y="200990"/>
                    </a:cubicBezTo>
                    <a:close/>
                    <a:moveTo>
                      <a:pt x="101403" y="200990"/>
                    </a:moveTo>
                    <a:lnTo>
                      <a:pt x="405399" y="200990"/>
                    </a:lnTo>
                    <a:lnTo>
                      <a:pt x="405399" y="454049"/>
                    </a:lnTo>
                    <a:cubicBezTo>
                      <a:pt x="405399" y="469212"/>
                      <a:pt x="395225" y="479370"/>
                      <a:pt x="380041" y="479370"/>
                    </a:cubicBezTo>
                    <a:lnTo>
                      <a:pt x="354682" y="479370"/>
                    </a:lnTo>
                    <a:lnTo>
                      <a:pt x="354682" y="567918"/>
                    </a:lnTo>
                    <a:cubicBezTo>
                      <a:pt x="354682" y="588084"/>
                      <a:pt x="337068" y="605824"/>
                      <a:pt x="316721" y="605824"/>
                    </a:cubicBezTo>
                    <a:cubicBezTo>
                      <a:pt x="296373" y="605824"/>
                      <a:pt x="278759" y="588084"/>
                      <a:pt x="278759" y="567918"/>
                    </a:cubicBezTo>
                    <a:lnTo>
                      <a:pt x="278759" y="479370"/>
                    </a:lnTo>
                    <a:lnTo>
                      <a:pt x="228043" y="479370"/>
                    </a:lnTo>
                    <a:lnTo>
                      <a:pt x="228043" y="567918"/>
                    </a:lnTo>
                    <a:cubicBezTo>
                      <a:pt x="228043" y="588084"/>
                      <a:pt x="210277" y="605824"/>
                      <a:pt x="190081" y="605824"/>
                    </a:cubicBezTo>
                    <a:cubicBezTo>
                      <a:pt x="169734" y="605824"/>
                      <a:pt x="152120" y="588084"/>
                      <a:pt x="152120" y="567918"/>
                    </a:cubicBezTo>
                    <a:lnTo>
                      <a:pt x="152120" y="479370"/>
                    </a:lnTo>
                    <a:lnTo>
                      <a:pt x="126761" y="479370"/>
                    </a:lnTo>
                    <a:cubicBezTo>
                      <a:pt x="111425" y="479370"/>
                      <a:pt x="101403" y="469212"/>
                      <a:pt x="101403" y="454049"/>
                    </a:cubicBezTo>
                    <a:close/>
                    <a:moveTo>
                      <a:pt x="38111" y="200990"/>
                    </a:moveTo>
                    <a:cubicBezTo>
                      <a:pt x="58305" y="200990"/>
                      <a:pt x="76070" y="218729"/>
                      <a:pt x="76070" y="238894"/>
                    </a:cubicBezTo>
                    <a:lnTo>
                      <a:pt x="76070" y="415982"/>
                    </a:lnTo>
                    <a:cubicBezTo>
                      <a:pt x="76070" y="436298"/>
                      <a:pt x="58305" y="454037"/>
                      <a:pt x="38111" y="454037"/>
                    </a:cubicBezTo>
                    <a:cubicBezTo>
                      <a:pt x="17765" y="454037"/>
                      <a:pt x="0" y="436298"/>
                      <a:pt x="0" y="415982"/>
                    </a:cubicBezTo>
                    <a:lnTo>
                      <a:pt x="0" y="238894"/>
                    </a:lnTo>
                    <a:cubicBezTo>
                      <a:pt x="0" y="218729"/>
                      <a:pt x="17765" y="200990"/>
                      <a:pt x="38111" y="200990"/>
                    </a:cubicBezTo>
                    <a:close/>
                    <a:moveTo>
                      <a:pt x="316721" y="93495"/>
                    </a:moveTo>
                    <a:cubicBezTo>
                      <a:pt x="306243" y="93495"/>
                      <a:pt x="297740" y="101984"/>
                      <a:pt x="297740" y="112444"/>
                    </a:cubicBezTo>
                    <a:cubicBezTo>
                      <a:pt x="297740" y="122903"/>
                      <a:pt x="306243" y="131544"/>
                      <a:pt x="316721" y="131544"/>
                    </a:cubicBezTo>
                    <a:cubicBezTo>
                      <a:pt x="327198" y="131544"/>
                      <a:pt x="335702" y="122903"/>
                      <a:pt x="335702" y="112444"/>
                    </a:cubicBezTo>
                    <a:cubicBezTo>
                      <a:pt x="335702" y="101984"/>
                      <a:pt x="327198" y="93495"/>
                      <a:pt x="316721" y="93495"/>
                    </a:cubicBezTo>
                    <a:close/>
                    <a:moveTo>
                      <a:pt x="189929" y="93495"/>
                    </a:moveTo>
                    <a:cubicBezTo>
                      <a:pt x="179452" y="93495"/>
                      <a:pt x="170949" y="101984"/>
                      <a:pt x="170949" y="112444"/>
                    </a:cubicBezTo>
                    <a:cubicBezTo>
                      <a:pt x="170949" y="122903"/>
                      <a:pt x="179452" y="131544"/>
                      <a:pt x="189929" y="131544"/>
                    </a:cubicBezTo>
                    <a:cubicBezTo>
                      <a:pt x="200559" y="131544"/>
                      <a:pt x="209062" y="122903"/>
                      <a:pt x="209062" y="112444"/>
                    </a:cubicBezTo>
                    <a:cubicBezTo>
                      <a:pt x="209062" y="101984"/>
                      <a:pt x="200559" y="93495"/>
                      <a:pt x="189929" y="93495"/>
                    </a:cubicBezTo>
                    <a:close/>
                    <a:moveTo>
                      <a:pt x="140598" y="1"/>
                    </a:moveTo>
                    <a:cubicBezTo>
                      <a:pt x="143768" y="1"/>
                      <a:pt x="146957" y="1251"/>
                      <a:pt x="149538" y="3753"/>
                    </a:cubicBezTo>
                    <a:lnTo>
                      <a:pt x="183552" y="37557"/>
                    </a:lnTo>
                    <a:lnTo>
                      <a:pt x="185070" y="39225"/>
                    </a:lnTo>
                    <a:cubicBezTo>
                      <a:pt x="205266" y="29068"/>
                      <a:pt x="227891" y="24066"/>
                      <a:pt x="252945" y="24066"/>
                    </a:cubicBezTo>
                    <a:cubicBezTo>
                      <a:pt x="253097" y="24066"/>
                      <a:pt x="253249" y="24066"/>
                      <a:pt x="253401" y="24066"/>
                    </a:cubicBezTo>
                    <a:cubicBezTo>
                      <a:pt x="253553" y="24066"/>
                      <a:pt x="253553" y="24066"/>
                      <a:pt x="253705" y="24066"/>
                    </a:cubicBezTo>
                    <a:cubicBezTo>
                      <a:pt x="278911" y="24066"/>
                      <a:pt x="301536" y="29068"/>
                      <a:pt x="321732" y="39225"/>
                    </a:cubicBezTo>
                    <a:lnTo>
                      <a:pt x="323250" y="37557"/>
                    </a:lnTo>
                    <a:lnTo>
                      <a:pt x="357264" y="3753"/>
                    </a:lnTo>
                    <a:cubicBezTo>
                      <a:pt x="362427" y="-1250"/>
                      <a:pt x="369867" y="-1250"/>
                      <a:pt x="375030" y="3753"/>
                    </a:cubicBezTo>
                    <a:cubicBezTo>
                      <a:pt x="380041" y="8907"/>
                      <a:pt x="380041" y="16335"/>
                      <a:pt x="375030" y="21489"/>
                    </a:cubicBezTo>
                    <a:lnTo>
                      <a:pt x="342079" y="54233"/>
                    </a:lnTo>
                    <a:cubicBezTo>
                      <a:pt x="352708" y="61357"/>
                      <a:pt x="362275" y="69998"/>
                      <a:pt x="370626" y="79851"/>
                    </a:cubicBezTo>
                    <a:cubicBezTo>
                      <a:pt x="390670" y="103500"/>
                      <a:pt x="403425" y="134424"/>
                      <a:pt x="405247" y="167774"/>
                    </a:cubicBezTo>
                    <a:cubicBezTo>
                      <a:pt x="405247" y="168078"/>
                      <a:pt x="405247" y="168532"/>
                      <a:pt x="405247" y="168836"/>
                    </a:cubicBezTo>
                    <a:cubicBezTo>
                      <a:pt x="405399" y="171109"/>
                      <a:pt x="405399" y="173383"/>
                      <a:pt x="405399" y="175657"/>
                    </a:cubicBezTo>
                    <a:lnTo>
                      <a:pt x="101403" y="175657"/>
                    </a:lnTo>
                    <a:cubicBezTo>
                      <a:pt x="101403" y="173383"/>
                      <a:pt x="101403" y="171109"/>
                      <a:pt x="101555" y="168836"/>
                    </a:cubicBezTo>
                    <a:cubicBezTo>
                      <a:pt x="101555" y="168532"/>
                      <a:pt x="101555" y="168078"/>
                      <a:pt x="101555" y="167774"/>
                    </a:cubicBezTo>
                    <a:cubicBezTo>
                      <a:pt x="103377" y="134424"/>
                      <a:pt x="116132" y="103500"/>
                      <a:pt x="136176" y="79851"/>
                    </a:cubicBezTo>
                    <a:cubicBezTo>
                      <a:pt x="144527" y="69998"/>
                      <a:pt x="154094" y="61357"/>
                      <a:pt x="164723" y="54233"/>
                    </a:cubicBezTo>
                    <a:lnTo>
                      <a:pt x="131772" y="21489"/>
                    </a:lnTo>
                    <a:cubicBezTo>
                      <a:pt x="126761" y="16335"/>
                      <a:pt x="126761" y="8907"/>
                      <a:pt x="131772" y="3753"/>
                    </a:cubicBezTo>
                    <a:cubicBezTo>
                      <a:pt x="134278" y="1251"/>
                      <a:pt x="137428" y="1"/>
                      <a:pt x="140598" y="1"/>
                    </a:cubicBezTo>
                    <a:close/>
                  </a:path>
                </a:pathLst>
              </a:custGeom>
              <a:solidFill>
                <a:schemeClr val="bg1"/>
              </a:solidFill>
              <a:ln>
                <a:noFill/>
              </a:ln>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sp>
          <p:nvSpPr>
            <p:cNvPr id="56" name="íSḻïḓé">
              <a:extLst>
                <a:ext uri="{FF2B5EF4-FFF2-40B4-BE49-F238E27FC236}">
                  <a16:creationId xmlns:a16="http://schemas.microsoft.com/office/drawing/2014/main" id="{E7A6697C-1D6F-4A8A-93CC-A1440E1AD2EB}"/>
                </a:ext>
              </a:extLst>
            </p:cNvPr>
            <p:cNvSpPr/>
            <p:nvPr/>
          </p:nvSpPr>
          <p:spPr bwMode="auto">
            <a:xfrm>
              <a:off x="669925" y="3388140"/>
              <a:ext cx="3198474" cy="997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r>
                <a:rPr lang="zh-CN" altLang="en-US" dirty="0"/>
                <a:t>一</a:t>
              </a:r>
              <a:r>
                <a:rPr lang="zh-CN" altLang="en-US" dirty="0" smtClean="0"/>
                <a:t>个功能由多个组件组成，缺少组件功能将不完整，组件不能删减</a:t>
              </a:r>
              <a:endParaRPr lang="en-US" altLang="zh-CN" dirty="0"/>
            </a:p>
          </p:txBody>
        </p:sp>
        <p:sp>
          <p:nvSpPr>
            <p:cNvPr id="57" name="iṩ1íḋé">
              <a:extLst>
                <a:ext uri="{FF2B5EF4-FFF2-40B4-BE49-F238E27FC236}">
                  <a16:creationId xmlns:a16="http://schemas.microsoft.com/office/drawing/2014/main" id="{E7A6697C-1D6F-4A8A-93CC-A1440E1AD2EB}"/>
                </a:ext>
              </a:extLst>
            </p:cNvPr>
            <p:cNvSpPr/>
            <p:nvPr/>
          </p:nvSpPr>
          <p:spPr bwMode="auto">
            <a:xfrm>
              <a:off x="8345351" y="3398696"/>
              <a:ext cx="3175136" cy="986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r>
                <a:rPr lang="zh-CN" altLang="en-US" dirty="0" smtClean="0"/>
                <a:t>一个完整的功能上通过插件新增其他功能，插件可以删减</a:t>
              </a:r>
              <a:endParaRPr lang="en-US" altLang="zh-CN" dirty="0"/>
            </a:p>
          </p:txBody>
        </p:sp>
      </p:grpSp>
    </p:spTree>
    <p:extLst>
      <p:ext uri="{BB962C8B-B14F-4D97-AF65-F5344CB8AC3E}">
        <p14:creationId xmlns:p14="http://schemas.microsoft.com/office/powerpoint/2010/main" val="22019197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bg>
      <p:bgPr>
        <a:solidFill>
          <a:schemeClr val="accent4">
            <a:lumMod val="40000"/>
            <a:lumOff val="60000"/>
          </a:schemeClr>
        </a:solidFill>
        <a:effectLst/>
      </p:bgPr>
    </p:bg>
    <p:spTree>
      <p:nvGrpSpPr>
        <p:cNvPr id="1" name=""/>
        <p:cNvGrpSpPr/>
        <p:nvPr/>
      </p:nvGrpSpPr>
      <p:grpSpPr>
        <a:xfrm>
          <a:off x="0" y="0"/>
          <a:ext cx="0" cy="0"/>
          <a:chOff x="0" y="0"/>
          <a:chExt cx="0" cy="0"/>
        </a:xfrm>
      </p:grpSpPr>
      <p:grpSp>
        <p:nvGrpSpPr>
          <p:cNvPr id="50" name="组合 49"/>
          <p:cNvGrpSpPr/>
          <p:nvPr/>
        </p:nvGrpSpPr>
        <p:grpSpPr>
          <a:xfrm>
            <a:off x="671512" y="753035"/>
            <a:ext cx="3714978" cy="5307803"/>
            <a:chOff x="671512" y="753035"/>
            <a:chExt cx="3714978" cy="5307803"/>
          </a:xfrm>
        </p:grpSpPr>
        <p:sp>
          <p:nvSpPr>
            <p:cNvPr id="4" name="iṣḷïde">
              <a:extLst>
                <a:ext uri="{FF2B5EF4-FFF2-40B4-BE49-F238E27FC236}">
                  <a16:creationId xmlns:a16="http://schemas.microsoft.com/office/drawing/2014/main" id="{4A22B9B9-8779-4F82-B55A-9DA8D139FD35}"/>
                </a:ext>
              </a:extLst>
            </p:cNvPr>
            <p:cNvSpPr/>
            <p:nvPr/>
          </p:nvSpPr>
          <p:spPr bwMode="auto">
            <a:xfrm flipH="1">
              <a:off x="2920807" y="3145034"/>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5" name="ísľide">
              <a:extLst>
                <a:ext uri="{FF2B5EF4-FFF2-40B4-BE49-F238E27FC236}">
                  <a16:creationId xmlns:a16="http://schemas.microsoft.com/office/drawing/2014/main" id="{29381165-8074-4124-B111-BF2C7F6D50D1}"/>
                </a:ext>
              </a:extLst>
            </p:cNvPr>
            <p:cNvSpPr/>
            <p:nvPr/>
          </p:nvSpPr>
          <p:spPr bwMode="auto">
            <a:xfrm flipH="1">
              <a:off x="2920807" y="3145034"/>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6" name="íṥliḋé">
              <a:extLst>
                <a:ext uri="{FF2B5EF4-FFF2-40B4-BE49-F238E27FC236}">
                  <a16:creationId xmlns:a16="http://schemas.microsoft.com/office/drawing/2014/main" id="{99EBFB82-7189-4261-9F1E-4ED44A055F71}"/>
                </a:ext>
              </a:extLst>
            </p:cNvPr>
            <p:cNvSpPr/>
            <p:nvPr/>
          </p:nvSpPr>
          <p:spPr bwMode="auto">
            <a:xfrm flipH="1">
              <a:off x="2920807" y="3145034"/>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7" name="i$ḻíḑe">
              <a:extLst>
                <a:ext uri="{FF2B5EF4-FFF2-40B4-BE49-F238E27FC236}">
                  <a16:creationId xmlns:a16="http://schemas.microsoft.com/office/drawing/2014/main" id="{F281A429-AED6-4B56-85CC-8CE46A1A3E34}"/>
                </a:ext>
              </a:extLst>
            </p:cNvPr>
            <p:cNvSpPr/>
            <p:nvPr/>
          </p:nvSpPr>
          <p:spPr bwMode="auto">
            <a:xfrm flipH="1">
              <a:off x="2920807" y="3145034"/>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grpSp>
          <p:nvGrpSpPr>
            <p:cNvPr id="8" name="iśḻîḋé">
              <a:extLst>
                <a:ext uri="{FF2B5EF4-FFF2-40B4-BE49-F238E27FC236}">
                  <a16:creationId xmlns:a16="http://schemas.microsoft.com/office/drawing/2014/main" id="{A16F309C-2F95-44BA-8C3C-7E743E2EC15E}"/>
                </a:ext>
              </a:extLst>
            </p:cNvPr>
            <p:cNvGrpSpPr/>
            <p:nvPr/>
          </p:nvGrpSpPr>
          <p:grpSpPr>
            <a:xfrm flipH="1">
              <a:off x="671512" y="753035"/>
              <a:ext cx="3272850" cy="5307803"/>
              <a:chOff x="8205066" y="852963"/>
              <a:chExt cx="3702773" cy="6005037"/>
            </a:xfrm>
            <a:solidFill>
              <a:schemeClr val="bg1">
                <a:lumMod val="85000"/>
              </a:schemeClr>
            </a:solidFill>
          </p:grpSpPr>
          <p:sp>
            <p:nvSpPr>
              <p:cNvPr id="35" name="îŝḷiḍê">
                <a:extLst>
                  <a:ext uri="{FF2B5EF4-FFF2-40B4-BE49-F238E27FC236}">
                    <a16:creationId xmlns:a16="http://schemas.microsoft.com/office/drawing/2014/main" id="{3219604C-6C77-4557-80B0-45B22E251E60}"/>
                  </a:ext>
                </a:extLst>
              </p:cNvPr>
              <p:cNvSpPr/>
              <p:nvPr/>
            </p:nvSpPr>
            <p:spPr bwMode="auto">
              <a:xfrm>
                <a:off x="8205066" y="852963"/>
                <a:ext cx="3702773" cy="3249613"/>
              </a:xfrm>
              <a:custGeom>
                <a:avLst/>
                <a:gdLst>
                  <a:gd name="T0" fmla="*/ 822 w 1221"/>
                  <a:gd name="T1" fmla="*/ 455 h 986"/>
                  <a:gd name="T2" fmla="*/ 822 w 1221"/>
                  <a:gd name="T3" fmla="*/ 683 h 986"/>
                  <a:gd name="T4" fmla="*/ 803 w 1221"/>
                  <a:gd name="T5" fmla="*/ 774 h 986"/>
                  <a:gd name="T6" fmla="*/ 237 w 1221"/>
                  <a:gd name="T7" fmla="*/ 2 h 986"/>
                  <a:gd name="T8" fmla="*/ 156 w 1221"/>
                  <a:gd name="T9" fmla="*/ 136 h 986"/>
                  <a:gd name="T10" fmla="*/ 150 w 1221"/>
                  <a:gd name="T11" fmla="*/ 481 h 986"/>
                  <a:gd name="T12" fmla="*/ 144 w 1221"/>
                  <a:gd name="T13" fmla="*/ 661 h 986"/>
                  <a:gd name="T14" fmla="*/ 157 w 1221"/>
                  <a:gd name="T15" fmla="*/ 667 h 986"/>
                  <a:gd name="T16" fmla="*/ 107 w 1221"/>
                  <a:gd name="T17" fmla="*/ 800 h 986"/>
                  <a:gd name="T18" fmla="*/ 5 w 1221"/>
                  <a:gd name="T19" fmla="*/ 973 h 986"/>
                  <a:gd name="T20" fmla="*/ 33 w 1221"/>
                  <a:gd name="T21" fmla="*/ 985 h 986"/>
                  <a:gd name="T22" fmla="*/ 194 w 1221"/>
                  <a:gd name="T23" fmla="*/ 883 h 986"/>
                  <a:gd name="T24" fmla="*/ 366 w 1221"/>
                  <a:gd name="T25" fmla="*/ 985 h 986"/>
                  <a:gd name="T26" fmla="*/ 392 w 1221"/>
                  <a:gd name="T27" fmla="*/ 971 h 986"/>
                  <a:gd name="T28" fmla="*/ 269 w 1221"/>
                  <a:gd name="T29" fmla="*/ 804 h 986"/>
                  <a:gd name="T30" fmla="*/ 214 w 1221"/>
                  <a:gd name="T31" fmla="*/ 814 h 986"/>
                  <a:gd name="T32" fmla="*/ 185 w 1221"/>
                  <a:gd name="T33" fmla="*/ 818 h 986"/>
                  <a:gd name="T34" fmla="*/ 160 w 1221"/>
                  <a:gd name="T35" fmla="*/ 800 h 986"/>
                  <a:gd name="T36" fmla="*/ 211 w 1221"/>
                  <a:gd name="T37" fmla="*/ 675 h 986"/>
                  <a:gd name="T38" fmla="*/ 234 w 1221"/>
                  <a:gd name="T39" fmla="*/ 667 h 986"/>
                  <a:gd name="T40" fmla="*/ 268 w 1221"/>
                  <a:gd name="T41" fmla="*/ 481 h 986"/>
                  <a:gd name="T42" fmla="*/ 237 w 1221"/>
                  <a:gd name="T43" fmla="*/ 474 h 986"/>
                  <a:gd name="T44" fmla="*/ 555 w 1221"/>
                  <a:gd name="T45" fmla="*/ 901 h 986"/>
                  <a:gd name="T46" fmla="*/ 556 w 1221"/>
                  <a:gd name="T47" fmla="*/ 915 h 986"/>
                  <a:gd name="T48" fmla="*/ 655 w 1221"/>
                  <a:gd name="T49" fmla="*/ 933 h 986"/>
                  <a:gd name="T50" fmla="*/ 670 w 1221"/>
                  <a:gd name="T51" fmla="*/ 986 h 986"/>
                  <a:gd name="T52" fmla="*/ 1061 w 1221"/>
                  <a:gd name="T53" fmla="*/ 979 h 986"/>
                  <a:gd name="T54" fmla="*/ 1194 w 1221"/>
                  <a:gd name="T55" fmla="*/ 933 h 986"/>
                  <a:gd name="T56" fmla="*/ 1221 w 1221"/>
                  <a:gd name="T57" fmla="*/ 436 h 986"/>
                  <a:gd name="T58" fmla="*/ 592 w 1221"/>
                  <a:gd name="T59" fmla="*/ 566 h 986"/>
                  <a:gd name="T60" fmla="*/ 492 w 1221"/>
                  <a:gd name="T61" fmla="*/ 615 h 986"/>
                  <a:gd name="T62" fmla="*/ 592 w 1221"/>
                  <a:gd name="T63" fmla="*/ 566 h 986"/>
                  <a:gd name="T64" fmla="*/ 197 w 1221"/>
                  <a:gd name="T65" fmla="*/ 481 h 986"/>
                  <a:gd name="T66" fmla="*/ 184 w 1221"/>
                  <a:gd name="T67" fmla="*/ 219 h 986"/>
                  <a:gd name="T68" fmla="*/ 211 w 1221"/>
                  <a:gd name="T69" fmla="*/ 240 h 986"/>
                  <a:gd name="T70" fmla="*/ 191 w 1221"/>
                  <a:gd name="T71" fmla="*/ 129 h 986"/>
                  <a:gd name="T72" fmla="*/ 256 w 1221"/>
                  <a:gd name="T73" fmla="*/ 94 h 986"/>
                  <a:gd name="T74" fmla="*/ 306 w 1221"/>
                  <a:gd name="T75" fmla="*/ 147 h 986"/>
                  <a:gd name="T76" fmla="*/ 280 w 1221"/>
                  <a:gd name="T77" fmla="*/ 262 h 986"/>
                  <a:gd name="T78" fmla="*/ 306 w 1221"/>
                  <a:gd name="T79" fmla="*/ 147 h 986"/>
                  <a:gd name="T80" fmla="*/ 378 w 1221"/>
                  <a:gd name="T81" fmla="*/ 290 h 986"/>
                  <a:gd name="T82" fmla="*/ 307 w 1221"/>
                  <a:gd name="T83" fmla="*/ 329 h 986"/>
                  <a:gd name="T84" fmla="*/ 467 w 1221"/>
                  <a:gd name="T85" fmla="*/ 394 h 986"/>
                  <a:gd name="T86" fmla="*/ 389 w 1221"/>
                  <a:gd name="T87" fmla="*/ 438 h 986"/>
                  <a:gd name="T88" fmla="*/ 411 w 1221"/>
                  <a:gd name="T89" fmla="*/ 516 h 986"/>
                  <a:gd name="T90" fmla="*/ 453 w 1221"/>
                  <a:gd name="T91" fmla="*/ 584 h 986"/>
                  <a:gd name="T92" fmla="*/ 411 w 1221"/>
                  <a:gd name="T93" fmla="*/ 516 h 986"/>
                  <a:gd name="T94" fmla="*/ 507 w 1221"/>
                  <a:gd name="T95" fmla="*/ 686 h 986"/>
                  <a:gd name="T96" fmla="*/ 554 w 1221"/>
                  <a:gd name="T97" fmla="*/ 758 h 986"/>
                  <a:gd name="T98" fmla="*/ 657 w 1221"/>
                  <a:gd name="T99" fmla="*/ 672 h 986"/>
                  <a:gd name="T100" fmla="*/ 719 w 1221"/>
                  <a:gd name="T101" fmla="*/ 752 h 986"/>
                  <a:gd name="T102" fmla="*/ 1107 w 1221"/>
                  <a:gd name="T103" fmla="*/ 694 h 986"/>
                  <a:gd name="T104" fmla="*/ 928 w 1221"/>
                  <a:gd name="T105" fmla="*/ 542 h 986"/>
                  <a:gd name="T106" fmla="*/ 1114 w 1221"/>
                  <a:gd name="T107" fmla="*/ 542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1" h="986">
                    <a:moveTo>
                      <a:pt x="830" y="428"/>
                    </a:moveTo>
                    <a:cubicBezTo>
                      <a:pt x="825" y="428"/>
                      <a:pt x="822" y="432"/>
                      <a:pt x="822" y="436"/>
                    </a:cubicBezTo>
                    <a:cubicBezTo>
                      <a:pt x="822" y="455"/>
                      <a:pt x="822" y="455"/>
                      <a:pt x="822" y="455"/>
                    </a:cubicBezTo>
                    <a:cubicBezTo>
                      <a:pt x="822" y="683"/>
                      <a:pt x="822" y="683"/>
                      <a:pt x="822" y="683"/>
                    </a:cubicBezTo>
                    <a:cubicBezTo>
                      <a:pt x="822" y="683"/>
                      <a:pt x="822" y="683"/>
                      <a:pt x="822" y="683"/>
                    </a:cubicBezTo>
                    <a:cubicBezTo>
                      <a:pt x="822" y="683"/>
                      <a:pt x="822" y="683"/>
                      <a:pt x="822" y="683"/>
                    </a:cubicBezTo>
                    <a:cubicBezTo>
                      <a:pt x="852" y="764"/>
                      <a:pt x="852" y="764"/>
                      <a:pt x="852" y="764"/>
                    </a:cubicBezTo>
                    <a:cubicBezTo>
                      <a:pt x="854" y="768"/>
                      <a:pt x="850" y="774"/>
                      <a:pt x="845" y="774"/>
                    </a:cubicBezTo>
                    <a:cubicBezTo>
                      <a:pt x="803" y="774"/>
                      <a:pt x="803" y="774"/>
                      <a:pt x="803" y="774"/>
                    </a:cubicBezTo>
                    <a:cubicBezTo>
                      <a:pt x="800" y="774"/>
                      <a:pt x="798" y="773"/>
                      <a:pt x="797" y="771"/>
                    </a:cubicBezTo>
                    <a:cubicBezTo>
                      <a:pt x="247" y="5"/>
                      <a:pt x="247" y="5"/>
                      <a:pt x="247" y="5"/>
                    </a:cubicBezTo>
                    <a:cubicBezTo>
                      <a:pt x="245" y="1"/>
                      <a:pt x="240" y="0"/>
                      <a:pt x="237" y="2"/>
                    </a:cubicBezTo>
                    <a:cubicBezTo>
                      <a:pt x="127" y="69"/>
                      <a:pt x="127" y="69"/>
                      <a:pt x="127" y="69"/>
                    </a:cubicBezTo>
                    <a:cubicBezTo>
                      <a:pt x="123" y="71"/>
                      <a:pt x="122" y="76"/>
                      <a:pt x="124" y="79"/>
                    </a:cubicBezTo>
                    <a:cubicBezTo>
                      <a:pt x="156" y="136"/>
                      <a:pt x="156" y="136"/>
                      <a:pt x="156" y="136"/>
                    </a:cubicBezTo>
                    <a:cubicBezTo>
                      <a:pt x="157" y="137"/>
                      <a:pt x="157" y="139"/>
                      <a:pt x="157" y="140"/>
                    </a:cubicBezTo>
                    <a:cubicBezTo>
                      <a:pt x="157" y="474"/>
                      <a:pt x="157" y="474"/>
                      <a:pt x="157" y="474"/>
                    </a:cubicBezTo>
                    <a:cubicBezTo>
                      <a:pt x="157" y="478"/>
                      <a:pt x="154" y="481"/>
                      <a:pt x="150" y="481"/>
                    </a:cubicBezTo>
                    <a:cubicBezTo>
                      <a:pt x="127" y="481"/>
                      <a:pt x="127" y="481"/>
                      <a:pt x="127" y="481"/>
                    </a:cubicBezTo>
                    <a:cubicBezTo>
                      <a:pt x="122" y="481"/>
                      <a:pt x="119" y="485"/>
                      <a:pt x="119" y="490"/>
                    </a:cubicBezTo>
                    <a:cubicBezTo>
                      <a:pt x="144" y="661"/>
                      <a:pt x="144" y="661"/>
                      <a:pt x="144" y="661"/>
                    </a:cubicBezTo>
                    <a:cubicBezTo>
                      <a:pt x="144" y="665"/>
                      <a:pt x="147" y="667"/>
                      <a:pt x="151" y="667"/>
                    </a:cubicBezTo>
                    <a:cubicBezTo>
                      <a:pt x="156" y="667"/>
                      <a:pt x="156" y="667"/>
                      <a:pt x="156" y="667"/>
                    </a:cubicBezTo>
                    <a:cubicBezTo>
                      <a:pt x="157" y="667"/>
                      <a:pt x="157" y="667"/>
                      <a:pt x="157" y="667"/>
                    </a:cubicBezTo>
                    <a:cubicBezTo>
                      <a:pt x="157" y="719"/>
                      <a:pt x="157" y="719"/>
                      <a:pt x="157" y="719"/>
                    </a:cubicBezTo>
                    <a:cubicBezTo>
                      <a:pt x="157" y="722"/>
                      <a:pt x="156" y="724"/>
                      <a:pt x="153" y="726"/>
                    </a:cubicBezTo>
                    <a:cubicBezTo>
                      <a:pt x="130" y="737"/>
                      <a:pt x="107" y="760"/>
                      <a:pt x="107" y="800"/>
                    </a:cubicBezTo>
                    <a:cubicBezTo>
                      <a:pt x="107" y="824"/>
                      <a:pt x="115" y="843"/>
                      <a:pt x="128" y="857"/>
                    </a:cubicBezTo>
                    <a:cubicBezTo>
                      <a:pt x="131" y="860"/>
                      <a:pt x="131" y="865"/>
                      <a:pt x="128" y="868"/>
                    </a:cubicBezTo>
                    <a:cubicBezTo>
                      <a:pt x="5" y="973"/>
                      <a:pt x="5" y="973"/>
                      <a:pt x="5" y="973"/>
                    </a:cubicBezTo>
                    <a:cubicBezTo>
                      <a:pt x="0" y="978"/>
                      <a:pt x="3" y="986"/>
                      <a:pt x="10" y="986"/>
                    </a:cubicBezTo>
                    <a:cubicBezTo>
                      <a:pt x="28" y="986"/>
                      <a:pt x="28" y="986"/>
                      <a:pt x="28" y="986"/>
                    </a:cubicBezTo>
                    <a:cubicBezTo>
                      <a:pt x="29" y="986"/>
                      <a:pt x="31" y="986"/>
                      <a:pt x="33" y="985"/>
                    </a:cubicBezTo>
                    <a:cubicBezTo>
                      <a:pt x="155" y="879"/>
                      <a:pt x="155" y="879"/>
                      <a:pt x="155" y="879"/>
                    </a:cubicBezTo>
                    <a:cubicBezTo>
                      <a:pt x="157" y="878"/>
                      <a:pt x="160" y="877"/>
                      <a:pt x="162" y="878"/>
                    </a:cubicBezTo>
                    <a:cubicBezTo>
                      <a:pt x="172" y="881"/>
                      <a:pt x="183" y="883"/>
                      <a:pt x="194" y="883"/>
                    </a:cubicBezTo>
                    <a:cubicBezTo>
                      <a:pt x="205" y="883"/>
                      <a:pt x="216" y="881"/>
                      <a:pt x="226" y="876"/>
                    </a:cubicBezTo>
                    <a:cubicBezTo>
                      <a:pt x="228" y="875"/>
                      <a:pt x="231" y="875"/>
                      <a:pt x="234" y="877"/>
                    </a:cubicBezTo>
                    <a:cubicBezTo>
                      <a:pt x="366" y="985"/>
                      <a:pt x="366" y="985"/>
                      <a:pt x="366" y="985"/>
                    </a:cubicBezTo>
                    <a:cubicBezTo>
                      <a:pt x="367" y="986"/>
                      <a:pt x="369" y="986"/>
                      <a:pt x="371" y="986"/>
                    </a:cubicBezTo>
                    <a:cubicBezTo>
                      <a:pt x="386" y="986"/>
                      <a:pt x="386" y="986"/>
                      <a:pt x="386" y="986"/>
                    </a:cubicBezTo>
                    <a:cubicBezTo>
                      <a:pt x="394" y="986"/>
                      <a:pt x="398" y="976"/>
                      <a:pt x="392" y="971"/>
                    </a:cubicBezTo>
                    <a:cubicBezTo>
                      <a:pt x="256" y="862"/>
                      <a:pt x="256" y="862"/>
                      <a:pt x="256" y="862"/>
                    </a:cubicBezTo>
                    <a:cubicBezTo>
                      <a:pt x="253" y="859"/>
                      <a:pt x="253" y="855"/>
                      <a:pt x="255" y="852"/>
                    </a:cubicBezTo>
                    <a:cubicBezTo>
                      <a:pt x="263" y="839"/>
                      <a:pt x="269" y="824"/>
                      <a:pt x="269" y="804"/>
                    </a:cubicBezTo>
                    <a:cubicBezTo>
                      <a:pt x="269" y="790"/>
                      <a:pt x="257" y="778"/>
                      <a:pt x="242" y="778"/>
                    </a:cubicBezTo>
                    <a:cubicBezTo>
                      <a:pt x="227" y="778"/>
                      <a:pt x="216" y="790"/>
                      <a:pt x="216" y="804"/>
                    </a:cubicBezTo>
                    <a:cubicBezTo>
                      <a:pt x="216" y="808"/>
                      <a:pt x="215" y="811"/>
                      <a:pt x="214" y="814"/>
                    </a:cubicBezTo>
                    <a:cubicBezTo>
                      <a:pt x="213" y="819"/>
                      <a:pt x="207" y="821"/>
                      <a:pt x="202" y="818"/>
                    </a:cubicBezTo>
                    <a:cubicBezTo>
                      <a:pt x="202" y="818"/>
                      <a:pt x="202" y="818"/>
                      <a:pt x="202" y="818"/>
                    </a:cubicBezTo>
                    <a:cubicBezTo>
                      <a:pt x="197" y="814"/>
                      <a:pt x="190" y="814"/>
                      <a:pt x="185" y="818"/>
                    </a:cubicBezTo>
                    <a:cubicBezTo>
                      <a:pt x="179" y="823"/>
                      <a:pt x="179" y="823"/>
                      <a:pt x="179" y="823"/>
                    </a:cubicBezTo>
                    <a:cubicBezTo>
                      <a:pt x="177" y="825"/>
                      <a:pt x="173" y="826"/>
                      <a:pt x="170" y="823"/>
                    </a:cubicBezTo>
                    <a:cubicBezTo>
                      <a:pt x="164" y="819"/>
                      <a:pt x="160" y="811"/>
                      <a:pt x="160" y="800"/>
                    </a:cubicBezTo>
                    <a:cubicBezTo>
                      <a:pt x="160" y="776"/>
                      <a:pt x="184" y="770"/>
                      <a:pt x="188" y="769"/>
                    </a:cubicBezTo>
                    <a:cubicBezTo>
                      <a:pt x="201" y="767"/>
                      <a:pt x="211" y="756"/>
                      <a:pt x="211" y="743"/>
                    </a:cubicBezTo>
                    <a:cubicBezTo>
                      <a:pt x="211" y="675"/>
                      <a:pt x="211" y="675"/>
                      <a:pt x="211" y="675"/>
                    </a:cubicBezTo>
                    <a:cubicBezTo>
                      <a:pt x="211" y="671"/>
                      <a:pt x="214" y="667"/>
                      <a:pt x="218" y="667"/>
                    </a:cubicBezTo>
                    <a:cubicBezTo>
                      <a:pt x="229" y="667"/>
                      <a:pt x="229" y="667"/>
                      <a:pt x="229" y="667"/>
                    </a:cubicBezTo>
                    <a:cubicBezTo>
                      <a:pt x="234" y="667"/>
                      <a:pt x="234" y="667"/>
                      <a:pt x="234" y="667"/>
                    </a:cubicBezTo>
                    <a:cubicBezTo>
                      <a:pt x="237" y="667"/>
                      <a:pt x="241" y="665"/>
                      <a:pt x="241" y="661"/>
                    </a:cubicBezTo>
                    <a:cubicBezTo>
                      <a:pt x="275" y="490"/>
                      <a:pt x="275" y="490"/>
                      <a:pt x="275" y="490"/>
                    </a:cubicBezTo>
                    <a:cubicBezTo>
                      <a:pt x="276" y="486"/>
                      <a:pt x="273" y="481"/>
                      <a:pt x="268" y="481"/>
                    </a:cubicBezTo>
                    <a:cubicBezTo>
                      <a:pt x="250" y="481"/>
                      <a:pt x="250" y="481"/>
                      <a:pt x="250" y="481"/>
                    </a:cubicBezTo>
                    <a:cubicBezTo>
                      <a:pt x="245" y="481"/>
                      <a:pt x="245" y="481"/>
                      <a:pt x="245" y="481"/>
                    </a:cubicBezTo>
                    <a:cubicBezTo>
                      <a:pt x="241" y="481"/>
                      <a:pt x="237" y="478"/>
                      <a:pt x="237" y="474"/>
                    </a:cubicBezTo>
                    <a:cubicBezTo>
                      <a:pt x="237" y="319"/>
                      <a:pt x="237" y="319"/>
                      <a:pt x="237" y="319"/>
                    </a:cubicBezTo>
                    <a:cubicBezTo>
                      <a:pt x="237" y="311"/>
                      <a:pt x="248" y="309"/>
                      <a:pt x="251" y="316"/>
                    </a:cubicBezTo>
                    <a:cubicBezTo>
                      <a:pt x="555" y="901"/>
                      <a:pt x="555" y="901"/>
                      <a:pt x="555" y="901"/>
                    </a:cubicBezTo>
                    <a:cubicBezTo>
                      <a:pt x="556" y="902"/>
                      <a:pt x="556" y="903"/>
                      <a:pt x="556" y="904"/>
                    </a:cubicBezTo>
                    <a:cubicBezTo>
                      <a:pt x="556" y="907"/>
                      <a:pt x="556" y="907"/>
                      <a:pt x="556" y="907"/>
                    </a:cubicBezTo>
                    <a:cubicBezTo>
                      <a:pt x="556" y="915"/>
                      <a:pt x="556" y="915"/>
                      <a:pt x="556" y="915"/>
                    </a:cubicBezTo>
                    <a:cubicBezTo>
                      <a:pt x="556" y="926"/>
                      <a:pt x="556" y="926"/>
                      <a:pt x="556" y="926"/>
                    </a:cubicBezTo>
                    <a:cubicBezTo>
                      <a:pt x="556" y="930"/>
                      <a:pt x="560" y="933"/>
                      <a:pt x="564" y="933"/>
                    </a:cubicBezTo>
                    <a:cubicBezTo>
                      <a:pt x="655" y="933"/>
                      <a:pt x="655" y="933"/>
                      <a:pt x="655" y="933"/>
                    </a:cubicBezTo>
                    <a:cubicBezTo>
                      <a:pt x="659" y="933"/>
                      <a:pt x="662" y="937"/>
                      <a:pt x="662" y="941"/>
                    </a:cubicBezTo>
                    <a:cubicBezTo>
                      <a:pt x="662" y="979"/>
                      <a:pt x="662" y="979"/>
                      <a:pt x="662" y="979"/>
                    </a:cubicBezTo>
                    <a:cubicBezTo>
                      <a:pt x="662" y="983"/>
                      <a:pt x="666" y="986"/>
                      <a:pt x="670" y="986"/>
                    </a:cubicBezTo>
                    <a:cubicBezTo>
                      <a:pt x="1035" y="986"/>
                      <a:pt x="1035" y="986"/>
                      <a:pt x="1035" y="986"/>
                    </a:cubicBezTo>
                    <a:cubicBezTo>
                      <a:pt x="1054" y="986"/>
                      <a:pt x="1054" y="986"/>
                      <a:pt x="1054" y="986"/>
                    </a:cubicBezTo>
                    <a:cubicBezTo>
                      <a:pt x="1058" y="986"/>
                      <a:pt x="1061" y="983"/>
                      <a:pt x="1061" y="979"/>
                    </a:cubicBezTo>
                    <a:cubicBezTo>
                      <a:pt x="1061" y="941"/>
                      <a:pt x="1061" y="941"/>
                      <a:pt x="1061" y="941"/>
                    </a:cubicBezTo>
                    <a:cubicBezTo>
                      <a:pt x="1061" y="937"/>
                      <a:pt x="1065" y="933"/>
                      <a:pt x="1069" y="933"/>
                    </a:cubicBezTo>
                    <a:cubicBezTo>
                      <a:pt x="1194" y="933"/>
                      <a:pt x="1194" y="933"/>
                      <a:pt x="1194" y="933"/>
                    </a:cubicBezTo>
                    <a:cubicBezTo>
                      <a:pt x="1213" y="933"/>
                      <a:pt x="1213" y="933"/>
                      <a:pt x="1213" y="933"/>
                    </a:cubicBezTo>
                    <a:cubicBezTo>
                      <a:pt x="1217" y="933"/>
                      <a:pt x="1221" y="930"/>
                      <a:pt x="1221" y="926"/>
                    </a:cubicBezTo>
                    <a:cubicBezTo>
                      <a:pt x="1221" y="436"/>
                      <a:pt x="1221" y="436"/>
                      <a:pt x="1221" y="436"/>
                    </a:cubicBezTo>
                    <a:cubicBezTo>
                      <a:pt x="1221" y="432"/>
                      <a:pt x="1217" y="428"/>
                      <a:pt x="1213" y="428"/>
                    </a:cubicBezTo>
                    <a:lnTo>
                      <a:pt x="830" y="428"/>
                    </a:lnTo>
                    <a:close/>
                    <a:moveTo>
                      <a:pt x="592" y="566"/>
                    </a:moveTo>
                    <a:cubicBezTo>
                      <a:pt x="592" y="567"/>
                      <a:pt x="592" y="567"/>
                      <a:pt x="592" y="567"/>
                    </a:cubicBezTo>
                    <a:cubicBezTo>
                      <a:pt x="504" y="625"/>
                      <a:pt x="504" y="625"/>
                      <a:pt x="504" y="625"/>
                    </a:cubicBezTo>
                    <a:cubicBezTo>
                      <a:pt x="497" y="629"/>
                      <a:pt x="490" y="622"/>
                      <a:pt x="492" y="615"/>
                    </a:cubicBezTo>
                    <a:cubicBezTo>
                      <a:pt x="535" y="507"/>
                      <a:pt x="535" y="507"/>
                      <a:pt x="535" y="507"/>
                    </a:cubicBezTo>
                    <a:cubicBezTo>
                      <a:pt x="537" y="502"/>
                      <a:pt x="544" y="501"/>
                      <a:pt x="548" y="506"/>
                    </a:cubicBezTo>
                    <a:lnTo>
                      <a:pt x="592" y="566"/>
                    </a:lnTo>
                    <a:close/>
                    <a:moveTo>
                      <a:pt x="211" y="474"/>
                    </a:moveTo>
                    <a:cubicBezTo>
                      <a:pt x="211" y="478"/>
                      <a:pt x="207" y="481"/>
                      <a:pt x="203" y="481"/>
                    </a:cubicBezTo>
                    <a:cubicBezTo>
                      <a:pt x="197" y="481"/>
                      <a:pt x="197" y="481"/>
                      <a:pt x="197" y="481"/>
                    </a:cubicBezTo>
                    <a:cubicBezTo>
                      <a:pt x="192" y="481"/>
                      <a:pt x="192" y="481"/>
                      <a:pt x="192" y="481"/>
                    </a:cubicBezTo>
                    <a:cubicBezTo>
                      <a:pt x="187" y="481"/>
                      <a:pt x="184" y="478"/>
                      <a:pt x="184" y="474"/>
                    </a:cubicBezTo>
                    <a:cubicBezTo>
                      <a:pt x="184" y="219"/>
                      <a:pt x="184" y="219"/>
                      <a:pt x="184" y="219"/>
                    </a:cubicBezTo>
                    <a:cubicBezTo>
                      <a:pt x="184" y="211"/>
                      <a:pt x="195" y="208"/>
                      <a:pt x="198" y="215"/>
                    </a:cubicBezTo>
                    <a:cubicBezTo>
                      <a:pt x="210" y="237"/>
                      <a:pt x="210" y="237"/>
                      <a:pt x="210" y="237"/>
                    </a:cubicBezTo>
                    <a:cubicBezTo>
                      <a:pt x="210" y="238"/>
                      <a:pt x="211" y="239"/>
                      <a:pt x="211" y="240"/>
                    </a:cubicBezTo>
                    <a:lnTo>
                      <a:pt x="211" y="474"/>
                    </a:lnTo>
                    <a:close/>
                    <a:moveTo>
                      <a:pt x="224" y="191"/>
                    </a:moveTo>
                    <a:cubicBezTo>
                      <a:pt x="191" y="129"/>
                      <a:pt x="191" y="129"/>
                      <a:pt x="191" y="129"/>
                    </a:cubicBezTo>
                    <a:cubicBezTo>
                      <a:pt x="189" y="126"/>
                      <a:pt x="190" y="121"/>
                      <a:pt x="194" y="119"/>
                    </a:cubicBezTo>
                    <a:cubicBezTo>
                      <a:pt x="244" y="86"/>
                      <a:pt x="244" y="86"/>
                      <a:pt x="244" y="86"/>
                    </a:cubicBezTo>
                    <a:cubicBezTo>
                      <a:pt x="250" y="82"/>
                      <a:pt x="257" y="87"/>
                      <a:pt x="256" y="94"/>
                    </a:cubicBezTo>
                    <a:cubicBezTo>
                      <a:pt x="238" y="189"/>
                      <a:pt x="238" y="189"/>
                      <a:pt x="238" y="189"/>
                    </a:cubicBezTo>
                    <a:cubicBezTo>
                      <a:pt x="236" y="196"/>
                      <a:pt x="227" y="197"/>
                      <a:pt x="224" y="191"/>
                    </a:cubicBezTo>
                    <a:close/>
                    <a:moveTo>
                      <a:pt x="306" y="147"/>
                    </a:moveTo>
                    <a:cubicBezTo>
                      <a:pt x="343" y="213"/>
                      <a:pt x="343" y="213"/>
                      <a:pt x="343" y="213"/>
                    </a:cubicBezTo>
                    <a:cubicBezTo>
                      <a:pt x="345" y="216"/>
                      <a:pt x="344" y="221"/>
                      <a:pt x="341" y="223"/>
                    </a:cubicBezTo>
                    <a:cubicBezTo>
                      <a:pt x="280" y="262"/>
                      <a:pt x="280" y="262"/>
                      <a:pt x="280" y="262"/>
                    </a:cubicBezTo>
                    <a:cubicBezTo>
                      <a:pt x="274" y="266"/>
                      <a:pt x="267" y="261"/>
                      <a:pt x="269" y="254"/>
                    </a:cubicBezTo>
                    <a:cubicBezTo>
                      <a:pt x="292" y="149"/>
                      <a:pt x="292" y="149"/>
                      <a:pt x="292" y="149"/>
                    </a:cubicBezTo>
                    <a:cubicBezTo>
                      <a:pt x="293" y="143"/>
                      <a:pt x="302" y="141"/>
                      <a:pt x="306" y="147"/>
                    </a:cubicBezTo>
                    <a:close/>
                    <a:moveTo>
                      <a:pt x="310" y="319"/>
                    </a:moveTo>
                    <a:cubicBezTo>
                      <a:pt x="366" y="282"/>
                      <a:pt x="366" y="282"/>
                      <a:pt x="366" y="282"/>
                    </a:cubicBezTo>
                    <a:cubicBezTo>
                      <a:pt x="372" y="279"/>
                      <a:pt x="379" y="284"/>
                      <a:pt x="378" y="290"/>
                    </a:cubicBezTo>
                    <a:cubicBezTo>
                      <a:pt x="356" y="390"/>
                      <a:pt x="356" y="390"/>
                      <a:pt x="356" y="390"/>
                    </a:cubicBezTo>
                    <a:cubicBezTo>
                      <a:pt x="354" y="397"/>
                      <a:pt x="345" y="399"/>
                      <a:pt x="342" y="392"/>
                    </a:cubicBezTo>
                    <a:cubicBezTo>
                      <a:pt x="307" y="329"/>
                      <a:pt x="307" y="329"/>
                      <a:pt x="307" y="329"/>
                    </a:cubicBezTo>
                    <a:cubicBezTo>
                      <a:pt x="305" y="325"/>
                      <a:pt x="307" y="321"/>
                      <a:pt x="310" y="319"/>
                    </a:cubicBezTo>
                    <a:close/>
                    <a:moveTo>
                      <a:pt x="424" y="332"/>
                    </a:moveTo>
                    <a:cubicBezTo>
                      <a:pt x="467" y="394"/>
                      <a:pt x="467" y="394"/>
                      <a:pt x="467" y="394"/>
                    </a:cubicBezTo>
                    <a:cubicBezTo>
                      <a:pt x="470" y="398"/>
                      <a:pt x="469" y="403"/>
                      <a:pt x="465" y="405"/>
                    </a:cubicBezTo>
                    <a:cubicBezTo>
                      <a:pt x="401" y="446"/>
                      <a:pt x="401" y="446"/>
                      <a:pt x="401" y="446"/>
                    </a:cubicBezTo>
                    <a:cubicBezTo>
                      <a:pt x="395" y="450"/>
                      <a:pt x="388" y="445"/>
                      <a:pt x="389" y="438"/>
                    </a:cubicBezTo>
                    <a:cubicBezTo>
                      <a:pt x="411" y="335"/>
                      <a:pt x="411" y="335"/>
                      <a:pt x="411" y="335"/>
                    </a:cubicBezTo>
                    <a:cubicBezTo>
                      <a:pt x="412" y="328"/>
                      <a:pt x="421" y="326"/>
                      <a:pt x="424" y="332"/>
                    </a:cubicBezTo>
                    <a:close/>
                    <a:moveTo>
                      <a:pt x="411" y="516"/>
                    </a:moveTo>
                    <a:cubicBezTo>
                      <a:pt x="482" y="467"/>
                      <a:pt x="482" y="467"/>
                      <a:pt x="482" y="467"/>
                    </a:cubicBezTo>
                    <a:cubicBezTo>
                      <a:pt x="488" y="463"/>
                      <a:pt x="496" y="469"/>
                      <a:pt x="493" y="476"/>
                    </a:cubicBezTo>
                    <a:cubicBezTo>
                      <a:pt x="453" y="584"/>
                      <a:pt x="453" y="584"/>
                      <a:pt x="453" y="584"/>
                    </a:cubicBezTo>
                    <a:cubicBezTo>
                      <a:pt x="451" y="590"/>
                      <a:pt x="442" y="591"/>
                      <a:pt x="439" y="585"/>
                    </a:cubicBezTo>
                    <a:cubicBezTo>
                      <a:pt x="409" y="525"/>
                      <a:pt x="409" y="525"/>
                      <a:pt x="409" y="525"/>
                    </a:cubicBezTo>
                    <a:cubicBezTo>
                      <a:pt x="407" y="522"/>
                      <a:pt x="408" y="518"/>
                      <a:pt x="411" y="516"/>
                    </a:cubicBezTo>
                    <a:close/>
                    <a:moveTo>
                      <a:pt x="540" y="759"/>
                    </a:moveTo>
                    <a:cubicBezTo>
                      <a:pt x="505" y="696"/>
                      <a:pt x="505" y="696"/>
                      <a:pt x="505" y="696"/>
                    </a:cubicBezTo>
                    <a:cubicBezTo>
                      <a:pt x="503" y="693"/>
                      <a:pt x="504" y="689"/>
                      <a:pt x="507" y="686"/>
                    </a:cubicBezTo>
                    <a:cubicBezTo>
                      <a:pt x="595" y="624"/>
                      <a:pt x="595" y="624"/>
                      <a:pt x="595" y="624"/>
                    </a:cubicBezTo>
                    <a:cubicBezTo>
                      <a:pt x="601" y="619"/>
                      <a:pt x="609" y="626"/>
                      <a:pt x="606" y="633"/>
                    </a:cubicBezTo>
                    <a:cubicBezTo>
                      <a:pt x="554" y="758"/>
                      <a:pt x="554" y="758"/>
                      <a:pt x="554" y="758"/>
                    </a:cubicBezTo>
                    <a:cubicBezTo>
                      <a:pt x="551" y="764"/>
                      <a:pt x="543" y="764"/>
                      <a:pt x="540" y="759"/>
                    </a:cubicBezTo>
                    <a:close/>
                    <a:moveTo>
                      <a:pt x="594" y="809"/>
                    </a:moveTo>
                    <a:cubicBezTo>
                      <a:pt x="657" y="672"/>
                      <a:pt x="657" y="672"/>
                      <a:pt x="657" y="672"/>
                    </a:cubicBezTo>
                    <a:cubicBezTo>
                      <a:pt x="660" y="667"/>
                      <a:pt x="667" y="666"/>
                      <a:pt x="670" y="671"/>
                    </a:cubicBezTo>
                    <a:cubicBezTo>
                      <a:pt x="721" y="741"/>
                      <a:pt x="721" y="741"/>
                      <a:pt x="721" y="741"/>
                    </a:cubicBezTo>
                    <a:cubicBezTo>
                      <a:pt x="724" y="745"/>
                      <a:pt x="723" y="750"/>
                      <a:pt x="719" y="752"/>
                    </a:cubicBezTo>
                    <a:cubicBezTo>
                      <a:pt x="605" y="818"/>
                      <a:pt x="605" y="818"/>
                      <a:pt x="605" y="818"/>
                    </a:cubicBezTo>
                    <a:cubicBezTo>
                      <a:pt x="598" y="822"/>
                      <a:pt x="591" y="815"/>
                      <a:pt x="594" y="809"/>
                    </a:cubicBezTo>
                    <a:close/>
                    <a:moveTo>
                      <a:pt x="1107" y="694"/>
                    </a:moveTo>
                    <a:cubicBezTo>
                      <a:pt x="936" y="694"/>
                      <a:pt x="936" y="694"/>
                      <a:pt x="936" y="694"/>
                    </a:cubicBezTo>
                    <a:cubicBezTo>
                      <a:pt x="932" y="694"/>
                      <a:pt x="928" y="691"/>
                      <a:pt x="928" y="686"/>
                    </a:cubicBezTo>
                    <a:cubicBezTo>
                      <a:pt x="928" y="542"/>
                      <a:pt x="928" y="542"/>
                      <a:pt x="928" y="542"/>
                    </a:cubicBezTo>
                    <a:cubicBezTo>
                      <a:pt x="928" y="538"/>
                      <a:pt x="932" y="534"/>
                      <a:pt x="936" y="534"/>
                    </a:cubicBezTo>
                    <a:cubicBezTo>
                      <a:pt x="1107" y="534"/>
                      <a:pt x="1107" y="534"/>
                      <a:pt x="1107" y="534"/>
                    </a:cubicBezTo>
                    <a:cubicBezTo>
                      <a:pt x="1111" y="534"/>
                      <a:pt x="1114" y="538"/>
                      <a:pt x="1114" y="542"/>
                    </a:cubicBezTo>
                    <a:cubicBezTo>
                      <a:pt x="1114" y="686"/>
                      <a:pt x="1114" y="686"/>
                      <a:pt x="1114" y="686"/>
                    </a:cubicBezTo>
                    <a:cubicBezTo>
                      <a:pt x="1114" y="691"/>
                      <a:pt x="1111" y="694"/>
                      <a:pt x="1107" y="694"/>
                    </a:cubicBezTo>
                    <a:close/>
                  </a:path>
                </a:pathLst>
              </a:custGeom>
              <a:grpFill/>
              <a:ln>
                <a:noFill/>
              </a:ln>
            </p:spPr>
            <p:txBody>
              <a:bodyPr wrap="square" lIns="91440" tIns="45720" rIns="91440" bIns="45720" anchor="ctr">
                <a:normAutofit/>
              </a:bodyPr>
              <a:lstStyle/>
              <a:p>
                <a:pPr algn="ctr"/>
                <a:endParaRPr/>
              </a:p>
            </p:txBody>
          </p:sp>
          <p:grpSp>
            <p:nvGrpSpPr>
              <p:cNvPr id="36" name="îSlíďé">
                <a:extLst>
                  <a:ext uri="{FF2B5EF4-FFF2-40B4-BE49-F238E27FC236}">
                    <a16:creationId xmlns:a16="http://schemas.microsoft.com/office/drawing/2014/main" id="{658EAFE7-BF08-4DA8-A6A2-786506649D87}"/>
                  </a:ext>
                </a:extLst>
              </p:cNvPr>
              <p:cNvGrpSpPr/>
              <p:nvPr/>
            </p:nvGrpSpPr>
            <p:grpSpPr>
              <a:xfrm>
                <a:off x="10209356" y="4102576"/>
                <a:ext cx="1209964" cy="2755424"/>
                <a:chOff x="9648825" y="4762500"/>
                <a:chExt cx="1322070" cy="2095500"/>
              </a:xfrm>
              <a:grpFill/>
            </p:grpSpPr>
            <p:sp>
              <p:nvSpPr>
                <p:cNvPr id="37" name="ïšḷïḑé">
                  <a:extLst>
                    <a:ext uri="{FF2B5EF4-FFF2-40B4-BE49-F238E27FC236}">
                      <a16:creationId xmlns:a16="http://schemas.microsoft.com/office/drawing/2014/main" id="{A08D23F7-EB20-4519-A40F-9B8BBDC1F2E6}"/>
                    </a:ext>
                  </a:extLst>
                </p:cNvPr>
                <p:cNvSpPr/>
                <p:nvPr/>
              </p:nvSpPr>
              <p:spPr>
                <a:xfrm>
                  <a:off x="9648825" y="4762500"/>
                  <a:ext cx="209550" cy="2095500"/>
                </a:xfrm>
                <a:prstGeom prst="rect">
                  <a:avLst/>
                </a:prstGeom>
                <a:grp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38" name="îşľïďé">
                  <a:extLst>
                    <a:ext uri="{FF2B5EF4-FFF2-40B4-BE49-F238E27FC236}">
                      <a16:creationId xmlns:a16="http://schemas.microsoft.com/office/drawing/2014/main" id="{BC3A3E2F-6293-416C-89A6-0B3647E16CA9}"/>
                    </a:ext>
                  </a:extLst>
                </p:cNvPr>
                <p:cNvSpPr/>
                <p:nvPr/>
              </p:nvSpPr>
              <p:spPr>
                <a:xfrm>
                  <a:off x="10761345" y="4762500"/>
                  <a:ext cx="209550" cy="2095500"/>
                </a:xfrm>
                <a:prstGeom prst="rect">
                  <a:avLst/>
                </a:prstGeom>
                <a:grp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39" name="ïṧļïḍé">
                  <a:extLst>
                    <a:ext uri="{FF2B5EF4-FFF2-40B4-BE49-F238E27FC236}">
                      <a16:creationId xmlns:a16="http://schemas.microsoft.com/office/drawing/2014/main" id="{724D48C3-7594-4460-B64E-44D2A1F38D36}"/>
                    </a:ext>
                  </a:extLst>
                </p:cNvPr>
                <p:cNvSpPr/>
                <p:nvPr/>
              </p:nvSpPr>
              <p:spPr>
                <a:xfrm>
                  <a:off x="9753600" y="5194488"/>
                  <a:ext cx="1112520" cy="175260"/>
                </a:xfrm>
                <a:prstGeom prst="rect">
                  <a:avLst/>
                </a:prstGeom>
                <a:grp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47500" lnSpcReduction="20000"/>
                </a:bodyPr>
                <a:lstStyle/>
                <a:p>
                  <a:pPr algn="ctr"/>
                  <a:endParaRPr/>
                </a:p>
              </p:txBody>
            </p:sp>
            <p:sp>
              <p:nvSpPr>
                <p:cNvPr id="40" name="ïṥ1iḓè">
                  <a:extLst>
                    <a:ext uri="{FF2B5EF4-FFF2-40B4-BE49-F238E27FC236}">
                      <a16:creationId xmlns:a16="http://schemas.microsoft.com/office/drawing/2014/main" id="{ACBBD65F-2A0E-48E1-94F7-613650E0A7A1}"/>
                    </a:ext>
                  </a:extLst>
                </p:cNvPr>
                <p:cNvSpPr/>
                <p:nvPr/>
              </p:nvSpPr>
              <p:spPr>
                <a:xfrm>
                  <a:off x="9753600" y="5755193"/>
                  <a:ext cx="1112520" cy="175260"/>
                </a:xfrm>
                <a:prstGeom prst="rect">
                  <a:avLst/>
                </a:prstGeom>
                <a:grp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47500" lnSpcReduction="20000"/>
                </a:bodyPr>
                <a:lstStyle/>
                <a:p>
                  <a:pPr algn="ctr"/>
                  <a:endParaRPr/>
                </a:p>
              </p:txBody>
            </p:sp>
            <p:sp>
              <p:nvSpPr>
                <p:cNvPr id="41" name="îŝ1îdè">
                  <a:extLst>
                    <a:ext uri="{FF2B5EF4-FFF2-40B4-BE49-F238E27FC236}">
                      <a16:creationId xmlns:a16="http://schemas.microsoft.com/office/drawing/2014/main" id="{B8E86681-0A3B-4AB3-BA3C-9B287193FA0E}"/>
                    </a:ext>
                  </a:extLst>
                </p:cNvPr>
                <p:cNvSpPr/>
                <p:nvPr/>
              </p:nvSpPr>
              <p:spPr>
                <a:xfrm>
                  <a:off x="9753600" y="6347965"/>
                  <a:ext cx="1112520" cy="175260"/>
                </a:xfrm>
                <a:prstGeom prst="rect">
                  <a:avLst/>
                </a:prstGeom>
                <a:grp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47500" lnSpcReduction="20000"/>
                </a:bodyPr>
                <a:lstStyle/>
                <a:p>
                  <a:pPr algn="ctr"/>
                  <a:endParaRPr/>
                </a:p>
              </p:txBody>
            </p:sp>
            <p:sp>
              <p:nvSpPr>
                <p:cNvPr id="42" name="í$ḷîḋe">
                  <a:extLst>
                    <a:ext uri="{FF2B5EF4-FFF2-40B4-BE49-F238E27FC236}">
                      <a16:creationId xmlns:a16="http://schemas.microsoft.com/office/drawing/2014/main" id="{8C6D1BA0-DE97-4548-AB35-BAFA96C11CFC}"/>
                    </a:ext>
                  </a:extLst>
                </p:cNvPr>
                <p:cNvSpPr/>
                <p:nvPr/>
              </p:nvSpPr>
              <p:spPr>
                <a:xfrm rot="20413963">
                  <a:off x="9753602" y="4975544"/>
                  <a:ext cx="1112521" cy="175260"/>
                </a:xfrm>
                <a:prstGeom prst="rect">
                  <a:avLst/>
                </a:prstGeom>
                <a:grp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47500" lnSpcReduction="20000"/>
                </a:bodyPr>
                <a:lstStyle/>
                <a:p>
                  <a:pPr algn="ctr"/>
                  <a:endParaRPr/>
                </a:p>
              </p:txBody>
            </p:sp>
            <p:sp>
              <p:nvSpPr>
                <p:cNvPr id="43" name="îṩḻîḍè">
                  <a:extLst>
                    <a:ext uri="{FF2B5EF4-FFF2-40B4-BE49-F238E27FC236}">
                      <a16:creationId xmlns:a16="http://schemas.microsoft.com/office/drawing/2014/main" id="{46ECE637-66ED-4B94-B8D3-1EAC257D85BF}"/>
                    </a:ext>
                  </a:extLst>
                </p:cNvPr>
                <p:cNvSpPr/>
                <p:nvPr/>
              </p:nvSpPr>
              <p:spPr>
                <a:xfrm rot="20413963">
                  <a:off x="9753601" y="5476452"/>
                  <a:ext cx="1112520" cy="175260"/>
                </a:xfrm>
                <a:prstGeom prst="rect">
                  <a:avLst/>
                </a:prstGeom>
                <a:grp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47500" lnSpcReduction="20000"/>
                </a:bodyPr>
                <a:lstStyle/>
                <a:p>
                  <a:pPr algn="ctr"/>
                  <a:endParaRPr/>
                </a:p>
              </p:txBody>
            </p:sp>
            <p:sp>
              <p:nvSpPr>
                <p:cNvPr id="44" name="i$ľíḍê">
                  <a:extLst>
                    <a:ext uri="{FF2B5EF4-FFF2-40B4-BE49-F238E27FC236}">
                      <a16:creationId xmlns:a16="http://schemas.microsoft.com/office/drawing/2014/main" id="{718C3B5D-EB0D-4008-AB8A-876322308EE5}"/>
                    </a:ext>
                  </a:extLst>
                </p:cNvPr>
                <p:cNvSpPr/>
                <p:nvPr/>
              </p:nvSpPr>
              <p:spPr>
                <a:xfrm rot="20413963">
                  <a:off x="9753602" y="6061796"/>
                  <a:ext cx="1112520" cy="175260"/>
                </a:xfrm>
                <a:prstGeom prst="rect">
                  <a:avLst/>
                </a:prstGeom>
                <a:grp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47500" lnSpcReduction="20000"/>
                </a:bodyPr>
                <a:lstStyle/>
                <a:p>
                  <a:pPr algn="ctr"/>
                  <a:endParaRPr/>
                </a:p>
              </p:txBody>
            </p:sp>
            <p:sp>
              <p:nvSpPr>
                <p:cNvPr id="45" name="îṧliḋê">
                  <a:extLst>
                    <a:ext uri="{FF2B5EF4-FFF2-40B4-BE49-F238E27FC236}">
                      <a16:creationId xmlns:a16="http://schemas.microsoft.com/office/drawing/2014/main" id="{3A224780-CA38-46D1-9951-DF4C3C141FA1}"/>
                    </a:ext>
                  </a:extLst>
                </p:cNvPr>
                <p:cNvSpPr/>
                <p:nvPr/>
              </p:nvSpPr>
              <p:spPr>
                <a:xfrm rot="20413963">
                  <a:off x="9753603" y="6626702"/>
                  <a:ext cx="1112520" cy="175260"/>
                </a:xfrm>
                <a:prstGeom prst="rect">
                  <a:avLst/>
                </a:prstGeom>
                <a:grp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47500" lnSpcReduction="20000"/>
                </a:bodyPr>
                <a:lstStyle/>
                <a:p>
                  <a:pPr algn="ctr"/>
                  <a:endParaRPr/>
                </a:p>
              </p:txBody>
            </p:sp>
          </p:grpSp>
        </p:grpSp>
        <p:sp>
          <p:nvSpPr>
            <p:cNvPr id="9" name="ïṥlídê">
              <a:extLst>
                <a:ext uri="{FF2B5EF4-FFF2-40B4-BE49-F238E27FC236}">
                  <a16:creationId xmlns:a16="http://schemas.microsoft.com/office/drawing/2014/main" id="{C8793CE4-D444-4FCD-8FA9-22BD5B0C7822}"/>
                </a:ext>
              </a:extLst>
            </p:cNvPr>
            <p:cNvSpPr/>
            <p:nvPr/>
          </p:nvSpPr>
          <p:spPr>
            <a:xfrm flipH="1">
              <a:off x="2811359" y="3571023"/>
              <a:ext cx="1204693" cy="502079"/>
            </a:xfrm>
            <a:prstGeom prst="rect">
              <a:avLst/>
            </a:prstGeom>
            <a:solidFill>
              <a:srgbClr val="00B050"/>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anchor="ctr" anchorCtr="0" forceAA="0" compatLnSpc="1">
              <a:prstTxWarp prst="textNoShape">
                <a:avLst/>
              </a:prstTxWarp>
              <a:normAutofit/>
            </a:bodyPr>
            <a:lstStyle/>
            <a:p>
              <a:pPr algn="ctr"/>
              <a:r>
                <a:rPr lang="en-US" altLang="zh-CN" b="1" dirty="0" smtClean="0"/>
                <a:t>MVC</a:t>
              </a:r>
              <a:endParaRPr lang="zh-CN" altLang="en-US" dirty="0"/>
            </a:p>
          </p:txBody>
        </p:sp>
        <p:sp>
          <p:nvSpPr>
            <p:cNvPr id="10" name="îşḷiḑé">
              <a:extLst>
                <a:ext uri="{FF2B5EF4-FFF2-40B4-BE49-F238E27FC236}">
                  <a16:creationId xmlns:a16="http://schemas.microsoft.com/office/drawing/2014/main" id="{BB271FD9-4261-482A-8C2F-1687CBCD3A05}"/>
                </a:ext>
              </a:extLst>
            </p:cNvPr>
            <p:cNvSpPr/>
            <p:nvPr/>
          </p:nvSpPr>
          <p:spPr>
            <a:xfrm flipH="1">
              <a:off x="2604585" y="4277020"/>
              <a:ext cx="1618241" cy="705776"/>
            </a:xfrm>
            <a:prstGeom prst="rect">
              <a:avLst/>
            </a:prstGeom>
            <a:solidFill>
              <a:srgbClr val="E1691F"/>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anchor="ctr" anchorCtr="0" forceAA="0" compatLnSpc="1">
              <a:prstTxWarp prst="textNoShape">
                <a:avLst/>
              </a:prstTxWarp>
              <a:normAutofit/>
            </a:bodyPr>
            <a:lstStyle/>
            <a:p>
              <a:pPr algn="ctr"/>
              <a:r>
                <a:rPr lang="en-US" altLang="zh-CN" b="1" dirty="0" smtClean="0"/>
                <a:t>MVP</a:t>
              </a:r>
              <a:endParaRPr lang="zh-CN" altLang="en-US" dirty="0"/>
            </a:p>
          </p:txBody>
        </p:sp>
        <p:sp>
          <p:nvSpPr>
            <p:cNvPr id="11" name="ïṩļíḍê">
              <a:extLst>
                <a:ext uri="{FF2B5EF4-FFF2-40B4-BE49-F238E27FC236}">
                  <a16:creationId xmlns:a16="http://schemas.microsoft.com/office/drawing/2014/main" id="{7E397B7C-6F3D-40C1-B3E0-0279572B56D0}"/>
                </a:ext>
              </a:extLst>
            </p:cNvPr>
            <p:cNvSpPr/>
            <p:nvPr/>
          </p:nvSpPr>
          <p:spPr>
            <a:xfrm flipH="1">
              <a:off x="2440921" y="4982795"/>
              <a:ext cx="1945569" cy="1078042"/>
            </a:xfrm>
            <a:prstGeom prst="rect">
              <a:avLst/>
            </a:prstGeom>
            <a:solidFill>
              <a:srgbClr val="FFC000"/>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anchor="ctr" anchorCtr="0" forceAA="0" compatLnSpc="1">
              <a:prstTxWarp prst="textNoShape">
                <a:avLst/>
              </a:prstTxWarp>
              <a:normAutofit/>
            </a:bodyPr>
            <a:lstStyle/>
            <a:p>
              <a:pPr algn="ctr"/>
              <a:r>
                <a:rPr lang="en-US" altLang="zh-CN" b="1" dirty="0" smtClean="0"/>
                <a:t>MVVM</a:t>
              </a:r>
              <a:endParaRPr lang="zh-CN" altLang="en-US" dirty="0"/>
            </a:p>
          </p:txBody>
        </p:sp>
      </p:grpSp>
      <p:grpSp>
        <p:nvGrpSpPr>
          <p:cNvPr id="46" name="组合 45">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47" name="椭圆 46">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48" name="椭圆 47">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grpSp>
      <p:sp>
        <p:nvSpPr>
          <p:cNvPr id="49" name="标题 1">
            <a:extLst>
              <a:ext uri="{FF2B5EF4-FFF2-40B4-BE49-F238E27FC236}">
                <a16:creationId xmlns:a16="http://schemas.microsoft.com/office/drawing/2014/main" id="{1D9D90DD-82BB-4388-81A3-44FA307364C4}"/>
              </a:ext>
            </a:extLst>
          </p:cNvPr>
          <p:cNvSpPr txBox="1">
            <a:spLocks/>
          </p:cNvSpPr>
          <p:nvPr/>
        </p:nvSpPr>
        <p:spPr>
          <a:xfrm>
            <a:off x="1149782" y="210918"/>
            <a:ext cx="4850185" cy="57784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3200" b="0" dirty="0" smtClean="0">
                <a:latin typeface="Arial" panose="020B0604020202020204" pitchFamily="34" charset="0"/>
                <a:ea typeface="Microsoft YaHei" panose="020B0503020204020204" pitchFamily="34" charset="-122"/>
                <a:cs typeface="+mn-ea"/>
                <a:sym typeface="Arial" panose="020B0604020202020204" pitchFamily="34" charset="0"/>
              </a:rPr>
              <a:t>架构思想</a:t>
            </a:r>
            <a:endParaRPr lang="zh-CN" altLang="en-US" sz="3200" b="0" dirty="0">
              <a:latin typeface="Arial" panose="020B0604020202020204" pitchFamily="34" charset="0"/>
              <a:ea typeface="Microsoft YaHei" panose="020B0503020204020204" pitchFamily="34" charset="-122"/>
              <a:cs typeface="+mn-ea"/>
              <a:sym typeface="Arial" panose="020B0604020202020204" pitchFamily="34" charset="0"/>
            </a:endParaRPr>
          </a:p>
        </p:txBody>
      </p:sp>
      <p:grpSp>
        <p:nvGrpSpPr>
          <p:cNvPr id="69" name="组合 68"/>
          <p:cNvGrpSpPr/>
          <p:nvPr/>
        </p:nvGrpSpPr>
        <p:grpSpPr>
          <a:xfrm>
            <a:off x="4222826" y="4073102"/>
            <a:ext cx="7216699" cy="2068789"/>
            <a:chOff x="4222826" y="4073102"/>
            <a:chExt cx="7216699" cy="2068789"/>
          </a:xfrm>
        </p:grpSpPr>
        <p:sp>
          <p:nvSpPr>
            <p:cNvPr id="52" name="right-arrowheads_44810"/>
            <p:cNvSpPr>
              <a:spLocks noChangeAspect="1"/>
            </p:cNvSpPr>
            <p:nvPr/>
          </p:nvSpPr>
          <p:spPr bwMode="auto">
            <a:xfrm>
              <a:off x="6162718" y="4624413"/>
              <a:ext cx="609685" cy="595566"/>
            </a:xfrm>
            <a:custGeom>
              <a:avLst/>
              <a:gdLst>
                <a:gd name="T0" fmla="*/ 59 w 415"/>
                <a:gd name="T1" fmla="*/ 406 h 406"/>
                <a:gd name="T2" fmla="*/ 25 w 415"/>
                <a:gd name="T3" fmla="*/ 394 h 406"/>
                <a:gd name="T4" fmla="*/ 19 w 415"/>
                <a:gd name="T5" fmla="*/ 318 h 406"/>
                <a:gd name="T6" fmla="*/ 114 w 415"/>
                <a:gd name="T7" fmla="*/ 206 h 406"/>
                <a:gd name="T8" fmla="*/ 19 w 415"/>
                <a:gd name="T9" fmla="*/ 94 h 406"/>
                <a:gd name="T10" fmla="*/ 25 w 415"/>
                <a:gd name="T11" fmla="*/ 19 h 406"/>
                <a:gd name="T12" fmla="*/ 100 w 415"/>
                <a:gd name="T13" fmla="*/ 25 h 406"/>
                <a:gd name="T14" fmla="*/ 225 w 415"/>
                <a:gd name="T15" fmla="*/ 172 h 406"/>
                <a:gd name="T16" fmla="*/ 225 w 415"/>
                <a:gd name="T17" fmla="*/ 241 h 406"/>
                <a:gd name="T18" fmla="*/ 100 w 415"/>
                <a:gd name="T19" fmla="*/ 388 h 406"/>
                <a:gd name="T20" fmla="*/ 59 w 415"/>
                <a:gd name="T21" fmla="*/ 406 h 406"/>
                <a:gd name="T22" fmla="*/ 273 w 415"/>
                <a:gd name="T23" fmla="*/ 388 h 406"/>
                <a:gd name="T24" fmla="*/ 398 w 415"/>
                <a:gd name="T25" fmla="*/ 241 h 406"/>
                <a:gd name="T26" fmla="*/ 398 w 415"/>
                <a:gd name="T27" fmla="*/ 172 h 406"/>
                <a:gd name="T28" fmla="*/ 273 w 415"/>
                <a:gd name="T29" fmla="*/ 25 h 406"/>
                <a:gd name="T30" fmla="*/ 198 w 415"/>
                <a:gd name="T31" fmla="*/ 19 h 406"/>
                <a:gd name="T32" fmla="*/ 192 w 415"/>
                <a:gd name="T33" fmla="*/ 94 h 406"/>
                <a:gd name="T34" fmla="*/ 287 w 415"/>
                <a:gd name="T35" fmla="*/ 206 h 406"/>
                <a:gd name="T36" fmla="*/ 192 w 415"/>
                <a:gd name="T37" fmla="*/ 318 h 406"/>
                <a:gd name="T38" fmla="*/ 198 w 415"/>
                <a:gd name="T39" fmla="*/ 394 h 406"/>
                <a:gd name="T40" fmla="*/ 232 w 415"/>
                <a:gd name="T41" fmla="*/ 406 h 406"/>
                <a:gd name="T42" fmla="*/ 273 w 415"/>
                <a:gd name="T43" fmla="*/ 388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5" h="406">
                  <a:moveTo>
                    <a:pt x="59" y="406"/>
                  </a:moveTo>
                  <a:cubicBezTo>
                    <a:pt x="47" y="406"/>
                    <a:pt x="35" y="402"/>
                    <a:pt x="25" y="394"/>
                  </a:cubicBezTo>
                  <a:cubicBezTo>
                    <a:pt x="2" y="375"/>
                    <a:pt x="0" y="341"/>
                    <a:pt x="19" y="318"/>
                  </a:cubicBezTo>
                  <a:lnTo>
                    <a:pt x="114" y="206"/>
                  </a:lnTo>
                  <a:lnTo>
                    <a:pt x="19" y="94"/>
                  </a:lnTo>
                  <a:cubicBezTo>
                    <a:pt x="0" y="71"/>
                    <a:pt x="2" y="38"/>
                    <a:pt x="25" y="19"/>
                  </a:cubicBezTo>
                  <a:cubicBezTo>
                    <a:pt x="47" y="0"/>
                    <a:pt x="81" y="2"/>
                    <a:pt x="100" y="25"/>
                  </a:cubicBezTo>
                  <a:lnTo>
                    <a:pt x="225" y="172"/>
                  </a:lnTo>
                  <a:cubicBezTo>
                    <a:pt x="242" y="192"/>
                    <a:pt x="242" y="221"/>
                    <a:pt x="225" y="241"/>
                  </a:cubicBezTo>
                  <a:lnTo>
                    <a:pt x="100" y="388"/>
                  </a:lnTo>
                  <a:cubicBezTo>
                    <a:pt x="89" y="400"/>
                    <a:pt x="74" y="406"/>
                    <a:pt x="59" y="406"/>
                  </a:cubicBezTo>
                  <a:close/>
                  <a:moveTo>
                    <a:pt x="273" y="388"/>
                  </a:moveTo>
                  <a:lnTo>
                    <a:pt x="398" y="241"/>
                  </a:lnTo>
                  <a:cubicBezTo>
                    <a:pt x="415" y="221"/>
                    <a:pt x="415" y="192"/>
                    <a:pt x="398" y="172"/>
                  </a:cubicBezTo>
                  <a:lnTo>
                    <a:pt x="273" y="25"/>
                  </a:lnTo>
                  <a:cubicBezTo>
                    <a:pt x="254" y="2"/>
                    <a:pt x="220" y="0"/>
                    <a:pt x="198" y="19"/>
                  </a:cubicBezTo>
                  <a:cubicBezTo>
                    <a:pt x="175" y="38"/>
                    <a:pt x="173" y="71"/>
                    <a:pt x="192" y="94"/>
                  </a:cubicBezTo>
                  <a:lnTo>
                    <a:pt x="287" y="206"/>
                  </a:lnTo>
                  <a:lnTo>
                    <a:pt x="192" y="318"/>
                  </a:lnTo>
                  <a:cubicBezTo>
                    <a:pt x="173" y="341"/>
                    <a:pt x="175" y="375"/>
                    <a:pt x="198" y="394"/>
                  </a:cubicBezTo>
                  <a:cubicBezTo>
                    <a:pt x="208" y="402"/>
                    <a:pt x="220" y="406"/>
                    <a:pt x="232" y="406"/>
                  </a:cubicBezTo>
                  <a:cubicBezTo>
                    <a:pt x="247" y="406"/>
                    <a:pt x="262" y="400"/>
                    <a:pt x="273" y="388"/>
                  </a:cubicBezTo>
                  <a:close/>
                </a:path>
              </a:pathLst>
            </a:custGeom>
            <a:solidFill>
              <a:schemeClr val="accent1"/>
            </a:solidFill>
            <a:ln>
              <a:noFill/>
            </a:ln>
          </p:spPr>
        </p:sp>
        <p:cxnSp>
          <p:nvCxnSpPr>
            <p:cNvPr id="58" name="肘形连接符 57"/>
            <p:cNvCxnSpPr>
              <a:stCxn id="10" idx="1"/>
            </p:cNvCxnSpPr>
            <p:nvPr/>
          </p:nvCxnSpPr>
          <p:spPr>
            <a:xfrm>
              <a:off x="4222826" y="4629908"/>
              <a:ext cx="1909687" cy="359358"/>
            </a:xfrm>
            <a:prstGeom prst="bentConnector3">
              <a:avLst/>
            </a:prstGeom>
            <a:ln w="63500" cap="flat">
              <a:solidFill>
                <a:srgbClr val="008CD7"/>
              </a:solidFill>
              <a:prstDash val="sysDot"/>
              <a:round/>
              <a:tailEnd type="triangle"/>
            </a:ln>
            <a:effectLst>
              <a:outerShdw blurRad="40000" dist="23000" dir="5400000" rotWithShape="0">
                <a:srgbClr val="000000">
                  <a:alpha val="35000"/>
                </a:srgbClr>
              </a:outerShdw>
              <a:softEdge rad="0"/>
            </a:effectLst>
          </p:spPr>
          <p:style>
            <a:lnRef idx="3">
              <a:schemeClr val="accent1"/>
            </a:lnRef>
            <a:fillRef idx="0">
              <a:schemeClr val="accent1"/>
            </a:fillRef>
            <a:effectRef idx="2">
              <a:schemeClr val="accent1"/>
            </a:effectRef>
            <a:fontRef idx="minor">
              <a:schemeClr val="tx1"/>
            </a:fontRef>
          </p:style>
        </p:cxnSp>
        <p:sp>
          <p:nvSpPr>
            <p:cNvPr id="63" name="矩形 62"/>
            <p:cNvSpPr/>
            <p:nvPr/>
          </p:nvSpPr>
          <p:spPr>
            <a:xfrm>
              <a:off x="7829069" y="4255081"/>
              <a:ext cx="1922321" cy="369332"/>
            </a:xfrm>
            <a:prstGeom prst="rect">
              <a:avLst/>
            </a:prstGeom>
          </p:spPr>
          <p:txBody>
            <a:bodyPr wrap="none">
              <a:spAutoFit/>
            </a:bodyPr>
            <a:lstStyle/>
            <a:p>
              <a:pPr marL="285750" indent="-285750">
                <a:buFont typeface="Arial" panose="020B0604020202020204" pitchFamily="34" charset="0"/>
                <a:buChar char="•"/>
              </a:pPr>
              <a:r>
                <a:rPr lang="en-US" altLang="zh-CN" b="1" dirty="0">
                  <a:solidFill>
                    <a:srgbClr val="008CD7"/>
                  </a:solidFill>
                </a:rPr>
                <a:t>Activity</a:t>
              </a:r>
              <a:r>
                <a:rPr lang="zh-CN" altLang="en-US" b="1" dirty="0">
                  <a:solidFill>
                    <a:srgbClr val="008CD7"/>
                  </a:solidFill>
                </a:rPr>
                <a:t>为</a:t>
              </a:r>
              <a:r>
                <a:rPr lang="en-US" altLang="zh-CN" b="1" dirty="0">
                  <a:solidFill>
                    <a:srgbClr val="008CD7"/>
                  </a:solidFill>
                </a:rPr>
                <a:t>V</a:t>
              </a:r>
              <a:r>
                <a:rPr lang="zh-CN" altLang="en-US" b="1" dirty="0">
                  <a:solidFill>
                    <a:srgbClr val="008CD7"/>
                  </a:solidFill>
                </a:rPr>
                <a:t>层</a:t>
              </a:r>
            </a:p>
          </p:txBody>
        </p:sp>
        <p:sp>
          <p:nvSpPr>
            <p:cNvPr id="64" name="矩形 63"/>
            <p:cNvSpPr/>
            <p:nvPr/>
          </p:nvSpPr>
          <p:spPr>
            <a:xfrm>
              <a:off x="7829069" y="4776648"/>
              <a:ext cx="3440185" cy="646331"/>
            </a:xfrm>
            <a:prstGeom prst="rect">
              <a:avLst/>
            </a:prstGeom>
          </p:spPr>
          <p:txBody>
            <a:bodyPr wrap="square">
              <a:spAutoFit/>
            </a:bodyPr>
            <a:lstStyle/>
            <a:p>
              <a:pPr marL="285750" indent="-285750">
                <a:buFont typeface="Arial" panose="020B0604020202020204" pitchFamily="34" charset="0"/>
                <a:buChar char="•"/>
              </a:pPr>
              <a:r>
                <a:rPr lang="zh-CN" altLang="en-US" b="1" dirty="0">
                  <a:solidFill>
                    <a:srgbClr val="008CD7"/>
                  </a:solidFill>
                </a:rPr>
                <a:t>有专门的</a:t>
              </a:r>
              <a:r>
                <a:rPr lang="en-US" altLang="zh-CN" b="1" dirty="0">
                  <a:solidFill>
                    <a:srgbClr val="008CD7"/>
                  </a:solidFill>
                </a:rPr>
                <a:t>P</a:t>
              </a:r>
              <a:r>
                <a:rPr lang="zh-CN" altLang="en-US" b="1" dirty="0">
                  <a:solidFill>
                    <a:srgbClr val="008CD7"/>
                  </a:solidFill>
                </a:rPr>
                <a:t>层，负责</a:t>
              </a:r>
              <a:r>
                <a:rPr lang="en-US" altLang="zh-CN" b="1" dirty="0">
                  <a:solidFill>
                    <a:srgbClr val="008CD7"/>
                  </a:solidFill>
                </a:rPr>
                <a:t>M</a:t>
              </a:r>
              <a:r>
                <a:rPr lang="zh-CN" altLang="en-US" b="1" dirty="0">
                  <a:solidFill>
                    <a:srgbClr val="008CD7"/>
                  </a:solidFill>
                </a:rPr>
                <a:t>和</a:t>
              </a:r>
              <a:r>
                <a:rPr lang="en-US" altLang="zh-CN" b="1" dirty="0">
                  <a:solidFill>
                    <a:srgbClr val="008CD7"/>
                  </a:solidFill>
                </a:rPr>
                <a:t>V</a:t>
              </a:r>
              <a:r>
                <a:rPr lang="zh-CN" altLang="en-US" b="1" dirty="0">
                  <a:solidFill>
                    <a:srgbClr val="008CD7"/>
                  </a:solidFill>
                </a:rPr>
                <a:t>的交互，没有其他功能</a:t>
              </a:r>
            </a:p>
          </p:txBody>
        </p:sp>
        <p:sp>
          <p:nvSpPr>
            <p:cNvPr id="65" name="矩形 64"/>
            <p:cNvSpPr/>
            <p:nvPr/>
          </p:nvSpPr>
          <p:spPr>
            <a:xfrm>
              <a:off x="7829069" y="5645829"/>
              <a:ext cx="1973617" cy="369332"/>
            </a:xfrm>
            <a:prstGeom prst="rect">
              <a:avLst/>
            </a:prstGeom>
          </p:spPr>
          <p:txBody>
            <a:bodyPr wrap="none">
              <a:spAutoFit/>
            </a:bodyPr>
            <a:lstStyle/>
            <a:p>
              <a:pPr marL="285750" indent="-285750">
                <a:buFont typeface="Arial" panose="020B0604020202020204" pitchFamily="34" charset="0"/>
                <a:buChar char="•"/>
              </a:pPr>
              <a:r>
                <a:rPr lang="en-US" altLang="zh-CN" b="1" dirty="0">
                  <a:solidFill>
                    <a:srgbClr val="008CD7"/>
                  </a:solidFill>
                </a:rPr>
                <a:t>M</a:t>
              </a:r>
              <a:r>
                <a:rPr lang="zh-CN" altLang="en-US" b="1" dirty="0">
                  <a:solidFill>
                    <a:srgbClr val="008CD7"/>
                  </a:solidFill>
                </a:rPr>
                <a:t>和</a:t>
              </a:r>
              <a:r>
                <a:rPr lang="en-US" altLang="zh-CN" b="1" dirty="0">
                  <a:solidFill>
                    <a:srgbClr val="008CD7"/>
                  </a:solidFill>
                </a:rPr>
                <a:t>V</a:t>
              </a:r>
              <a:r>
                <a:rPr lang="zh-CN" altLang="en-US" b="1" dirty="0">
                  <a:solidFill>
                    <a:srgbClr val="008CD7"/>
                  </a:solidFill>
                </a:rPr>
                <a:t>没有交互</a:t>
              </a:r>
            </a:p>
          </p:txBody>
        </p:sp>
        <p:sp>
          <p:nvSpPr>
            <p:cNvPr id="66" name="圆角矩形 65"/>
            <p:cNvSpPr/>
            <p:nvPr/>
          </p:nvSpPr>
          <p:spPr>
            <a:xfrm>
              <a:off x="7258050" y="4073102"/>
              <a:ext cx="4181475" cy="2068789"/>
            </a:xfrm>
            <a:prstGeom prst="roundRect">
              <a:avLst/>
            </a:prstGeom>
            <a:noFill/>
            <a:ln w="63500">
              <a:solidFill>
                <a:srgbClr val="008C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70" name="组合 69"/>
          <p:cNvGrpSpPr/>
          <p:nvPr/>
        </p:nvGrpSpPr>
        <p:grpSpPr>
          <a:xfrm>
            <a:off x="4016052" y="1154793"/>
            <a:ext cx="7423472" cy="2667270"/>
            <a:chOff x="4016052" y="1154793"/>
            <a:chExt cx="7423472" cy="2667270"/>
          </a:xfrm>
        </p:grpSpPr>
        <p:sp>
          <p:nvSpPr>
            <p:cNvPr id="60" name="矩形 59"/>
            <p:cNvSpPr/>
            <p:nvPr/>
          </p:nvSpPr>
          <p:spPr>
            <a:xfrm>
              <a:off x="7829069" y="1348090"/>
              <a:ext cx="1935145" cy="369332"/>
            </a:xfrm>
            <a:prstGeom prst="rect">
              <a:avLst/>
            </a:prstGeom>
          </p:spPr>
          <p:txBody>
            <a:bodyPr wrap="none">
              <a:spAutoFit/>
            </a:bodyPr>
            <a:lstStyle/>
            <a:p>
              <a:pPr marL="285750" indent="-285750">
                <a:buFont typeface="Arial" panose="020B0604020202020204" pitchFamily="34" charset="0"/>
                <a:buChar char="•"/>
              </a:pPr>
              <a:r>
                <a:rPr lang="en-US" altLang="zh-CN" b="1" dirty="0">
                  <a:solidFill>
                    <a:srgbClr val="008CD7"/>
                  </a:solidFill>
                </a:rPr>
                <a:t>Activity</a:t>
              </a:r>
              <a:r>
                <a:rPr lang="zh-CN" altLang="en-US" b="1" dirty="0">
                  <a:solidFill>
                    <a:srgbClr val="008CD7"/>
                  </a:solidFill>
                </a:rPr>
                <a:t>为</a:t>
              </a:r>
              <a:r>
                <a:rPr lang="en-US" altLang="zh-CN" b="1" dirty="0">
                  <a:solidFill>
                    <a:srgbClr val="008CD7"/>
                  </a:solidFill>
                </a:rPr>
                <a:t>C</a:t>
              </a:r>
              <a:r>
                <a:rPr lang="zh-CN" altLang="en-US" b="1" dirty="0">
                  <a:solidFill>
                    <a:srgbClr val="008CD7"/>
                  </a:solidFill>
                </a:rPr>
                <a:t>层</a:t>
              </a:r>
            </a:p>
          </p:txBody>
        </p:sp>
        <p:sp>
          <p:nvSpPr>
            <p:cNvPr id="61" name="矩形 60"/>
            <p:cNvSpPr/>
            <p:nvPr/>
          </p:nvSpPr>
          <p:spPr>
            <a:xfrm>
              <a:off x="7829069" y="1943656"/>
              <a:ext cx="2995372" cy="369332"/>
            </a:xfrm>
            <a:prstGeom prst="rect">
              <a:avLst/>
            </a:prstGeom>
          </p:spPr>
          <p:txBody>
            <a:bodyPr wrap="none">
              <a:spAutoFit/>
            </a:bodyPr>
            <a:lstStyle/>
            <a:p>
              <a:pPr marL="285750" indent="-285750">
                <a:buFont typeface="Arial" panose="020B0604020202020204" pitchFamily="34" charset="0"/>
                <a:buChar char="•"/>
              </a:pPr>
              <a:r>
                <a:rPr lang="en-US" altLang="zh-CN" b="1" dirty="0">
                  <a:solidFill>
                    <a:srgbClr val="008CD7"/>
                  </a:solidFill>
                </a:rPr>
                <a:t>V</a:t>
              </a:r>
              <a:r>
                <a:rPr lang="zh-CN" altLang="en-US" b="1" dirty="0">
                  <a:solidFill>
                    <a:srgbClr val="008CD7"/>
                  </a:solidFill>
                </a:rPr>
                <a:t>层为具体的</a:t>
              </a:r>
              <a:r>
                <a:rPr lang="en-US" altLang="zh-CN" b="1" dirty="0">
                  <a:solidFill>
                    <a:srgbClr val="008CD7"/>
                  </a:solidFill>
                </a:rPr>
                <a:t>View</a:t>
              </a:r>
              <a:r>
                <a:rPr lang="zh-CN" altLang="en-US" b="1" dirty="0">
                  <a:solidFill>
                    <a:srgbClr val="008CD7"/>
                  </a:solidFill>
                </a:rPr>
                <a:t>或布局</a:t>
              </a:r>
            </a:p>
          </p:txBody>
        </p:sp>
        <p:sp>
          <p:nvSpPr>
            <p:cNvPr id="62" name="矩形 61"/>
            <p:cNvSpPr/>
            <p:nvPr/>
          </p:nvSpPr>
          <p:spPr>
            <a:xfrm>
              <a:off x="7829069" y="2539222"/>
              <a:ext cx="1742785" cy="369332"/>
            </a:xfrm>
            <a:prstGeom prst="rect">
              <a:avLst/>
            </a:prstGeom>
          </p:spPr>
          <p:txBody>
            <a:bodyPr wrap="none">
              <a:spAutoFit/>
            </a:bodyPr>
            <a:lstStyle/>
            <a:p>
              <a:pPr marL="285750" indent="-285750">
                <a:buFont typeface="Arial" panose="020B0604020202020204" pitchFamily="34" charset="0"/>
                <a:buChar char="•"/>
              </a:pPr>
              <a:r>
                <a:rPr lang="en-US" altLang="zh-CN" b="1" dirty="0">
                  <a:solidFill>
                    <a:srgbClr val="008CD7"/>
                  </a:solidFill>
                </a:rPr>
                <a:t>M</a:t>
              </a:r>
              <a:r>
                <a:rPr lang="zh-CN" altLang="en-US" b="1" dirty="0">
                  <a:solidFill>
                    <a:srgbClr val="008CD7"/>
                  </a:solidFill>
                </a:rPr>
                <a:t>和</a:t>
              </a:r>
              <a:r>
                <a:rPr lang="en-US" altLang="zh-CN" b="1" dirty="0">
                  <a:solidFill>
                    <a:srgbClr val="008CD7"/>
                  </a:solidFill>
                </a:rPr>
                <a:t>V</a:t>
              </a:r>
              <a:r>
                <a:rPr lang="zh-CN" altLang="en-US" b="1" dirty="0">
                  <a:solidFill>
                    <a:srgbClr val="008CD7"/>
                  </a:solidFill>
                </a:rPr>
                <a:t>有交互</a:t>
              </a:r>
            </a:p>
          </p:txBody>
        </p:sp>
        <p:grpSp>
          <p:nvGrpSpPr>
            <p:cNvPr id="68" name="组合 67"/>
            <p:cNvGrpSpPr/>
            <p:nvPr/>
          </p:nvGrpSpPr>
          <p:grpSpPr>
            <a:xfrm>
              <a:off x="4016052" y="1154793"/>
              <a:ext cx="7423472" cy="2667270"/>
              <a:chOff x="4016052" y="1154793"/>
              <a:chExt cx="7423472" cy="2667270"/>
            </a:xfrm>
          </p:grpSpPr>
          <p:sp>
            <p:nvSpPr>
              <p:cNvPr id="51" name="right-arrowheads_44810"/>
              <p:cNvSpPr>
                <a:spLocks noChangeAspect="1"/>
              </p:cNvSpPr>
              <p:nvPr/>
            </p:nvSpPr>
            <p:spPr bwMode="auto">
              <a:xfrm>
                <a:off x="6162718" y="1717422"/>
                <a:ext cx="609685" cy="595566"/>
              </a:xfrm>
              <a:custGeom>
                <a:avLst/>
                <a:gdLst>
                  <a:gd name="T0" fmla="*/ 59 w 415"/>
                  <a:gd name="T1" fmla="*/ 406 h 406"/>
                  <a:gd name="T2" fmla="*/ 25 w 415"/>
                  <a:gd name="T3" fmla="*/ 394 h 406"/>
                  <a:gd name="T4" fmla="*/ 19 w 415"/>
                  <a:gd name="T5" fmla="*/ 318 h 406"/>
                  <a:gd name="T6" fmla="*/ 114 w 415"/>
                  <a:gd name="T7" fmla="*/ 206 h 406"/>
                  <a:gd name="T8" fmla="*/ 19 w 415"/>
                  <a:gd name="T9" fmla="*/ 94 h 406"/>
                  <a:gd name="T10" fmla="*/ 25 w 415"/>
                  <a:gd name="T11" fmla="*/ 19 h 406"/>
                  <a:gd name="T12" fmla="*/ 100 w 415"/>
                  <a:gd name="T13" fmla="*/ 25 h 406"/>
                  <a:gd name="T14" fmla="*/ 225 w 415"/>
                  <a:gd name="T15" fmla="*/ 172 h 406"/>
                  <a:gd name="T16" fmla="*/ 225 w 415"/>
                  <a:gd name="T17" fmla="*/ 241 h 406"/>
                  <a:gd name="T18" fmla="*/ 100 w 415"/>
                  <a:gd name="T19" fmla="*/ 388 h 406"/>
                  <a:gd name="T20" fmla="*/ 59 w 415"/>
                  <a:gd name="T21" fmla="*/ 406 h 406"/>
                  <a:gd name="T22" fmla="*/ 273 w 415"/>
                  <a:gd name="T23" fmla="*/ 388 h 406"/>
                  <a:gd name="T24" fmla="*/ 398 w 415"/>
                  <a:gd name="T25" fmla="*/ 241 h 406"/>
                  <a:gd name="T26" fmla="*/ 398 w 415"/>
                  <a:gd name="T27" fmla="*/ 172 h 406"/>
                  <a:gd name="T28" fmla="*/ 273 w 415"/>
                  <a:gd name="T29" fmla="*/ 25 h 406"/>
                  <a:gd name="T30" fmla="*/ 198 w 415"/>
                  <a:gd name="T31" fmla="*/ 19 h 406"/>
                  <a:gd name="T32" fmla="*/ 192 w 415"/>
                  <a:gd name="T33" fmla="*/ 94 h 406"/>
                  <a:gd name="T34" fmla="*/ 287 w 415"/>
                  <a:gd name="T35" fmla="*/ 206 h 406"/>
                  <a:gd name="T36" fmla="*/ 192 w 415"/>
                  <a:gd name="T37" fmla="*/ 318 h 406"/>
                  <a:gd name="T38" fmla="*/ 198 w 415"/>
                  <a:gd name="T39" fmla="*/ 394 h 406"/>
                  <a:gd name="T40" fmla="*/ 232 w 415"/>
                  <a:gd name="T41" fmla="*/ 406 h 406"/>
                  <a:gd name="T42" fmla="*/ 273 w 415"/>
                  <a:gd name="T43" fmla="*/ 388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5" h="406">
                    <a:moveTo>
                      <a:pt x="59" y="406"/>
                    </a:moveTo>
                    <a:cubicBezTo>
                      <a:pt x="47" y="406"/>
                      <a:pt x="35" y="402"/>
                      <a:pt x="25" y="394"/>
                    </a:cubicBezTo>
                    <a:cubicBezTo>
                      <a:pt x="2" y="375"/>
                      <a:pt x="0" y="341"/>
                      <a:pt x="19" y="318"/>
                    </a:cubicBezTo>
                    <a:lnTo>
                      <a:pt x="114" y="206"/>
                    </a:lnTo>
                    <a:lnTo>
                      <a:pt x="19" y="94"/>
                    </a:lnTo>
                    <a:cubicBezTo>
                      <a:pt x="0" y="71"/>
                      <a:pt x="2" y="38"/>
                      <a:pt x="25" y="19"/>
                    </a:cubicBezTo>
                    <a:cubicBezTo>
                      <a:pt x="47" y="0"/>
                      <a:pt x="81" y="2"/>
                      <a:pt x="100" y="25"/>
                    </a:cubicBezTo>
                    <a:lnTo>
                      <a:pt x="225" y="172"/>
                    </a:lnTo>
                    <a:cubicBezTo>
                      <a:pt x="242" y="192"/>
                      <a:pt x="242" y="221"/>
                      <a:pt x="225" y="241"/>
                    </a:cubicBezTo>
                    <a:lnTo>
                      <a:pt x="100" y="388"/>
                    </a:lnTo>
                    <a:cubicBezTo>
                      <a:pt x="89" y="400"/>
                      <a:pt x="74" y="406"/>
                      <a:pt x="59" y="406"/>
                    </a:cubicBezTo>
                    <a:close/>
                    <a:moveTo>
                      <a:pt x="273" y="388"/>
                    </a:moveTo>
                    <a:lnTo>
                      <a:pt x="398" y="241"/>
                    </a:lnTo>
                    <a:cubicBezTo>
                      <a:pt x="415" y="221"/>
                      <a:pt x="415" y="192"/>
                      <a:pt x="398" y="172"/>
                    </a:cubicBezTo>
                    <a:lnTo>
                      <a:pt x="273" y="25"/>
                    </a:lnTo>
                    <a:cubicBezTo>
                      <a:pt x="254" y="2"/>
                      <a:pt x="220" y="0"/>
                      <a:pt x="198" y="19"/>
                    </a:cubicBezTo>
                    <a:cubicBezTo>
                      <a:pt x="175" y="38"/>
                      <a:pt x="173" y="71"/>
                      <a:pt x="192" y="94"/>
                    </a:cubicBezTo>
                    <a:lnTo>
                      <a:pt x="287" y="206"/>
                    </a:lnTo>
                    <a:lnTo>
                      <a:pt x="192" y="318"/>
                    </a:lnTo>
                    <a:cubicBezTo>
                      <a:pt x="173" y="341"/>
                      <a:pt x="175" y="375"/>
                      <a:pt x="198" y="394"/>
                    </a:cubicBezTo>
                    <a:cubicBezTo>
                      <a:pt x="208" y="402"/>
                      <a:pt x="220" y="406"/>
                      <a:pt x="232" y="406"/>
                    </a:cubicBezTo>
                    <a:cubicBezTo>
                      <a:pt x="247" y="406"/>
                      <a:pt x="262" y="400"/>
                      <a:pt x="273" y="388"/>
                    </a:cubicBezTo>
                    <a:close/>
                  </a:path>
                </a:pathLst>
              </a:custGeom>
              <a:solidFill>
                <a:schemeClr val="accent1"/>
              </a:solidFill>
              <a:ln>
                <a:noFill/>
              </a:ln>
            </p:spPr>
          </p:sp>
          <p:cxnSp>
            <p:nvCxnSpPr>
              <p:cNvPr id="55" name="肘形连接符 54"/>
              <p:cNvCxnSpPr>
                <a:stCxn id="9" idx="1"/>
              </p:cNvCxnSpPr>
              <p:nvPr/>
            </p:nvCxnSpPr>
            <p:spPr>
              <a:xfrm flipV="1">
                <a:off x="4016052" y="2015205"/>
                <a:ext cx="2116461" cy="1806858"/>
              </a:xfrm>
              <a:prstGeom prst="bentConnector3">
                <a:avLst>
                  <a:gd name="adj1" fmla="val 50000"/>
                </a:avLst>
              </a:prstGeom>
              <a:ln w="63500" cap="flat">
                <a:solidFill>
                  <a:srgbClr val="008CD7"/>
                </a:solidFill>
                <a:prstDash val="sysDot"/>
                <a:round/>
                <a:tailEnd type="triangle"/>
              </a:ln>
              <a:effectLst>
                <a:outerShdw blurRad="40000" dist="23000" dir="5400000" rotWithShape="0">
                  <a:srgbClr val="000000">
                    <a:alpha val="35000"/>
                  </a:srgbClr>
                </a:outerShdw>
                <a:softEdge rad="0"/>
              </a:effectLst>
            </p:spPr>
            <p:style>
              <a:lnRef idx="3">
                <a:schemeClr val="accent1"/>
              </a:lnRef>
              <a:fillRef idx="0">
                <a:schemeClr val="accent1"/>
              </a:fillRef>
              <a:effectRef idx="2">
                <a:schemeClr val="accent1"/>
              </a:effectRef>
              <a:fontRef idx="minor">
                <a:schemeClr val="tx1"/>
              </a:fontRef>
            </p:style>
          </p:cxnSp>
          <p:sp>
            <p:nvSpPr>
              <p:cNvPr id="67" name="圆角矩形 66"/>
              <p:cNvSpPr/>
              <p:nvPr/>
            </p:nvSpPr>
            <p:spPr>
              <a:xfrm>
                <a:off x="7258049" y="1154793"/>
                <a:ext cx="4181475" cy="2068789"/>
              </a:xfrm>
              <a:prstGeom prst="roundRect">
                <a:avLst/>
              </a:prstGeom>
              <a:noFill/>
              <a:ln w="63500">
                <a:solidFill>
                  <a:srgbClr val="008C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spTree>
    <p:extLst>
      <p:ext uri="{BB962C8B-B14F-4D97-AF65-F5344CB8AC3E}">
        <p14:creationId xmlns:p14="http://schemas.microsoft.com/office/powerpoint/2010/main" val="22085148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4.xml><?xml version="1.0" encoding="utf-8"?>
<p:sld xmlns:a="http://schemas.openxmlformats.org/drawingml/2006/main" xmlns:r="http://schemas.openxmlformats.org/officeDocument/2006/relationships" xmlns:p="http://schemas.openxmlformats.org/presentationml/2006/main">
  <p:cSld>
    <p:bg>
      <p:bgPr>
        <a:solidFill>
          <a:schemeClr val="accent4">
            <a:lumMod val="40000"/>
            <a:lumOff val="60000"/>
          </a:schemeClr>
        </a:solidFill>
        <a:effectLst/>
      </p:bgPr>
    </p:bg>
    <p:spTree>
      <p:nvGrpSpPr>
        <p:cNvPr id="1" name=""/>
        <p:cNvGrpSpPr/>
        <p:nvPr/>
      </p:nvGrpSpPr>
      <p:grpSpPr>
        <a:xfrm>
          <a:off x="0" y="0"/>
          <a:ext cx="0" cy="0"/>
          <a:chOff x="0" y="0"/>
          <a:chExt cx="0" cy="0"/>
        </a:xfrm>
      </p:grpSpPr>
      <p:sp>
        <p:nvSpPr>
          <p:cNvPr id="2" name="矩形 1"/>
          <p:cNvSpPr/>
          <p:nvPr/>
        </p:nvSpPr>
        <p:spPr>
          <a:xfrm>
            <a:off x="919264" y="416291"/>
            <a:ext cx="4954732" cy="461665"/>
          </a:xfrm>
          <a:prstGeom prst="rect">
            <a:avLst/>
          </a:prstGeom>
        </p:spPr>
        <p:txBody>
          <a:bodyPr wrap="square">
            <a:spAutoFit/>
          </a:bodyPr>
          <a:lstStyle/>
          <a:p>
            <a:r>
              <a:rPr lang="en-US" altLang="zh-CN" sz="2400" dirty="0" smtClean="0">
                <a:solidFill>
                  <a:schemeClr val="bg1"/>
                </a:solidFill>
              </a:rPr>
              <a:t>MVC</a:t>
            </a:r>
            <a:r>
              <a:rPr lang="zh-CN" altLang="en-US" sz="2400" dirty="0" smtClean="0">
                <a:solidFill>
                  <a:schemeClr val="bg1"/>
                </a:solidFill>
              </a:rPr>
              <a:t>和</a:t>
            </a:r>
            <a:r>
              <a:rPr lang="en-US" altLang="zh-CN" sz="2400" dirty="0" smtClean="0">
                <a:solidFill>
                  <a:schemeClr val="bg1"/>
                </a:solidFill>
              </a:rPr>
              <a:t>MVP</a:t>
            </a:r>
            <a:endParaRPr lang="zh-CN" altLang="en-US" sz="2400" dirty="0">
              <a:solidFill>
                <a:schemeClr val="bg1"/>
              </a:solidFill>
            </a:endParaRPr>
          </a:p>
        </p:txBody>
      </p:sp>
      <p:sp>
        <p:nvSpPr>
          <p:cNvPr id="3" name="圆角矩形 2"/>
          <p:cNvSpPr/>
          <p:nvPr/>
        </p:nvSpPr>
        <p:spPr>
          <a:xfrm>
            <a:off x="2564130" y="2169795"/>
            <a:ext cx="1272540" cy="113728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t>View</a:t>
            </a:r>
            <a:endParaRPr lang="zh-CN" altLang="en-US" dirty="0"/>
          </a:p>
        </p:txBody>
      </p:sp>
      <p:sp>
        <p:nvSpPr>
          <p:cNvPr id="4" name="圆角矩形 3"/>
          <p:cNvSpPr/>
          <p:nvPr/>
        </p:nvSpPr>
        <p:spPr>
          <a:xfrm>
            <a:off x="1245870" y="3783455"/>
            <a:ext cx="1318260" cy="1213485"/>
          </a:xfrm>
          <a:prstGeom prst="roundRect">
            <a:avLst/>
          </a:prstGeom>
          <a:solidFill>
            <a:srgbClr val="E169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t>Controll</a:t>
            </a:r>
            <a:r>
              <a:rPr lang="en-US" altLang="zh-CN" b="1" dirty="0" smtClean="0"/>
              <a:t>er</a:t>
            </a:r>
            <a:endParaRPr lang="zh-CN" altLang="en-US" b="1" dirty="0"/>
          </a:p>
        </p:txBody>
      </p:sp>
      <p:sp>
        <p:nvSpPr>
          <p:cNvPr id="5" name="圆角矩形 4"/>
          <p:cNvSpPr/>
          <p:nvPr/>
        </p:nvSpPr>
        <p:spPr>
          <a:xfrm>
            <a:off x="3836670" y="3780597"/>
            <a:ext cx="1356360" cy="1219200"/>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dirty="0" smtClean="0"/>
              <a:t>Model</a:t>
            </a:r>
            <a:endParaRPr lang="zh-CN" altLang="en-US" dirty="0"/>
          </a:p>
        </p:txBody>
      </p:sp>
      <p:sp>
        <p:nvSpPr>
          <p:cNvPr id="6" name="圆角矩形 5"/>
          <p:cNvSpPr/>
          <p:nvPr/>
        </p:nvSpPr>
        <p:spPr>
          <a:xfrm>
            <a:off x="2135520" y="5892097"/>
            <a:ext cx="2522220" cy="34836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dirty="0" smtClean="0">
                <a:solidFill>
                  <a:schemeClr val="accent1">
                    <a:lumMod val="75000"/>
                  </a:schemeClr>
                </a:solidFill>
              </a:rPr>
              <a:t>Model-View-Controller</a:t>
            </a:r>
            <a:endParaRPr lang="zh-CN" altLang="en-US" dirty="0">
              <a:solidFill>
                <a:schemeClr val="accent1">
                  <a:lumMod val="75000"/>
                </a:schemeClr>
              </a:solidFill>
            </a:endParaRPr>
          </a:p>
        </p:txBody>
      </p:sp>
      <p:grpSp>
        <p:nvGrpSpPr>
          <p:cNvPr id="9" name="组合 8"/>
          <p:cNvGrpSpPr/>
          <p:nvPr/>
        </p:nvGrpSpPr>
        <p:grpSpPr>
          <a:xfrm>
            <a:off x="2564130" y="1224791"/>
            <a:ext cx="1272540" cy="930785"/>
            <a:chOff x="2564130" y="1224791"/>
            <a:chExt cx="1272540" cy="930785"/>
          </a:xfrm>
          <a:solidFill>
            <a:schemeClr val="bg1"/>
          </a:solidFill>
        </p:grpSpPr>
        <p:sp>
          <p:nvSpPr>
            <p:cNvPr id="7" name="矩形 6"/>
            <p:cNvSpPr/>
            <p:nvPr/>
          </p:nvSpPr>
          <p:spPr>
            <a:xfrm>
              <a:off x="2564130" y="1224791"/>
              <a:ext cx="1272540" cy="431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accent1">
                      <a:lumMod val="75000"/>
                    </a:schemeClr>
                  </a:solidFill>
                </a:rPr>
                <a:t>用户交互</a:t>
              </a:r>
              <a:endParaRPr lang="zh-CN" altLang="en-US" dirty="0">
                <a:solidFill>
                  <a:schemeClr val="accent1">
                    <a:lumMod val="75000"/>
                  </a:schemeClr>
                </a:solidFill>
              </a:endParaRPr>
            </a:p>
          </p:txBody>
        </p:sp>
        <p:sp>
          <p:nvSpPr>
            <p:cNvPr id="8" name="下箭头 7"/>
            <p:cNvSpPr/>
            <p:nvPr/>
          </p:nvSpPr>
          <p:spPr>
            <a:xfrm>
              <a:off x="3025140" y="1656591"/>
              <a:ext cx="320040" cy="498985"/>
            </a:xfrm>
            <a:prstGeom prst="down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sp>
        <p:nvSpPr>
          <p:cNvPr id="12" name="圆角矩形 11"/>
          <p:cNvSpPr/>
          <p:nvPr/>
        </p:nvSpPr>
        <p:spPr>
          <a:xfrm>
            <a:off x="8576310" y="2169795"/>
            <a:ext cx="1272540" cy="113728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t>View</a:t>
            </a:r>
            <a:endParaRPr lang="zh-CN" altLang="en-US" dirty="0"/>
          </a:p>
        </p:txBody>
      </p:sp>
      <p:sp>
        <p:nvSpPr>
          <p:cNvPr id="13" name="圆角矩形 12"/>
          <p:cNvSpPr/>
          <p:nvPr/>
        </p:nvSpPr>
        <p:spPr>
          <a:xfrm>
            <a:off x="7258050" y="3783455"/>
            <a:ext cx="1318260" cy="1213485"/>
          </a:xfrm>
          <a:prstGeom prst="roundRect">
            <a:avLst/>
          </a:prstGeom>
          <a:solidFill>
            <a:srgbClr val="E169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t>Present</a:t>
            </a:r>
            <a:r>
              <a:rPr lang="en-US" altLang="zh-CN" b="1" dirty="0" smtClean="0"/>
              <a:t>er</a:t>
            </a:r>
            <a:endParaRPr lang="zh-CN" altLang="en-US" b="1" dirty="0"/>
          </a:p>
        </p:txBody>
      </p:sp>
      <p:sp>
        <p:nvSpPr>
          <p:cNvPr id="14" name="圆角矩形 13"/>
          <p:cNvSpPr/>
          <p:nvPr/>
        </p:nvSpPr>
        <p:spPr>
          <a:xfrm>
            <a:off x="9848850" y="3780597"/>
            <a:ext cx="1356360" cy="1219200"/>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dirty="0" smtClean="0"/>
              <a:t>Model</a:t>
            </a:r>
            <a:endParaRPr lang="zh-CN" altLang="en-US" dirty="0"/>
          </a:p>
        </p:txBody>
      </p:sp>
      <p:sp>
        <p:nvSpPr>
          <p:cNvPr id="15" name="圆角矩形 14"/>
          <p:cNvSpPr/>
          <p:nvPr/>
        </p:nvSpPr>
        <p:spPr>
          <a:xfrm>
            <a:off x="7962900" y="5892097"/>
            <a:ext cx="2499360" cy="34836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dirty="0" smtClean="0">
                <a:solidFill>
                  <a:schemeClr val="accent1">
                    <a:lumMod val="75000"/>
                  </a:schemeClr>
                </a:solidFill>
              </a:rPr>
              <a:t>Model-View-Presenter</a:t>
            </a:r>
            <a:endParaRPr lang="zh-CN" altLang="en-US" dirty="0">
              <a:solidFill>
                <a:schemeClr val="accent1">
                  <a:lumMod val="75000"/>
                </a:schemeClr>
              </a:solidFill>
            </a:endParaRPr>
          </a:p>
        </p:txBody>
      </p:sp>
      <p:grpSp>
        <p:nvGrpSpPr>
          <p:cNvPr id="16" name="组合 15"/>
          <p:cNvGrpSpPr/>
          <p:nvPr/>
        </p:nvGrpSpPr>
        <p:grpSpPr>
          <a:xfrm>
            <a:off x="8576310" y="1224791"/>
            <a:ext cx="1272540" cy="930785"/>
            <a:chOff x="2564130" y="1224791"/>
            <a:chExt cx="1272540" cy="930785"/>
          </a:xfrm>
          <a:solidFill>
            <a:schemeClr val="bg1"/>
          </a:solidFill>
        </p:grpSpPr>
        <p:sp>
          <p:nvSpPr>
            <p:cNvPr id="17" name="矩形 16"/>
            <p:cNvSpPr/>
            <p:nvPr/>
          </p:nvSpPr>
          <p:spPr>
            <a:xfrm>
              <a:off x="2564130" y="1224791"/>
              <a:ext cx="1272540" cy="431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accent1">
                      <a:lumMod val="75000"/>
                    </a:schemeClr>
                  </a:solidFill>
                </a:rPr>
                <a:t>用户交互</a:t>
              </a:r>
              <a:endParaRPr lang="zh-CN" altLang="en-US" dirty="0">
                <a:solidFill>
                  <a:schemeClr val="accent1">
                    <a:lumMod val="75000"/>
                  </a:schemeClr>
                </a:solidFill>
              </a:endParaRPr>
            </a:p>
          </p:txBody>
        </p:sp>
        <p:sp>
          <p:nvSpPr>
            <p:cNvPr id="18" name="下箭头 17"/>
            <p:cNvSpPr/>
            <p:nvPr/>
          </p:nvSpPr>
          <p:spPr>
            <a:xfrm>
              <a:off x="3025140" y="1656591"/>
              <a:ext cx="320040" cy="498985"/>
            </a:xfrm>
            <a:prstGeom prst="down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accent1">
                    <a:lumMod val="75000"/>
                  </a:schemeClr>
                </a:solidFill>
              </a:endParaRPr>
            </a:p>
          </p:txBody>
        </p:sp>
      </p:grpSp>
      <p:cxnSp>
        <p:nvCxnSpPr>
          <p:cNvPr id="20" name="肘形连接符 19"/>
          <p:cNvCxnSpPr>
            <a:stCxn id="3" idx="1"/>
            <a:endCxn id="4" idx="0"/>
          </p:cNvCxnSpPr>
          <p:nvPr/>
        </p:nvCxnSpPr>
        <p:spPr>
          <a:xfrm rot="10800000" flipV="1">
            <a:off x="1905000" y="2738437"/>
            <a:ext cx="659130" cy="1045017"/>
          </a:xfrm>
          <a:prstGeom prst="bentConnector2">
            <a:avLst/>
          </a:prstGeom>
          <a:ln w="63500">
            <a:solidFill>
              <a:schemeClr val="bg1"/>
            </a:solidFill>
            <a:tailEnd type="triangle"/>
          </a:ln>
          <a:effectLst/>
        </p:spPr>
        <p:style>
          <a:lnRef idx="3">
            <a:schemeClr val="accent1"/>
          </a:lnRef>
          <a:fillRef idx="0">
            <a:schemeClr val="accent1"/>
          </a:fillRef>
          <a:effectRef idx="2">
            <a:schemeClr val="accent1"/>
          </a:effectRef>
          <a:fontRef idx="minor">
            <a:schemeClr val="tx1"/>
          </a:fontRef>
        </p:style>
      </p:cxnSp>
      <p:cxnSp>
        <p:nvCxnSpPr>
          <p:cNvPr id="22" name="直接连接符 21"/>
          <p:cNvCxnSpPr/>
          <p:nvPr/>
        </p:nvCxnSpPr>
        <p:spPr>
          <a:xfrm>
            <a:off x="6132513" y="1028700"/>
            <a:ext cx="0" cy="5108575"/>
          </a:xfrm>
          <a:prstGeom prst="line">
            <a:avLst/>
          </a:prstGeom>
          <a:ln w="63500">
            <a:solidFill>
              <a:schemeClr val="accent5">
                <a:lumMod val="60000"/>
                <a:lumOff val="40000"/>
              </a:schemeClr>
            </a:solidFill>
          </a:ln>
        </p:spPr>
        <p:style>
          <a:lnRef idx="3">
            <a:schemeClr val="accent1"/>
          </a:lnRef>
          <a:fillRef idx="0">
            <a:schemeClr val="accent1"/>
          </a:fillRef>
          <a:effectRef idx="2">
            <a:schemeClr val="accent1"/>
          </a:effectRef>
          <a:fontRef idx="minor">
            <a:schemeClr val="tx1"/>
          </a:fontRef>
        </p:style>
      </p:cxnSp>
      <p:cxnSp>
        <p:nvCxnSpPr>
          <p:cNvPr id="24" name="肘形连接符 23"/>
          <p:cNvCxnSpPr>
            <a:stCxn id="5" idx="0"/>
            <a:endCxn id="3" idx="3"/>
          </p:cNvCxnSpPr>
          <p:nvPr/>
        </p:nvCxnSpPr>
        <p:spPr>
          <a:xfrm rot="16200000" flipV="1">
            <a:off x="3654681" y="2920428"/>
            <a:ext cx="1042159" cy="678180"/>
          </a:xfrm>
          <a:prstGeom prst="bentConnector2">
            <a:avLst/>
          </a:prstGeom>
          <a:ln w="63500" cap="flat">
            <a:solidFill>
              <a:schemeClr val="bg1"/>
            </a:solidFill>
            <a:prstDash val="sysDash"/>
            <a:round/>
            <a:tailEnd type="triangle"/>
          </a:ln>
          <a:effectLst>
            <a:softEdge rad="0"/>
          </a:effectLst>
        </p:spPr>
        <p:style>
          <a:lnRef idx="3">
            <a:schemeClr val="accent1"/>
          </a:lnRef>
          <a:fillRef idx="0">
            <a:schemeClr val="accent1"/>
          </a:fillRef>
          <a:effectRef idx="2">
            <a:schemeClr val="accent1"/>
          </a:effectRef>
          <a:fontRef idx="minor">
            <a:schemeClr val="tx1"/>
          </a:fontRef>
        </p:style>
      </p:cxnSp>
      <p:cxnSp>
        <p:nvCxnSpPr>
          <p:cNvPr id="26" name="肘形连接符 25"/>
          <p:cNvCxnSpPr>
            <a:stCxn id="4" idx="2"/>
            <a:endCxn id="5" idx="2"/>
          </p:cNvCxnSpPr>
          <p:nvPr/>
        </p:nvCxnSpPr>
        <p:spPr>
          <a:xfrm rot="16200000" flipH="1">
            <a:off x="3208497" y="3693443"/>
            <a:ext cx="2857" cy="2609850"/>
          </a:xfrm>
          <a:prstGeom prst="bentConnector3">
            <a:avLst>
              <a:gd name="adj1" fmla="val 15569443"/>
            </a:avLst>
          </a:prstGeom>
          <a:ln w="63500">
            <a:solidFill>
              <a:schemeClr val="bg1"/>
            </a:solidFill>
            <a:tailEnd type="triangle"/>
          </a:ln>
          <a:effectLst/>
        </p:spPr>
        <p:style>
          <a:lnRef idx="3">
            <a:schemeClr val="accent1"/>
          </a:lnRef>
          <a:fillRef idx="0">
            <a:schemeClr val="accent1"/>
          </a:fillRef>
          <a:effectRef idx="2">
            <a:schemeClr val="accent1"/>
          </a:effectRef>
          <a:fontRef idx="minor">
            <a:schemeClr val="tx1"/>
          </a:fontRef>
        </p:style>
      </p:cxnSp>
      <p:cxnSp>
        <p:nvCxnSpPr>
          <p:cNvPr id="29" name="肘形连接符 28"/>
          <p:cNvCxnSpPr>
            <a:stCxn id="12" idx="1"/>
            <a:endCxn id="13" idx="0"/>
          </p:cNvCxnSpPr>
          <p:nvPr/>
        </p:nvCxnSpPr>
        <p:spPr>
          <a:xfrm rot="10800000" flipV="1">
            <a:off x="7917180" y="2738437"/>
            <a:ext cx="659130" cy="1045017"/>
          </a:xfrm>
          <a:prstGeom prst="bentConnector2">
            <a:avLst/>
          </a:prstGeom>
          <a:ln w="63500" cap="flat">
            <a:solidFill>
              <a:schemeClr val="bg1"/>
            </a:solidFill>
            <a:prstDash val="solid"/>
            <a:round/>
            <a:tailEnd type="triangle"/>
          </a:ln>
          <a:effectLst>
            <a:softEdge rad="0"/>
          </a:effectLst>
        </p:spPr>
        <p:style>
          <a:lnRef idx="3">
            <a:schemeClr val="accent1"/>
          </a:lnRef>
          <a:fillRef idx="0">
            <a:schemeClr val="accent1"/>
          </a:fillRef>
          <a:effectRef idx="2">
            <a:schemeClr val="accent1"/>
          </a:effectRef>
          <a:fontRef idx="minor">
            <a:schemeClr val="tx1"/>
          </a:fontRef>
        </p:style>
      </p:cxnSp>
      <p:cxnSp>
        <p:nvCxnSpPr>
          <p:cNvPr id="31" name="肘形连接符 30"/>
          <p:cNvCxnSpPr>
            <a:stCxn id="12" idx="2"/>
          </p:cNvCxnSpPr>
          <p:nvPr/>
        </p:nvCxnSpPr>
        <p:spPr>
          <a:xfrm rot="5400000">
            <a:off x="8490046" y="3393344"/>
            <a:ext cx="808798" cy="636270"/>
          </a:xfrm>
          <a:prstGeom prst="bentConnector3">
            <a:avLst>
              <a:gd name="adj1" fmla="val 100876"/>
            </a:avLst>
          </a:prstGeom>
          <a:ln w="63500" cap="flat">
            <a:solidFill>
              <a:schemeClr val="bg1"/>
            </a:solidFill>
            <a:prstDash val="solid"/>
            <a:round/>
            <a:tailEnd type="none"/>
          </a:ln>
          <a:effectLst>
            <a:softEdge rad="0"/>
          </a:effectLst>
        </p:spPr>
        <p:style>
          <a:lnRef idx="3">
            <a:schemeClr val="accent1"/>
          </a:lnRef>
          <a:fillRef idx="0">
            <a:schemeClr val="accent1"/>
          </a:fillRef>
          <a:effectRef idx="2">
            <a:schemeClr val="accent1"/>
          </a:effectRef>
          <a:fontRef idx="minor">
            <a:schemeClr val="tx1"/>
          </a:fontRef>
        </p:style>
      </p:cxnSp>
      <p:cxnSp>
        <p:nvCxnSpPr>
          <p:cNvPr id="42" name="肘形连接符 41"/>
          <p:cNvCxnSpPr>
            <a:stCxn id="13" idx="2"/>
            <a:endCxn id="14" idx="2"/>
          </p:cNvCxnSpPr>
          <p:nvPr/>
        </p:nvCxnSpPr>
        <p:spPr>
          <a:xfrm rot="16200000" flipH="1">
            <a:off x="9220677" y="3693443"/>
            <a:ext cx="2857" cy="2609850"/>
          </a:xfrm>
          <a:prstGeom prst="bentConnector3">
            <a:avLst>
              <a:gd name="adj1" fmla="val 10768533"/>
            </a:avLst>
          </a:prstGeom>
          <a:ln w="63500" cap="flat">
            <a:solidFill>
              <a:schemeClr val="bg1"/>
            </a:solidFill>
            <a:prstDash val="solid"/>
            <a:round/>
            <a:tailEnd type="triangle"/>
          </a:ln>
          <a:effectLst>
            <a:softEdge rad="0"/>
          </a:effectLst>
        </p:spPr>
        <p:style>
          <a:lnRef idx="3">
            <a:schemeClr val="accent1"/>
          </a:lnRef>
          <a:fillRef idx="0">
            <a:schemeClr val="accent1"/>
          </a:fillRef>
          <a:effectRef idx="2">
            <a:schemeClr val="accent1"/>
          </a:effectRef>
          <a:fontRef idx="minor">
            <a:schemeClr val="tx1"/>
          </a:fontRef>
        </p:style>
      </p:cxnSp>
      <p:cxnSp>
        <p:nvCxnSpPr>
          <p:cNvPr id="45" name="直接箭头连接符 44"/>
          <p:cNvCxnSpPr>
            <a:stCxn id="14" idx="1"/>
            <a:endCxn id="13" idx="3"/>
          </p:cNvCxnSpPr>
          <p:nvPr/>
        </p:nvCxnSpPr>
        <p:spPr>
          <a:xfrm flipH="1">
            <a:off x="8576310" y="4390197"/>
            <a:ext cx="1272540" cy="1"/>
          </a:xfrm>
          <a:prstGeom prst="straightConnector1">
            <a:avLst/>
          </a:prstGeom>
          <a:ln w="63500" cap="flat">
            <a:solidFill>
              <a:schemeClr val="bg1"/>
            </a:solidFill>
            <a:prstDash val="sysDash"/>
            <a:round/>
            <a:tailEnd type="triangle"/>
          </a:ln>
          <a:effectLst>
            <a:softEdge rad="0"/>
          </a:effectLst>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021052810"/>
      </p:ext>
    </p:extLst>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bg>
      <p:bgPr>
        <a:solidFill>
          <a:schemeClr val="accent4">
            <a:lumMod val="40000"/>
            <a:lumOff val="60000"/>
          </a:schemeClr>
        </a:solidFill>
        <a:effectLst/>
      </p:bgPr>
    </p:bg>
    <p:spTree>
      <p:nvGrpSpPr>
        <p:cNvPr id="1" name=""/>
        <p:cNvGrpSpPr/>
        <p:nvPr/>
      </p:nvGrpSpPr>
      <p:grpSpPr>
        <a:xfrm>
          <a:off x="0" y="0"/>
          <a:ext cx="0" cy="0"/>
          <a:chOff x="0" y="0"/>
          <a:chExt cx="0" cy="0"/>
        </a:xfrm>
      </p:grpSpPr>
      <p:grpSp>
        <p:nvGrpSpPr>
          <p:cNvPr id="16" name="组合 15"/>
          <p:cNvGrpSpPr/>
          <p:nvPr/>
        </p:nvGrpSpPr>
        <p:grpSpPr>
          <a:xfrm>
            <a:off x="3230245" y="1324497"/>
            <a:ext cx="6555522" cy="4630216"/>
            <a:chOff x="1254978" y="1684020"/>
            <a:chExt cx="6555522" cy="4630216"/>
          </a:xfrm>
        </p:grpSpPr>
        <p:sp>
          <p:nvSpPr>
            <p:cNvPr id="2" name="矩形 1"/>
            <p:cNvSpPr/>
            <p:nvPr/>
          </p:nvSpPr>
          <p:spPr>
            <a:xfrm>
              <a:off x="1254978" y="2205162"/>
              <a:ext cx="3379305" cy="92475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t>Activity </a:t>
              </a:r>
              <a:r>
                <a:rPr lang="zh-CN" altLang="en-US" dirty="0" smtClean="0"/>
                <a:t>实例</a:t>
              </a:r>
              <a:endParaRPr lang="zh-CN" altLang="en-US" dirty="0"/>
            </a:p>
          </p:txBody>
        </p:sp>
        <p:sp>
          <p:nvSpPr>
            <p:cNvPr id="3" name="矩形 2"/>
            <p:cNvSpPr/>
            <p:nvPr/>
          </p:nvSpPr>
          <p:spPr>
            <a:xfrm>
              <a:off x="1254979" y="5389483"/>
              <a:ext cx="3379305" cy="92475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t>Activity </a:t>
              </a:r>
              <a:r>
                <a:rPr lang="zh-CN" altLang="en-US" dirty="0" smtClean="0"/>
                <a:t>实例</a:t>
              </a:r>
              <a:endParaRPr lang="en-US" altLang="zh-CN" dirty="0" smtClean="0"/>
            </a:p>
            <a:p>
              <a:pPr algn="ctr"/>
              <a:r>
                <a:rPr lang="zh-CN" altLang="en-US" dirty="0" smtClean="0"/>
                <a:t>重新创建</a:t>
              </a:r>
              <a:endParaRPr lang="zh-CN" altLang="en-US" dirty="0"/>
            </a:p>
          </p:txBody>
        </p:sp>
        <p:sp>
          <p:nvSpPr>
            <p:cNvPr id="4" name="矩形 3"/>
            <p:cNvSpPr/>
            <p:nvPr/>
          </p:nvSpPr>
          <p:spPr>
            <a:xfrm>
              <a:off x="1881641" y="3926746"/>
              <a:ext cx="2125980" cy="487680"/>
            </a:xfrm>
            <a:prstGeom prst="rect">
              <a:avLst/>
            </a:prstGeom>
            <a:solidFill>
              <a:schemeClr val="bg2">
                <a:lumMod val="9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zh-CN" altLang="en-US" dirty="0" smtClean="0">
                  <a:solidFill>
                    <a:schemeClr val="tx2">
                      <a:lumMod val="50000"/>
                    </a:schemeClr>
                  </a:solidFill>
                </a:rPr>
                <a:t>旋转手机屏幕</a:t>
              </a:r>
              <a:endParaRPr lang="zh-CN" altLang="en-US" dirty="0">
                <a:solidFill>
                  <a:schemeClr val="tx2">
                    <a:lumMod val="50000"/>
                  </a:schemeClr>
                </a:solidFill>
              </a:endParaRPr>
            </a:p>
          </p:txBody>
        </p:sp>
        <p:sp>
          <p:nvSpPr>
            <p:cNvPr id="7" name="矩形 6"/>
            <p:cNvSpPr/>
            <p:nvPr/>
          </p:nvSpPr>
          <p:spPr>
            <a:xfrm>
              <a:off x="3589020" y="2903220"/>
              <a:ext cx="2148840" cy="480060"/>
            </a:xfrm>
            <a:prstGeom prst="rect">
              <a:avLst/>
            </a:prstGeom>
            <a:solidFill>
              <a:srgbClr val="008C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t>Activity UI</a:t>
              </a:r>
              <a:r>
                <a:rPr lang="zh-CN" altLang="en-US" dirty="0" smtClean="0"/>
                <a:t>界面数据</a:t>
              </a:r>
              <a:endParaRPr lang="zh-CN" altLang="en-US" dirty="0"/>
            </a:p>
          </p:txBody>
        </p:sp>
        <p:cxnSp>
          <p:nvCxnSpPr>
            <p:cNvPr id="9" name="直接箭头连接符 8"/>
            <p:cNvCxnSpPr/>
            <p:nvPr/>
          </p:nvCxnSpPr>
          <p:spPr>
            <a:xfrm flipH="1">
              <a:off x="5486400" y="2276475"/>
              <a:ext cx="502920" cy="502920"/>
            </a:xfrm>
            <a:prstGeom prst="straightConnector1">
              <a:avLst/>
            </a:prstGeom>
            <a:ln w="63500">
              <a:solidFill>
                <a:srgbClr val="008CD7"/>
              </a:solidFill>
              <a:tailEnd type="triangle"/>
            </a:ln>
          </p:spPr>
          <p:style>
            <a:lnRef idx="1">
              <a:schemeClr val="accent1"/>
            </a:lnRef>
            <a:fillRef idx="0">
              <a:schemeClr val="accent1"/>
            </a:fillRef>
            <a:effectRef idx="0">
              <a:schemeClr val="accent1"/>
            </a:effectRef>
            <a:fontRef idx="minor">
              <a:schemeClr val="tx1"/>
            </a:fontRef>
          </p:style>
        </p:cxnSp>
        <p:cxnSp>
          <p:nvCxnSpPr>
            <p:cNvPr id="11" name="直接箭头连接符 10"/>
            <p:cNvCxnSpPr/>
            <p:nvPr/>
          </p:nvCxnSpPr>
          <p:spPr>
            <a:xfrm>
              <a:off x="2935356" y="3238500"/>
              <a:ext cx="0" cy="655320"/>
            </a:xfrm>
            <a:prstGeom prst="straightConnector1">
              <a:avLst/>
            </a:prstGeom>
            <a:ln w="63500">
              <a:solidFill>
                <a:srgbClr val="008CD7"/>
              </a:solidFill>
              <a:tailEnd type="triangle"/>
            </a:ln>
          </p:spPr>
          <p:style>
            <a:lnRef idx="1">
              <a:schemeClr val="accent1"/>
            </a:lnRef>
            <a:fillRef idx="0">
              <a:schemeClr val="accent1"/>
            </a:fillRef>
            <a:effectRef idx="0">
              <a:schemeClr val="accent1"/>
            </a:effectRef>
            <a:fontRef idx="minor">
              <a:schemeClr val="tx1"/>
            </a:fontRef>
          </p:style>
        </p:cxnSp>
        <p:cxnSp>
          <p:nvCxnSpPr>
            <p:cNvPr id="12" name="直接箭头连接符 11"/>
            <p:cNvCxnSpPr/>
            <p:nvPr/>
          </p:nvCxnSpPr>
          <p:spPr>
            <a:xfrm>
              <a:off x="2944632" y="4488180"/>
              <a:ext cx="0" cy="655320"/>
            </a:xfrm>
            <a:prstGeom prst="straightConnector1">
              <a:avLst/>
            </a:prstGeom>
            <a:ln w="63500">
              <a:solidFill>
                <a:srgbClr val="008CD7"/>
              </a:solidFill>
              <a:tailEnd type="triangle"/>
            </a:ln>
          </p:spPr>
          <p:style>
            <a:lnRef idx="1">
              <a:schemeClr val="accent1"/>
            </a:lnRef>
            <a:fillRef idx="0">
              <a:schemeClr val="accent1"/>
            </a:fillRef>
            <a:effectRef idx="0">
              <a:schemeClr val="accent1"/>
            </a:effectRef>
            <a:fontRef idx="minor">
              <a:schemeClr val="tx1"/>
            </a:fontRef>
          </p:style>
        </p:cxnSp>
        <p:sp>
          <p:nvSpPr>
            <p:cNvPr id="13" name="文本框 12"/>
            <p:cNvSpPr txBox="1"/>
            <p:nvPr/>
          </p:nvSpPr>
          <p:spPr>
            <a:xfrm>
              <a:off x="5989320" y="1684020"/>
              <a:ext cx="1821180" cy="1200329"/>
            </a:xfrm>
            <a:prstGeom prst="rect">
              <a:avLst/>
            </a:prstGeom>
            <a:noFill/>
          </p:spPr>
          <p:txBody>
            <a:bodyPr wrap="square" rtlCol="0">
              <a:spAutoFit/>
            </a:bodyPr>
            <a:lstStyle/>
            <a:p>
              <a:r>
                <a:rPr lang="zh-CN" altLang="en-US" dirty="0" smtClean="0">
                  <a:solidFill>
                    <a:srgbClr val="008CD7"/>
                  </a:solidFill>
                </a:rPr>
                <a:t>被遗忘的界面数据，没有被传递给新的</a:t>
              </a:r>
              <a:r>
                <a:rPr lang="en-US" altLang="zh-CN" dirty="0" smtClean="0">
                  <a:solidFill>
                    <a:srgbClr val="008CD7"/>
                  </a:solidFill>
                </a:rPr>
                <a:t>Activity</a:t>
              </a:r>
              <a:r>
                <a:rPr lang="zh-CN" altLang="en-US" dirty="0" smtClean="0">
                  <a:solidFill>
                    <a:srgbClr val="008CD7"/>
                  </a:solidFill>
                </a:rPr>
                <a:t>实例。</a:t>
              </a:r>
              <a:endParaRPr lang="zh-CN" altLang="en-US" dirty="0">
                <a:solidFill>
                  <a:srgbClr val="008CD7"/>
                </a:solidFill>
              </a:endParaRPr>
            </a:p>
          </p:txBody>
        </p:sp>
      </p:grpSp>
      <p:sp>
        <p:nvSpPr>
          <p:cNvPr id="17" name="矩形 16"/>
          <p:cNvSpPr/>
          <p:nvPr/>
        </p:nvSpPr>
        <p:spPr>
          <a:xfrm>
            <a:off x="919264" y="416291"/>
            <a:ext cx="4954732" cy="461665"/>
          </a:xfrm>
          <a:prstGeom prst="rect">
            <a:avLst/>
          </a:prstGeom>
        </p:spPr>
        <p:txBody>
          <a:bodyPr wrap="square">
            <a:spAutoFit/>
          </a:bodyPr>
          <a:lstStyle/>
          <a:p>
            <a:r>
              <a:rPr lang="en-US" altLang="zh-CN" sz="2400" dirty="0" smtClean="0">
                <a:solidFill>
                  <a:schemeClr val="bg1"/>
                </a:solidFill>
              </a:rPr>
              <a:t>MVVM</a:t>
            </a:r>
            <a:endParaRPr lang="zh-CN" altLang="en-US" sz="2400" dirty="0">
              <a:solidFill>
                <a:schemeClr val="bg1"/>
              </a:solidFill>
            </a:endParaRPr>
          </a:p>
        </p:txBody>
      </p:sp>
    </p:spTree>
    <p:extLst>
      <p:ext uri="{BB962C8B-B14F-4D97-AF65-F5344CB8AC3E}">
        <p14:creationId xmlns:p14="http://schemas.microsoft.com/office/powerpoint/2010/main" val="295558305"/>
      </p:ext>
    </p:extLst>
  </p:cSld>
  <p:clrMapOvr>
    <a:masterClrMapping/>
  </p:clrMapOvr>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bg>
      <p:bgPr>
        <a:solidFill>
          <a:schemeClr val="accent4">
            <a:lumMod val="40000"/>
            <a:lumOff val="60000"/>
          </a:schemeClr>
        </a:solidFill>
        <a:effectLst/>
      </p:bgPr>
    </p:bg>
    <p:spTree>
      <p:nvGrpSpPr>
        <p:cNvPr id="1" name=""/>
        <p:cNvGrpSpPr/>
        <p:nvPr/>
      </p:nvGrpSpPr>
      <p:grpSpPr>
        <a:xfrm>
          <a:off x="0" y="0"/>
          <a:ext cx="0" cy="0"/>
          <a:chOff x="0" y="0"/>
          <a:chExt cx="0" cy="0"/>
        </a:xfrm>
      </p:grpSpPr>
      <p:pic>
        <p:nvPicPr>
          <p:cNvPr id="14" name="图片 13"/>
          <p:cNvPicPr>
            <a:picLocks noChangeAspect="1"/>
          </p:cNvPicPr>
          <p:nvPr/>
        </p:nvPicPr>
        <p:blipFill>
          <a:blip r:embed="rId3"/>
          <a:stretch>
            <a:fillRect/>
          </a:stretch>
        </p:blipFill>
        <p:spPr>
          <a:xfrm>
            <a:off x="1086118" y="1155574"/>
            <a:ext cx="2525762" cy="4464731"/>
          </a:xfrm>
          <a:prstGeom prst="rect">
            <a:avLst/>
          </a:prstGeom>
        </p:spPr>
      </p:pic>
      <p:pic>
        <p:nvPicPr>
          <p:cNvPr id="15" name="图片 14"/>
          <p:cNvPicPr>
            <a:picLocks noChangeAspect="1"/>
          </p:cNvPicPr>
          <p:nvPr/>
        </p:nvPicPr>
        <p:blipFill>
          <a:blip r:embed="rId4"/>
          <a:stretch>
            <a:fillRect/>
          </a:stretch>
        </p:blipFill>
        <p:spPr>
          <a:xfrm>
            <a:off x="6979240" y="2312988"/>
            <a:ext cx="4541248" cy="2572798"/>
          </a:xfrm>
          <a:prstGeom prst="rect">
            <a:avLst/>
          </a:prstGeom>
        </p:spPr>
      </p:pic>
      <p:cxnSp>
        <p:nvCxnSpPr>
          <p:cNvPr id="18" name="直接箭头连接符 17"/>
          <p:cNvCxnSpPr/>
          <p:nvPr/>
        </p:nvCxnSpPr>
        <p:spPr>
          <a:xfrm>
            <a:off x="4410075" y="3558327"/>
            <a:ext cx="2085975" cy="0"/>
          </a:xfrm>
          <a:prstGeom prst="straightConnector1">
            <a:avLst/>
          </a:prstGeom>
          <a:ln w="63500">
            <a:solidFill>
              <a:srgbClr val="008CD7"/>
            </a:solidFill>
            <a:tailEnd type="triangle"/>
          </a:ln>
        </p:spPr>
        <p:style>
          <a:lnRef idx="3">
            <a:schemeClr val="accent6"/>
          </a:lnRef>
          <a:fillRef idx="0">
            <a:schemeClr val="accent6"/>
          </a:fillRef>
          <a:effectRef idx="2">
            <a:schemeClr val="accent6"/>
          </a:effectRef>
          <a:fontRef idx="minor">
            <a:schemeClr val="tx1"/>
          </a:fontRef>
        </p:style>
      </p:cxnSp>
      <p:sp>
        <p:nvSpPr>
          <p:cNvPr id="22" name="矩形 21"/>
          <p:cNvSpPr/>
          <p:nvPr/>
        </p:nvSpPr>
        <p:spPr>
          <a:xfrm>
            <a:off x="669925" y="340667"/>
            <a:ext cx="4954732" cy="461665"/>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2400" dirty="0" smtClean="0">
                <a:solidFill>
                  <a:schemeClr val="bg1"/>
                </a:solidFill>
              </a:rPr>
              <a:t>MVVM</a:t>
            </a:r>
            <a:endParaRPr lang="zh-CN" altLang="en-US" sz="2400" dirty="0">
              <a:solidFill>
                <a:schemeClr val="bg1"/>
              </a:solidFill>
            </a:endParaRPr>
          </a:p>
        </p:txBody>
      </p:sp>
    </p:spTree>
    <p:extLst>
      <p:ext uri="{BB962C8B-B14F-4D97-AF65-F5344CB8AC3E}">
        <p14:creationId xmlns:p14="http://schemas.microsoft.com/office/powerpoint/2010/main" val="689395775"/>
      </p:ext>
    </p:extLst>
  </p:cSld>
  <p:clrMapOvr>
    <a:masterClrMapping/>
  </p:clrMapOvr>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bg>
      <p:bgPr>
        <a:solidFill>
          <a:schemeClr val="accent4">
            <a:lumMod val="40000"/>
            <a:lumOff val="60000"/>
          </a:schemeClr>
        </a:solidFill>
        <a:effectLst/>
      </p:bgPr>
    </p:bg>
    <p:spTree>
      <p:nvGrpSpPr>
        <p:cNvPr id="1" name=""/>
        <p:cNvGrpSpPr/>
        <p:nvPr/>
      </p:nvGrpSpPr>
      <p:grpSpPr>
        <a:xfrm>
          <a:off x="0" y="0"/>
          <a:ext cx="0" cy="0"/>
          <a:chOff x="0" y="0"/>
          <a:chExt cx="0" cy="0"/>
        </a:xfrm>
      </p:grpSpPr>
      <p:sp>
        <p:nvSpPr>
          <p:cNvPr id="2" name="矩形 1"/>
          <p:cNvSpPr/>
          <p:nvPr/>
        </p:nvSpPr>
        <p:spPr>
          <a:xfrm>
            <a:off x="1245704" y="2205162"/>
            <a:ext cx="3379305" cy="92475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t>Activity </a:t>
            </a:r>
            <a:r>
              <a:rPr lang="zh-CN" altLang="en-US" dirty="0" smtClean="0"/>
              <a:t>实例</a:t>
            </a:r>
            <a:endParaRPr lang="zh-CN" altLang="en-US" dirty="0"/>
          </a:p>
        </p:txBody>
      </p:sp>
      <p:sp>
        <p:nvSpPr>
          <p:cNvPr id="3" name="矩形 2"/>
          <p:cNvSpPr/>
          <p:nvPr/>
        </p:nvSpPr>
        <p:spPr>
          <a:xfrm>
            <a:off x="1245704" y="5230302"/>
            <a:ext cx="3379305" cy="92475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t>Activity </a:t>
            </a:r>
            <a:r>
              <a:rPr lang="zh-CN" altLang="en-US" dirty="0" smtClean="0"/>
              <a:t>实例</a:t>
            </a:r>
            <a:endParaRPr lang="en-US" altLang="zh-CN" dirty="0" smtClean="0"/>
          </a:p>
          <a:p>
            <a:pPr algn="ctr"/>
            <a:r>
              <a:rPr lang="zh-CN" altLang="en-US" dirty="0" smtClean="0"/>
              <a:t>重新创建</a:t>
            </a:r>
            <a:endParaRPr lang="zh-CN" altLang="en-US" dirty="0"/>
          </a:p>
        </p:txBody>
      </p:sp>
      <p:sp>
        <p:nvSpPr>
          <p:cNvPr id="4" name="矩形 3"/>
          <p:cNvSpPr/>
          <p:nvPr/>
        </p:nvSpPr>
        <p:spPr>
          <a:xfrm>
            <a:off x="1872366" y="3948526"/>
            <a:ext cx="2125980" cy="487680"/>
          </a:xfrm>
          <a:prstGeom prst="rect">
            <a:avLst/>
          </a:prstGeom>
          <a:solidFill>
            <a:schemeClr val="bg2">
              <a:lumMod val="9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zh-CN" altLang="en-US" dirty="0" smtClean="0">
                <a:solidFill>
                  <a:schemeClr val="tx2">
                    <a:lumMod val="50000"/>
                  </a:schemeClr>
                </a:solidFill>
              </a:rPr>
              <a:t>旋转手机屏幕</a:t>
            </a:r>
            <a:endParaRPr lang="zh-CN" altLang="en-US" dirty="0">
              <a:solidFill>
                <a:schemeClr val="tx2">
                  <a:lumMod val="50000"/>
                </a:schemeClr>
              </a:solidFill>
            </a:endParaRPr>
          </a:p>
        </p:txBody>
      </p:sp>
      <p:sp>
        <p:nvSpPr>
          <p:cNvPr id="5" name="文本框 4"/>
          <p:cNvSpPr txBox="1"/>
          <p:nvPr/>
        </p:nvSpPr>
        <p:spPr>
          <a:xfrm>
            <a:off x="739140" y="274320"/>
            <a:ext cx="5120640" cy="369332"/>
          </a:xfrm>
          <a:prstGeom prst="rect">
            <a:avLst/>
          </a:prstGeom>
          <a:noFill/>
        </p:spPr>
        <p:txBody>
          <a:bodyPr wrap="square" rtlCol="0">
            <a:spAutoFit/>
          </a:bodyPr>
          <a:lstStyle/>
          <a:p>
            <a:r>
              <a:rPr lang="zh-CN" altLang="en-US" dirty="0" smtClean="0"/>
              <a:t>架构组件实例：生命周期管理库中的</a:t>
            </a:r>
            <a:r>
              <a:rPr lang="en-US" altLang="zh-CN" dirty="0" err="1" smtClean="0"/>
              <a:t>ViewModel</a:t>
            </a:r>
            <a:endParaRPr lang="zh-CN" altLang="en-US" dirty="0"/>
          </a:p>
        </p:txBody>
      </p:sp>
      <p:sp>
        <p:nvSpPr>
          <p:cNvPr id="6" name="文本框 5"/>
          <p:cNvSpPr txBox="1"/>
          <p:nvPr/>
        </p:nvSpPr>
        <p:spPr>
          <a:xfrm>
            <a:off x="1211580" y="762000"/>
            <a:ext cx="4099560" cy="646331"/>
          </a:xfrm>
          <a:prstGeom prst="rect">
            <a:avLst/>
          </a:prstGeom>
          <a:noFill/>
        </p:spPr>
        <p:txBody>
          <a:bodyPr wrap="square" rtlCol="0">
            <a:spAutoFit/>
          </a:bodyPr>
          <a:lstStyle/>
          <a:p>
            <a:r>
              <a:rPr lang="en-US" altLang="zh-CN" dirty="0" smtClean="0"/>
              <a:t>View models</a:t>
            </a:r>
            <a:r>
              <a:rPr lang="zh-CN" altLang="en-US" dirty="0" smtClean="0"/>
              <a:t>提供并管理</a:t>
            </a:r>
            <a:r>
              <a:rPr lang="en-US" altLang="zh-CN" dirty="0" smtClean="0"/>
              <a:t>UI</a:t>
            </a:r>
            <a:r>
              <a:rPr lang="zh-CN" altLang="en-US" dirty="0" smtClean="0"/>
              <a:t>数据；</a:t>
            </a:r>
            <a:endParaRPr lang="en-US" altLang="zh-CN" dirty="0" smtClean="0"/>
          </a:p>
          <a:p>
            <a:r>
              <a:rPr lang="en-US" altLang="zh-CN" dirty="0" err="1" smtClean="0"/>
              <a:t>ViewModel</a:t>
            </a:r>
            <a:r>
              <a:rPr lang="zh-CN" altLang="en-US" dirty="0" smtClean="0"/>
              <a:t>在设置变更之后仍然存在。</a:t>
            </a:r>
            <a:endParaRPr lang="zh-CN" altLang="en-US" dirty="0"/>
          </a:p>
        </p:txBody>
      </p:sp>
      <p:sp>
        <p:nvSpPr>
          <p:cNvPr id="7" name="矩形 6"/>
          <p:cNvSpPr/>
          <p:nvPr/>
        </p:nvSpPr>
        <p:spPr>
          <a:xfrm>
            <a:off x="6132513" y="2276475"/>
            <a:ext cx="1517967" cy="3860800"/>
          </a:xfrm>
          <a:prstGeom prst="rect">
            <a:avLst/>
          </a:prstGeom>
          <a:solidFill>
            <a:schemeClr val="accent6">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err="1" smtClean="0"/>
              <a:t>ViewModel</a:t>
            </a:r>
            <a:endParaRPr lang="zh-CN" altLang="en-US" dirty="0"/>
          </a:p>
        </p:txBody>
      </p:sp>
      <p:sp>
        <p:nvSpPr>
          <p:cNvPr id="8" name="矩形 7"/>
          <p:cNvSpPr/>
          <p:nvPr/>
        </p:nvSpPr>
        <p:spPr>
          <a:xfrm>
            <a:off x="6263640" y="4518660"/>
            <a:ext cx="1249680" cy="7086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solidFill>
                  <a:schemeClr val="accent6">
                    <a:lumMod val="90000"/>
                    <a:lumOff val="10000"/>
                  </a:schemeClr>
                </a:solidFill>
              </a:rPr>
              <a:t>Activity UI</a:t>
            </a:r>
          </a:p>
          <a:p>
            <a:pPr algn="ctr"/>
            <a:r>
              <a:rPr lang="zh-CN" altLang="en-US" dirty="0" smtClean="0">
                <a:solidFill>
                  <a:schemeClr val="accent6">
                    <a:lumMod val="90000"/>
                    <a:lumOff val="10000"/>
                  </a:schemeClr>
                </a:solidFill>
              </a:rPr>
              <a:t>界面数据</a:t>
            </a:r>
            <a:endParaRPr lang="zh-CN" altLang="en-US" dirty="0">
              <a:solidFill>
                <a:schemeClr val="accent6">
                  <a:lumMod val="90000"/>
                  <a:lumOff val="10000"/>
                </a:schemeClr>
              </a:solidFill>
            </a:endParaRPr>
          </a:p>
        </p:txBody>
      </p:sp>
      <p:cxnSp>
        <p:nvCxnSpPr>
          <p:cNvPr id="10" name="直接箭头连接符 9"/>
          <p:cNvCxnSpPr/>
          <p:nvPr/>
        </p:nvCxnSpPr>
        <p:spPr>
          <a:xfrm>
            <a:off x="4808220" y="2659380"/>
            <a:ext cx="1150620" cy="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2" name="直接箭头连接符 11"/>
          <p:cNvCxnSpPr/>
          <p:nvPr/>
        </p:nvCxnSpPr>
        <p:spPr>
          <a:xfrm>
            <a:off x="2941320" y="3215640"/>
            <a:ext cx="0" cy="60198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4" name="直接箭头连接符 13"/>
          <p:cNvCxnSpPr/>
          <p:nvPr/>
        </p:nvCxnSpPr>
        <p:spPr>
          <a:xfrm>
            <a:off x="2935356" y="4518660"/>
            <a:ext cx="0" cy="64770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6" name="直接箭头连接符 15"/>
          <p:cNvCxnSpPr/>
          <p:nvPr/>
        </p:nvCxnSpPr>
        <p:spPr>
          <a:xfrm flipH="1">
            <a:off x="4724400" y="5692678"/>
            <a:ext cx="1333500" cy="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
        <p:nvSpPr>
          <p:cNvPr id="17" name="矩形 16"/>
          <p:cNvSpPr/>
          <p:nvPr/>
        </p:nvSpPr>
        <p:spPr>
          <a:xfrm>
            <a:off x="9250680" y="922020"/>
            <a:ext cx="1950720" cy="94488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err="1" smtClean="0"/>
              <a:t>ViewModel</a:t>
            </a:r>
            <a:endParaRPr lang="en-US" altLang="zh-CN" dirty="0" smtClean="0"/>
          </a:p>
          <a:p>
            <a:pPr algn="ctr"/>
            <a:r>
              <a:rPr lang="zh-CN" altLang="en-US" dirty="0" smtClean="0"/>
              <a:t>管理</a:t>
            </a:r>
            <a:r>
              <a:rPr lang="en-US" altLang="zh-CN" dirty="0" smtClean="0"/>
              <a:t>UI</a:t>
            </a:r>
            <a:r>
              <a:rPr lang="zh-CN" altLang="en-US" dirty="0" smtClean="0"/>
              <a:t>界面数据</a:t>
            </a:r>
            <a:endParaRPr lang="en-US" altLang="zh-CN" dirty="0" smtClean="0"/>
          </a:p>
        </p:txBody>
      </p:sp>
      <p:sp>
        <p:nvSpPr>
          <p:cNvPr id="18" name="矩形 17"/>
          <p:cNvSpPr/>
          <p:nvPr/>
        </p:nvSpPr>
        <p:spPr>
          <a:xfrm>
            <a:off x="9250680" y="2291714"/>
            <a:ext cx="1950720" cy="105346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t>Activity</a:t>
            </a:r>
          </a:p>
          <a:p>
            <a:pPr algn="ctr"/>
            <a:r>
              <a:rPr lang="zh-CN" altLang="en-US" dirty="0" smtClean="0"/>
              <a:t>显示界面数据获取用户操作</a:t>
            </a:r>
            <a:endParaRPr lang="en-US" altLang="zh-CN" dirty="0" smtClean="0"/>
          </a:p>
        </p:txBody>
      </p:sp>
      <p:sp>
        <p:nvSpPr>
          <p:cNvPr id="19" name="矩形 18"/>
          <p:cNvSpPr/>
          <p:nvPr/>
        </p:nvSpPr>
        <p:spPr>
          <a:xfrm>
            <a:off x="9250680" y="3817620"/>
            <a:ext cx="1950720" cy="1013460"/>
          </a:xfrm>
          <a:prstGeom prst="rect">
            <a:avLst/>
          </a:prstGeom>
          <a:solidFill>
            <a:schemeClr val="accent6">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t>Repository</a:t>
            </a:r>
          </a:p>
          <a:p>
            <a:pPr algn="ctr"/>
            <a:r>
              <a:rPr lang="zh-CN" altLang="en-US" dirty="0" smtClean="0"/>
              <a:t>保存和载入数据的唯一接口</a:t>
            </a:r>
            <a:endParaRPr lang="zh-CN" altLang="en-US" dirty="0"/>
          </a:p>
        </p:txBody>
      </p:sp>
    </p:spTree>
    <p:extLst>
      <p:ext uri="{BB962C8B-B14F-4D97-AF65-F5344CB8AC3E}">
        <p14:creationId xmlns:p14="http://schemas.microsoft.com/office/powerpoint/2010/main" val="3479891592"/>
      </p:ext>
    </p:extLst>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bg>
      <p:bgPr>
        <a:solidFill>
          <a:schemeClr val="accent4">
            <a:lumMod val="40000"/>
            <a:lumOff val="60000"/>
          </a:schemeClr>
        </a:solidFill>
        <a:effectLst/>
      </p:bgPr>
    </p:bg>
    <p:spTree>
      <p:nvGrpSpPr>
        <p:cNvPr id="1" name=""/>
        <p:cNvGrpSpPr/>
        <p:nvPr/>
      </p:nvGrpSpPr>
      <p:grpSpPr>
        <a:xfrm>
          <a:off x="0" y="0"/>
          <a:ext cx="0" cy="0"/>
          <a:chOff x="0" y="0"/>
          <a:chExt cx="0" cy="0"/>
        </a:xfrm>
      </p:grpSpPr>
      <p:sp>
        <p:nvSpPr>
          <p:cNvPr id="5" name="文本框 4"/>
          <p:cNvSpPr txBox="1"/>
          <p:nvPr/>
        </p:nvSpPr>
        <p:spPr>
          <a:xfrm>
            <a:off x="739140" y="274320"/>
            <a:ext cx="5120640" cy="369332"/>
          </a:xfrm>
          <a:prstGeom prst="rect">
            <a:avLst/>
          </a:prstGeom>
          <a:noFill/>
        </p:spPr>
        <p:txBody>
          <a:bodyPr wrap="square" rtlCol="0">
            <a:spAutoFit/>
          </a:bodyPr>
          <a:lstStyle/>
          <a:p>
            <a:r>
              <a:rPr lang="zh-CN" altLang="en-US" dirty="0" smtClean="0"/>
              <a:t>架构组件实例：生命周期管理库中的</a:t>
            </a:r>
            <a:r>
              <a:rPr lang="en-US" altLang="zh-CN" dirty="0" err="1" smtClean="0"/>
              <a:t>ViewModel</a:t>
            </a:r>
            <a:endParaRPr lang="zh-CN" altLang="en-US" dirty="0"/>
          </a:p>
        </p:txBody>
      </p:sp>
      <p:sp>
        <p:nvSpPr>
          <p:cNvPr id="6" name="文本框 5"/>
          <p:cNvSpPr txBox="1"/>
          <p:nvPr/>
        </p:nvSpPr>
        <p:spPr>
          <a:xfrm>
            <a:off x="1211580" y="762000"/>
            <a:ext cx="4099560" cy="646331"/>
          </a:xfrm>
          <a:prstGeom prst="rect">
            <a:avLst/>
          </a:prstGeom>
          <a:noFill/>
        </p:spPr>
        <p:txBody>
          <a:bodyPr wrap="square" rtlCol="0">
            <a:spAutoFit/>
          </a:bodyPr>
          <a:lstStyle/>
          <a:p>
            <a:r>
              <a:rPr lang="en-US" altLang="zh-CN" dirty="0" smtClean="0"/>
              <a:t>View models</a:t>
            </a:r>
            <a:r>
              <a:rPr lang="zh-CN" altLang="en-US" dirty="0" smtClean="0"/>
              <a:t>提供并管理</a:t>
            </a:r>
            <a:r>
              <a:rPr lang="en-US" altLang="zh-CN" dirty="0" smtClean="0"/>
              <a:t>UI</a:t>
            </a:r>
            <a:r>
              <a:rPr lang="zh-CN" altLang="en-US" dirty="0" smtClean="0"/>
              <a:t>数据；</a:t>
            </a:r>
            <a:endParaRPr lang="en-US" altLang="zh-CN" dirty="0" smtClean="0"/>
          </a:p>
          <a:p>
            <a:r>
              <a:rPr lang="en-US" altLang="zh-CN" dirty="0" err="1" smtClean="0"/>
              <a:t>ViewModel</a:t>
            </a:r>
            <a:r>
              <a:rPr lang="zh-CN" altLang="en-US" dirty="0" smtClean="0"/>
              <a:t>在设置变更之后仍然存在。</a:t>
            </a:r>
            <a:endParaRPr lang="zh-CN" altLang="en-US" dirty="0"/>
          </a:p>
        </p:txBody>
      </p:sp>
      <p:sp>
        <p:nvSpPr>
          <p:cNvPr id="17" name="矩形 16"/>
          <p:cNvSpPr/>
          <p:nvPr/>
        </p:nvSpPr>
        <p:spPr>
          <a:xfrm>
            <a:off x="2712720" y="2057400"/>
            <a:ext cx="1950720" cy="94488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err="1" smtClean="0"/>
              <a:t>ViewModel</a:t>
            </a:r>
            <a:endParaRPr lang="en-US" altLang="zh-CN" dirty="0" smtClean="0"/>
          </a:p>
          <a:p>
            <a:pPr algn="ctr"/>
            <a:r>
              <a:rPr lang="zh-CN" altLang="en-US" dirty="0" smtClean="0"/>
              <a:t>管理</a:t>
            </a:r>
            <a:r>
              <a:rPr lang="en-US" altLang="zh-CN" dirty="0" smtClean="0"/>
              <a:t>UI</a:t>
            </a:r>
            <a:r>
              <a:rPr lang="zh-CN" altLang="en-US" dirty="0" smtClean="0"/>
              <a:t>界面数据</a:t>
            </a:r>
            <a:endParaRPr lang="en-US" altLang="zh-CN" dirty="0" smtClean="0"/>
          </a:p>
        </p:txBody>
      </p:sp>
      <p:sp>
        <p:nvSpPr>
          <p:cNvPr id="18" name="矩形 17"/>
          <p:cNvSpPr/>
          <p:nvPr/>
        </p:nvSpPr>
        <p:spPr>
          <a:xfrm>
            <a:off x="2712720" y="3427094"/>
            <a:ext cx="1950720" cy="105346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t>Activity</a:t>
            </a:r>
          </a:p>
          <a:p>
            <a:pPr algn="ctr"/>
            <a:r>
              <a:rPr lang="zh-CN" altLang="en-US" dirty="0" smtClean="0"/>
              <a:t>显示界面数据获取用户操作</a:t>
            </a:r>
            <a:endParaRPr lang="en-US" altLang="zh-CN" dirty="0" smtClean="0"/>
          </a:p>
        </p:txBody>
      </p:sp>
      <p:sp>
        <p:nvSpPr>
          <p:cNvPr id="19" name="矩形 18"/>
          <p:cNvSpPr/>
          <p:nvPr/>
        </p:nvSpPr>
        <p:spPr>
          <a:xfrm>
            <a:off x="2712720" y="4953000"/>
            <a:ext cx="1950720" cy="1013460"/>
          </a:xfrm>
          <a:prstGeom prst="rect">
            <a:avLst/>
          </a:prstGeom>
          <a:solidFill>
            <a:schemeClr val="accent6">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t>Repository</a:t>
            </a:r>
          </a:p>
          <a:p>
            <a:pPr algn="ctr"/>
            <a:r>
              <a:rPr lang="zh-CN" altLang="en-US" dirty="0" smtClean="0"/>
              <a:t>保存和载入数据的唯一接口</a:t>
            </a:r>
            <a:endParaRPr lang="zh-CN" altLang="en-US" dirty="0"/>
          </a:p>
        </p:txBody>
      </p:sp>
      <p:sp>
        <p:nvSpPr>
          <p:cNvPr id="9" name="矩形 8"/>
          <p:cNvSpPr/>
          <p:nvPr/>
        </p:nvSpPr>
        <p:spPr>
          <a:xfrm>
            <a:off x="7726680" y="2276475"/>
            <a:ext cx="2125980" cy="901065"/>
          </a:xfrm>
          <a:prstGeom prst="rect">
            <a:avLst/>
          </a:prstGeom>
          <a:solidFill>
            <a:schemeClr val="accent6">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solidFill>
                  <a:schemeClr val="tx1"/>
                </a:solidFill>
              </a:rPr>
              <a:t>Presenter</a:t>
            </a:r>
          </a:p>
          <a:p>
            <a:pPr algn="ctr"/>
            <a:r>
              <a:rPr lang="zh-CN" altLang="en-US" dirty="0" smtClean="0">
                <a:solidFill>
                  <a:schemeClr val="tx1"/>
                </a:solidFill>
              </a:rPr>
              <a:t>处理</a:t>
            </a:r>
            <a:r>
              <a:rPr lang="en-US" altLang="zh-CN" dirty="0" smtClean="0">
                <a:solidFill>
                  <a:schemeClr val="tx1"/>
                </a:solidFill>
              </a:rPr>
              <a:t>UI</a:t>
            </a:r>
            <a:r>
              <a:rPr lang="zh-CN" altLang="en-US" dirty="0" smtClean="0">
                <a:solidFill>
                  <a:schemeClr val="tx1"/>
                </a:solidFill>
              </a:rPr>
              <a:t>界面数据</a:t>
            </a:r>
            <a:endParaRPr lang="zh-CN" altLang="en-US" dirty="0">
              <a:solidFill>
                <a:schemeClr val="tx1"/>
              </a:solidFill>
            </a:endParaRPr>
          </a:p>
        </p:txBody>
      </p:sp>
      <p:sp>
        <p:nvSpPr>
          <p:cNvPr id="20" name="矩形 19"/>
          <p:cNvSpPr/>
          <p:nvPr/>
        </p:nvSpPr>
        <p:spPr>
          <a:xfrm>
            <a:off x="7726680" y="3701415"/>
            <a:ext cx="2125980" cy="901065"/>
          </a:xfrm>
          <a:prstGeom prst="rect">
            <a:avLst/>
          </a:prstGeom>
          <a:solidFill>
            <a:schemeClr val="accent6">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tx1"/>
                </a:solidFill>
              </a:rPr>
              <a:t>更多</a:t>
            </a:r>
            <a:r>
              <a:rPr lang="en-US" altLang="zh-CN" dirty="0" smtClean="0">
                <a:solidFill>
                  <a:schemeClr val="tx1"/>
                </a:solidFill>
              </a:rPr>
              <a:t>…</a:t>
            </a:r>
            <a:endParaRPr lang="zh-CN" altLang="en-US" dirty="0">
              <a:solidFill>
                <a:schemeClr val="tx1"/>
              </a:solidFill>
            </a:endParaRPr>
          </a:p>
        </p:txBody>
      </p:sp>
    </p:spTree>
    <p:extLst>
      <p:ext uri="{BB962C8B-B14F-4D97-AF65-F5344CB8AC3E}">
        <p14:creationId xmlns:p14="http://schemas.microsoft.com/office/powerpoint/2010/main" val="617963491"/>
      </p:ext>
    </p:extLst>
  </p:cSld>
  <p:clrMapOvr>
    <a:masterClrMapping/>
  </p:clrMapOvr>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bg>
      <p:bgPr>
        <a:solidFill>
          <a:schemeClr val="accent3">
            <a:lumMod val="25000"/>
            <a:lumOff val="75000"/>
          </a:schemeClr>
        </a:solidFill>
        <a:effectLst/>
      </p:bgPr>
    </p:bg>
    <p:spTree>
      <p:nvGrpSpPr>
        <p:cNvPr id="1" name=""/>
        <p:cNvGrpSpPr/>
        <p:nvPr/>
      </p:nvGrpSpPr>
      <p:grpSpPr>
        <a:xfrm>
          <a:off x="0" y="0"/>
          <a:ext cx="0" cy="0"/>
          <a:chOff x="0" y="0"/>
          <a:chExt cx="0" cy="0"/>
        </a:xfrm>
      </p:grpSpPr>
      <p:grpSp>
        <p:nvGrpSpPr>
          <p:cNvPr id="29" name="组合 28">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30" name="椭圆 29">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31" name="椭圆 30">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grpSp>
      <p:sp>
        <p:nvSpPr>
          <p:cNvPr id="32" name="标题 1">
            <a:extLst>
              <a:ext uri="{FF2B5EF4-FFF2-40B4-BE49-F238E27FC236}">
                <a16:creationId xmlns:a16="http://schemas.microsoft.com/office/drawing/2014/main" id="{1D9D90DD-82BB-4388-81A3-44FA307364C4}"/>
              </a:ext>
            </a:extLst>
          </p:cNvPr>
          <p:cNvSpPr txBox="1">
            <a:spLocks/>
          </p:cNvSpPr>
          <p:nvPr/>
        </p:nvSpPr>
        <p:spPr>
          <a:xfrm>
            <a:off x="1149782" y="210918"/>
            <a:ext cx="4850185" cy="57784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3200" b="0" dirty="0" smtClean="0">
                <a:latin typeface="Arial" panose="020B0604020202020204" pitchFamily="34" charset="0"/>
                <a:ea typeface="Microsoft YaHei" panose="020B0503020204020204" pitchFamily="34" charset="-122"/>
                <a:cs typeface="+mn-ea"/>
                <a:sym typeface="Arial" panose="020B0604020202020204" pitchFamily="34" charset="0"/>
              </a:rPr>
              <a:t>非功能性需求</a:t>
            </a:r>
            <a:endParaRPr lang="zh-CN" altLang="en-US" sz="3200" b="0" dirty="0">
              <a:latin typeface="Arial" panose="020B0604020202020204" pitchFamily="34" charset="0"/>
              <a:ea typeface="Microsoft YaHei" panose="020B0503020204020204" pitchFamily="34" charset="-122"/>
              <a:cs typeface="+mn-ea"/>
              <a:sym typeface="Arial" panose="020B0604020202020204" pitchFamily="34" charset="0"/>
            </a:endParaRPr>
          </a:p>
        </p:txBody>
      </p:sp>
      <p:grpSp>
        <p:nvGrpSpPr>
          <p:cNvPr id="173" name="2078"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669924" y="1510251"/>
            <a:ext cx="10555637" cy="3978554"/>
            <a:chOff x="29007" y="1459168"/>
            <a:chExt cx="12484309" cy="4705499"/>
          </a:xfrm>
        </p:grpSpPr>
        <p:sp>
          <p:nvSpPr>
            <p:cNvPr id="174" name="iŝļiḋe">
              <a:extLst>
                <a:ext uri="{FF2B5EF4-FFF2-40B4-BE49-F238E27FC236}">
                  <a16:creationId xmlns:a16="http://schemas.microsoft.com/office/drawing/2014/main" id="{24764C29-E7B3-40E5-8600-FC3B11D8C7F7}"/>
                </a:ext>
              </a:extLst>
            </p:cNvPr>
            <p:cNvSpPr/>
            <p:nvPr/>
          </p:nvSpPr>
          <p:spPr>
            <a:xfrm>
              <a:off x="4604586" y="2906683"/>
              <a:ext cx="2982820" cy="2982821"/>
            </a:xfrm>
            <a:prstGeom prst="ellipse">
              <a:avLst/>
            </a:prstGeom>
            <a:solidFill>
              <a:schemeClr val="tx2">
                <a:lumMod val="20000"/>
                <a:lumOff val="80000"/>
                <a:alpha val="40000"/>
              </a:schemeClr>
            </a:solidFill>
            <a:ln w="3175">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600" b="1" dirty="0" smtClean="0">
                  <a:solidFill>
                    <a:schemeClr val="tx1"/>
                  </a:solidFill>
                </a:rPr>
                <a:t>非功能性需求</a:t>
              </a:r>
              <a:endParaRPr lang="zh-CN" altLang="en-US" sz="1600" b="1" dirty="0">
                <a:solidFill>
                  <a:schemeClr val="tx1"/>
                </a:solidFill>
              </a:endParaRPr>
            </a:p>
          </p:txBody>
        </p:sp>
        <p:grpSp>
          <p:nvGrpSpPr>
            <p:cNvPr id="175" name="ïşlîḍé">
              <a:extLst>
                <a:ext uri="{FF2B5EF4-FFF2-40B4-BE49-F238E27FC236}">
                  <a16:creationId xmlns:a16="http://schemas.microsoft.com/office/drawing/2014/main" id="{C1FF6008-E8B6-4D22-B688-4ED3A7735682}"/>
                </a:ext>
              </a:extLst>
            </p:cNvPr>
            <p:cNvGrpSpPr/>
            <p:nvPr/>
          </p:nvGrpSpPr>
          <p:grpSpPr>
            <a:xfrm>
              <a:off x="6415035" y="5018684"/>
              <a:ext cx="1104947" cy="1104945"/>
              <a:chOff x="6576163" y="4501153"/>
              <a:chExt cx="1104947" cy="1104945"/>
            </a:xfrm>
          </p:grpSpPr>
          <p:sp>
            <p:nvSpPr>
              <p:cNvPr id="203" name="íšļîďè">
                <a:extLst>
                  <a:ext uri="{FF2B5EF4-FFF2-40B4-BE49-F238E27FC236}">
                    <a16:creationId xmlns:a16="http://schemas.microsoft.com/office/drawing/2014/main" id="{40B6C4D6-9AA1-482C-9BCE-FCAE5F45C1DC}"/>
                  </a:ext>
                </a:extLst>
              </p:cNvPr>
              <p:cNvSpPr/>
              <p:nvPr/>
            </p:nvSpPr>
            <p:spPr>
              <a:xfrm>
                <a:off x="6576163" y="4501153"/>
                <a:ext cx="1104947" cy="1104945"/>
              </a:xfrm>
              <a:prstGeom prst="ellipse">
                <a:avLst/>
              </a:prstGeom>
              <a:solidFill>
                <a:schemeClr val="bg1">
                  <a:lumMod val="95000"/>
                </a:schemeClr>
              </a:solidFill>
              <a:ln w="3810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p>
            </p:txBody>
          </p:sp>
          <p:sp>
            <p:nvSpPr>
              <p:cNvPr id="204" name="iS1îďé">
                <a:extLst>
                  <a:ext uri="{FF2B5EF4-FFF2-40B4-BE49-F238E27FC236}">
                    <a16:creationId xmlns:a16="http://schemas.microsoft.com/office/drawing/2014/main" id="{67CC39FB-7A04-4B67-8AD8-20F3CD8C87F3}"/>
                  </a:ext>
                </a:extLst>
              </p:cNvPr>
              <p:cNvSpPr/>
              <p:nvPr/>
            </p:nvSpPr>
            <p:spPr bwMode="auto">
              <a:xfrm>
                <a:off x="7008750" y="4737023"/>
                <a:ext cx="239770" cy="633204"/>
              </a:xfrm>
              <a:custGeom>
                <a:avLst/>
                <a:gdLst>
                  <a:gd name="T0" fmla="*/ 88862 h 440259"/>
                  <a:gd name="T1" fmla="*/ 88862 h 440259"/>
                  <a:gd name="T2" fmla="*/ 278945 h 440259"/>
                  <a:gd name="T3" fmla="*/ 278945 h 440259"/>
                  <a:gd name="T4" fmla="*/ 278945 h 440259"/>
                  <a:gd name="T5" fmla="*/ 278945 h 440259"/>
                  <a:gd name="T6" fmla="*/ 278945 h 440259"/>
                  <a:gd name="T7" fmla="*/ 278945 h 440259"/>
                  <a:gd name="T8" fmla="*/ 278945 h 440259"/>
                  <a:gd name="T9" fmla="*/ 278945 h 440259"/>
                  <a:gd name="T10" fmla="*/ 278945 h 440259"/>
                  <a:gd name="T11" fmla="*/ 278945 h 440259"/>
                  <a:gd name="T12" fmla="*/ 278945 h 440259"/>
                  <a:gd name="T13" fmla="*/ 278945 h 440259"/>
                  <a:gd name="T14" fmla="*/ 278945 h 440259"/>
                  <a:gd name="T15" fmla="*/ 278945 h 440259"/>
                  <a:gd name="T16" fmla="*/ 278945 h 440259"/>
                  <a:gd name="T17" fmla="*/ 278945 h 440259"/>
                  <a:gd name="T18" fmla="*/ 278945 h 440259"/>
                  <a:gd name="T19" fmla="*/ 278945 h 440259"/>
                  <a:gd name="T20" fmla="*/ 278945 h 440259"/>
                  <a:gd name="T21" fmla="*/ 278945 h 440259"/>
                  <a:gd name="T22" fmla="*/ 88862 h 440259"/>
                  <a:gd name="T23" fmla="*/ 88862 h 440259"/>
                  <a:gd name="T24" fmla="*/ 278945 h 440259"/>
                  <a:gd name="T25" fmla="*/ 278945 h 440259"/>
                  <a:gd name="T26" fmla="*/ 278945 h 440259"/>
                  <a:gd name="T27" fmla="*/ 278945 h 440259"/>
                  <a:gd name="T28" fmla="*/ 278945 h 440259"/>
                  <a:gd name="T29" fmla="*/ 278945 h 440259"/>
                  <a:gd name="T30" fmla="*/ 278945 h 440259"/>
                  <a:gd name="T31" fmla="*/ 278945 h 440259"/>
                  <a:gd name="T32" fmla="*/ 278945 h 440259"/>
                  <a:gd name="T33" fmla="*/ 278945 h 440259"/>
                  <a:gd name="T34" fmla="*/ 278945 h 440259"/>
                  <a:gd name="T35" fmla="*/ 278945 h 440259"/>
                  <a:gd name="T36" fmla="*/ 278945 h 440259"/>
                  <a:gd name="T37" fmla="*/ 278945 h 440259"/>
                  <a:gd name="T38" fmla="*/ 88862 h 440259"/>
                  <a:gd name="T39" fmla="*/ 88862 h 440259"/>
                  <a:gd name="T40" fmla="*/ 278945 h 440259"/>
                  <a:gd name="T41" fmla="*/ 278945 h 440259"/>
                  <a:gd name="T42" fmla="*/ 278945 h 440259"/>
                  <a:gd name="T43" fmla="*/ 278945 h 440259"/>
                  <a:gd name="T44" fmla="*/ 278945 h 440259"/>
                  <a:gd name="T45" fmla="*/ 278945 h 440259"/>
                  <a:gd name="T46" fmla="*/ 278945 h 440259"/>
                  <a:gd name="T47" fmla="*/ 278945 h 440259"/>
                  <a:gd name="T48" fmla="*/ 278945 h 440259"/>
                  <a:gd name="T49" fmla="*/ 278945 h 440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53" h="3049">
                    <a:moveTo>
                      <a:pt x="835" y="1958"/>
                    </a:moveTo>
                    <a:lnTo>
                      <a:pt x="845" y="1958"/>
                    </a:lnTo>
                    <a:lnTo>
                      <a:pt x="845" y="269"/>
                    </a:lnTo>
                    <a:cubicBezTo>
                      <a:pt x="845" y="120"/>
                      <a:pt x="725" y="0"/>
                      <a:pt x="577" y="0"/>
                    </a:cubicBezTo>
                    <a:cubicBezTo>
                      <a:pt x="428" y="0"/>
                      <a:pt x="308" y="120"/>
                      <a:pt x="308" y="269"/>
                    </a:cubicBezTo>
                    <a:lnTo>
                      <a:pt x="308" y="1958"/>
                    </a:lnTo>
                    <a:lnTo>
                      <a:pt x="318" y="1958"/>
                    </a:lnTo>
                    <a:cubicBezTo>
                      <a:pt x="130" y="2053"/>
                      <a:pt x="0" y="2248"/>
                      <a:pt x="0" y="2473"/>
                    </a:cubicBezTo>
                    <a:cubicBezTo>
                      <a:pt x="0" y="2791"/>
                      <a:pt x="258" y="3049"/>
                      <a:pt x="577" y="3049"/>
                    </a:cubicBezTo>
                    <a:cubicBezTo>
                      <a:pt x="895" y="3049"/>
                      <a:pt x="1153" y="2791"/>
                      <a:pt x="1153" y="2473"/>
                    </a:cubicBezTo>
                    <a:cubicBezTo>
                      <a:pt x="1153" y="2248"/>
                      <a:pt x="1024" y="2053"/>
                      <a:pt x="835" y="1958"/>
                    </a:cubicBezTo>
                    <a:close/>
                    <a:moveTo>
                      <a:pt x="430" y="2214"/>
                    </a:moveTo>
                    <a:cubicBezTo>
                      <a:pt x="406" y="2227"/>
                      <a:pt x="196" y="2343"/>
                      <a:pt x="291" y="2609"/>
                    </a:cubicBezTo>
                    <a:cubicBezTo>
                      <a:pt x="303" y="2643"/>
                      <a:pt x="285" y="2682"/>
                      <a:pt x="250" y="2694"/>
                    </a:cubicBezTo>
                    <a:cubicBezTo>
                      <a:pt x="243" y="2697"/>
                      <a:pt x="235" y="2698"/>
                      <a:pt x="228" y="2698"/>
                    </a:cubicBezTo>
                    <a:cubicBezTo>
                      <a:pt x="200" y="2698"/>
                      <a:pt x="175" y="2681"/>
                      <a:pt x="165" y="2654"/>
                    </a:cubicBezTo>
                    <a:cubicBezTo>
                      <a:pt x="55" y="2347"/>
                      <a:pt x="252" y="2154"/>
                      <a:pt x="371" y="2095"/>
                    </a:cubicBezTo>
                    <a:cubicBezTo>
                      <a:pt x="404" y="2079"/>
                      <a:pt x="444" y="2092"/>
                      <a:pt x="460" y="2125"/>
                    </a:cubicBezTo>
                    <a:cubicBezTo>
                      <a:pt x="476" y="2158"/>
                      <a:pt x="463" y="2198"/>
                      <a:pt x="430" y="2214"/>
                    </a:cubicBezTo>
                    <a:close/>
                    <a:moveTo>
                      <a:pt x="707" y="755"/>
                    </a:moveTo>
                    <a:lnTo>
                      <a:pt x="447" y="755"/>
                    </a:lnTo>
                    <a:lnTo>
                      <a:pt x="447" y="294"/>
                    </a:lnTo>
                    <a:cubicBezTo>
                      <a:pt x="447" y="223"/>
                      <a:pt x="505" y="164"/>
                      <a:pt x="577" y="164"/>
                    </a:cubicBezTo>
                    <a:cubicBezTo>
                      <a:pt x="648" y="164"/>
                      <a:pt x="707" y="223"/>
                      <a:pt x="707" y="294"/>
                    </a:cubicBezTo>
                    <a:lnTo>
                      <a:pt x="707" y="755"/>
                    </a:lnTo>
                    <a:close/>
                  </a:path>
                </a:pathLst>
              </a:custGeom>
              <a:solidFill>
                <a:schemeClr val="tx1">
                  <a:lumMod val="50000"/>
                  <a:lumOff val="50000"/>
                </a:schemeClr>
              </a:solidFill>
              <a:ln>
                <a:noFill/>
              </a:ln>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grpSp>
          <p:nvGrpSpPr>
            <p:cNvPr id="176" name="iṡlíḓè">
              <a:extLst>
                <a:ext uri="{FF2B5EF4-FFF2-40B4-BE49-F238E27FC236}">
                  <a16:creationId xmlns:a16="http://schemas.microsoft.com/office/drawing/2014/main" id="{A458D586-503D-435A-8938-D250E4B6A64E}"/>
                </a:ext>
              </a:extLst>
            </p:cNvPr>
            <p:cNvGrpSpPr/>
            <p:nvPr/>
          </p:nvGrpSpPr>
          <p:grpSpPr>
            <a:xfrm>
              <a:off x="4672019" y="5038680"/>
              <a:ext cx="1104947" cy="1104945"/>
              <a:chOff x="4833147" y="4501153"/>
              <a:chExt cx="1104947" cy="1104945"/>
            </a:xfrm>
          </p:grpSpPr>
          <p:sp>
            <p:nvSpPr>
              <p:cNvPr id="201" name="îṣḷíḋê">
                <a:extLst>
                  <a:ext uri="{FF2B5EF4-FFF2-40B4-BE49-F238E27FC236}">
                    <a16:creationId xmlns:a16="http://schemas.microsoft.com/office/drawing/2014/main" id="{39B6B271-1347-4F10-9558-514C00730EFA}"/>
                  </a:ext>
                </a:extLst>
              </p:cNvPr>
              <p:cNvSpPr/>
              <p:nvPr/>
            </p:nvSpPr>
            <p:spPr>
              <a:xfrm>
                <a:off x="4833147" y="4501153"/>
                <a:ext cx="1104947" cy="1104945"/>
              </a:xfrm>
              <a:prstGeom prst="ellipse">
                <a:avLst/>
              </a:prstGeom>
              <a:solidFill>
                <a:schemeClr val="bg1">
                  <a:lumMod val="95000"/>
                </a:schemeClr>
              </a:solidFill>
              <a:ln w="3810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p>
            </p:txBody>
          </p:sp>
          <p:sp>
            <p:nvSpPr>
              <p:cNvPr id="202" name="ï$1íḓé">
                <a:extLst>
                  <a:ext uri="{FF2B5EF4-FFF2-40B4-BE49-F238E27FC236}">
                    <a16:creationId xmlns:a16="http://schemas.microsoft.com/office/drawing/2014/main" id="{E36DD69F-89D2-4FDE-A881-4F47E3C17FA5}"/>
                  </a:ext>
                </a:extLst>
              </p:cNvPr>
              <p:cNvSpPr/>
              <p:nvPr/>
            </p:nvSpPr>
            <p:spPr bwMode="auto">
              <a:xfrm>
                <a:off x="5069018" y="4845711"/>
                <a:ext cx="633204" cy="415826"/>
              </a:xfrm>
              <a:custGeom>
                <a:avLst/>
                <a:gdLst>
                  <a:gd name="connsiteX0" fmla="*/ 271096 w 607655"/>
                  <a:gd name="connsiteY0" fmla="*/ 321406 h 399048"/>
                  <a:gd name="connsiteX1" fmla="*/ 247006 w 607655"/>
                  <a:gd name="connsiteY1" fmla="*/ 345407 h 399048"/>
                  <a:gd name="connsiteX2" fmla="*/ 271096 w 607655"/>
                  <a:gd name="connsiteY2" fmla="*/ 369408 h 399048"/>
                  <a:gd name="connsiteX3" fmla="*/ 295138 w 607655"/>
                  <a:gd name="connsiteY3" fmla="*/ 345407 h 399048"/>
                  <a:gd name="connsiteX4" fmla="*/ 271096 w 607655"/>
                  <a:gd name="connsiteY4" fmla="*/ 321406 h 399048"/>
                  <a:gd name="connsiteX5" fmla="*/ 10407 w 607655"/>
                  <a:gd name="connsiteY5" fmla="*/ 277943 h 399048"/>
                  <a:gd name="connsiteX6" fmla="*/ 31702 w 607655"/>
                  <a:gd name="connsiteY6" fmla="*/ 283598 h 399048"/>
                  <a:gd name="connsiteX7" fmla="*/ 33908 w 607655"/>
                  <a:gd name="connsiteY7" fmla="*/ 287624 h 399048"/>
                  <a:gd name="connsiteX8" fmla="*/ 32997 w 607655"/>
                  <a:gd name="connsiteY8" fmla="*/ 290308 h 399048"/>
                  <a:gd name="connsiteX9" fmla="*/ 31990 w 607655"/>
                  <a:gd name="connsiteY9" fmla="*/ 293375 h 399048"/>
                  <a:gd name="connsiteX10" fmla="*/ 30935 w 607655"/>
                  <a:gd name="connsiteY10" fmla="*/ 296825 h 399048"/>
                  <a:gd name="connsiteX11" fmla="*/ 29784 w 607655"/>
                  <a:gd name="connsiteY11" fmla="*/ 300659 h 399048"/>
                  <a:gd name="connsiteX12" fmla="*/ 29160 w 607655"/>
                  <a:gd name="connsiteY12" fmla="*/ 302768 h 399048"/>
                  <a:gd name="connsiteX13" fmla="*/ 28585 w 607655"/>
                  <a:gd name="connsiteY13" fmla="*/ 305068 h 399048"/>
                  <a:gd name="connsiteX14" fmla="*/ 26091 w 607655"/>
                  <a:gd name="connsiteY14" fmla="*/ 315133 h 399048"/>
                  <a:gd name="connsiteX15" fmla="*/ 24844 w 607655"/>
                  <a:gd name="connsiteY15" fmla="*/ 320644 h 399048"/>
                  <a:gd name="connsiteX16" fmla="*/ 23741 w 607655"/>
                  <a:gd name="connsiteY16" fmla="*/ 326491 h 399048"/>
                  <a:gd name="connsiteX17" fmla="*/ 21726 w 607655"/>
                  <a:gd name="connsiteY17" fmla="*/ 338759 h 399048"/>
                  <a:gd name="connsiteX18" fmla="*/ 21486 w 607655"/>
                  <a:gd name="connsiteY18" fmla="*/ 340341 h 399048"/>
                  <a:gd name="connsiteX19" fmla="*/ 21295 w 607655"/>
                  <a:gd name="connsiteY19" fmla="*/ 341922 h 399048"/>
                  <a:gd name="connsiteX20" fmla="*/ 20959 w 607655"/>
                  <a:gd name="connsiteY20" fmla="*/ 345133 h 399048"/>
                  <a:gd name="connsiteX21" fmla="*/ 20575 w 607655"/>
                  <a:gd name="connsiteY21" fmla="*/ 348344 h 399048"/>
                  <a:gd name="connsiteX22" fmla="*/ 20383 w 607655"/>
                  <a:gd name="connsiteY22" fmla="*/ 349973 h 399048"/>
                  <a:gd name="connsiteX23" fmla="*/ 20239 w 607655"/>
                  <a:gd name="connsiteY23" fmla="*/ 351555 h 399048"/>
                  <a:gd name="connsiteX24" fmla="*/ 19760 w 607655"/>
                  <a:gd name="connsiteY24" fmla="*/ 358025 h 399048"/>
                  <a:gd name="connsiteX25" fmla="*/ 19616 w 607655"/>
                  <a:gd name="connsiteY25" fmla="*/ 359654 h 399048"/>
                  <a:gd name="connsiteX26" fmla="*/ 19616 w 607655"/>
                  <a:gd name="connsiteY26" fmla="*/ 359846 h 399048"/>
                  <a:gd name="connsiteX27" fmla="*/ 19568 w 607655"/>
                  <a:gd name="connsiteY27" fmla="*/ 359942 h 399048"/>
                  <a:gd name="connsiteX28" fmla="*/ 19568 w 607655"/>
                  <a:gd name="connsiteY28" fmla="*/ 360325 h 399048"/>
                  <a:gd name="connsiteX29" fmla="*/ 19520 w 607655"/>
                  <a:gd name="connsiteY29" fmla="*/ 361188 h 399048"/>
                  <a:gd name="connsiteX30" fmla="*/ 19376 w 607655"/>
                  <a:gd name="connsiteY30" fmla="*/ 364495 h 399048"/>
                  <a:gd name="connsiteX31" fmla="*/ 19232 w 607655"/>
                  <a:gd name="connsiteY31" fmla="*/ 367801 h 399048"/>
                  <a:gd name="connsiteX32" fmla="*/ 19136 w 607655"/>
                  <a:gd name="connsiteY32" fmla="*/ 370869 h 399048"/>
                  <a:gd name="connsiteX33" fmla="*/ 19088 w 607655"/>
                  <a:gd name="connsiteY33" fmla="*/ 373984 h 399048"/>
                  <a:gd name="connsiteX34" fmla="*/ 19040 w 607655"/>
                  <a:gd name="connsiteY34" fmla="*/ 375469 h 399048"/>
                  <a:gd name="connsiteX35" fmla="*/ 19040 w 607655"/>
                  <a:gd name="connsiteY35" fmla="*/ 377003 h 399048"/>
                  <a:gd name="connsiteX36" fmla="*/ 19088 w 607655"/>
                  <a:gd name="connsiteY36" fmla="*/ 383041 h 399048"/>
                  <a:gd name="connsiteX37" fmla="*/ 19280 w 607655"/>
                  <a:gd name="connsiteY37" fmla="*/ 388792 h 399048"/>
                  <a:gd name="connsiteX38" fmla="*/ 19568 w 607655"/>
                  <a:gd name="connsiteY38" fmla="*/ 394256 h 399048"/>
                  <a:gd name="connsiteX39" fmla="*/ 19664 w 607655"/>
                  <a:gd name="connsiteY39" fmla="*/ 395693 h 399048"/>
                  <a:gd name="connsiteX40" fmla="*/ 16498 w 607655"/>
                  <a:gd name="connsiteY40" fmla="*/ 399048 h 399048"/>
                  <a:gd name="connsiteX41" fmla="*/ 8009 w 607655"/>
                  <a:gd name="connsiteY41" fmla="*/ 399048 h 399048"/>
                  <a:gd name="connsiteX42" fmla="*/ 4892 w 607655"/>
                  <a:gd name="connsiteY42" fmla="*/ 396460 h 399048"/>
                  <a:gd name="connsiteX43" fmla="*/ 4796 w 607655"/>
                  <a:gd name="connsiteY43" fmla="*/ 396029 h 399048"/>
                  <a:gd name="connsiteX44" fmla="*/ 3837 w 607655"/>
                  <a:gd name="connsiteY44" fmla="*/ 390374 h 399048"/>
                  <a:gd name="connsiteX45" fmla="*/ 2925 w 607655"/>
                  <a:gd name="connsiteY45" fmla="*/ 384335 h 399048"/>
                  <a:gd name="connsiteX46" fmla="*/ 2110 w 607655"/>
                  <a:gd name="connsiteY46" fmla="*/ 378057 h 399048"/>
                  <a:gd name="connsiteX47" fmla="*/ 1918 w 607655"/>
                  <a:gd name="connsiteY47" fmla="*/ 376428 h 399048"/>
                  <a:gd name="connsiteX48" fmla="*/ 1726 w 607655"/>
                  <a:gd name="connsiteY48" fmla="*/ 374750 h 399048"/>
                  <a:gd name="connsiteX49" fmla="*/ 1391 w 607655"/>
                  <a:gd name="connsiteY49" fmla="*/ 371396 h 399048"/>
                  <a:gd name="connsiteX50" fmla="*/ 1055 w 607655"/>
                  <a:gd name="connsiteY50" fmla="*/ 368041 h 399048"/>
                  <a:gd name="connsiteX51" fmla="*/ 815 w 607655"/>
                  <a:gd name="connsiteY51" fmla="*/ 364734 h 399048"/>
                  <a:gd name="connsiteX52" fmla="*/ 575 w 607655"/>
                  <a:gd name="connsiteY52" fmla="*/ 361427 h 399048"/>
                  <a:gd name="connsiteX53" fmla="*/ 527 w 607655"/>
                  <a:gd name="connsiteY53" fmla="*/ 360613 h 399048"/>
                  <a:gd name="connsiteX54" fmla="*/ 479 w 607655"/>
                  <a:gd name="connsiteY54" fmla="*/ 360181 h 399048"/>
                  <a:gd name="connsiteX55" fmla="*/ 479 w 607655"/>
                  <a:gd name="connsiteY55" fmla="*/ 359606 h 399048"/>
                  <a:gd name="connsiteX56" fmla="*/ 384 w 607655"/>
                  <a:gd name="connsiteY56" fmla="*/ 357929 h 399048"/>
                  <a:gd name="connsiteX57" fmla="*/ 144 w 607655"/>
                  <a:gd name="connsiteY57" fmla="*/ 350980 h 399048"/>
                  <a:gd name="connsiteX58" fmla="*/ 48 w 607655"/>
                  <a:gd name="connsiteY58" fmla="*/ 349255 h 399048"/>
                  <a:gd name="connsiteX59" fmla="*/ 48 w 607655"/>
                  <a:gd name="connsiteY59" fmla="*/ 347529 h 399048"/>
                  <a:gd name="connsiteX60" fmla="*/ 48 w 607655"/>
                  <a:gd name="connsiteY60" fmla="*/ 344031 h 399048"/>
                  <a:gd name="connsiteX61" fmla="*/ 0 w 607655"/>
                  <a:gd name="connsiteY61" fmla="*/ 340580 h 399048"/>
                  <a:gd name="connsiteX62" fmla="*/ 0 w 607655"/>
                  <a:gd name="connsiteY62" fmla="*/ 338855 h 399048"/>
                  <a:gd name="connsiteX63" fmla="*/ 48 w 607655"/>
                  <a:gd name="connsiteY63" fmla="*/ 337130 h 399048"/>
                  <a:gd name="connsiteX64" fmla="*/ 575 w 607655"/>
                  <a:gd name="connsiteY64" fmla="*/ 323711 h 399048"/>
                  <a:gd name="connsiteX65" fmla="*/ 1055 w 607655"/>
                  <a:gd name="connsiteY65" fmla="*/ 317289 h 399048"/>
                  <a:gd name="connsiteX66" fmla="*/ 1631 w 607655"/>
                  <a:gd name="connsiteY66" fmla="*/ 311155 h 399048"/>
                  <a:gd name="connsiteX67" fmla="*/ 3021 w 607655"/>
                  <a:gd name="connsiteY67" fmla="*/ 299893 h 399048"/>
                  <a:gd name="connsiteX68" fmla="*/ 3357 w 607655"/>
                  <a:gd name="connsiteY68" fmla="*/ 297353 h 399048"/>
                  <a:gd name="connsiteX69" fmla="*/ 3789 w 607655"/>
                  <a:gd name="connsiteY69" fmla="*/ 294861 h 399048"/>
                  <a:gd name="connsiteX70" fmla="*/ 4556 w 607655"/>
                  <a:gd name="connsiteY70" fmla="*/ 290308 h 399048"/>
                  <a:gd name="connsiteX71" fmla="*/ 5276 w 607655"/>
                  <a:gd name="connsiteY71" fmla="*/ 286282 h 399048"/>
                  <a:gd name="connsiteX72" fmla="*/ 5947 w 607655"/>
                  <a:gd name="connsiteY72" fmla="*/ 283119 h 399048"/>
                  <a:gd name="connsiteX73" fmla="*/ 6475 w 607655"/>
                  <a:gd name="connsiteY73" fmla="*/ 280339 h 399048"/>
                  <a:gd name="connsiteX74" fmla="*/ 10407 w 607655"/>
                  <a:gd name="connsiteY74" fmla="*/ 277943 h 399048"/>
                  <a:gd name="connsiteX75" fmla="*/ 586319 w 607655"/>
                  <a:gd name="connsiteY75" fmla="*/ 266251 h 399048"/>
                  <a:gd name="connsiteX76" fmla="*/ 590156 w 607655"/>
                  <a:gd name="connsiteY76" fmla="*/ 268311 h 399048"/>
                  <a:gd name="connsiteX77" fmla="*/ 591499 w 607655"/>
                  <a:gd name="connsiteY77" fmla="*/ 272431 h 399048"/>
                  <a:gd name="connsiteX78" fmla="*/ 592698 w 607655"/>
                  <a:gd name="connsiteY78" fmla="*/ 276168 h 399048"/>
                  <a:gd name="connsiteX79" fmla="*/ 593945 w 607655"/>
                  <a:gd name="connsiteY79" fmla="*/ 280575 h 399048"/>
                  <a:gd name="connsiteX80" fmla="*/ 595384 w 607655"/>
                  <a:gd name="connsiteY80" fmla="*/ 285557 h 399048"/>
                  <a:gd name="connsiteX81" fmla="*/ 596151 w 607655"/>
                  <a:gd name="connsiteY81" fmla="*/ 288288 h 399048"/>
                  <a:gd name="connsiteX82" fmla="*/ 596822 w 607655"/>
                  <a:gd name="connsiteY82" fmla="*/ 291163 h 399048"/>
                  <a:gd name="connsiteX83" fmla="*/ 599796 w 607655"/>
                  <a:gd name="connsiteY83" fmla="*/ 303858 h 399048"/>
                  <a:gd name="connsiteX84" fmla="*/ 601283 w 607655"/>
                  <a:gd name="connsiteY84" fmla="*/ 310804 h 399048"/>
                  <a:gd name="connsiteX85" fmla="*/ 602577 w 607655"/>
                  <a:gd name="connsiteY85" fmla="*/ 318134 h 399048"/>
                  <a:gd name="connsiteX86" fmla="*/ 604880 w 607655"/>
                  <a:gd name="connsiteY86" fmla="*/ 333560 h 399048"/>
                  <a:gd name="connsiteX87" fmla="*/ 605119 w 607655"/>
                  <a:gd name="connsiteY87" fmla="*/ 335524 h 399048"/>
                  <a:gd name="connsiteX88" fmla="*/ 605359 w 607655"/>
                  <a:gd name="connsiteY88" fmla="*/ 337680 h 399048"/>
                  <a:gd name="connsiteX89" fmla="*/ 605791 w 607655"/>
                  <a:gd name="connsiteY89" fmla="*/ 342039 h 399048"/>
                  <a:gd name="connsiteX90" fmla="*/ 606222 w 607655"/>
                  <a:gd name="connsiteY90" fmla="*/ 346399 h 399048"/>
                  <a:gd name="connsiteX91" fmla="*/ 606414 w 607655"/>
                  <a:gd name="connsiteY91" fmla="*/ 348602 h 399048"/>
                  <a:gd name="connsiteX92" fmla="*/ 606510 w 607655"/>
                  <a:gd name="connsiteY92" fmla="*/ 350279 h 399048"/>
                  <a:gd name="connsiteX93" fmla="*/ 607038 w 607655"/>
                  <a:gd name="connsiteY93" fmla="*/ 356986 h 399048"/>
                  <a:gd name="connsiteX94" fmla="*/ 607182 w 607655"/>
                  <a:gd name="connsiteY94" fmla="*/ 358663 h 399048"/>
                  <a:gd name="connsiteX95" fmla="*/ 607182 w 607655"/>
                  <a:gd name="connsiteY95" fmla="*/ 358854 h 399048"/>
                  <a:gd name="connsiteX96" fmla="*/ 607182 w 607655"/>
                  <a:gd name="connsiteY96" fmla="*/ 358902 h 399048"/>
                  <a:gd name="connsiteX97" fmla="*/ 607230 w 607655"/>
                  <a:gd name="connsiteY97" fmla="*/ 360052 h 399048"/>
                  <a:gd name="connsiteX98" fmla="*/ 607230 w 607655"/>
                  <a:gd name="connsiteY98" fmla="*/ 360148 h 399048"/>
                  <a:gd name="connsiteX99" fmla="*/ 607230 w 607655"/>
                  <a:gd name="connsiteY99" fmla="*/ 360675 h 399048"/>
                  <a:gd name="connsiteX100" fmla="*/ 607277 w 607655"/>
                  <a:gd name="connsiteY100" fmla="*/ 361681 h 399048"/>
                  <a:gd name="connsiteX101" fmla="*/ 607421 w 607655"/>
                  <a:gd name="connsiteY101" fmla="*/ 365657 h 399048"/>
                  <a:gd name="connsiteX102" fmla="*/ 607565 w 607655"/>
                  <a:gd name="connsiteY102" fmla="*/ 369633 h 399048"/>
                  <a:gd name="connsiteX103" fmla="*/ 607613 w 607655"/>
                  <a:gd name="connsiteY103" fmla="*/ 373562 h 399048"/>
                  <a:gd name="connsiteX104" fmla="*/ 607613 w 607655"/>
                  <a:gd name="connsiteY104" fmla="*/ 381323 h 399048"/>
                  <a:gd name="connsiteX105" fmla="*/ 607469 w 607655"/>
                  <a:gd name="connsiteY105" fmla="*/ 388844 h 399048"/>
                  <a:gd name="connsiteX106" fmla="*/ 607134 w 607655"/>
                  <a:gd name="connsiteY106" fmla="*/ 396030 h 399048"/>
                  <a:gd name="connsiteX107" fmla="*/ 604016 w 607655"/>
                  <a:gd name="connsiteY107" fmla="*/ 399048 h 399048"/>
                  <a:gd name="connsiteX108" fmla="*/ 478363 w 607655"/>
                  <a:gd name="connsiteY108" fmla="*/ 399048 h 399048"/>
                  <a:gd name="connsiteX109" fmla="*/ 478603 w 607655"/>
                  <a:gd name="connsiteY109" fmla="*/ 398281 h 399048"/>
                  <a:gd name="connsiteX110" fmla="*/ 478987 w 607655"/>
                  <a:gd name="connsiteY110" fmla="*/ 396892 h 399048"/>
                  <a:gd name="connsiteX111" fmla="*/ 479370 w 607655"/>
                  <a:gd name="connsiteY111" fmla="*/ 395215 h 399048"/>
                  <a:gd name="connsiteX112" fmla="*/ 480186 w 607655"/>
                  <a:gd name="connsiteY112" fmla="*/ 391575 h 399048"/>
                  <a:gd name="connsiteX113" fmla="*/ 481049 w 607655"/>
                  <a:gd name="connsiteY113" fmla="*/ 387550 h 399048"/>
                  <a:gd name="connsiteX114" fmla="*/ 481864 w 607655"/>
                  <a:gd name="connsiteY114" fmla="*/ 383239 h 399048"/>
                  <a:gd name="connsiteX115" fmla="*/ 482631 w 607655"/>
                  <a:gd name="connsiteY115" fmla="*/ 378688 h 399048"/>
                  <a:gd name="connsiteX116" fmla="*/ 483351 w 607655"/>
                  <a:gd name="connsiteY116" fmla="*/ 373849 h 399048"/>
                  <a:gd name="connsiteX117" fmla="*/ 483974 w 607655"/>
                  <a:gd name="connsiteY117" fmla="*/ 368867 h 399048"/>
                  <a:gd name="connsiteX118" fmla="*/ 484262 w 607655"/>
                  <a:gd name="connsiteY118" fmla="*/ 366280 h 399048"/>
                  <a:gd name="connsiteX119" fmla="*/ 484502 w 607655"/>
                  <a:gd name="connsiteY119" fmla="*/ 363693 h 399048"/>
                  <a:gd name="connsiteX120" fmla="*/ 484742 w 607655"/>
                  <a:gd name="connsiteY120" fmla="*/ 361106 h 399048"/>
                  <a:gd name="connsiteX121" fmla="*/ 484790 w 607655"/>
                  <a:gd name="connsiteY121" fmla="*/ 360435 h 399048"/>
                  <a:gd name="connsiteX122" fmla="*/ 484838 w 607655"/>
                  <a:gd name="connsiteY122" fmla="*/ 360100 h 399048"/>
                  <a:gd name="connsiteX123" fmla="*/ 484838 w 607655"/>
                  <a:gd name="connsiteY123" fmla="*/ 360962 h 399048"/>
                  <a:gd name="connsiteX124" fmla="*/ 484886 w 607655"/>
                  <a:gd name="connsiteY124" fmla="*/ 360771 h 399048"/>
                  <a:gd name="connsiteX125" fmla="*/ 484934 w 607655"/>
                  <a:gd name="connsiteY125" fmla="*/ 359094 h 399048"/>
                  <a:gd name="connsiteX126" fmla="*/ 485221 w 607655"/>
                  <a:gd name="connsiteY126" fmla="*/ 352387 h 399048"/>
                  <a:gd name="connsiteX127" fmla="*/ 485317 w 607655"/>
                  <a:gd name="connsiteY127" fmla="*/ 350758 h 399048"/>
                  <a:gd name="connsiteX128" fmla="*/ 485317 w 607655"/>
                  <a:gd name="connsiteY128" fmla="*/ 349608 h 399048"/>
                  <a:gd name="connsiteX129" fmla="*/ 485365 w 607655"/>
                  <a:gd name="connsiteY129" fmla="*/ 347261 h 399048"/>
                  <a:gd name="connsiteX130" fmla="*/ 485461 w 607655"/>
                  <a:gd name="connsiteY130" fmla="*/ 344962 h 399048"/>
                  <a:gd name="connsiteX131" fmla="*/ 485509 w 607655"/>
                  <a:gd name="connsiteY131" fmla="*/ 343812 h 399048"/>
                  <a:gd name="connsiteX132" fmla="*/ 485509 w 607655"/>
                  <a:gd name="connsiteY132" fmla="*/ 342518 h 399048"/>
                  <a:gd name="connsiteX133" fmla="*/ 485269 w 607655"/>
                  <a:gd name="connsiteY133" fmla="*/ 332218 h 399048"/>
                  <a:gd name="connsiteX134" fmla="*/ 485029 w 607655"/>
                  <a:gd name="connsiteY134" fmla="*/ 327284 h 399048"/>
                  <a:gd name="connsiteX135" fmla="*/ 484646 w 607655"/>
                  <a:gd name="connsiteY135" fmla="*/ 322589 h 399048"/>
                  <a:gd name="connsiteX136" fmla="*/ 483735 w 607655"/>
                  <a:gd name="connsiteY136" fmla="*/ 313966 h 399048"/>
                  <a:gd name="connsiteX137" fmla="*/ 483495 w 607655"/>
                  <a:gd name="connsiteY137" fmla="*/ 312002 h 399048"/>
                  <a:gd name="connsiteX138" fmla="*/ 483207 w 607655"/>
                  <a:gd name="connsiteY138" fmla="*/ 310181 h 399048"/>
                  <a:gd name="connsiteX139" fmla="*/ 482679 w 607655"/>
                  <a:gd name="connsiteY139" fmla="*/ 306732 h 399048"/>
                  <a:gd name="connsiteX140" fmla="*/ 482248 w 607655"/>
                  <a:gd name="connsiteY140" fmla="*/ 303714 h 399048"/>
                  <a:gd name="connsiteX141" fmla="*/ 481720 w 607655"/>
                  <a:gd name="connsiteY141" fmla="*/ 301127 h 399048"/>
                  <a:gd name="connsiteX142" fmla="*/ 481337 w 607655"/>
                  <a:gd name="connsiteY142" fmla="*/ 299115 h 399048"/>
                  <a:gd name="connsiteX143" fmla="*/ 483591 w 607655"/>
                  <a:gd name="connsiteY143" fmla="*/ 295522 h 399048"/>
                  <a:gd name="connsiteX144" fmla="*/ 93138 w 607655"/>
                  <a:gd name="connsiteY144" fmla="*/ 125793 h 399048"/>
                  <a:gd name="connsiteX145" fmla="*/ 97743 w 607655"/>
                  <a:gd name="connsiteY145" fmla="*/ 126033 h 399048"/>
                  <a:gd name="connsiteX146" fmla="*/ 125184 w 607655"/>
                  <a:gd name="connsiteY146" fmla="*/ 158170 h 399048"/>
                  <a:gd name="connsiteX147" fmla="*/ 124704 w 607655"/>
                  <a:gd name="connsiteY147" fmla="*/ 162720 h 399048"/>
                  <a:gd name="connsiteX148" fmla="*/ 122449 w 607655"/>
                  <a:gd name="connsiteY148" fmla="*/ 164396 h 399048"/>
                  <a:gd name="connsiteX149" fmla="*/ 121202 w 607655"/>
                  <a:gd name="connsiteY149" fmla="*/ 165354 h 399048"/>
                  <a:gd name="connsiteX150" fmla="*/ 119907 w 607655"/>
                  <a:gd name="connsiteY150" fmla="*/ 166312 h 399048"/>
                  <a:gd name="connsiteX151" fmla="*/ 117316 w 607655"/>
                  <a:gd name="connsiteY151" fmla="*/ 168371 h 399048"/>
                  <a:gd name="connsiteX152" fmla="*/ 114342 w 607655"/>
                  <a:gd name="connsiteY152" fmla="*/ 170718 h 399048"/>
                  <a:gd name="connsiteX153" fmla="*/ 110984 w 607655"/>
                  <a:gd name="connsiteY153" fmla="*/ 173592 h 399048"/>
                  <a:gd name="connsiteX154" fmla="*/ 107386 w 607655"/>
                  <a:gd name="connsiteY154" fmla="*/ 176705 h 399048"/>
                  <a:gd name="connsiteX155" fmla="*/ 103548 w 607655"/>
                  <a:gd name="connsiteY155" fmla="*/ 180201 h 399048"/>
                  <a:gd name="connsiteX156" fmla="*/ 99614 w 607655"/>
                  <a:gd name="connsiteY156" fmla="*/ 183937 h 399048"/>
                  <a:gd name="connsiteX157" fmla="*/ 95537 w 607655"/>
                  <a:gd name="connsiteY157" fmla="*/ 187912 h 399048"/>
                  <a:gd name="connsiteX158" fmla="*/ 91411 w 607655"/>
                  <a:gd name="connsiteY158" fmla="*/ 192175 h 399048"/>
                  <a:gd name="connsiteX159" fmla="*/ 89396 w 607655"/>
                  <a:gd name="connsiteY159" fmla="*/ 194330 h 399048"/>
                  <a:gd name="connsiteX160" fmla="*/ 87333 w 607655"/>
                  <a:gd name="connsiteY160" fmla="*/ 196629 h 399048"/>
                  <a:gd name="connsiteX161" fmla="*/ 85270 w 607655"/>
                  <a:gd name="connsiteY161" fmla="*/ 198880 h 399048"/>
                  <a:gd name="connsiteX162" fmla="*/ 83256 w 607655"/>
                  <a:gd name="connsiteY162" fmla="*/ 201227 h 399048"/>
                  <a:gd name="connsiteX163" fmla="*/ 79226 w 607655"/>
                  <a:gd name="connsiteY163" fmla="*/ 205968 h 399048"/>
                  <a:gd name="connsiteX164" fmla="*/ 75340 w 607655"/>
                  <a:gd name="connsiteY164" fmla="*/ 210854 h 399048"/>
                  <a:gd name="connsiteX165" fmla="*/ 74381 w 607655"/>
                  <a:gd name="connsiteY165" fmla="*/ 212051 h 399048"/>
                  <a:gd name="connsiteX166" fmla="*/ 73469 w 607655"/>
                  <a:gd name="connsiteY166" fmla="*/ 213296 h 399048"/>
                  <a:gd name="connsiteX167" fmla="*/ 71598 w 607655"/>
                  <a:gd name="connsiteY167" fmla="*/ 215787 h 399048"/>
                  <a:gd name="connsiteX168" fmla="*/ 64642 w 607655"/>
                  <a:gd name="connsiteY168" fmla="*/ 225605 h 399048"/>
                  <a:gd name="connsiteX169" fmla="*/ 61476 w 607655"/>
                  <a:gd name="connsiteY169" fmla="*/ 230490 h 399048"/>
                  <a:gd name="connsiteX170" fmla="*/ 59941 w 607655"/>
                  <a:gd name="connsiteY170" fmla="*/ 232837 h 399048"/>
                  <a:gd name="connsiteX171" fmla="*/ 58550 w 607655"/>
                  <a:gd name="connsiteY171" fmla="*/ 235184 h 399048"/>
                  <a:gd name="connsiteX172" fmla="*/ 55815 w 607655"/>
                  <a:gd name="connsiteY172" fmla="*/ 239686 h 399048"/>
                  <a:gd name="connsiteX173" fmla="*/ 53417 w 607655"/>
                  <a:gd name="connsiteY173" fmla="*/ 243948 h 399048"/>
                  <a:gd name="connsiteX174" fmla="*/ 51210 w 607655"/>
                  <a:gd name="connsiteY174" fmla="*/ 247924 h 399048"/>
                  <a:gd name="connsiteX175" fmla="*/ 49339 w 607655"/>
                  <a:gd name="connsiteY175" fmla="*/ 251516 h 399048"/>
                  <a:gd name="connsiteX176" fmla="*/ 47660 w 607655"/>
                  <a:gd name="connsiteY176" fmla="*/ 254725 h 399048"/>
                  <a:gd name="connsiteX177" fmla="*/ 46365 w 607655"/>
                  <a:gd name="connsiteY177" fmla="*/ 257503 h 399048"/>
                  <a:gd name="connsiteX178" fmla="*/ 45069 w 607655"/>
                  <a:gd name="connsiteY178" fmla="*/ 260089 h 399048"/>
                  <a:gd name="connsiteX179" fmla="*/ 41136 w 607655"/>
                  <a:gd name="connsiteY179" fmla="*/ 261669 h 399048"/>
                  <a:gd name="connsiteX180" fmla="*/ 17006 w 607655"/>
                  <a:gd name="connsiteY180" fmla="*/ 252426 h 399048"/>
                  <a:gd name="connsiteX181" fmla="*/ 15135 w 607655"/>
                  <a:gd name="connsiteY181" fmla="*/ 248498 h 399048"/>
                  <a:gd name="connsiteX182" fmla="*/ 16238 w 607655"/>
                  <a:gd name="connsiteY182" fmla="*/ 245194 h 399048"/>
                  <a:gd name="connsiteX183" fmla="*/ 17341 w 607655"/>
                  <a:gd name="connsiteY183" fmla="*/ 241985 h 399048"/>
                  <a:gd name="connsiteX184" fmla="*/ 18780 w 607655"/>
                  <a:gd name="connsiteY184" fmla="*/ 238153 h 399048"/>
                  <a:gd name="connsiteX185" fmla="*/ 20412 w 607655"/>
                  <a:gd name="connsiteY185" fmla="*/ 233843 h 399048"/>
                  <a:gd name="connsiteX186" fmla="*/ 22330 w 607655"/>
                  <a:gd name="connsiteY186" fmla="*/ 229149 h 399048"/>
                  <a:gd name="connsiteX187" fmla="*/ 24441 w 607655"/>
                  <a:gd name="connsiteY187" fmla="*/ 223977 h 399048"/>
                  <a:gd name="connsiteX188" fmla="*/ 26888 w 607655"/>
                  <a:gd name="connsiteY188" fmla="*/ 218565 h 399048"/>
                  <a:gd name="connsiteX189" fmla="*/ 28183 w 607655"/>
                  <a:gd name="connsiteY189" fmla="*/ 215739 h 399048"/>
                  <a:gd name="connsiteX190" fmla="*/ 29574 w 607655"/>
                  <a:gd name="connsiteY190" fmla="*/ 212865 h 399048"/>
                  <a:gd name="connsiteX191" fmla="*/ 32453 w 607655"/>
                  <a:gd name="connsiteY191" fmla="*/ 206926 h 399048"/>
                  <a:gd name="connsiteX192" fmla="*/ 39025 w 607655"/>
                  <a:gd name="connsiteY192" fmla="*/ 194809 h 399048"/>
                  <a:gd name="connsiteX193" fmla="*/ 40800 w 607655"/>
                  <a:gd name="connsiteY193" fmla="*/ 191744 h 399048"/>
                  <a:gd name="connsiteX194" fmla="*/ 41663 w 607655"/>
                  <a:gd name="connsiteY194" fmla="*/ 190163 h 399048"/>
                  <a:gd name="connsiteX195" fmla="*/ 42623 w 607655"/>
                  <a:gd name="connsiteY195" fmla="*/ 188631 h 399048"/>
                  <a:gd name="connsiteX196" fmla="*/ 46365 w 607655"/>
                  <a:gd name="connsiteY196" fmla="*/ 182548 h 399048"/>
                  <a:gd name="connsiteX197" fmla="*/ 50346 w 607655"/>
                  <a:gd name="connsiteY197" fmla="*/ 176513 h 399048"/>
                  <a:gd name="connsiteX198" fmla="*/ 52313 w 607655"/>
                  <a:gd name="connsiteY198" fmla="*/ 173544 h 399048"/>
                  <a:gd name="connsiteX199" fmla="*/ 54376 w 607655"/>
                  <a:gd name="connsiteY199" fmla="*/ 170622 h 399048"/>
                  <a:gd name="connsiteX200" fmla="*/ 56439 w 607655"/>
                  <a:gd name="connsiteY200" fmla="*/ 167749 h 399048"/>
                  <a:gd name="connsiteX201" fmla="*/ 58502 w 607655"/>
                  <a:gd name="connsiteY201" fmla="*/ 164875 h 399048"/>
                  <a:gd name="connsiteX202" fmla="*/ 62675 w 607655"/>
                  <a:gd name="connsiteY202" fmla="*/ 159415 h 399048"/>
                  <a:gd name="connsiteX203" fmla="*/ 66801 w 607655"/>
                  <a:gd name="connsiteY203" fmla="*/ 154195 h 399048"/>
                  <a:gd name="connsiteX204" fmla="*/ 70879 w 607655"/>
                  <a:gd name="connsiteY204" fmla="*/ 149261 h 399048"/>
                  <a:gd name="connsiteX205" fmla="*/ 74860 w 607655"/>
                  <a:gd name="connsiteY205" fmla="*/ 144664 h 399048"/>
                  <a:gd name="connsiteX206" fmla="*/ 78698 w 607655"/>
                  <a:gd name="connsiteY206" fmla="*/ 140497 h 399048"/>
                  <a:gd name="connsiteX207" fmla="*/ 82248 w 607655"/>
                  <a:gd name="connsiteY207" fmla="*/ 136617 h 399048"/>
                  <a:gd name="connsiteX208" fmla="*/ 85702 w 607655"/>
                  <a:gd name="connsiteY208" fmla="*/ 133121 h 399048"/>
                  <a:gd name="connsiteX209" fmla="*/ 88724 w 607655"/>
                  <a:gd name="connsiteY209" fmla="*/ 130056 h 399048"/>
                  <a:gd name="connsiteX210" fmla="*/ 90020 w 607655"/>
                  <a:gd name="connsiteY210" fmla="*/ 128811 h 399048"/>
                  <a:gd name="connsiteX211" fmla="*/ 91123 w 607655"/>
                  <a:gd name="connsiteY211" fmla="*/ 127757 h 399048"/>
                  <a:gd name="connsiteX212" fmla="*/ 93138 w 607655"/>
                  <a:gd name="connsiteY212" fmla="*/ 125793 h 399048"/>
                  <a:gd name="connsiteX213" fmla="*/ 476526 w 607655"/>
                  <a:gd name="connsiteY213" fmla="*/ 108336 h 399048"/>
                  <a:gd name="connsiteX214" fmla="*/ 479836 w 607655"/>
                  <a:gd name="connsiteY214" fmla="*/ 110875 h 399048"/>
                  <a:gd name="connsiteX215" fmla="*/ 482858 w 607655"/>
                  <a:gd name="connsiteY215" fmla="*/ 113223 h 399048"/>
                  <a:gd name="connsiteX216" fmla="*/ 486312 w 607655"/>
                  <a:gd name="connsiteY216" fmla="*/ 116049 h 399048"/>
                  <a:gd name="connsiteX217" fmla="*/ 490246 w 607655"/>
                  <a:gd name="connsiteY217" fmla="*/ 119307 h 399048"/>
                  <a:gd name="connsiteX218" fmla="*/ 494516 w 607655"/>
                  <a:gd name="connsiteY218" fmla="*/ 122996 h 399048"/>
                  <a:gd name="connsiteX219" fmla="*/ 499121 w 607655"/>
                  <a:gd name="connsiteY219" fmla="*/ 127116 h 399048"/>
                  <a:gd name="connsiteX220" fmla="*/ 503919 w 607655"/>
                  <a:gd name="connsiteY220" fmla="*/ 131571 h 399048"/>
                  <a:gd name="connsiteX221" fmla="*/ 508908 w 607655"/>
                  <a:gd name="connsiteY221" fmla="*/ 136458 h 399048"/>
                  <a:gd name="connsiteX222" fmla="*/ 513993 w 607655"/>
                  <a:gd name="connsiteY222" fmla="*/ 141632 h 399048"/>
                  <a:gd name="connsiteX223" fmla="*/ 519174 w 607655"/>
                  <a:gd name="connsiteY223" fmla="*/ 147093 h 399048"/>
                  <a:gd name="connsiteX224" fmla="*/ 521765 w 607655"/>
                  <a:gd name="connsiteY224" fmla="*/ 149920 h 399048"/>
                  <a:gd name="connsiteX225" fmla="*/ 524307 w 607655"/>
                  <a:gd name="connsiteY225" fmla="*/ 152842 h 399048"/>
                  <a:gd name="connsiteX226" fmla="*/ 526898 w 607655"/>
                  <a:gd name="connsiteY226" fmla="*/ 155812 h 399048"/>
                  <a:gd name="connsiteX227" fmla="*/ 529441 w 607655"/>
                  <a:gd name="connsiteY227" fmla="*/ 158830 h 399048"/>
                  <a:gd name="connsiteX228" fmla="*/ 534430 w 607655"/>
                  <a:gd name="connsiteY228" fmla="*/ 164915 h 399048"/>
                  <a:gd name="connsiteX229" fmla="*/ 539275 w 607655"/>
                  <a:gd name="connsiteY229" fmla="*/ 171191 h 399048"/>
                  <a:gd name="connsiteX230" fmla="*/ 540522 w 607655"/>
                  <a:gd name="connsiteY230" fmla="*/ 172771 h 399048"/>
                  <a:gd name="connsiteX231" fmla="*/ 541674 w 607655"/>
                  <a:gd name="connsiteY231" fmla="*/ 174352 h 399048"/>
                  <a:gd name="connsiteX232" fmla="*/ 543977 w 607655"/>
                  <a:gd name="connsiteY232" fmla="*/ 177562 h 399048"/>
                  <a:gd name="connsiteX233" fmla="*/ 552660 w 607655"/>
                  <a:gd name="connsiteY233" fmla="*/ 190162 h 399048"/>
                  <a:gd name="connsiteX234" fmla="*/ 556546 w 607655"/>
                  <a:gd name="connsiteY234" fmla="*/ 196342 h 399048"/>
                  <a:gd name="connsiteX235" fmla="*/ 558465 w 607655"/>
                  <a:gd name="connsiteY235" fmla="*/ 199360 h 399048"/>
                  <a:gd name="connsiteX236" fmla="*/ 560192 w 607655"/>
                  <a:gd name="connsiteY236" fmla="*/ 202378 h 399048"/>
                  <a:gd name="connsiteX237" fmla="*/ 563550 w 607655"/>
                  <a:gd name="connsiteY237" fmla="*/ 208127 h 399048"/>
                  <a:gd name="connsiteX238" fmla="*/ 566572 w 607655"/>
                  <a:gd name="connsiteY238" fmla="*/ 213589 h 399048"/>
                  <a:gd name="connsiteX239" fmla="*/ 567963 w 607655"/>
                  <a:gd name="connsiteY239" fmla="*/ 216176 h 399048"/>
                  <a:gd name="connsiteX240" fmla="*/ 569307 w 607655"/>
                  <a:gd name="connsiteY240" fmla="*/ 218715 h 399048"/>
                  <a:gd name="connsiteX241" fmla="*/ 571801 w 607655"/>
                  <a:gd name="connsiteY241" fmla="*/ 223697 h 399048"/>
                  <a:gd name="connsiteX242" fmla="*/ 573960 w 607655"/>
                  <a:gd name="connsiteY242" fmla="*/ 228104 h 399048"/>
                  <a:gd name="connsiteX243" fmla="*/ 575399 w 607655"/>
                  <a:gd name="connsiteY243" fmla="*/ 231123 h 399048"/>
                  <a:gd name="connsiteX244" fmla="*/ 576599 w 607655"/>
                  <a:gd name="connsiteY244" fmla="*/ 233662 h 399048"/>
                  <a:gd name="connsiteX245" fmla="*/ 574919 w 607655"/>
                  <a:gd name="connsiteY245" fmla="*/ 237925 h 399048"/>
                  <a:gd name="connsiteX246" fmla="*/ 479308 w 607655"/>
                  <a:gd name="connsiteY246" fmla="*/ 276299 h 399048"/>
                  <a:gd name="connsiteX247" fmla="*/ 475135 w 607655"/>
                  <a:gd name="connsiteY247" fmla="*/ 274383 h 399048"/>
                  <a:gd name="connsiteX248" fmla="*/ 474271 w 607655"/>
                  <a:gd name="connsiteY248" fmla="*/ 271700 h 399048"/>
                  <a:gd name="connsiteX249" fmla="*/ 473264 w 607655"/>
                  <a:gd name="connsiteY249" fmla="*/ 268682 h 399048"/>
                  <a:gd name="connsiteX250" fmla="*/ 472352 w 607655"/>
                  <a:gd name="connsiteY250" fmla="*/ 266143 h 399048"/>
                  <a:gd name="connsiteX251" fmla="*/ 471345 w 607655"/>
                  <a:gd name="connsiteY251" fmla="*/ 263173 h 399048"/>
                  <a:gd name="connsiteX252" fmla="*/ 470673 w 607655"/>
                  <a:gd name="connsiteY252" fmla="*/ 261448 h 399048"/>
                  <a:gd name="connsiteX253" fmla="*/ 469953 w 607655"/>
                  <a:gd name="connsiteY253" fmla="*/ 259628 h 399048"/>
                  <a:gd name="connsiteX254" fmla="*/ 468418 w 607655"/>
                  <a:gd name="connsiteY254" fmla="*/ 255651 h 399048"/>
                  <a:gd name="connsiteX255" fmla="*/ 466595 w 607655"/>
                  <a:gd name="connsiteY255" fmla="*/ 251483 h 399048"/>
                  <a:gd name="connsiteX256" fmla="*/ 465684 w 607655"/>
                  <a:gd name="connsiteY256" fmla="*/ 249280 h 399048"/>
                  <a:gd name="connsiteX257" fmla="*/ 464628 w 607655"/>
                  <a:gd name="connsiteY257" fmla="*/ 247076 h 399048"/>
                  <a:gd name="connsiteX258" fmla="*/ 462517 w 607655"/>
                  <a:gd name="connsiteY258" fmla="*/ 242477 h 399048"/>
                  <a:gd name="connsiteX259" fmla="*/ 457624 w 607655"/>
                  <a:gd name="connsiteY259" fmla="*/ 233135 h 399048"/>
                  <a:gd name="connsiteX260" fmla="*/ 456329 w 607655"/>
                  <a:gd name="connsiteY260" fmla="*/ 230739 h 399048"/>
                  <a:gd name="connsiteX261" fmla="*/ 455657 w 607655"/>
                  <a:gd name="connsiteY261" fmla="*/ 229542 h 399048"/>
                  <a:gd name="connsiteX262" fmla="*/ 454986 w 607655"/>
                  <a:gd name="connsiteY262" fmla="*/ 228392 h 399048"/>
                  <a:gd name="connsiteX263" fmla="*/ 452155 w 607655"/>
                  <a:gd name="connsiteY263" fmla="*/ 223649 h 399048"/>
                  <a:gd name="connsiteX264" fmla="*/ 449229 w 607655"/>
                  <a:gd name="connsiteY264" fmla="*/ 219002 h 399048"/>
                  <a:gd name="connsiteX265" fmla="*/ 447742 w 607655"/>
                  <a:gd name="connsiteY265" fmla="*/ 216703 h 399048"/>
                  <a:gd name="connsiteX266" fmla="*/ 446206 w 607655"/>
                  <a:gd name="connsiteY266" fmla="*/ 214451 h 399048"/>
                  <a:gd name="connsiteX267" fmla="*/ 444719 w 607655"/>
                  <a:gd name="connsiteY267" fmla="*/ 212199 h 399048"/>
                  <a:gd name="connsiteX268" fmla="*/ 443136 w 607655"/>
                  <a:gd name="connsiteY268" fmla="*/ 209995 h 399048"/>
                  <a:gd name="connsiteX269" fmla="*/ 440066 w 607655"/>
                  <a:gd name="connsiteY269" fmla="*/ 205732 h 399048"/>
                  <a:gd name="connsiteX270" fmla="*/ 436948 w 607655"/>
                  <a:gd name="connsiteY270" fmla="*/ 201708 h 399048"/>
                  <a:gd name="connsiteX271" fmla="*/ 433877 w 607655"/>
                  <a:gd name="connsiteY271" fmla="*/ 197923 h 399048"/>
                  <a:gd name="connsiteX272" fmla="*/ 430903 w 607655"/>
                  <a:gd name="connsiteY272" fmla="*/ 194330 h 399048"/>
                  <a:gd name="connsiteX273" fmla="*/ 428072 w 607655"/>
                  <a:gd name="connsiteY273" fmla="*/ 191072 h 399048"/>
                  <a:gd name="connsiteX274" fmla="*/ 425386 w 607655"/>
                  <a:gd name="connsiteY274" fmla="*/ 188102 h 399048"/>
                  <a:gd name="connsiteX275" fmla="*/ 422939 w 607655"/>
                  <a:gd name="connsiteY275" fmla="*/ 185515 h 399048"/>
                  <a:gd name="connsiteX276" fmla="*/ 420733 w 607655"/>
                  <a:gd name="connsiteY276" fmla="*/ 183215 h 399048"/>
                  <a:gd name="connsiteX277" fmla="*/ 418862 w 607655"/>
                  <a:gd name="connsiteY277" fmla="*/ 181299 h 399048"/>
                  <a:gd name="connsiteX278" fmla="*/ 417230 w 607655"/>
                  <a:gd name="connsiteY278" fmla="*/ 179718 h 399048"/>
                  <a:gd name="connsiteX279" fmla="*/ 417039 w 607655"/>
                  <a:gd name="connsiteY279" fmla="*/ 175502 h 399048"/>
                  <a:gd name="connsiteX280" fmla="*/ 472160 w 607655"/>
                  <a:gd name="connsiteY280" fmla="*/ 108815 h 399048"/>
                  <a:gd name="connsiteX281" fmla="*/ 476526 w 607655"/>
                  <a:gd name="connsiteY281" fmla="*/ 108336 h 399048"/>
                  <a:gd name="connsiteX282" fmla="*/ 400772 w 607655"/>
                  <a:gd name="connsiteY282" fmla="*/ 66120 h 399048"/>
                  <a:gd name="connsiteX283" fmla="*/ 402547 w 607655"/>
                  <a:gd name="connsiteY283" fmla="*/ 66790 h 399048"/>
                  <a:gd name="connsiteX284" fmla="*/ 409169 w 607655"/>
                  <a:gd name="connsiteY284" fmla="*/ 69471 h 399048"/>
                  <a:gd name="connsiteX285" fmla="*/ 415503 w 607655"/>
                  <a:gd name="connsiteY285" fmla="*/ 72200 h 399048"/>
                  <a:gd name="connsiteX286" fmla="*/ 421453 w 607655"/>
                  <a:gd name="connsiteY286" fmla="*/ 74929 h 399048"/>
                  <a:gd name="connsiteX287" fmla="*/ 426923 w 607655"/>
                  <a:gd name="connsiteY287" fmla="*/ 77610 h 399048"/>
                  <a:gd name="connsiteX288" fmla="*/ 431962 w 607655"/>
                  <a:gd name="connsiteY288" fmla="*/ 80100 h 399048"/>
                  <a:gd name="connsiteX289" fmla="*/ 436712 w 607655"/>
                  <a:gd name="connsiteY289" fmla="*/ 82733 h 399048"/>
                  <a:gd name="connsiteX290" fmla="*/ 440887 w 607655"/>
                  <a:gd name="connsiteY290" fmla="*/ 85031 h 399048"/>
                  <a:gd name="connsiteX291" fmla="*/ 442518 w 607655"/>
                  <a:gd name="connsiteY291" fmla="*/ 85941 h 399048"/>
                  <a:gd name="connsiteX292" fmla="*/ 443862 w 607655"/>
                  <a:gd name="connsiteY292" fmla="*/ 86707 h 399048"/>
                  <a:gd name="connsiteX293" fmla="*/ 446309 w 607655"/>
                  <a:gd name="connsiteY293" fmla="*/ 88095 h 399048"/>
                  <a:gd name="connsiteX294" fmla="*/ 447364 w 607655"/>
                  <a:gd name="connsiteY294" fmla="*/ 92548 h 399048"/>
                  <a:gd name="connsiteX295" fmla="*/ 401923 w 607655"/>
                  <a:gd name="connsiteY295" fmla="*/ 161633 h 399048"/>
                  <a:gd name="connsiteX296" fmla="*/ 397365 w 607655"/>
                  <a:gd name="connsiteY296" fmla="*/ 162399 h 399048"/>
                  <a:gd name="connsiteX297" fmla="*/ 395110 w 607655"/>
                  <a:gd name="connsiteY297" fmla="*/ 160723 h 399048"/>
                  <a:gd name="connsiteX298" fmla="*/ 393862 w 607655"/>
                  <a:gd name="connsiteY298" fmla="*/ 159814 h 399048"/>
                  <a:gd name="connsiteX299" fmla="*/ 392614 w 607655"/>
                  <a:gd name="connsiteY299" fmla="*/ 158904 h 399048"/>
                  <a:gd name="connsiteX300" fmla="*/ 390311 w 607655"/>
                  <a:gd name="connsiteY300" fmla="*/ 157228 h 399048"/>
                  <a:gd name="connsiteX301" fmla="*/ 387624 w 607655"/>
                  <a:gd name="connsiteY301" fmla="*/ 155265 h 399048"/>
                  <a:gd name="connsiteX302" fmla="*/ 384265 w 607655"/>
                  <a:gd name="connsiteY302" fmla="*/ 153063 h 399048"/>
                  <a:gd name="connsiteX303" fmla="*/ 381194 w 607655"/>
                  <a:gd name="connsiteY303" fmla="*/ 151004 h 399048"/>
                  <a:gd name="connsiteX304" fmla="*/ 259999 w 607655"/>
                  <a:gd name="connsiteY304" fmla="*/ 48013 h 399048"/>
                  <a:gd name="connsiteX305" fmla="*/ 263502 w 607655"/>
                  <a:gd name="connsiteY305" fmla="*/ 50935 h 399048"/>
                  <a:gd name="connsiteX306" fmla="*/ 267581 w 607655"/>
                  <a:gd name="connsiteY306" fmla="*/ 113266 h 399048"/>
                  <a:gd name="connsiteX307" fmla="*/ 264462 w 607655"/>
                  <a:gd name="connsiteY307" fmla="*/ 116620 h 399048"/>
                  <a:gd name="connsiteX308" fmla="*/ 261678 w 607655"/>
                  <a:gd name="connsiteY308" fmla="*/ 116620 h 399048"/>
                  <a:gd name="connsiteX309" fmla="*/ 258463 w 607655"/>
                  <a:gd name="connsiteY309" fmla="*/ 116668 h 399048"/>
                  <a:gd name="connsiteX310" fmla="*/ 255392 w 607655"/>
                  <a:gd name="connsiteY310" fmla="*/ 116763 h 399048"/>
                  <a:gd name="connsiteX311" fmla="*/ 251888 w 607655"/>
                  <a:gd name="connsiteY311" fmla="*/ 116859 h 399048"/>
                  <a:gd name="connsiteX312" fmla="*/ 249873 w 607655"/>
                  <a:gd name="connsiteY312" fmla="*/ 116955 h 399048"/>
                  <a:gd name="connsiteX313" fmla="*/ 247713 w 607655"/>
                  <a:gd name="connsiteY313" fmla="*/ 117099 h 399048"/>
                  <a:gd name="connsiteX314" fmla="*/ 243154 w 607655"/>
                  <a:gd name="connsiteY314" fmla="*/ 117434 h 399048"/>
                  <a:gd name="connsiteX315" fmla="*/ 238259 w 607655"/>
                  <a:gd name="connsiteY315" fmla="*/ 117913 h 399048"/>
                  <a:gd name="connsiteX316" fmla="*/ 235715 w 607655"/>
                  <a:gd name="connsiteY316" fmla="*/ 118153 h 399048"/>
                  <a:gd name="connsiteX317" fmla="*/ 233124 w 607655"/>
                  <a:gd name="connsiteY317" fmla="*/ 118536 h 399048"/>
                  <a:gd name="connsiteX318" fmla="*/ 227749 w 607655"/>
                  <a:gd name="connsiteY318" fmla="*/ 119255 h 399048"/>
                  <a:gd name="connsiteX319" fmla="*/ 222230 w 607655"/>
                  <a:gd name="connsiteY319" fmla="*/ 120213 h 399048"/>
                  <a:gd name="connsiteX320" fmla="*/ 219398 w 607655"/>
                  <a:gd name="connsiteY320" fmla="*/ 120740 h 399048"/>
                  <a:gd name="connsiteX321" fmla="*/ 216567 w 607655"/>
                  <a:gd name="connsiteY321" fmla="*/ 121315 h 399048"/>
                  <a:gd name="connsiteX322" fmla="*/ 213688 w 607655"/>
                  <a:gd name="connsiteY322" fmla="*/ 121938 h 399048"/>
                  <a:gd name="connsiteX323" fmla="*/ 210808 w 607655"/>
                  <a:gd name="connsiteY323" fmla="*/ 122561 h 399048"/>
                  <a:gd name="connsiteX324" fmla="*/ 205049 w 607655"/>
                  <a:gd name="connsiteY324" fmla="*/ 123998 h 399048"/>
                  <a:gd name="connsiteX325" fmla="*/ 199338 w 607655"/>
                  <a:gd name="connsiteY325" fmla="*/ 125579 h 399048"/>
                  <a:gd name="connsiteX326" fmla="*/ 196507 w 607655"/>
                  <a:gd name="connsiteY326" fmla="*/ 126393 h 399048"/>
                  <a:gd name="connsiteX327" fmla="*/ 193723 w 607655"/>
                  <a:gd name="connsiteY327" fmla="*/ 127304 h 399048"/>
                  <a:gd name="connsiteX328" fmla="*/ 190940 w 607655"/>
                  <a:gd name="connsiteY328" fmla="*/ 128214 h 399048"/>
                  <a:gd name="connsiteX329" fmla="*/ 188156 w 607655"/>
                  <a:gd name="connsiteY329" fmla="*/ 129124 h 399048"/>
                  <a:gd name="connsiteX330" fmla="*/ 182829 w 607655"/>
                  <a:gd name="connsiteY330" fmla="*/ 131041 h 399048"/>
                  <a:gd name="connsiteX331" fmla="*/ 177694 w 607655"/>
                  <a:gd name="connsiteY331" fmla="*/ 133053 h 399048"/>
                  <a:gd name="connsiteX332" fmla="*/ 172799 w 607655"/>
                  <a:gd name="connsiteY332" fmla="*/ 135113 h 399048"/>
                  <a:gd name="connsiteX333" fmla="*/ 168192 w 607655"/>
                  <a:gd name="connsiteY333" fmla="*/ 137125 h 399048"/>
                  <a:gd name="connsiteX334" fmla="*/ 163921 w 607655"/>
                  <a:gd name="connsiteY334" fmla="*/ 139090 h 399048"/>
                  <a:gd name="connsiteX335" fmla="*/ 160034 w 607655"/>
                  <a:gd name="connsiteY335" fmla="*/ 140958 h 399048"/>
                  <a:gd name="connsiteX336" fmla="*/ 156578 w 607655"/>
                  <a:gd name="connsiteY336" fmla="*/ 142779 h 399048"/>
                  <a:gd name="connsiteX337" fmla="*/ 153507 w 607655"/>
                  <a:gd name="connsiteY337" fmla="*/ 144360 h 399048"/>
                  <a:gd name="connsiteX338" fmla="*/ 150963 w 607655"/>
                  <a:gd name="connsiteY338" fmla="*/ 145797 h 399048"/>
                  <a:gd name="connsiteX339" fmla="*/ 148612 w 607655"/>
                  <a:gd name="connsiteY339" fmla="*/ 147091 h 399048"/>
                  <a:gd name="connsiteX340" fmla="*/ 144485 w 607655"/>
                  <a:gd name="connsiteY340" fmla="*/ 146132 h 399048"/>
                  <a:gd name="connsiteX341" fmla="*/ 118522 w 607655"/>
                  <a:gd name="connsiteY341" fmla="*/ 108092 h 399048"/>
                  <a:gd name="connsiteX342" fmla="*/ 119290 w 607655"/>
                  <a:gd name="connsiteY342" fmla="*/ 103780 h 399048"/>
                  <a:gd name="connsiteX343" fmla="*/ 122265 w 607655"/>
                  <a:gd name="connsiteY343" fmla="*/ 101576 h 399048"/>
                  <a:gd name="connsiteX344" fmla="*/ 125144 w 607655"/>
                  <a:gd name="connsiteY344" fmla="*/ 99468 h 399048"/>
                  <a:gd name="connsiteX345" fmla="*/ 128648 w 607655"/>
                  <a:gd name="connsiteY345" fmla="*/ 97072 h 399048"/>
                  <a:gd name="connsiteX346" fmla="*/ 132583 w 607655"/>
                  <a:gd name="connsiteY346" fmla="*/ 94389 h 399048"/>
                  <a:gd name="connsiteX347" fmla="*/ 137046 w 607655"/>
                  <a:gd name="connsiteY347" fmla="*/ 91515 h 399048"/>
                  <a:gd name="connsiteX348" fmla="*/ 141989 w 607655"/>
                  <a:gd name="connsiteY348" fmla="*/ 88449 h 399048"/>
                  <a:gd name="connsiteX349" fmla="*/ 147316 w 607655"/>
                  <a:gd name="connsiteY349" fmla="*/ 85287 h 399048"/>
                  <a:gd name="connsiteX350" fmla="*/ 153027 w 607655"/>
                  <a:gd name="connsiteY350" fmla="*/ 82029 h 399048"/>
                  <a:gd name="connsiteX351" fmla="*/ 159074 w 607655"/>
                  <a:gd name="connsiteY351" fmla="*/ 78819 h 399048"/>
                  <a:gd name="connsiteX352" fmla="*/ 165409 w 607655"/>
                  <a:gd name="connsiteY352" fmla="*/ 75609 h 399048"/>
                  <a:gd name="connsiteX353" fmla="*/ 168672 w 607655"/>
                  <a:gd name="connsiteY353" fmla="*/ 74028 h 399048"/>
                  <a:gd name="connsiteX354" fmla="*/ 172031 w 607655"/>
                  <a:gd name="connsiteY354" fmla="*/ 72495 h 399048"/>
                  <a:gd name="connsiteX355" fmla="*/ 175391 w 607655"/>
                  <a:gd name="connsiteY355" fmla="*/ 70961 h 399048"/>
                  <a:gd name="connsiteX356" fmla="*/ 178798 w 607655"/>
                  <a:gd name="connsiteY356" fmla="*/ 69476 h 399048"/>
                  <a:gd name="connsiteX357" fmla="*/ 185709 w 607655"/>
                  <a:gd name="connsiteY357" fmla="*/ 66602 h 399048"/>
                  <a:gd name="connsiteX358" fmla="*/ 192715 w 607655"/>
                  <a:gd name="connsiteY358" fmla="*/ 63919 h 399048"/>
                  <a:gd name="connsiteX359" fmla="*/ 196267 w 607655"/>
                  <a:gd name="connsiteY359" fmla="*/ 62673 h 399048"/>
                  <a:gd name="connsiteX360" fmla="*/ 199770 w 607655"/>
                  <a:gd name="connsiteY360" fmla="*/ 61475 h 399048"/>
                  <a:gd name="connsiteX361" fmla="*/ 203273 w 607655"/>
                  <a:gd name="connsiteY361" fmla="*/ 60278 h 399048"/>
                  <a:gd name="connsiteX362" fmla="*/ 206777 w 607655"/>
                  <a:gd name="connsiteY362" fmla="*/ 59224 h 399048"/>
                  <a:gd name="connsiteX363" fmla="*/ 213640 w 607655"/>
                  <a:gd name="connsiteY363" fmla="*/ 57115 h 399048"/>
                  <a:gd name="connsiteX364" fmla="*/ 220358 w 607655"/>
                  <a:gd name="connsiteY364" fmla="*/ 55343 h 399048"/>
                  <a:gd name="connsiteX365" fmla="*/ 223670 w 607655"/>
                  <a:gd name="connsiteY365" fmla="*/ 54480 h 399048"/>
                  <a:gd name="connsiteX366" fmla="*/ 226837 w 607655"/>
                  <a:gd name="connsiteY366" fmla="*/ 53762 h 399048"/>
                  <a:gd name="connsiteX367" fmla="*/ 233028 w 607655"/>
                  <a:gd name="connsiteY367" fmla="*/ 52372 h 399048"/>
                  <a:gd name="connsiteX368" fmla="*/ 238835 w 607655"/>
                  <a:gd name="connsiteY368" fmla="*/ 51223 h 399048"/>
                  <a:gd name="connsiteX369" fmla="*/ 241570 w 607655"/>
                  <a:gd name="connsiteY369" fmla="*/ 50696 h 399048"/>
                  <a:gd name="connsiteX370" fmla="*/ 244258 w 607655"/>
                  <a:gd name="connsiteY370" fmla="*/ 50264 h 399048"/>
                  <a:gd name="connsiteX371" fmla="*/ 249393 w 607655"/>
                  <a:gd name="connsiteY371" fmla="*/ 49450 h 399048"/>
                  <a:gd name="connsiteX372" fmla="*/ 253904 w 607655"/>
                  <a:gd name="connsiteY372" fmla="*/ 48779 h 399048"/>
                  <a:gd name="connsiteX373" fmla="*/ 257167 w 607655"/>
                  <a:gd name="connsiteY373" fmla="*/ 48396 h 399048"/>
                  <a:gd name="connsiteX374" fmla="*/ 259999 w 607655"/>
                  <a:gd name="connsiteY374" fmla="*/ 48013 h 399048"/>
                  <a:gd name="connsiteX375" fmla="*/ 295372 w 607655"/>
                  <a:gd name="connsiteY375" fmla="*/ 46150 h 399048"/>
                  <a:gd name="connsiteX376" fmla="*/ 299306 w 607655"/>
                  <a:gd name="connsiteY376" fmla="*/ 46198 h 399048"/>
                  <a:gd name="connsiteX377" fmla="*/ 303048 w 607655"/>
                  <a:gd name="connsiteY377" fmla="*/ 46246 h 399048"/>
                  <a:gd name="connsiteX378" fmla="*/ 307414 w 607655"/>
                  <a:gd name="connsiteY378" fmla="*/ 46485 h 399048"/>
                  <a:gd name="connsiteX379" fmla="*/ 312356 w 607655"/>
                  <a:gd name="connsiteY379" fmla="*/ 46724 h 399048"/>
                  <a:gd name="connsiteX380" fmla="*/ 317873 w 607655"/>
                  <a:gd name="connsiteY380" fmla="*/ 47155 h 399048"/>
                  <a:gd name="connsiteX381" fmla="*/ 323870 w 607655"/>
                  <a:gd name="connsiteY381" fmla="*/ 47634 h 399048"/>
                  <a:gd name="connsiteX382" fmla="*/ 330251 w 607655"/>
                  <a:gd name="connsiteY382" fmla="*/ 48400 h 399048"/>
                  <a:gd name="connsiteX383" fmla="*/ 333561 w 607655"/>
                  <a:gd name="connsiteY383" fmla="*/ 48831 h 399048"/>
                  <a:gd name="connsiteX384" fmla="*/ 336968 w 607655"/>
                  <a:gd name="connsiteY384" fmla="*/ 49309 h 399048"/>
                  <a:gd name="connsiteX385" fmla="*/ 342101 w 607655"/>
                  <a:gd name="connsiteY385" fmla="*/ 50123 h 399048"/>
                  <a:gd name="connsiteX386" fmla="*/ 307318 w 607655"/>
                  <a:gd name="connsiteY386" fmla="*/ 121161 h 399048"/>
                  <a:gd name="connsiteX387" fmla="*/ 303816 w 607655"/>
                  <a:gd name="connsiteY387" fmla="*/ 120443 h 399048"/>
                  <a:gd name="connsiteX388" fmla="*/ 300122 w 607655"/>
                  <a:gd name="connsiteY388" fmla="*/ 119821 h 399048"/>
                  <a:gd name="connsiteX389" fmla="*/ 296859 w 607655"/>
                  <a:gd name="connsiteY389" fmla="*/ 119246 h 399048"/>
                  <a:gd name="connsiteX390" fmla="*/ 294125 w 607655"/>
                  <a:gd name="connsiteY390" fmla="*/ 118863 h 399048"/>
                  <a:gd name="connsiteX391" fmla="*/ 291726 w 607655"/>
                  <a:gd name="connsiteY391" fmla="*/ 118528 h 399048"/>
                  <a:gd name="connsiteX392" fmla="*/ 288991 w 607655"/>
                  <a:gd name="connsiteY392" fmla="*/ 115273 h 399048"/>
                  <a:gd name="connsiteX393" fmla="*/ 292158 w 607655"/>
                  <a:gd name="connsiteY393" fmla="*/ 49166 h 399048"/>
                  <a:gd name="connsiteX394" fmla="*/ 295372 w 607655"/>
                  <a:gd name="connsiteY394" fmla="*/ 46150 h 399048"/>
                  <a:gd name="connsiteX395" fmla="*/ 389289 w 607655"/>
                  <a:gd name="connsiteY395" fmla="*/ 0 h 399048"/>
                  <a:gd name="connsiteX396" fmla="*/ 397350 w 607655"/>
                  <a:gd name="connsiteY396" fmla="*/ 9917 h 399048"/>
                  <a:gd name="connsiteX397" fmla="*/ 385642 w 607655"/>
                  <a:gd name="connsiteY397" fmla="*/ 60650 h 399048"/>
                  <a:gd name="connsiteX398" fmla="*/ 366735 w 607655"/>
                  <a:gd name="connsiteY398" fmla="*/ 142570 h 399048"/>
                  <a:gd name="connsiteX399" fmla="*/ 317116 w 607655"/>
                  <a:gd name="connsiteY399" fmla="*/ 357671 h 399048"/>
                  <a:gd name="connsiteX400" fmla="*/ 313373 w 607655"/>
                  <a:gd name="connsiteY400" fmla="*/ 368163 h 399048"/>
                  <a:gd name="connsiteX401" fmla="*/ 269272 w 607655"/>
                  <a:gd name="connsiteY401" fmla="*/ 395661 h 399048"/>
                  <a:gd name="connsiteX402" fmla="*/ 247726 w 607655"/>
                  <a:gd name="connsiteY402" fmla="*/ 390679 h 399048"/>
                  <a:gd name="connsiteX403" fmla="*/ 225220 w 607655"/>
                  <a:gd name="connsiteY403" fmla="*/ 325142 h 399048"/>
                  <a:gd name="connsiteX404" fmla="*/ 323210 w 607655"/>
                  <a:gd name="connsiteY404" fmla="*/ 124988 h 399048"/>
                  <a:gd name="connsiteX405" fmla="*/ 358385 w 607655"/>
                  <a:gd name="connsiteY405" fmla="*/ 53224 h 399048"/>
                  <a:gd name="connsiteX406" fmla="*/ 382186 w 607655"/>
                  <a:gd name="connsiteY406" fmla="*/ 4551 h 399048"/>
                  <a:gd name="connsiteX407" fmla="*/ 389289 w 607655"/>
                  <a:gd name="connsiteY407" fmla="*/ 0 h 399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Lst>
                <a:rect l="l" t="t" r="r" b="b"/>
                <a:pathLst>
                  <a:path w="607655" h="399048">
                    <a:moveTo>
                      <a:pt x="271096" y="321406"/>
                    </a:moveTo>
                    <a:cubicBezTo>
                      <a:pt x="257803" y="321406"/>
                      <a:pt x="247006" y="332137"/>
                      <a:pt x="247006" y="345407"/>
                    </a:cubicBezTo>
                    <a:cubicBezTo>
                      <a:pt x="247006" y="358677"/>
                      <a:pt x="257803" y="369408"/>
                      <a:pt x="271096" y="369408"/>
                    </a:cubicBezTo>
                    <a:cubicBezTo>
                      <a:pt x="284340" y="369408"/>
                      <a:pt x="295138" y="358677"/>
                      <a:pt x="295138" y="345407"/>
                    </a:cubicBezTo>
                    <a:cubicBezTo>
                      <a:pt x="295138" y="332137"/>
                      <a:pt x="284340" y="321406"/>
                      <a:pt x="271096" y="321406"/>
                    </a:cubicBezTo>
                    <a:close/>
                    <a:moveTo>
                      <a:pt x="10407" y="277943"/>
                    </a:moveTo>
                    <a:lnTo>
                      <a:pt x="31702" y="283598"/>
                    </a:lnTo>
                    <a:cubicBezTo>
                      <a:pt x="33477" y="284078"/>
                      <a:pt x="34436" y="285899"/>
                      <a:pt x="33908" y="287624"/>
                    </a:cubicBezTo>
                    <a:cubicBezTo>
                      <a:pt x="33621" y="288391"/>
                      <a:pt x="33333" y="289301"/>
                      <a:pt x="32997" y="290308"/>
                    </a:cubicBezTo>
                    <a:cubicBezTo>
                      <a:pt x="32709" y="291218"/>
                      <a:pt x="32326" y="292273"/>
                      <a:pt x="31990" y="293375"/>
                    </a:cubicBezTo>
                    <a:cubicBezTo>
                      <a:pt x="31606" y="294477"/>
                      <a:pt x="31318" y="295579"/>
                      <a:pt x="30935" y="296825"/>
                    </a:cubicBezTo>
                    <a:cubicBezTo>
                      <a:pt x="30599" y="298024"/>
                      <a:pt x="30167" y="299317"/>
                      <a:pt x="29784" y="300659"/>
                    </a:cubicBezTo>
                    <a:cubicBezTo>
                      <a:pt x="29592" y="301378"/>
                      <a:pt x="29352" y="302049"/>
                      <a:pt x="29160" y="302768"/>
                    </a:cubicBezTo>
                    <a:cubicBezTo>
                      <a:pt x="28968" y="303535"/>
                      <a:pt x="28776" y="304302"/>
                      <a:pt x="28585" y="305068"/>
                    </a:cubicBezTo>
                    <a:cubicBezTo>
                      <a:pt x="27769" y="308183"/>
                      <a:pt x="26810" y="311538"/>
                      <a:pt x="26091" y="315133"/>
                    </a:cubicBezTo>
                    <a:cubicBezTo>
                      <a:pt x="25659" y="316906"/>
                      <a:pt x="25275" y="318775"/>
                      <a:pt x="24844" y="320644"/>
                    </a:cubicBezTo>
                    <a:cubicBezTo>
                      <a:pt x="24460" y="322561"/>
                      <a:pt x="24124" y="324526"/>
                      <a:pt x="23741" y="326491"/>
                    </a:cubicBezTo>
                    <a:cubicBezTo>
                      <a:pt x="22925" y="330468"/>
                      <a:pt x="22398" y="334590"/>
                      <a:pt x="21726" y="338759"/>
                    </a:cubicBezTo>
                    <a:lnTo>
                      <a:pt x="21486" y="340341"/>
                    </a:lnTo>
                    <a:lnTo>
                      <a:pt x="21295" y="341922"/>
                    </a:lnTo>
                    <a:cubicBezTo>
                      <a:pt x="21199" y="343024"/>
                      <a:pt x="21055" y="344079"/>
                      <a:pt x="20959" y="345133"/>
                    </a:cubicBezTo>
                    <a:cubicBezTo>
                      <a:pt x="20815" y="346187"/>
                      <a:pt x="20719" y="347290"/>
                      <a:pt x="20575" y="348344"/>
                    </a:cubicBezTo>
                    <a:lnTo>
                      <a:pt x="20383" y="349973"/>
                    </a:lnTo>
                    <a:lnTo>
                      <a:pt x="20239" y="351555"/>
                    </a:lnTo>
                    <a:cubicBezTo>
                      <a:pt x="20096" y="353712"/>
                      <a:pt x="19904" y="355868"/>
                      <a:pt x="19760" y="358025"/>
                    </a:cubicBezTo>
                    <a:lnTo>
                      <a:pt x="19616" y="359654"/>
                    </a:lnTo>
                    <a:lnTo>
                      <a:pt x="19616" y="359846"/>
                    </a:lnTo>
                    <a:lnTo>
                      <a:pt x="19568" y="359942"/>
                    </a:lnTo>
                    <a:lnTo>
                      <a:pt x="19568" y="360325"/>
                    </a:lnTo>
                    <a:lnTo>
                      <a:pt x="19520" y="361188"/>
                    </a:lnTo>
                    <a:cubicBezTo>
                      <a:pt x="19472" y="362290"/>
                      <a:pt x="19424" y="363392"/>
                      <a:pt x="19376" y="364495"/>
                    </a:cubicBezTo>
                    <a:cubicBezTo>
                      <a:pt x="19328" y="365597"/>
                      <a:pt x="19280" y="366699"/>
                      <a:pt x="19232" y="367801"/>
                    </a:cubicBezTo>
                    <a:cubicBezTo>
                      <a:pt x="19184" y="368808"/>
                      <a:pt x="19184" y="369862"/>
                      <a:pt x="19136" y="370869"/>
                    </a:cubicBezTo>
                    <a:cubicBezTo>
                      <a:pt x="19136" y="371923"/>
                      <a:pt x="19088" y="372929"/>
                      <a:pt x="19088" y="373984"/>
                    </a:cubicBezTo>
                    <a:cubicBezTo>
                      <a:pt x="19088" y="374463"/>
                      <a:pt x="19040" y="374990"/>
                      <a:pt x="19040" y="375469"/>
                    </a:cubicBezTo>
                    <a:cubicBezTo>
                      <a:pt x="19040" y="375996"/>
                      <a:pt x="19040" y="376524"/>
                      <a:pt x="19040" y="377003"/>
                    </a:cubicBezTo>
                    <a:cubicBezTo>
                      <a:pt x="19040" y="379064"/>
                      <a:pt x="19088" y="381076"/>
                      <a:pt x="19088" y="383041"/>
                    </a:cubicBezTo>
                    <a:cubicBezTo>
                      <a:pt x="19136" y="385006"/>
                      <a:pt x="19232" y="386923"/>
                      <a:pt x="19280" y="388792"/>
                    </a:cubicBezTo>
                    <a:cubicBezTo>
                      <a:pt x="19328" y="390661"/>
                      <a:pt x="19424" y="392482"/>
                      <a:pt x="19568" y="394256"/>
                    </a:cubicBezTo>
                    <a:cubicBezTo>
                      <a:pt x="19568" y="394735"/>
                      <a:pt x="19616" y="395214"/>
                      <a:pt x="19664" y="395693"/>
                    </a:cubicBezTo>
                    <a:cubicBezTo>
                      <a:pt x="19760" y="397514"/>
                      <a:pt x="18321" y="399048"/>
                      <a:pt x="16498" y="399048"/>
                    </a:cubicBezTo>
                    <a:lnTo>
                      <a:pt x="8009" y="399048"/>
                    </a:lnTo>
                    <a:cubicBezTo>
                      <a:pt x="6475" y="399048"/>
                      <a:pt x="5180" y="397946"/>
                      <a:pt x="4892" y="396460"/>
                    </a:cubicBezTo>
                    <a:cubicBezTo>
                      <a:pt x="4892" y="396316"/>
                      <a:pt x="4844" y="396173"/>
                      <a:pt x="4796" y="396029"/>
                    </a:cubicBezTo>
                    <a:cubicBezTo>
                      <a:pt x="4460" y="394208"/>
                      <a:pt x="4125" y="392291"/>
                      <a:pt x="3837" y="390374"/>
                    </a:cubicBezTo>
                    <a:cubicBezTo>
                      <a:pt x="3549" y="388409"/>
                      <a:pt x="3213" y="386396"/>
                      <a:pt x="2925" y="384335"/>
                    </a:cubicBezTo>
                    <a:cubicBezTo>
                      <a:pt x="2638" y="382274"/>
                      <a:pt x="2398" y="380166"/>
                      <a:pt x="2110" y="378057"/>
                    </a:cubicBezTo>
                    <a:cubicBezTo>
                      <a:pt x="2062" y="377482"/>
                      <a:pt x="1966" y="376955"/>
                      <a:pt x="1918" y="376428"/>
                    </a:cubicBezTo>
                    <a:cubicBezTo>
                      <a:pt x="1870" y="375853"/>
                      <a:pt x="1774" y="375325"/>
                      <a:pt x="1726" y="374750"/>
                    </a:cubicBezTo>
                    <a:cubicBezTo>
                      <a:pt x="1631" y="373648"/>
                      <a:pt x="1535" y="372546"/>
                      <a:pt x="1391" y="371396"/>
                    </a:cubicBezTo>
                    <a:cubicBezTo>
                      <a:pt x="1295" y="370293"/>
                      <a:pt x="1199" y="369143"/>
                      <a:pt x="1055" y="368041"/>
                    </a:cubicBezTo>
                    <a:cubicBezTo>
                      <a:pt x="1007" y="366939"/>
                      <a:pt x="911" y="365836"/>
                      <a:pt x="815" y="364734"/>
                    </a:cubicBezTo>
                    <a:cubicBezTo>
                      <a:pt x="767" y="363632"/>
                      <a:pt x="671" y="362530"/>
                      <a:pt x="575" y="361427"/>
                    </a:cubicBezTo>
                    <a:lnTo>
                      <a:pt x="527" y="360613"/>
                    </a:lnTo>
                    <a:lnTo>
                      <a:pt x="479" y="360181"/>
                    </a:lnTo>
                    <a:lnTo>
                      <a:pt x="479" y="359606"/>
                    </a:lnTo>
                    <a:lnTo>
                      <a:pt x="384" y="357929"/>
                    </a:lnTo>
                    <a:cubicBezTo>
                      <a:pt x="336" y="355629"/>
                      <a:pt x="240" y="353280"/>
                      <a:pt x="144" y="350980"/>
                    </a:cubicBezTo>
                    <a:lnTo>
                      <a:pt x="48" y="349255"/>
                    </a:lnTo>
                    <a:lnTo>
                      <a:pt x="48" y="347529"/>
                    </a:lnTo>
                    <a:cubicBezTo>
                      <a:pt x="48" y="346331"/>
                      <a:pt x="48" y="345181"/>
                      <a:pt x="48" y="344031"/>
                    </a:cubicBezTo>
                    <a:cubicBezTo>
                      <a:pt x="0" y="342881"/>
                      <a:pt x="0" y="341731"/>
                      <a:pt x="0" y="340580"/>
                    </a:cubicBezTo>
                    <a:lnTo>
                      <a:pt x="0" y="338855"/>
                    </a:lnTo>
                    <a:lnTo>
                      <a:pt x="48" y="337130"/>
                    </a:lnTo>
                    <a:cubicBezTo>
                      <a:pt x="192" y="332577"/>
                      <a:pt x="240" y="328072"/>
                      <a:pt x="575" y="323711"/>
                    </a:cubicBezTo>
                    <a:cubicBezTo>
                      <a:pt x="767" y="321506"/>
                      <a:pt x="863" y="319398"/>
                      <a:pt x="1055" y="317289"/>
                    </a:cubicBezTo>
                    <a:cubicBezTo>
                      <a:pt x="1247" y="315180"/>
                      <a:pt x="1439" y="313120"/>
                      <a:pt x="1631" y="311155"/>
                    </a:cubicBezTo>
                    <a:cubicBezTo>
                      <a:pt x="1966" y="307129"/>
                      <a:pt x="2590" y="303391"/>
                      <a:pt x="3021" y="299893"/>
                    </a:cubicBezTo>
                    <a:cubicBezTo>
                      <a:pt x="3165" y="299030"/>
                      <a:pt x="3261" y="298167"/>
                      <a:pt x="3357" y="297353"/>
                    </a:cubicBezTo>
                    <a:cubicBezTo>
                      <a:pt x="3501" y="296490"/>
                      <a:pt x="3645" y="295675"/>
                      <a:pt x="3789" y="294861"/>
                    </a:cubicBezTo>
                    <a:cubicBezTo>
                      <a:pt x="4077" y="293279"/>
                      <a:pt x="4316" y="291745"/>
                      <a:pt x="4556" y="290308"/>
                    </a:cubicBezTo>
                    <a:cubicBezTo>
                      <a:pt x="4844" y="288870"/>
                      <a:pt x="5036" y="287480"/>
                      <a:pt x="5276" y="286282"/>
                    </a:cubicBezTo>
                    <a:cubicBezTo>
                      <a:pt x="5515" y="285132"/>
                      <a:pt x="5755" y="284078"/>
                      <a:pt x="5947" y="283119"/>
                    </a:cubicBezTo>
                    <a:cubicBezTo>
                      <a:pt x="6139" y="282065"/>
                      <a:pt x="6331" y="281106"/>
                      <a:pt x="6475" y="280339"/>
                    </a:cubicBezTo>
                    <a:cubicBezTo>
                      <a:pt x="6858" y="278566"/>
                      <a:pt x="8633" y="277464"/>
                      <a:pt x="10407" y="277943"/>
                    </a:cubicBezTo>
                    <a:close/>
                    <a:moveTo>
                      <a:pt x="586319" y="266251"/>
                    </a:moveTo>
                    <a:cubicBezTo>
                      <a:pt x="587950" y="265820"/>
                      <a:pt x="589629" y="266730"/>
                      <a:pt x="590156" y="268311"/>
                    </a:cubicBezTo>
                    <a:cubicBezTo>
                      <a:pt x="590540" y="269413"/>
                      <a:pt x="590971" y="270802"/>
                      <a:pt x="591499" y="272431"/>
                    </a:cubicBezTo>
                    <a:cubicBezTo>
                      <a:pt x="591835" y="273581"/>
                      <a:pt x="592266" y="274826"/>
                      <a:pt x="592698" y="276168"/>
                    </a:cubicBezTo>
                    <a:cubicBezTo>
                      <a:pt x="593082" y="277509"/>
                      <a:pt x="593513" y="278994"/>
                      <a:pt x="593945" y="280575"/>
                    </a:cubicBezTo>
                    <a:cubicBezTo>
                      <a:pt x="594376" y="282108"/>
                      <a:pt x="594856" y="283785"/>
                      <a:pt x="595384" y="285557"/>
                    </a:cubicBezTo>
                    <a:cubicBezTo>
                      <a:pt x="595623" y="286468"/>
                      <a:pt x="595863" y="287378"/>
                      <a:pt x="596151" y="288288"/>
                    </a:cubicBezTo>
                    <a:cubicBezTo>
                      <a:pt x="596343" y="289246"/>
                      <a:pt x="596583" y="290204"/>
                      <a:pt x="596822" y="291163"/>
                    </a:cubicBezTo>
                    <a:cubicBezTo>
                      <a:pt x="597782" y="295091"/>
                      <a:pt x="598933" y="299307"/>
                      <a:pt x="599796" y="303858"/>
                    </a:cubicBezTo>
                    <a:cubicBezTo>
                      <a:pt x="600275" y="306109"/>
                      <a:pt x="600755" y="308457"/>
                      <a:pt x="601283" y="310804"/>
                    </a:cubicBezTo>
                    <a:cubicBezTo>
                      <a:pt x="601714" y="313200"/>
                      <a:pt x="602146" y="315643"/>
                      <a:pt x="602577" y="318134"/>
                    </a:cubicBezTo>
                    <a:cubicBezTo>
                      <a:pt x="603489" y="323116"/>
                      <a:pt x="604160" y="328290"/>
                      <a:pt x="604880" y="333560"/>
                    </a:cubicBezTo>
                    <a:cubicBezTo>
                      <a:pt x="604975" y="334230"/>
                      <a:pt x="605071" y="334901"/>
                      <a:pt x="605119" y="335524"/>
                    </a:cubicBezTo>
                    <a:cubicBezTo>
                      <a:pt x="605215" y="336243"/>
                      <a:pt x="605263" y="336961"/>
                      <a:pt x="605359" y="337680"/>
                    </a:cubicBezTo>
                    <a:cubicBezTo>
                      <a:pt x="605503" y="339165"/>
                      <a:pt x="605647" y="340602"/>
                      <a:pt x="605791" y="342039"/>
                    </a:cubicBezTo>
                    <a:cubicBezTo>
                      <a:pt x="605935" y="343476"/>
                      <a:pt x="606079" y="344962"/>
                      <a:pt x="606222" y="346399"/>
                    </a:cubicBezTo>
                    <a:lnTo>
                      <a:pt x="606414" y="348602"/>
                    </a:lnTo>
                    <a:lnTo>
                      <a:pt x="606510" y="350279"/>
                    </a:lnTo>
                    <a:cubicBezTo>
                      <a:pt x="606702" y="352531"/>
                      <a:pt x="606894" y="354734"/>
                      <a:pt x="607038" y="356986"/>
                    </a:cubicBezTo>
                    <a:lnTo>
                      <a:pt x="607182" y="358663"/>
                    </a:lnTo>
                    <a:lnTo>
                      <a:pt x="607182" y="358854"/>
                    </a:lnTo>
                    <a:lnTo>
                      <a:pt x="607182" y="358902"/>
                    </a:lnTo>
                    <a:lnTo>
                      <a:pt x="607230" y="360052"/>
                    </a:lnTo>
                    <a:lnTo>
                      <a:pt x="607230" y="360148"/>
                    </a:lnTo>
                    <a:lnTo>
                      <a:pt x="607230" y="360675"/>
                    </a:lnTo>
                    <a:lnTo>
                      <a:pt x="607277" y="361681"/>
                    </a:lnTo>
                    <a:cubicBezTo>
                      <a:pt x="607325" y="363022"/>
                      <a:pt x="607373" y="364316"/>
                      <a:pt x="607421" y="365657"/>
                    </a:cubicBezTo>
                    <a:cubicBezTo>
                      <a:pt x="607469" y="366999"/>
                      <a:pt x="607517" y="368340"/>
                      <a:pt x="607565" y="369633"/>
                    </a:cubicBezTo>
                    <a:cubicBezTo>
                      <a:pt x="607565" y="370975"/>
                      <a:pt x="607565" y="372268"/>
                      <a:pt x="607613" y="373562"/>
                    </a:cubicBezTo>
                    <a:cubicBezTo>
                      <a:pt x="607613" y="376197"/>
                      <a:pt x="607709" y="378784"/>
                      <a:pt x="607613" y="381323"/>
                    </a:cubicBezTo>
                    <a:cubicBezTo>
                      <a:pt x="607565" y="383862"/>
                      <a:pt x="607517" y="386353"/>
                      <a:pt x="607469" y="388844"/>
                    </a:cubicBezTo>
                    <a:cubicBezTo>
                      <a:pt x="607373" y="391287"/>
                      <a:pt x="607277" y="393682"/>
                      <a:pt x="607134" y="396030"/>
                    </a:cubicBezTo>
                    <a:cubicBezTo>
                      <a:pt x="607086" y="397707"/>
                      <a:pt x="605695" y="399048"/>
                      <a:pt x="604016" y="399048"/>
                    </a:cubicBezTo>
                    <a:lnTo>
                      <a:pt x="478363" y="399048"/>
                    </a:lnTo>
                    <a:cubicBezTo>
                      <a:pt x="478459" y="398761"/>
                      <a:pt x="478507" y="398521"/>
                      <a:pt x="478603" y="398281"/>
                    </a:cubicBezTo>
                    <a:cubicBezTo>
                      <a:pt x="478699" y="397802"/>
                      <a:pt x="478843" y="397371"/>
                      <a:pt x="478987" y="396892"/>
                    </a:cubicBezTo>
                    <a:cubicBezTo>
                      <a:pt x="479083" y="396365"/>
                      <a:pt x="479226" y="395790"/>
                      <a:pt x="479370" y="395215"/>
                    </a:cubicBezTo>
                    <a:cubicBezTo>
                      <a:pt x="479610" y="394066"/>
                      <a:pt x="479898" y="392820"/>
                      <a:pt x="480186" y="391575"/>
                    </a:cubicBezTo>
                    <a:cubicBezTo>
                      <a:pt x="480521" y="390281"/>
                      <a:pt x="480761" y="388940"/>
                      <a:pt x="481049" y="387550"/>
                    </a:cubicBezTo>
                    <a:cubicBezTo>
                      <a:pt x="481289" y="386161"/>
                      <a:pt x="481624" y="384724"/>
                      <a:pt x="481864" y="383239"/>
                    </a:cubicBezTo>
                    <a:cubicBezTo>
                      <a:pt x="482104" y="381754"/>
                      <a:pt x="482392" y="380221"/>
                      <a:pt x="482631" y="378688"/>
                    </a:cubicBezTo>
                    <a:cubicBezTo>
                      <a:pt x="482871" y="377107"/>
                      <a:pt x="483111" y="375478"/>
                      <a:pt x="483351" y="373849"/>
                    </a:cubicBezTo>
                    <a:cubicBezTo>
                      <a:pt x="483639" y="372220"/>
                      <a:pt x="483735" y="370544"/>
                      <a:pt x="483974" y="368867"/>
                    </a:cubicBezTo>
                    <a:cubicBezTo>
                      <a:pt x="484070" y="368005"/>
                      <a:pt x="484166" y="367142"/>
                      <a:pt x="484262" y="366280"/>
                    </a:cubicBezTo>
                    <a:cubicBezTo>
                      <a:pt x="484358" y="365418"/>
                      <a:pt x="484454" y="364555"/>
                      <a:pt x="484502" y="363693"/>
                    </a:cubicBezTo>
                    <a:cubicBezTo>
                      <a:pt x="484598" y="362831"/>
                      <a:pt x="484646" y="361968"/>
                      <a:pt x="484742" y="361106"/>
                    </a:cubicBezTo>
                    <a:lnTo>
                      <a:pt x="484790" y="360435"/>
                    </a:lnTo>
                    <a:lnTo>
                      <a:pt x="484838" y="360100"/>
                    </a:lnTo>
                    <a:lnTo>
                      <a:pt x="484838" y="360962"/>
                    </a:lnTo>
                    <a:lnTo>
                      <a:pt x="484886" y="360771"/>
                    </a:lnTo>
                    <a:lnTo>
                      <a:pt x="484934" y="359094"/>
                    </a:lnTo>
                    <a:cubicBezTo>
                      <a:pt x="485029" y="356890"/>
                      <a:pt x="485125" y="354639"/>
                      <a:pt x="485221" y="352387"/>
                    </a:cubicBezTo>
                    <a:lnTo>
                      <a:pt x="485317" y="350758"/>
                    </a:lnTo>
                    <a:lnTo>
                      <a:pt x="485317" y="349608"/>
                    </a:lnTo>
                    <a:cubicBezTo>
                      <a:pt x="485365" y="348842"/>
                      <a:pt x="485365" y="348028"/>
                      <a:pt x="485365" y="347261"/>
                    </a:cubicBezTo>
                    <a:cubicBezTo>
                      <a:pt x="485413" y="346495"/>
                      <a:pt x="485413" y="345728"/>
                      <a:pt x="485461" y="344962"/>
                    </a:cubicBezTo>
                    <a:lnTo>
                      <a:pt x="485509" y="343812"/>
                    </a:lnTo>
                    <a:lnTo>
                      <a:pt x="485509" y="342518"/>
                    </a:lnTo>
                    <a:cubicBezTo>
                      <a:pt x="485413" y="339021"/>
                      <a:pt x="485461" y="335572"/>
                      <a:pt x="485269" y="332218"/>
                    </a:cubicBezTo>
                    <a:cubicBezTo>
                      <a:pt x="485173" y="330542"/>
                      <a:pt x="485125" y="328913"/>
                      <a:pt x="485029" y="327284"/>
                    </a:cubicBezTo>
                    <a:cubicBezTo>
                      <a:pt x="484886" y="325703"/>
                      <a:pt x="484742" y="324122"/>
                      <a:pt x="484646" y="322589"/>
                    </a:cubicBezTo>
                    <a:cubicBezTo>
                      <a:pt x="484454" y="319523"/>
                      <a:pt x="484022" y="316649"/>
                      <a:pt x="483735" y="313966"/>
                    </a:cubicBezTo>
                    <a:cubicBezTo>
                      <a:pt x="483639" y="313295"/>
                      <a:pt x="483591" y="312673"/>
                      <a:pt x="483495" y="312002"/>
                    </a:cubicBezTo>
                    <a:cubicBezTo>
                      <a:pt x="483399" y="311379"/>
                      <a:pt x="483303" y="310756"/>
                      <a:pt x="483207" y="310181"/>
                    </a:cubicBezTo>
                    <a:cubicBezTo>
                      <a:pt x="483015" y="308936"/>
                      <a:pt x="482871" y="307786"/>
                      <a:pt x="482679" y="306732"/>
                    </a:cubicBezTo>
                    <a:cubicBezTo>
                      <a:pt x="482536" y="305630"/>
                      <a:pt x="482392" y="304624"/>
                      <a:pt x="482248" y="303714"/>
                    </a:cubicBezTo>
                    <a:cubicBezTo>
                      <a:pt x="482056" y="302756"/>
                      <a:pt x="481864" y="301894"/>
                      <a:pt x="481720" y="301127"/>
                    </a:cubicBezTo>
                    <a:cubicBezTo>
                      <a:pt x="481576" y="300361"/>
                      <a:pt x="481480" y="299690"/>
                      <a:pt x="481337" y="299115"/>
                    </a:cubicBezTo>
                    <a:cubicBezTo>
                      <a:pt x="481049" y="297486"/>
                      <a:pt x="482008" y="295953"/>
                      <a:pt x="483591" y="295522"/>
                    </a:cubicBezTo>
                    <a:close/>
                    <a:moveTo>
                      <a:pt x="93138" y="125793"/>
                    </a:moveTo>
                    <a:cubicBezTo>
                      <a:pt x="94481" y="124548"/>
                      <a:pt x="96544" y="124644"/>
                      <a:pt x="97743" y="126033"/>
                    </a:cubicBezTo>
                    <a:lnTo>
                      <a:pt x="125184" y="158170"/>
                    </a:lnTo>
                    <a:cubicBezTo>
                      <a:pt x="126383" y="159511"/>
                      <a:pt x="126143" y="161618"/>
                      <a:pt x="124704" y="162720"/>
                    </a:cubicBezTo>
                    <a:cubicBezTo>
                      <a:pt x="124080" y="163199"/>
                      <a:pt x="123313" y="163773"/>
                      <a:pt x="122449" y="164396"/>
                    </a:cubicBezTo>
                    <a:cubicBezTo>
                      <a:pt x="122065" y="164683"/>
                      <a:pt x="121634" y="165019"/>
                      <a:pt x="121202" y="165354"/>
                    </a:cubicBezTo>
                    <a:cubicBezTo>
                      <a:pt x="120818" y="165641"/>
                      <a:pt x="120290" y="166024"/>
                      <a:pt x="119907" y="166312"/>
                    </a:cubicBezTo>
                    <a:cubicBezTo>
                      <a:pt x="119139" y="166934"/>
                      <a:pt x="118276" y="167653"/>
                      <a:pt x="117316" y="168371"/>
                    </a:cubicBezTo>
                    <a:cubicBezTo>
                      <a:pt x="116405" y="169138"/>
                      <a:pt x="115397" y="169904"/>
                      <a:pt x="114342" y="170718"/>
                    </a:cubicBezTo>
                    <a:cubicBezTo>
                      <a:pt x="113286" y="171628"/>
                      <a:pt x="112183" y="172586"/>
                      <a:pt x="110984" y="173592"/>
                    </a:cubicBezTo>
                    <a:cubicBezTo>
                      <a:pt x="109832" y="174598"/>
                      <a:pt x="108585" y="175603"/>
                      <a:pt x="107386" y="176705"/>
                    </a:cubicBezTo>
                    <a:cubicBezTo>
                      <a:pt x="106138" y="177854"/>
                      <a:pt x="104843" y="179004"/>
                      <a:pt x="103548" y="180201"/>
                    </a:cubicBezTo>
                    <a:cubicBezTo>
                      <a:pt x="102205" y="181351"/>
                      <a:pt x="100909" y="182644"/>
                      <a:pt x="99614" y="183937"/>
                    </a:cubicBezTo>
                    <a:cubicBezTo>
                      <a:pt x="98271" y="185230"/>
                      <a:pt x="96880" y="186523"/>
                      <a:pt x="95537" y="187912"/>
                    </a:cubicBezTo>
                    <a:cubicBezTo>
                      <a:pt x="94193" y="189301"/>
                      <a:pt x="92802" y="190738"/>
                      <a:pt x="91411" y="192175"/>
                    </a:cubicBezTo>
                    <a:cubicBezTo>
                      <a:pt x="90739" y="192845"/>
                      <a:pt x="90068" y="193612"/>
                      <a:pt x="89396" y="194330"/>
                    </a:cubicBezTo>
                    <a:cubicBezTo>
                      <a:pt x="88676" y="195096"/>
                      <a:pt x="88005" y="195863"/>
                      <a:pt x="87333" y="196629"/>
                    </a:cubicBezTo>
                    <a:cubicBezTo>
                      <a:pt x="86662" y="197347"/>
                      <a:pt x="85942" y="198114"/>
                      <a:pt x="85270" y="198880"/>
                    </a:cubicBezTo>
                    <a:cubicBezTo>
                      <a:pt x="84551" y="199646"/>
                      <a:pt x="83927" y="200460"/>
                      <a:pt x="83256" y="201227"/>
                    </a:cubicBezTo>
                    <a:cubicBezTo>
                      <a:pt x="81912" y="202807"/>
                      <a:pt x="80569" y="204388"/>
                      <a:pt x="79226" y="205968"/>
                    </a:cubicBezTo>
                    <a:cubicBezTo>
                      <a:pt x="77931" y="207597"/>
                      <a:pt x="76635" y="209225"/>
                      <a:pt x="75340" y="210854"/>
                    </a:cubicBezTo>
                    <a:lnTo>
                      <a:pt x="74381" y="212051"/>
                    </a:lnTo>
                    <a:lnTo>
                      <a:pt x="73469" y="213296"/>
                    </a:lnTo>
                    <a:cubicBezTo>
                      <a:pt x="72846" y="214158"/>
                      <a:pt x="72222" y="214972"/>
                      <a:pt x="71598" y="215787"/>
                    </a:cubicBezTo>
                    <a:cubicBezTo>
                      <a:pt x="69104" y="219043"/>
                      <a:pt x="66897" y="222396"/>
                      <a:pt x="64642" y="225605"/>
                    </a:cubicBezTo>
                    <a:cubicBezTo>
                      <a:pt x="63539" y="227281"/>
                      <a:pt x="62531" y="228910"/>
                      <a:pt x="61476" y="230490"/>
                    </a:cubicBezTo>
                    <a:cubicBezTo>
                      <a:pt x="60948" y="231256"/>
                      <a:pt x="60469" y="232071"/>
                      <a:pt x="59941" y="232837"/>
                    </a:cubicBezTo>
                    <a:cubicBezTo>
                      <a:pt x="59461" y="233603"/>
                      <a:pt x="59029" y="234418"/>
                      <a:pt x="58550" y="235184"/>
                    </a:cubicBezTo>
                    <a:cubicBezTo>
                      <a:pt x="57590" y="236716"/>
                      <a:pt x="56727" y="238201"/>
                      <a:pt x="55815" y="239686"/>
                    </a:cubicBezTo>
                    <a:cubicBezTo>
                      <a:pt x="55000" y="241171"/>
                      <a:pt x="54184" y="242560"/>
                      <a:pt x="53417" y="243948"/>
                    </a:cubicBezTo>
                    <a:cubicBezTo>
                      <a:pt x="52649" y="245337"/>
                      <a:pt x="51882" y="246631"/>
                      <a:pt x="51210" y="247924"/>
                    </a:cubicBezTo>
                    <a:cubicBezTo>
                      <a:pt x="50538" y="249169"/>
                      <a:pt x="49915" y="250414"/>
                      <a:pt x="49339" y="251516"/>
                    </a:cubicBezTo>
                    <a:cubicBezTo>
                      <a:pt x="48763" y="252665"/>
                      <a:pt x="48188" y="253719"/>
                      <a:pt x="47660" y="254725"/>
                    </a:cubicBezTo>
                    <a:cubicBezTo>
                      <a:pt x="47180" y="255730"/>
                      <a:pt x="46748" y="256640"/>
                      <a:pt x="46365" y="257503"/>
                    </a:cubicBezTo>
                    <a:cubicBezTo>
                      <a:pt x="45885" y="258508"/>
                      <a:pt x="45453" y="259370"/>
                      <a:pt x="45069" y="260089"/>
                    </a:cubicBezTo>
                    <a:cubicBezTo>
                      <a:pt x="44398" y="261574"/>
                      <a:pt x="42671" y="262292"/>
                      <a:pt x="41136" y="261669"/>
                    </a:cubicBezTo>
                    <a:lnTo>
                      <a:pt x="17006" y="252426"/>
                    </a:lnTo>
                    <a:cubicBezTo>
                      <a:pt x="15422" y="251851"/>
                      <a:pt x="14607" y="250127"/>
                      <a:pt x="15135" y="248498"/>
                    </a:cubicBezTo>
                    <a:cubicBezTo>
                      <a:pt x="15422" y="247588"/>
                      <a:pt x="15806" y="246487"/>
                      <a:pt x="16238" y="245194"/>
                    </a:cubicBezTo>
                    <a:cubicBezTo>
                      <a:pt x="16574" y="244236"/>
                      <a:pt x="16958" y="243134"/>
                      <a:pt x="17341" y="241985"/>
                    </a:cubicBezTo>
                    <a:cubicBezTo>
                      <a:pt x="17773" y="240787"/>
                      <a:pt x="18253" y="239542"/>
                      <a:pt x="18780" y="238153"/>
                    </a:cubicBezTo>
                    <a:cubicBezTo>
                      <a:pt x="19260" y="236812"/>
                      <a:pt x="19836" y="235375"/>
                      <a:pt x="20412" y="233843"/>
                    </a:cubicBezTo>
                    <a:cubicBezTo>
                      <a:pt x="20987" y="232358"/>
                      <a:pt x="21659" y="230778"/>
                      <a:pt x="22330" y="229149"/>
                    </a:cubicBezTo>
                    <a:cubicBezTo>
                      <a:pt x="23002" y="227473"/>
                      <a:pt x="23722" y="225749"/>
                      <a:pt x="24441" y="223977"/>
                    </a:cubicBezTo>
                    <a:cubicBezTo>
                      <a:pt x="25209" y="222252"/>
                      <a:pt x="26024" y="220432"/>
                      <a:pt x="26888" y="218565"/>
                    </a:cubicBezTo>
                    <a:cubicBezTo>
                      <a:pt x="27320" y="217607"/>
                      <a:pt x="27751" y="216697"/>
                      <a:pt x="28183" y="215739"/>
                    </a:cubicBezTo>
                    <a:cubicBezTo>
                      <a:pt x="28615" y="214781"/>
                      <a:pt x="29095" y="213823"/>
                      <a:pt x="29574" y="212865"/>
                    </a:cubicBezTo>
                    <a:cubicBezTo>
                      <a:pt x="30486" y="210949"/>
                      <a:pt x="31445" y="208938"/>
                      <a:pt x="32453" y="206926"/>
                    </a:cubicBezTo>
                    <a:cubicBezTo>
                      <a:pt x="34563" y="202999"/>
                      <a:pt x="36626" y="198880"/>
                      <a:pt x="39025" y="194809"/>
                    </a:cubicBezTo>
                    <a:cubicBezTo>
                      <a:pt x="39601" y="193803"/>
                      <a:pt x="40224" y="192749"/>
                      <a:pt x="40800" y="191744"/>
                    </a:cubicBezTo>
                    <a:lnTo>
                      <a:pt x="41663" y="190163"/>
                    </a:lnTo>
                    <a:lnTo>
                      <a:pt x="42623" y="188631"/>
                    </a:lnTo>
                    <a:cubicBezTo>
                      <a:pt x="43870" y="186619"/>
                      <a:pt x="45117" y="184560"/>
                      <a:pt x="46365" y="182548"/>
                    </a:cubicBezTo>
                    <a:cubicBezTo>
                      <a:pt x="47660" y="180489"/>
                      <a:pt x="49003" y="178525"/>
                      <a:pt x="50346" y="176513"/>
                    </a:cubicBezTo>
                    <a:cubicBezTo>
                      <a:pt x="50970" y="175508"/>
                      <a:pt x="51642" y="174502"/>
                      <a:pt x="52313" y="173544"/>
                    </a:cubicBezTo>
                    <a:cubicBezTo>
                      <a:pt x="52985" y="172538"/>
                      <a:pt x="53704" y="171580"/>
                      <a:pt x="54376" y="170622"/>
                    </a:cubicBezTo>
                    <a:cubicBezTo>
                      <a:pt x="55048" y="169664"/>
                      <a:pt x="55767" y="168707"/>
                      <a:pt x="56439" y="167749"/>
                    </a:cubicBezTo>
                    <a:cubicBezTo>
                      <a:pt x="57111" y="166743"/>
                      <a:pt x="57782" y="165833"/>
                      <a:pt x="58502" y="164875"/>
                    </a:cubicBezTo>
                    <a:cubicBezTo>
                      <a:pt x="59893" y="163055"/>
                      <a:pt x="61284" y="161187"/>
                      <a:pt x="62675" y="159415"/>
                    </a:cubicBezTo>
                    <a:cubicBezTo>
                      <a:pt x="64019" y="157595"/>
                      <a:pt x="65458" y="155919"/>
                      <a:pt x="66801" y="154195"/>
                    </a:cubicBezTo>
                    <a:cubicBezTo>
                      <a:pt x="68192" y="152470"/>
                      <a:pt x="69535" y="150842"/>
                      <a:pt x="70879" y="149261"/>
                    </a:cubicBezTo>
                    <a:cubicBezTo>
                      <a:pt x="72270" y="147681"/>
                      <a:pt x="73565" y="146148"/>
                      <a:pt x="74860" y="144664"/>
                    </a:cubicBezTo>
                    <a:cubicBezTo>
                      <a:pt x="76156" y="143179"/>
                      <a:pt x="77451" y="141838"/>
                      <a:pt x="78698" y="140497"/>
                    </a:cubicBezTo>
                    <a:cubicBezTo>
                      <a:pt x="79945" y="139156"/>
                      <a:pt x="81097" y="137863"/>
                      <a:pt x="82248" y="136617"/>
                    </a:cubicBezTo>
                    <a:cubicBezTo>
                      <a:pt x="83447" y="135420"/>
                      <a:pt x="84599" y="134223"/>
                      <a:pt x="85702" y="133121"/>
                    </a:cubicBezTo>
                    <a:cubicBezTo>
                      <a:pt x="86758" y="132020"/>
                      <a:pt x="87813" y="131014"/>
                      <a:pt x="88724" y="130056"/>
                    </a:cubicBezTo>
                    <a:cubicBezTo>
                      <a:pt x="89252" y="129577"/>
                      <a:pt x="89588" y="129194"/>
                      <a:pt x="90020" y="128811"/>
                    </a:cubicBezTo>
                    <a:cubicBezTo>
                      <a:pt x="90403" y="128475"/>
                      <a:pt x="90787" y="128092"/>
                      <a:pt x="91123" y="127757"/>
                    </a:cubicBezTo>
                    <a:cubicBezTo>
                      <a:pt x="91891" y="127039"/>
                      <a:pt x="92562" y="126368"/>
                      <a:pt x="93138" y="125793"/>
                    </a:cubicBezTo>
                    <a:close/>
                    <a:moveTo>
                      <a:pt x="476526" y="108336"/>
                    </a:moveTo>
                    <a:cubicBezTo>
                      <a:pt x="477389" y="109007"/>
                      <a:pt x="478541" y="109869"/>
                      <a:pt x="479836" y="110875"/>
                    </a:cubicBezTo>
                    <a:cubicBezTo>
                      <a:pt x="480747" y="111594"/>
                      <a:pt x="481755" y="112360"/>
                      <a:pt x="482858" y="113223"/>
                    </a:cubicBezTo>
                    <a:cubicBezTo>
                      <a:pt x="483914" y="114085"/>
                      <a:pt x="485065" y="115043"/>
                      <a:pt x="486312" y="116049"/>
                    </a:cubicBezTo>
                    <a:cubicBezTo>
                      <a:pt x="487560" y="117055"/>
                      <a:pt x="488855" y="118157"/>
                      <a:pt x="490246" y="119307"/>
                    </a:cubicBezTo>
                    <a:cubicBezTo>
                      <a:pt x="491589" y="120457"/>
                      <a:pt x="493029" y="121702"/>
                      <a:pt x="494516" y="122996"/>
                    </a:cubicBezTo>
                    <a:cubicBezTo>
                      <a:pt x="495955" y="124337"/>
                      <a:pt x="497538" y="125631"/>
                      <a:pt x="499121" y="127116"/>
                    </a:cubicBezTo>
                    <a:cubicBezTo>
                      <a:pt x="500656" y="128553"/>
                      <a:pt x="502240" y="130038"/>
                      <a:pt x="503919" y="131571"/>
                    </a:cubicBezTo>
                    <a:cubicBezTo>
                      <a:pt x="505598" y="133104"/>
                      <a:pt x="507229" y="134781"/>
                      <a:pt x="508908" y="136458"/>
                    </a:cubicBezTo>
                    <a:cubicBezTo>
                      <a:pt x="510587" y="138134"/>
                      <a:pt x="512314" y="139811"/>
                      <a:pt x="513993" y="141632"/>
                    </a:cubicBezTo>
                    <a:cubicBezTo>
                      <a:pt x="515720" y="143404"/>
                      <a:pt x="517447" y="145225"/>
                      <a:pt x="519174" y="147093"/>
                    </a:cubicBezTo>
                    <a:cubicBezTo>
                      <a:pt x="520038" y="148003"/>
                      <a:pt x="520901" y="148962"/>
                      <a:pt x="521765" y="149920"/>
                    </a:cubicBezTo>
                    <a:cubicBezTo>
                      <a:pt x="522580" y="150926"/>
                      <a:pt x="523444" y="151884"/>
                      <a:pt x="524307" y="152842"/>
                    </a:cubicBezTo>
                    <a:cubicBezTo>
                      <a:pt x="525171" y="153848"/>
                      <a:pt x="526034" y="154806"/>
                      <a:pt x="526898" y="155812"/>
                    </a:cubicBezTo>
                    <a:cubicBezTo>
                      <a:pt x="527761" y="156770"/>
                      <a:pt x="528577" y="157824"/>
                      <a:pt x="529441" y="158830"/>
                    </a:cubicBezTo>
                    <a:cubicBezTo>
                      <a:pt x="531072" y="160843"/>
                      <a:pt x="532799" y="162855"/>
                      <a:pt x="534430" y="164915"/>
                    </a:cubicBezTo>
                    <a:cubicBezTo>
                      <a:pt x="536061" y="167023"/>
                      <a:pt x="537692" y="169131"/>
                      <a:pt x="539275" y="171191"/>
                    </a:cubicBezTo>
                    <a:lnTo>
                      <a:pt x="540522" y="172771"/>
                    </a:lnTo>
                    <a:lnTo>
                      <a:pt x="541674" y="174352"/>
                    </a:lnTo>
                    <a:cubicBezTo>
                      <a:pt x="542441" y="175406"/>
                      <a:pt x="543209" y="176508"/>
                      <a:pt x="543977" y="177562"/>
                    </a:cubicBezTo>
                    <a:cubicBezTo>
                      <a:pt x="547047" y="181730"/>
                      <a:pt x="549877" y="186042"/>
                      <a:pt x="552660" y="190162"/>
                    </a:cubicBezTo>
                    <a:cubicBezTo>
                      <a:pt x="554003" y="192270"/>
                      <a:pt x="555298" y="194330"/>
                      <a:pt x="556546" y="196342"/>
                    </a:cubicBezTo>
                    <a:cubicBezTo>
                      <a:pt x="557217" y="197396"/>
                      <a:pt x="557841" y="198402"/>
                      <a:pt x="558465" y="199360"/>
                    </a:cubicBezTo>
                    <a:cubicBezTo>
                      <a:pt x="559040" y="200366"/>
                      <a:pt x="559616" y="201372"/>
                      <a:pt x="560192" y="202378"/>
                    </a:cubicBezTo>
                    <a:cubicBezTo>
                      <a:pt x="561343" y="204342"/>
                      <a:pt x="562494" y="206259"/>
                      <a:pt x="563550" y="208127"/>
                    </a:cubicBezTo>
                    <a:cubicBezTo>
                      <a:pt x="564605" y="209995"/>
                      <a:pt x="565613" y="211816"/>
                      <a:pt x="566572" y="213589"/>
                    </a:cubicBezTo>
                    <a:cubicBezTo>
                      <a:pt x="567052" y="214451"/>
                      <a:pt x="567484" y="215313"/>
                      <a:pt x="567963" y="216176"/>
                    </a:cubicBezTo>
                    <a:cubicBezTo>
                      <a:pt x="568395" y="217038"/>
                      <a:pt x="568827" y="217756"/>
                      <a:pt x="569307" y="218715"/>
                    </a:cubicBezTo>
                    <a:cubicBezTo>
                      <a:pt x="570170" y="220439"/>
                      <a:pt x="570986" y="222116"/>
                      <a:pt x="571801" y="223697"/>
                    </a:cubicBezTo>
                    <a:cubicBezTo>
                      <a:pt x="572569" y="225278"/>
                      <a:pt x="573288" y="226763"/>
                      <a:pt x="573960" y="228104"/>
                    </a:cubicBezTo>
                    <a:cubicBezTo>
                      <a:pt x="574488" y="229206"/>
                      <a:pt x="574967" y="230212"/>
                      <a:pt x="575399" y="231123"/>
                    </a:cubicBezTo>
                    <a:cubicBezTo>
                      <a:pt x="575831" y="232081"/>
                      <a:pt x="576263" y="232943"/>
                      <a:pt x="576599" y="233662"/>
                    </a:cubicBezTo>
                    <a:cubicBezTo>
                      <a:pt x="577366" y="235291"/>
                      <a:pt x="576599" y="237255"/>
                      <a:pt x="574919" y="237925"/>
                    </a:cubicBezTo>
                    <a:lnTo>
                      <a:pt x="479308" y="276299"/>
                    </a:lnTo>
                    <a:cubicBezTo>
                      <a:pt x="477629" y="276970"/>
                      <a:pt x="475710" y="276108"/>
                      <a:pt x="475135" y="274383"/>
                    </a:cubicBezTo>
                    <a:cubicBezTo>
                      <a:pt x="474895" y="273616"/>
                      <a:pt x="474607" y="272706"/>
                      <a:pt x="474271" y="271700"/>
                    </a:cubicBezTo>
                    <a:cubicBezTo>
                      <a:pt x="473935" y="270790"/>
                      <a:pt x="473599" y="269784"/>
                      <a:pt x="473264" y="268682"/>
                    </a:cubicBezTo>
                    <a:cubicBezTo>
                      <a:pt x="472976" y="267915"/>
                      <a:pt x="472640" y="267053"/>
                      <a:pt x="472352" y="266143"/>
                    </a:cubicBezTo>
                    <a:cubicBezTo>
                      <a:pt x="472016" y="265185"/>
                      <a:pt x="471680" y="264227"/>
                      <a:pt x="471345" y="263173"/>
                    </a:cubicBezTo>
                    <a:cubicBezTo>
                      <a:pt x="471201" y="262694"/>
                      <a:pt x="470913" y="262071"/>
                      <a:pt x="470673" y="261448"/>
                    </a:cubicBezTo>
                    <a:cubicBezTo>
                      <a:pt x="470433" y="260873"/>
                      <a:pt x="470193" y="260250"/>
                      <a:pt x="469953" y="259628"/>
                    </a:cubicBezTo>
                    <a:cubicBezTo>
                      <a:pt x="469474" y="258334"/>
                      <a:pt x="468946" y="256993"/>
                      <a:pt x="468418" y="255651"/>
                    </a:cubicBezTo>
                    <a:cubicBezTo>
                      <a:pt x="467795" y="254310"/>
                      <a:pt x="467219" y="252921"/>
                      <a:pt x="466595" y="251483"/>
                    </a:cubicBezTo>
                    <a:cubicBezTo>
                      <a:pt x="466307" y="250765"/>
                      <a:pt x="465972" y="249998"/>
                      <a:pt x="465684" y="249280"/>
                    </a:cubicBezTo>
                    <a:cubicBezTo>
                      <a:pt x="465300" y="248561"/>
                      <a:pt x="464964" y="247794"/>
                      <a:pt x="464628" y="247076"/>
                    </a:cubicBezTo>
                    <a:cubicBezTo>
                      <a:pt x="463957" y="245591"/>
                      <a:pt x="463237" y="244058"/>
                      <a:pt x="462517" y="242477"/>
                    </a:cubicBezTo>
                    <a:cubicBezTo>
                      <a:pt x="460934" y="239459"/>
                      <a:pt x="459399" y="236249"/>
                      <a:pt x="457624" y="233135"/>
                    </a:cubicBezTo>
                    <a:cubicBezTo>
                      <a:pt x="457192" y="232320"/>
                      <a:pt x="456761" y="231554"/>
                      <a:pt x="456329" y="230739"/>
                    </a:cubicBezTo>
                    <a:lnTo>
                      <a:pt x="455657" y="229542"/>
                    </a:lnTo>
                    <a:lnTo>
                      <a:pt x="454986" y="228392"/>
                    </a:lnTo>
                    <a:cubicBezTo>
                      <a:pt x="454026" y="226811"/>
                      <a:pt x="453115" y="225230"/>
                      <a:pt x="452155" y="223649"/>
                    </a:cubicBezTo>
                    <a:cubicBezTo>
                      <a:pt x="451244" y="222068"/>
                      <a:pt x="450188" y="220535"/>
                      <a:pt x="449229" y="219002"/>
                    </a:cubicBezTo>
                    <a:cubicBezTo>
                      <a:pt x="448749" y="218236"/>
                      <a:pt x="448269" y="217421"/>
                      <a:pt x="447742" y="216703"/>
                    </a:cubicBezTo>
                    <a:cubicBezTo>
                      <a:pt x="447262" y="215936"/>
                      <a:pt x="446734" y="215169"/>
                      <a:pt x="446206" y="214451"/>
                    </a:cubicBezTo>
                    <a:cubicBezTo>
                      <a:pt x="445727" y="213684"/>
                      <a:pt x="445199" y="212918"/>
                      <a:pt x="444719" y="212199"/>
                    </a:cubicBezTo>
                    <a:cubicBezTo>
                      <a:pt x="444192" y="211433"/>
                      <a:pt x="443712" y="210714"/>
                      <a:pt x="443136" y="209995"/>
                    </a:cubicBezTo>
                    <a:cubicBezTo>
                      <a:pt x="442129" y="208558"/>
                      <a:pt x="441073" y="207169"/>
                      <a:pt x="440066" y="205732"/>
                    </a:cubicBezTo>
                    <a:cubicBezTo>
                      <a:pt x="439058" y="204342"/>
                      <a:pt x="437955" y="203049"/>
                      <a:pt x="436948" y="201708"/>
                    </a:cubicBezTo>
                    <a:cubicBezTo>
                      <a:pt x="435892" y="200414"/>
                      <a:pt x="434933" y="199121"/>
                      <a:pt x="433877" y="197923"/>
                    </a:cubicBezTo>
                    <a:cubicBezTo>
                      <a:pt x="432870" y="196677"/>
                      <a:pt x="431862" y="195480"/>
                      <a:pt x="430903" y="194330"/>
                    </a:cubicBezTo>
                    <a:cubicBezTo>
                      <a:pt x="429991" y="193180"/>
                      <a:pt x="428984" y="192126"/>
                      <a:pt x="428072" y="191072"/>
                    </a:cubicBezTo>
                    <a:cubicBezTo>
                      <a:pt x="427161" y="190066"/>
                      <a:pt x="426249" y="189060"/>
                      <a:pt x="425386" y="188102"/>
                    </a:cubicBezTo>
                    <a:cubicBezTo>
                      <a:pt x="424522" y="187192"/>
                      <a:pt x="423707" y="186329"/>
                      <a:pt x="422939" y="185515"/>
                    </a:cubicBezTo>
                    <a:cubicBezTo>
                      <a:pt x="422172" y="184700"/>
                      <a:pt x="421404" y="183934"/>
                      <a:pt x="420733" y="183215"/>
                    </a:cubicBezTo>
                    <a:cubicBezTo>
                      <a:pt x="420061" y="182497"/>
                      <a:pt x="419437" y="181874"/>
                      <a:pt x="418862" y="181299"/>
                    </a:cubicBezTo>
                    <a:cubicBezTo>
                      <a:pt x="418238" y="180724"/>
                      <a:pt x="417710" y="180197"/>
                      <a:pt x="417230" y="179718"/>
                    </a:cubicBezTo>
                    <a:cubicBezTo>
                      <a:pt x="416079" y="178568"/>
                      <a:pt x="415983" y="176748"/>
                      <a:pt x="417039" y="175502"/>
                    </a:cubicBezTo>
                    <a:lnTo>
                      <a:pt x="472160" y="108815"/>
                    </a:lnTo>
                    <a:cubicBezTo>
                      <a:pt x="473264" y="107522"/>
                      <a:pt x="475182" y="107330"/>
                      <a:pt x="476526" y="108336"/>
                    </a:cubicBezTo>
                    <a:close/>
                    <a:moveTo>
                      <a:pt x="400772" y="66120"/>
                    </a:moveTo>
                    <a:cubicBezTo>
                      <a:pt x="401348" y="66359"/>
                      <a:pt x="401971" y="66551"/>
                      <a:pt x="402547" y="66790"/>
                    </a:cubicBezTo>
                    <a:cubicBezTo>
                      <a:pt x="404802" y="67652"/>
                      <a:pt x="407010" y="68610"/>
                      <a:pt x="409169" y="69471"/>
                    </a:cubicBezTo>
                    <a:cubicBezTo>
                      <a:pt x="411328" y="70381"/>
                      <a:pt x="413488" y="71291"/>
                      <a:pt x="415503" y="72200"/>
                    </a:cubicBezTo>
                    <a:cubicBezTo>
                      <a:pt x="417518" y="73158"/>
                      <a:pt x="419534" y="74067"/>
                      <a:pt x="421453" y="74929"/>
                    </a:cubicBezTo>
                    <a:cubicBezTo>
                      <a:pt x="423372" y="75791"/>
                      <a:pt x="425148" y="76748"/>
                      <a:pt x="426923" y="77610"/>
                    </a:cubicBezTo>
                    <a:cubicBezTo>
                      <a:pt x="428651" y="78472"/>
                      <a:pt x="430330" y="79334"/>
                      <a:pt x="431962" y="80100"/>
                    </a:cubicBezTo>
                    <a:cubicBezTo>
                      <a:pt x="433641" y="81057"/>
                      <a:pt x="435224" y="81919"/>
                      <a:pt x="436712" y="82733"/>
                    </a:cubicBezTo>
                    <a:cubicBezTo>
                      <a:pt x="438199" y="83547"/>
                      <a:pt x="439591" y="84313"/>
                      <a:pt x="440887" y="85031"/>
                    </a:cubicBezTo>
                    <a:cubicBezTo>
                      <a:pt x="441462" y="85318"/>
                      <a:pt x="441990" y="85653"/>
                      <a:pt x="442518" y="85941"/>
                    </a:cubicBezTo>
                    <a:cubicBezTo>
                      <a:pt x="442950" y="86180"/>
                      <a:pt x="443430" y="86467"/>
                      <a:pt x="443862" y="86707"/>
                    </a:cubicBezTo>
                    <a:cubicBezTo>
                      <a:pt x="444773" y="87233"/>
                      <a:pt x="445589" y="87664"/>
                      <a:pt x="446309" y="88095"/>
                    </a:cubicBezTo>
                    <a:cubicBezTo>
                      <a:pt x="447844" y="89005"/>
                      <a:pt x="448372" y="91016"/>
                      <a:pt x="447364" y="92548"/>
                    </a:cubicBezTo>
                    <a:lnTo>
                      <a:pt x="401923" y="161633"/>
                    </a:lnTo>
                    <a:cubicBezTo>
                      <a:pt x="400916" y="163117"/>
                      <a:pt x="398852" y="163500"/>
                      <a:pt x="397365" y="162399"/>
                    </a:cubicBezTo>
                    <a:cubicBezTo>
                      <a:pt x="396741" y="161920"/>
                      <a:pt x="395973" y="161346"/>
                      <a:pt x="395110" y="160723"/>
                    </a:cubicBezTo>
                    <a:cubicBezTo>
                      <a:pt x="394726" y="160436"/>
                      <a:pt x="394342" y="160149"/>
                      <a:pt x="393862" y="159814"/>
                    </a:cubicBezTo>
                    <a:cubicBezTo>
                      <a:pt x="393478" y="159478"/>
                      <a:pt x="392950" y="159095"/>
                      <a:pt x="392614" y="158904"/>
                    </a:cubicBezTo>
                    <a:cubicBezTo>
                      <a:pt x="391895" y="158377"/>
                      <a:pt x="391127" y="157803"/>
                      <a:pt x="390311" y="157228"/>
                    </a:cubicBezTo>
                    <a:cubicBezTo>
                      <a:pt x="389447" y="156606"/>
                      <a:pt x="388584" y="155983"/>
                      <a:pt x="387624" y="155265"/>
                    </a:cubicBezTo>
                    <a:cubicBezTo>
                      <a:pt x="386568" y="154595"/>
                      <a:pt x="385465" y="153829"/>
                      <a:pt x="384265" y="153063"/>
                    </a:cubicBezTo>
                    <a:cubicBezTo>
                      <a:pt x="383257" y="152393"/>
                      <a:pt x="382250" y="151675"/>
                      <a:pt x="381194" y="151004"/>
                    </a:cubicBezTo>
                    <a:close/>
                    <a:moveTo>
                      <a:pt x="259999" y="48013"/>
                    </a:moveTo>
                    <a:cubicBezTo>
                      <a:pt x="261774" y="47773"/>
                      <a:pt x="263406" y="49114"/>
                      <a:pt x="263502" y="50935"/>
                    </a:cubicBezTo>
                    <a:lnTo>
                      <a:pt x="267581" y="113266"/>
                    </a:lnTo>
                    <a:cubicBezTo>
                      <a:pt x="267725" y="115087"/>
                      <a:pt x="266285" y="116620"/>
                      <a:pt x="264462" y="116620"/>
                    </a:cubicBezTo>
                    <a:cubicBezTo>
                      <a:pt x="263694" y="116620"/>
                      <a:pt x="262734" y="116620"/>
                      <a:pt x="261678" y="116620"/>
                    </a:cubicBezTo>
                    <a:cubicBezTo>
                      <a:pt x="260670" y="116668"/>
                      <a:pt x="259615" y="116668"/>
                      <a:pt x="258463" y="116668"/>
                    </a:cubicBezTo>
                    <a:cubicBezTo>
                      <a:pt x="257503" y="116716"/>
                      <a:pt x="256447" y="116716"/>
                      <a:pt x="255392" y="116763"/>
                    </a:cubicBezTo>
                    <a:cubicBezTo>
                      <a:pt x="254288" y="116811"/>
                      <a:pt x="253088" y="116811"/>
                      <a:pt x="251888" y="116859"/>
                    </a:cubicBezTo>
                    <a:cubicBezTo>
                      <a:pt x="251264" y="116859"/>
                      <a:pt x="250544" y="116907"/>
                      <a:pt x="249873" y="116955"/>
                    </a:cubicBezTo>
                    <a:cubicBezTo>
                      <a:pt x="249153" y="117003"/>
                      <a:pt x="248433" y="117051"/>
                      <a:pt x="247713" y="117099"/>
                    </a:cubicBezTo>
                    <a:cubicBezTo>
                      <a:pt x="246273" y="117195"/>
                      <a:pt x="244738" y="117290"/>
                      <a:pt x="243154" y="117434"/>
                    </a:cubicBezTo>
                    <a:cubicBezTo>
                      <a:pt x="241570" y="117578"/>
                      <a:pt x="239938" y="117722"/>
                      <a:pt x="238259" y="117913"/>
                    </a:cubicBezTo>
                    <a:cubicBezTo>
                      <a:pt x="237443" y="118009"/>
                      <a:pt x="236579" y="118105"/>
                      <a:pt x="235715" y="118153"/>
                    </a:cubicBezTo>
                    <a:cubicBezTo>
                      <a:pt x="234851" y="118249"/>
                      <a:pt x="233988" y="118392"/>
                      <a:pt x="233124" y="118536"/>
                    </a:cubicBezTo>
                    <a:cubicBezTo>
                      <a:pt x="231396" y="118776"/>
                      <a:pt x="229572" y="119015"/>
                      <a:pt x="227749" y="119255"/>
                    </a:cubicBezTo>
                    <a:cubicBezTo>
                      <a:pt x="225925" y="119590"/>
                      <a:pt x="224102" y="119878"/>
                      <a:pt x="222230" y="120213"/>
                    </a:cubicBezTo>
                    <a:cubicBezTo>
                      <a:pt x="221270" y="120405"/>
                      <a:pt x="220358" y="120548"/>
                      <a:pt x="219398" y="120740"/>
                    </a:cubicBezTo>
                    <a:cubicBezTo>
                      <a:pt x="218439" y="120932"/>
                      <a:pt x="217527" y="121123"/>
                      <a:pt x="216567" y="121315"/>
                    </a:cubicBezTo>
                    <a:cubicBezTo>
                      <a:pt x="215607" y="121507"/>
                      <a:pt x="214647" y="121746"/>
                      <a:pt x="213688" y="121938"/>
                    </a:cubicBezTo>
                    <a:cubicBezTo>
                      <a:pt x="212727" y="122129"/>
                      <a:pt x="211768" y="122321"/>
                      <a:pt x="210808" y="122561"/>
                    </a:cubicBezTo>
                    <a:cubicBezTo>
                      <a:pt x="208936" y="123040"/>
                      <a:pt x="206969" y="123519"/>
                      <a:pt x="205049" y="123998"/>
                    </a:cubicBezTo>
                    <a:cubicBezTo>
                      <a:pt x="203129" y="124477"/>
                      <a:pt x="201258" y="125052"/>
                      <a:pt x="199338" y="125579"/>
                    </a:cubicBezTo>
                    <a:cubicBezTo>
                      <a:pt x="198426" y="125866"/>
                      <a:pt x="197466" y="126106"/>
                      <a:pt x="196507" y="126393"/>
                    </a:cubicBezTo>
                    <a:cubicBezTo>
                      <a:pt x="195547" y="126729"/>
                      <a:pt x="194635" y="127016"/>
                      <a:pt x="193723" y="127304"/>
                    </a:cubicBezTo>
                    <a:cubicBezTo>
                      <a:pt x="192763" y="127591"/>
                      <a:pt x="191852" y="127927"/>
                      <a:pt x="190940" y="128214"/>
                    </a:cubicBezTo>
                    <a:cubicBezTo>
                      <a:pt x="189980" y="128501"/>
                      <a:pt x="189068" y="128789"/>
                      <a:pt x="188156" y="129124"/>
                    </a:cubicBezTo>
                    <a:cubicBezTo>
                      <a:pt x="186381" y="129795"/>
                      <a:pt x="184557" y="130418"/>
                      <a:pt x="182829" y="131041"/>
                    </a:cubicBezTo>
                    <a:cubicBezTo>
                      <a:pt x="181054" y="131663"/>
                      <a:pt x="179374" y="132430"/>
                      <a:pt x="177694" y="133053"/>
                    </a:cubicBezTo>
                    <a:cubicBezTo>
                      <a:pt x="176015" y="133724"/>
                      <a:pt x="174335" y="134394"/>
                      <a:pt x="172799" y="135113"/>
                    </a:cubicBezTo>
                    <a:cubicBezTo>
                      <a:pt x="171216" y="135784"/>
                      <a:pt x="169680" y="136455"/>
                      <a:pt x="168192" y="137125"/>
                    </a:cubicBezTo>
                    <a:cubicBezTo>
                      <a:pt x="166704" y="137748"/>
                      <a:pt x="165313" y="138467"/>
                      <a:pt x="163921" y="139090"/>
                    </a:cubicBezTo>
                    <a:cubicBezTo>
                      <a:pt x="162577" y="139760"/>
                      <a:pt x="161281" y="140383"/>
                      <a:pt x="160034" y="140958"/>
                    </a:cubicBezTo>
                    <a:cubicBezTo>
                      <a:pt x="158786" y="141629"/>
                      <a:pt x="157634" y="142204"/>
                      <a:pt x="156578" y="142779"/>
                    </a:cubicBezTo>
                    <a:cubicBezTo>
                      <a:pt x="155475" y="143354"/>
                      <a:pt x="154419" y="143881"/>
                      <a:pt x="153507" y="144360"/>
                    </a:cubicBezTo>
                    <a:cubicBezTo>
                      <a:pt x="152547" y="144887"/>
                      <a:pt x="151731" y="145366"/>
                      <a:pt x="150963" y="145797"/>
                    </a:cubicBezTo>
                    <a:cubicBezTo>
                      <a:pt x="150052" y="146276"/>
                      <a:pt x="149284" y="146755"/>
                      <a:pt x="148612" y="147091"/>
                    </a:cubicBezTo>
                    <a:cubicBezTo>
                      <a:pt x="147172" y="147905"/>
                      <a:pt x="145396" y="147474"/>
                      <a:pt x="144485" y="146132"/>
                    </a:cubicBezTo>
                    <a:lnTo>
                      <a:pt x="118522" y="108092"/>
                    </a:lnTo>
                    <a:cubicBezTo>
                      <a:pt x="117562" y="106702"/>
                      <a:pt x="117898" y="104786"/>
                      <a:pt x="119290" y="103780"/>
                    </a:cubicBezTo>
                    <a:cubicBezTo>
                      <a:pt x="120105" y="103157"/>
                      <a:pt x="121113" y="102438"/>
                      <a:pt x="122265" y="101576"/>
                    </a:cubicBezTo>
                    <a:cubicBezTo>
                      <a:pt x="123129" y="100953"/>
                      <a:pt x="124089" y="100187"/>
                      <a:pt x="125144" y="99468"/>
                    </a:cubicBezTo>
                    <a:cubicBezTo>
                      <a:pt x="126248" y="98749"/>
                      <a:pt x="127400" y="97935"/>
                      <a:pt x="128648" y="97072"/>
                    </a:cubicBezTo>
                    <a:cubicBezTo>
                      <a:pt x="129895" y="96210"/>
                      <a:pt x="131191" y="95348"/>
                      <a:pt x="132583" y="94389"/>
                    </a:cubicBezTo>
                    <a:cubicBezTo>
                      <a:pt x="134023" y="93479"/>
                      <a:pt x="135510" y="92521"/>
                      <a:pt x="137046" y="91515"/>
                    </a:cubicBezTo>
                    <a:cubicBezTo>
                      <a:pt x="138630" y="90509"/>
                      <a:pt x="140261" y="89455"/>
                      <a:pt x="141989" y="88449"/>
                    </a:cubicBezTo>
                    <a:cubicBezTo>
                      <a:pt x="143669" y="87395"/>
                      <a:pt x="145492" y="86341"/>
                      <a:pt x="147316" y="85287"/>
                    </a:cubicBezTo>
                    <a:cubicBezTo>
                      <a:pt x="149140" y="84137"/>
                      <a:pt x="151059" y="83131"/>
                      <a:pt x="153027" y="82029"/>
                    </a:cubicBezTo>
                    <a:cubicBezTo>
                      <a:pt x="154995" y="80975"/>
                      <a:pt x="156962" y="79825"/>
                      <a:pt x="159074" y="78819"/>
                    </a:cubicBezTo>
                    <a:cubicBezTo>
                      <a:pt x="161137" y="77765"/>
                      <a:pt x="163249" y="76663"/>
                      <a:pt x="165409" y="75609"/>
                    </a:cubicBezTo>
                    <a:cubicBezTo>
                      <a:pt x="166464" y="75034"/>
                      <a:pt x="167568" y="74555"/>
                      <a:pt x="168672" y="74028"/>
                    </a:cubicBezTo>
                    <a:cubicBezTo>
                      <a:pt x="169776" y="73501"/>
                      <a:pt x="170880" y="73022"/>
                      <a:pt x="172031" y="72495"/>
                    </a:cubicBezTo>
                    <a:cubicBezTo>
                      <a:pt x="173135" y="71968"/>
                      <a:pt x="174239" y="71441"/>
                      <a:pt x="175391" y="70961"/>
                    </a:cubicBezTo>
                    <a:cubicBezTo>
                      <a:pt x="176494" y="70434"/>
                      <a:pt x="177646" y="69955"/>
                      <a:pt x="178798" y="69476"/>
                    </a:cubicBezTo>
                    <a:cubicBezTo>
                      <a:pt x="181102" y="68518"/>
                      <a:pt x="183405" y="67512"/>
                      <a:pt x="185709" y="66602"/>
                    </a:cubicBezTo>
                    <a:cubicBezTo>
                      <a:pt x="188060" y="65739"/>
                      <a:pt x="190412" y="64829"/>
                      <a:pt x="192715" y="63919"/>
                    </a:cubicBezTo>
                    <a:cubicBezTo>
                      <a:pt x="193915" y="63487"/>
                      <a:pt x="195067" y="63056"/>
                      <a:pt x="196267" y="62673"/>
                    </a:cubicBezTo>
                    <a:cubicBezTo>
                      <a:pt x="197418" y="62290"/>
                      <a:pt x="198618" y="61859"/>
                      <a:pt x="199770" y="61475"/>
                    </a:cubicBezTo>
                    <a:cubicBezTo>
                      <a:pt x="200922" y="61092"/>
                      <a:pt x="202122" y="60661"/>
                      <a:pt x="203273" y="60278"/>
                    </a:cubicBezTo>
                    <a:cubicBezTo>
                      <a:pt x="204425" y="59894"/>
                      <a:pt x="205625" y="59559"/>
                      <a:pt x="206777" y="59224"/>
                    </a:cubicBezTo>
                    <a:cubicBezTo>
                      <a:pt x="209080" y="58505"/>
                      <a:pt x="211384" y="57834"/>
                      <a:pt x="213640" y="57115"/>
                    </a:cubicBezTo>
                    <a:cubicBezTo>
                      <a:pt x="215943" y="56541"/>
                      <a:pt x="218199" y="55918"/>
                      <a:pt x="220358" y="55343"/>
                    </a:cubicBezTo>
                    <a:cubicBezTo>
                      <a:pt x="221462" y="55055"/>
                      <a:pt x="222566" y="54768"/>
                      <a:pt x="223670" y="54480"/>
                    </a:cubicBezTo>
                    <a:cubicBezTo>
                      <a:pt x="224725" y="54241"/>
                      <a:pt x="225781" y="54001"/>
                      <a:pt x="226837" y="53762"/>
                    </a:cubicBezTo>
                    <a:cubicBezTo>
                      <a:pt x="228997" y="53283"/>
                      <a:pt x="231012" y="52804"/>
                      <a:pt x="233028" y="52372"/>
                    </a:cubicBezTo>
                    <a:cubicBezTo>
                      <a:pt x="235043" y="51989"/>
                      <a:pt x="236963" y="51606"/>
                      <a:pt x="238835" y="51223"/>
                    </a:cubicBezTo>
                    <a:cubicBezTo>
                      <a:pt x="239747" y="51079"/>
                      <a:pt x="240658" y="50887"/>
                      <a:pt x="241570" y="50696"/>
                    </a:cubicBezTo>
                    <a:cubicBezTo>
                      <a:pt x="242482" y="50552"/>
                      <a:pt x="243298" y="50360"/>
                      <a:pt x="244258" y="50264"/>
                    </a:cubicBezTo>
                    <a:cubicBezTo>
                      <a:pt x="246081" y="49977"/>
                      <a:pt x="247761" y="49689"/>
                      <a:pt x="249393" y="49450"/>
                    </a:cubicBezTo>
                    <a:cubicBezTo>
                      <a:pt x="251024" y="49210"/>
                      <a:pt x="252512" y="49019"/>
                      <a:pt x="253904" y="48779"/>
                    </a:cubicBezTo>
                    <a:cubicBezTo>
                      <a:pt x="255104" y="48635"/>
                      <a:pt x="256207" y="48492"/>
                      <a:pt x="257167" y="48396"/>
                    </a:cubicBezTo>
                    <a:cubicBezTo>
                      <a:pt x="258223" y="48252"/>
                      <a:pt x="259183" y="48108"/>
                      <a:pt x="259999" y="48013"/>
                    </a:cubicBezTo>
                    <a:close/>
                    <a:moveTo>
                      <a:pt x="295372" y="46150"/>
                    </a:moveTo>
                    <a:cubicBezTo>
                      <a:pt x="296427" y="46150"/>
                      <a:pt x="297771" y="46198"/>
                      <a:pt x="299306" y="46198"/>
                    </a:cubicBezTo>
                    <a:cubicBezTo>
                      <a:pt x="300457" y="46246"/>
                      <a:pt x="301705" y="46246"/>
                      <a:pt x="303048" y="46246"/>
                    </a:cubicBezTo>
                    <a:cubicBezTo>
                      <a:pt x="304392" y="46341"/>
                      <a:pt x="305831" y="46389"/>
                      <a:pt x="307414" y="46485"/>
                    </a:cubicBezTo>
                    <a:cubicBezTo>
                      <a:pt x="308949" y="46533"/>
                      <a:pt x="310629" y="46629"/>
                      <a:pt x="312356" y="46724"/>
                    </a:cubicBezTo>
                    <a:cubicBezTo>
                      <a:pt x="314131" y="46820"/>
                      <a:pt x="315954" y="47012"/>
                      <a:pt x="317873" y="47155"/>
                    </a:cubicBezTo>
                    <a:cubicBezTo>
                      <a:pt x="319792" y="47299"/>
                      <a:pt x="321759" y="47490"/>
                      <a:pt x="323870" y="47634"/>
                    </a:cubicBezTo>
                    <a:cubicBezTo>
                      <a:pt x="325933" y="47873"/>
                      <a:pt x="328044" y="48161"/>
                      <a:pt x="330251" y="48400"/>
                    </a:cubicBezTo>
                    <a:cubicBezTo>
                      <a:pt x="331354" y="48543"/>
                      <a:pt x="332458" y="48687"/>
                      <a:pt x="333561" y="48831"/>
                    </a:cubicBezTo>
                    <a:cubicBezTo>
                      <a:pt x="334713" y="48974"/>
                      <a:pt x="335816" y="49166"/>
                      <a:pt x="336968" y="49309"/>
                    </a:cubicBezTo>
                    <a:cubicBezTo>
                      <a:pt x="338647" y="49597"/>
                      <a:pt x="340374" y="49836"/>
                      <a:pt x="342101" y="50123"/>
                    </a:cubicBezTo>
                    <a:lnTo>
                      <a:pt x="307318" y="121161"/>
                    </a:lnTo>
                    <a:cubicBezTo>
                      <a:pt x="306071" y="120874"/>
                      <a:pt x="304919" y="120634"/>
                      <a:pt x="303816" y="120443"/>
                    </a:cubicBezTo>
                    <a:cubicBezTo>
                      <a:pt x="302520" y="120204"/>
                      <a:pt x="301273" y="120012"/>
                      <a:pt x="300122" y="119821"/>
                    </a:cubicBezTo>
                    <a:cubicBezTo>
                      <a:pt x="298970" y="119581"/>
                      <a:pt x="297867" y="119390"/>
                      <a:pt x="296859" y="119246"/>
                    </a:cubicBezTo>
                    <a:cubicBezTo>
                      <a:pt x="295852" y="119103"/>
                      <a:pt x="294940" y="118959"/>
                      <a:pt x="294125" y="118863"/>
                    </a:cubicBezTo>
                    <a:cubicBezTo>
                      <a:pt x="293213" y="118720"/>
                      <a:pt x="292397" y="118624"/>
                      <a:pt x="291726" y="118528"/>
                    </a:cubicBezTo>
                    <a:cubicBezTo>
                      <a:pt x="290095" y="118289"/>
                      <a:pt x="288895" y="116901"/>
                      <a:pt x="288991" y="115273"/>
                    </a:cubicBezTo>
                    <a:lnTo>
                      <a:pt x="292158" y="49166"/>
                    </a:lnTo>
                    <a:cubicBezTo>
                      <a:pt x="292253" y="47442"/>
                      <a:pt x="293645" y="46150"/>
                      <a:pt x="295372" y="46150"/>
                    </a:cubicBezTo>
                    <a:close/>
                    <a:moveTo>
                      <a:pt x="389289" y="0"/>
                    </a:moveTo>
                    <a:cubicBezTo>
                      <a:pt x="393991" y="0"/>
                      <a:pt x="398694" y="4024"/>
                      <a:pt x="397350" y="9917"/>
                    </a:cubicBezTo>
                    <a:lnTo>
                      <a:pt x="385642" y="60650"/>
                    </a:lnTo>
                    <a:lnTo>
                      <a:pt x="366735" y="142570"/>
                    </a:lnTo>
                    <a:lnTo>
                      <a:pt x="317116" y="357671"/>
                    </a:lnTo>
                    <a:cubicBezTo>
                      <a:pt x="316300" y="361120"/>
                      <a:pt x="315004" y="364809"/>
                      <a:pt x="313373" y="368163"/>
                    </a:cubicBezTo>
                    <a:cubicBezTo>
                      <a:pt x="304879" y="385553"/>
                      <a:pt x="287412" y="395661"/>
                      <a:pt x="269272" y="395661"/>
                    </a:cubicBezTo>
                    <a:cubicBezTo>
                      <a:pt x="262026" y="395661"/>
                      <a:pt x="254684" y="394032"/>
                      <a:pt x="247726" y="390679"/>
                    </a:cubicBezTo>
                    <a:cubicBezTo>
                      <a:pt x="223396" y="378798"/>
                      <a:pt x="213319" y="349431"/>
                      <a:pt x="225220" y="325142"/>
                    </a:cubicBezTo>
                    <a:lnTo>
                      <a:pt x="323210" y="124988"/>
                    </a:lnTo>
                    <a:lnTo>
                      <a:pt x="358385" y="53224"/>
                    </a:lnTo>
                    <a:lnTo>
                      <a:pt x="382186" y="4551"/>
                    </a:lnTo>
                    <a:cubicBezTo>
                      <a:pt x="383770" y="1389"/>
                      <a:pt x="386505" y="0"/>
                      <a:pt x="389289" y="0"/>
                    </a:cubicBezTo>
                    <a:close/>
                  </a:path>
                </a:pathLst>
              </a:custGeom>
              <a:solidFill>
                <a:schemeClr val="tx1">
                  <a:lumMod val="50000"/>
                  <a:lumOff val="50000"/>
                </a:schemeClr>
              </a:solidFill>
              <a:ln>
                <a:noFill/>
              </a:ln>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sz="1100"/>
              </a:p>
            </p:txBody>
          </p:sp>
        </p:grpSp>
        <p:grpSp>
          <p:nvGrpSpPr>
            <p:cNvPr id="177" name="îŝļíḑé">
              <a:extLst>
                <a:ext uri="{FF2B5EF4-FFF2-40B4-BE49-F238E27FC236}">
                  <a16:creationId xmlns:a16="http://schemas.microsoft.com/office/drawing/2014/main" id="{57E526CE-4ACB-415D-8CC8-8E75FE97B7C3}"/>
                </a:ext>
              </a:extLst>
            </p:cNvPr>
            <p:cNvGrpSpPr/>
            <p:nvPr/>
          </p:nvGrpSpPr>
          <p:grpSpPr>
            <a:xfrm>
              <a:off x="4206858" y="3531311"/>
              <a:ext cx="1104947" cy="1104945"/>
              <a:chOff x="4367986" y="2993784"/>
              <a:chExt cx="1104947" cy="1104945"/>
            </a:xfrm>
          </p:grpSpPr>
          <p:sp>
            <p:nvSpPr>
              <p:cNvPr id="199" name="ïŝľïḋé">
                <a:extLst>
                  <a:ext uri="{FF2B5EF4-FFF2-40B4-BE49-F238E27FC236}">
                    <a16:creationId xmlns:a16="http://schemas.microsoft.com/office/drawing/2014/main" id="{6534247D-C990-4B52-8D71-8E8AFDE6AF9C}"/>
                  </a:ext>
                </a:extLst>
              </p:cNvPr>
              <p:cNvSpPr/>
              <p:nvPr/>
            </p:nvSpPr>
            <p:spPr>
              <a:xfrm>
                <a:off x="4367986" y="2993784"/>
                <a:ext cx="1104947" cy="1104945"/>
              </a:xfrm>
              <a:prstGeom prst="ellipse">
                <a:avLst/>
              </a:prstGeom>
              <a:solidFill>
                <a:schemeClr val="bg1">
                  <a:lumMod val="95000"/>
                </a:schemeClr>
              </a:solidFill>
              <a:ln w="3810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p>
            </p:txBody>
          </p:sp>
          <p:sp>
            <p:nvSpPr>
              <p:cNvPr id="200" name="ïŝľíḑê">
                <a:extLst>
                  <a:ext uri="{FF2B5EF4-FFF2-40B4-BE49-F238E27FC236}">
                    <a16:creationId xmlns:a16="http://schemas.microsoft.com/office/drawing/2014/main" id="{17000DD1-87A9-4308-B6B7-1AEB2556BBA4}"/>
                  </a:ext>
                </a:extLst>
              </p:cNvPr>
              <p:cNvSpPr/>
              <p:nvPr/>
            </p:nvSpPr>
            <p:spPr bwMode="auto">
              <a:xfrm>
                <a:off x="4690386" y="3229654"/>
                <a:ext cx="460144" cy="633204"/>
              </a:xfrm>
              <a:custGeom>
                <a:avLst/>
                <a:gdLst>
                  <a:gd name="connsiteX0" fmla="*/ 93110 w 441669"/>
                  <a:gd name="connsiteY0" fmla="*/ 455853 h 607780"/>
                  <a:gd name="connsiteX1" fmla="*/ 93526 w 441669"/>
                  <a:gd name="connsiteY1" fmla="*/ 455853 h 607780"/>
                  <a:gd name="connsiteX2" fmla="*/ 100514 w 441669"/>
                  <a:gd name="connsiteY2" fmla="*/ 482648 h 607780"/>
                  <a:gd name="connsiteX3" fmla="*/ 109165 w 441669"/>
                  <a:gd name="connsiteY3" fmla="*/ 512023 h 607780"/>
                  <a:gd name="connsiteX4" fmla="*/ 78469 w 441669"/>
                  <a:gd name="connsiteY4" fmla="*/ 512023 h 607780"/>
                  <a:gd name="connsiteX5" fmla="*/ 86705 w 441669"/>
                  <a:gd name="connsiteY5" fmla="*/ 482648 h 607780"/>
                  <a:gd name="connsiteX6" fmla="*/ 93110 w 441669"/>
                  <a:gd name="connsiteY6" fmla="*/ 455853 h 607780"/>
                  <a:gd name="connsiteX7" fmla="*/ 220871 w 441669"/>
                  <a:gd name="connsiteY7" fmla="*/ 455076 h 607780"/>
                  <a:gd name="connsiteX8" fmla="*/ 245427 w 441669"/>
                  <a:gd name="connsiteY8" fmla="*/ 475441 h 607780"/>
                  <a:gd name="connsiteX9" fmla="*/ 218457 w 441669"/>
                  <a:gd name="connsiteY9" fmla="*/ 498050 h 607780"/>
                  <a:gd name="connsiteX10" fmla="*/ 207886 w 441669"/>
                  <a:gd name="connsiteY10" fmla="*/ 497219 h 607780"/>
                  <a:gd name="connsiteX11" fmla="*/ 207886 w 441669"/>
                  <a:gd name="connsiteY11" fmla="*/ 456323 h 607780"/>
                  <a:gd name="connsiteX12" fmla="*/ 220871 w 441669"/>
                  <a:gd name="connsiteY12" fmla="*/ 455076 h 607780"/>
                  <a:gd name="connsiteX13" fmla="*/ 296445 w 441669"/>
                  <a:gd name="connsiteY13" fmla="*/ 432454 h 607780"/>
                  <a:gd name="connsiteX14" fmla="*/ 296445 w 441669"/>
                  <a:gd name="connsiteY14" fmla="*/ 571119 h 607780"/>
                  <a:gd name="connsiteX15" fmla="*/ 327588 w 441669"/>
                  <a:gd name="connsiteY15" fmla="*/ 571119 h 607780"/>
                  <a:gd name="connsiteX16" fmla="*/ 327588 w 441669"/>
                  <a:gd name="connsiteY16" fmla="*/ 525812 h 607780"/>
                  <a:gd name="connsiteX17" fmla="*/ 339579 w 441669"/>
                  <a:gd name="connsiteY17" fmla="*/ 511263 h 607780"/>
                  <a:gd name="connsiteX18" fmla="*/ 373553 w 441669"/>
                  <a:gd name="connsiteY18" fmla="*/ 571119 h 607780"/>
                  <a:gd name="connsiteX19" fmla="*/ 373553 w 441669"/>
                  <a:gd name="connsiteY19" fmla="*/ 571036 h 607780"/>
                  <a:gd name="connsiteX20" fmla="*/ 410193 w 441669"/>
                  <a:gd name="connsiteY20" fmla="*/ 571036 h 607780"/>
                  <a:gd name="connsiteX21" fmla="*/ 361812 w 441669"/>
                  <a:gd name="connsiteY21" fmla="*/ 491478 h 607780"/>
                  <a:gd name="connsiteX22" fmla="*/ 407778 w 441669"/>
                  <a:gd name="connsiteY22" fmla="*/ 432454 h 607780"/>
                  <a:gd name="connsiteX23" fmla="*/ 369223 w 441669"/>
                  <a:gd name="connsiteY23" fmla="*/ 432454 h 607780"/>
                  <a:gd name="connsiteX24" fmla="*/ 337664 w 441669"/>
                  <a:gd name="connsiteY24" fmla="*/ 478509 h 607780"/>
                  <a:gd name="connsiteX25" fmla="*/ 328254 w 441669"/>
                  <a:gd name="connsiteY25" fmla="*/ 493723 h 607780"/>
                  <a:gd name="connsiteX26" fmla="*/ 327588 w 441669"/>
                  <a:gd name="connsiteY26" fmla="*/ 493723 h 607780"/>
                  <a:gd name="connsiteX27" fmla="*/ 327588 w 441669"/>
                  <a:gd name="connsiteY27" fmla="*/ 432454 h 607780"/>
                  <a:gd name="connsiteX28" fmla="*/ 73945 w 441669"/>
                  <a:gd name="connsiteY28" fmla="*/ 432454 h 607780"/>
                  <a:gd name="connsiteX29" fmla="*/ 31476 w 441669"/>
                  <a:gd name="connsiteY29" fmla="*/ 571119 h 607780"/>
                  <a:gd name="connsiteX30" fmla="*/ 64035 w 441669"/>
                  <a:gd name="connsiteY30" fmla="*/ 571119 h 607780"/>
                  <a:gd name="connsiteX31" fmla="*/ 73945 w 441669"/>
                  <a:gd name="connsiteY31" fmla="*/ 535538 h 607780"/>
                  <a:gd name="connsiteX32" fmla="*/ 113665 w 441669"/>
                  <a:gd name="connsiteY32" fmla="*/ 535538 h 607780"/>
                  <a:gd name="connsiteX33" fmla="*/ 124407 w 441669"/>
                  <a:gd name="connsiteY33" fmla="*/ 571119 h 607780"/>
                  <a:gd name="connsiteX34" fmla="*/ 158215 w 441669"/>
                  <a:gd name="connsiteY34" fmla="*/ 571119 h 607780"/>
                  <a:gd name="connsiteX35" fmla="*/ 115164 w 441669"/>
                  <a:gd name="connsiteY35" fmla="*/ 432454 h 607780"/>
                  <a:gd name="connsiteX36" fmla="*/ 219169 w 441669"/>
                  <a:gd name="connsiteY36" fmla="*/ 431456 h 607780"/>
                  <a:gd name="connsiteX37" fmla="*/ 176784 w 441669"/>
                  <a:gd name="connsiteY37" fmla="*/ 434283 h 607780"/>
                  <a:gd name="connsiteX38" fmla="*/ 176784 w 441669"/>
                  <a:gd name="connsiteY38" fmla="*/ 571036 h 607780"/>
                  <a:gd name="connsiteX39" fmla="*/ 207844 w 441669"/>
                  <a:gd name="connsiteY39" fmla="*/ 571036 h 607780"/>
                  <a:gd name="connsiteX40" fmla="*/ 207844 w 441669"/>
                  <a:gd name="connsiteY40" fmla="*/ 521489 h 607780"/>
                  <a:gd name="connsiteX41" fmla="*/ 218586 w 441669"/>
                  <a:gd name="connsiteY41" fmla="*/ 522154 h 607780"/>
                  <a:gd name="connsiteX42" fmla="*/ 263719 w 441669"/>
                  <a:gd name="connsiteY42" fmla="*/ 507523 h 607780"/>
                  <a:gd name="connsiteX43" fmla="*/ 276459 w 441669"/>
                  <a:gd name="connsiteY43" fmla="*/ 474602 h 607780"/>
                  <a:gd name="connsiteX44" fmla="*/ 261637 w 441669"/>
                  <a:gd name="connsiteY44" fmla="*/ 442513 h 607780"/>
                  <a:gd name="connsiteX45" fmla="*/ 219169 w 441669"/>
                  <a:gd name="connsiteY45" fmla="*/ 431456 h 607780"/>
                  <a:gd name="connsiteX46" fmla="*/ 175126 w 441669"/>
                  <a:gd name="connsiteY46" fmla="*/ 283499 h 607780"/>
                  <a:gd name="connsiteX47" fmla="*/ 175126 w 441669"/>
                  <a:gd name="connsiteY47" fmla="*/ 304781 h 607780"/>
                  <a:gd name="connsiteX48" fmla="*/ 196441 w 441669"/>
                  <a:gd name="connsiteY48" fmla="*/ 304781 h 607780"/>
                  <a:gd name="connsiteX49" fmla="*/ 196441 w 441669"/>
                  <a:gd name="connsiteY49" fmla="*/ 283499 h 607780"/>
                  <a:gd name="connsiteX50" fmla="*/ 175126 w 441669"/>
                  <a:gd name="connsiteY50" fmla="*/ 283499 h 607780"/>
                  <a:gd name="connsiteX51" fmla="*/ 116510 w 441669"/>
                  <a:gd name="connsiteY51" fmla="*/ 224890 h 607780"/>
                  <a:gd name="connsiteX52" fmla="*/ 116510 w 441669"/>
                  <a:gd name="connsiteY52" fmla="*/ 246172 h 607780"/>
                  <a:gd name="connsiteX53" fmla="*/ 137741 w 441669"/>
                  <a:gd name="connsiteY53" fmla="*/ 246172 h 607780"/>
                  <a:gd name="connsiteX54" fmla="*/ 137741 w 441669"/>
                  <a:gd name="connsiteY54" fmla="*/ 224890 h 607780"/>
                  <a:gd name="connsiteX55" fmla="*/ 116510 w 441669"/>
                  <a:gd name="connsiteY55" fmla="*/ 224890 h 607780"/>
                  <a:gd name="connsiteX56" fmla="*/ 171879 w 441669"/>
                  <a:gd name="connsiteY56" fmla="*/ 178170 h 607780"/>
                  <a:gd name="connsiteX57" fmla="*/ 173627 w 441669"/>
                  <a:gd name="connsiteY57" fmla="*/ 181412 h 607780"/>
                  <a:gd name="connsiteX58" fmla="*/ 164885 w 441669"/>
                  <a:gd name="connsiteY58" fmla="*/ 208846 h 607780"/>
                  <a:gd name="connsiteX59" fmla="*/ 193110 w 441669"/>
                  <a:gd name="connsiteY59" fmla="*/ 228216 h 607780"/>
                  <a:gd name="connsiteX60" fmla="*/ 212510 w 441669"/>
                  <a:gd name="connsiteY60" fmla="*/ 256398 h 607780"/>
                  <a:gd name="connsiteX61" fmla="*/ 240070 w 441669"/>
                  <a:gd name="connsiteY61" fmla="*/ 247752 h 607780"/>
                  <a:gd name="connsiteX62" fmla="*/ 243317 w 441669"/>
                  <a:gd name="connsiteY62" fmla="*/ 249415 h 607780"/>
                  <a:gd name="connsiteX63" fmla="*/ 241568 w 441669"/>
                  <a:gd name="connsiteY63" fmla="*/ 252657 h 607780"/>
                  <a:gd name="connsiteX64" fmla="*/ 214508 w 441669"/>
                  <a:gd name="connsiteY64" fmla="*/ 261219 h 607780"/>
                  <a:gd name="connsiteX65" fmla="*/ 200104 w 441669"/>
                  <a:gd name="connsiteY65" fmla="*/ 352333 h 607780"/>
                  <a:gd name="connsiteX66" fmla="*/ 68801 w 441669"/>
                  <a:gd name="connsiteY66" fmla="*/ 221316 h 607780"/>
                  <a:gd name="connsiteX67" fmla="*/ 160139 w 441669"/>
                  <a:gd name="connsiteY67" fmla="*/ 206934 h 607780"/>
                  <a:gd name="connsiteX68" fmla="*/ 168631 w 441669"/>
                  <a:gd name="connsiteY68" fmla="*/ 179832 h 607780"/>
                  <a:gd name="connsiteX69" fmla="*/ 171879 w 441669"/>
                  <a:gd name="connsiteY69" fmla="*/ 178170 h 607780"/>
                  <a:gd name="connsiteX70" fmla="*/ 23899 w 441669"/>
                  <a:gd name="connsiteY70" fmla="*/ 23859 h 607780"/>
                  <a:gd name="connsiteX71" fmla="*/ 23899 w 441669"/>
                  <a:gd name="connsiteY71" fmla="*/ 194529 h 607780"/>
                  <a:gd name="connsiteX72" fmla="*/ 46382 w 441669"/>
                  <a:gd name="connsiteY72" fmla="*/ 198936 h 607780"/>
                  <a:gd name="connsiteX73" fmla="*/ 46382 w 441669"/>
                  <a:gd name="connsiteY73" fmla="*/ 228198 h 607780"/>
                  <a:gd name="connsiteX74" fmla="*/ 23899 w 441669"/>
                  <a:gd name="connsiteY74" fmla="*/ 250727 h 607780"/>
                  <a:gd name="connsiteX75" fmla="*/ 23899 w 441669"/>
                  <a:gd name="connsiteY75" fmla="*/ 265358 h 607780"/>
                  <a:gd name="connsiteX76" fmla="*/ 53710 w 441669"/>
                  <a:gd name="connsiteY76" fmla="*/ 235514 h 607780"/>
                  <a:gd name="connsiteX77" fmla="*/ 185777 w 441669"/>
                  <a:gd name="connsiteY77" fmla="*/ 367361 h 607780"/>
                  <a:gd name="connsiteX78" fmla="*/ 148472 w 441669"/>
                  <a:gd name="connsiteY78" fmla="*/ 404688 h 607780"/>
                  <a:gd name="connsiteX79" fmla="*/ 163128 w 441669"/>
                  <a:gd name="connsiteY79" fmla="*/ 404688 h 607780"/>
                  <a:gd name="connsiteX80" fmla="*/ 193105 w 441669"/>
                  <a:gd name="connsiteY80" fmla="*/ 374677 h 607780"/>
                  <a:gd name="connsiteX81" fmla="*/ 222500 w 441669"/>
                  <a:gd name="connsiteY81" fmla="*/ 374677 h 607780"/>
                  <a:gd name="connsiteX82" fmla="*/ 222500 w 441669"/>
                  <a:gd name="connsiteY82" fmla="*/ 404023 h 607780"/>
                  <a:gd name="connsiteX83" fmla="*/ 221834 w 441669"/>
                  <a:gd name="connsiteY83" fmla="*/ 404688 h 607780"/>
                  <a:gd name="connsiteX84" fmla="*/ 417770 w 441669"/>
                  <a:gd name="connsiteY84" fmla="*/ 404688 h 607780"/>
                  <a:gd name="connsiteX85" fmla="*/ 417770 w 441669"/>
                  <a:gd name="connsiteY85" fmla="*/ 157702 h 607780"/>
                  <a:gd name="connsiteX86" fmla="*/ 312349 w 441669"/>
                  <a:gd name="connsiteY86" fmla="*/ 157702 h 607780"/>
                  <a:gd name="connsiteX87" fmla="*/ 300442 w 441669"/>
                  <a:gd name="connsiteY87" fmla="*/ 145731 h 607780"/>
                  <a:gd name="connsiteX88" fmla="*/ 300442 w 441669"/>
                  <a:gd name="connsiteY88" fmla="*/ 23859 h 607780"/>
                  <a:gd name="connsiteX89" fmla="*/ 23899 w 441669"/>
                  <a:gd name="connsiteY89" fmla="*/ 0 h 607780"/>
                  <a:gd name="connsiteX90" fmla="*/ 312349 w 441669"/>
                  <a:gd name="connsiteY90" fmla="*/ 0 h 607780"/>
                  <a:gd name="connsiteX91" fmla="*/ 315097 w 441669"/>
                  <a:gd name="connsiteY91" fmla="*/ 333 h 607780"/>
                  <a:gd name="connsiteX92" fmla="*/ 315763 w 441669"/>
                  <a:gd name="connsiteY92" fmla="*/ 582 h 607780"/>
                  <a:gd name="connsiteX93" fmla="*/ 318095 w 441669"/>
                  <a:gd name="connsiteY93" fmla="*/ 1496 h 607780"/>
                  <a:gd name="connsiteX94" fmla="*/ 318844 w 441669"/>
                  <a:gd name="connsiteY94" fmla="*/ 1995 h 607780"/>
                  <a:gd name="connsiteX95" fmla="*/ 321259 w 441669"/>
                  <a:gd name="connsiteY95" fmla="*/ 3990 h 607780"/>
                  <a:gd name="connsiteX96" fmla="*/ 321343 w 441669"/>
                  <a:gd name="connsiteY96" fmla="*/ 4073 h 607780"/>
                  <a:gd name="connsiteX97" fmla="*/ 438755 w 441669"/>
                  <a:gd name="connsiteY97" fmla="*/ 137916 h 607780"/>
                  <a:gd name="connsiteX98" fmla="*/ 441586 w 441669"/>
                  <a:gd name="connsiteY98" fmla="*/ 145648 h 607780"/>
                  <a:gd name="connsiteX99" fmla="*/ 441669 w 441669"/>
                  <a:gd name="connsiteY99" fmla="*/ 146978 h 607780"/>
                  <a:gd name="connsiteX100" fmla="*/ 441669 w 441669"/>
                  <a:gd name="connsiteY100" fmla="*/ 583921 h 607780"/>
                  <a:gd name="connsiteX101" fmla="*/ 417770 w 441669"/>
                  <a:gd name="connsiteY101" fmla="*/ 607780 h 607780"/>
                  <a:gd name="connsiteX102" fmla="*/ 23899 w 441669"/>
                  <a:gd name="connsiteY102" fmla="*/ 607780 h 607780"/>
                  <a:gd name="connsiteX103" fmla="*/ 0 w 441669"/>
                  <a:gd name="connsiteY103" fmla="*/ 583921 h 607780"/>
                  <a:gd name="connsiteX104" fmla="*/ 0 w 441669"/>
                  <a:gd name="connsiteY104" fmla="*/ 23859 h 607780"/>
                  <a:gd name="connsiteX105" fmla="*/ 23899 w 441669"/>
                  <a:gd name="connsiteY105" fmla="*/ 0 h 607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441669" h="607780">
                    <a:moveTo>
                      <a:pt x="93110" y="455853"/>
                    </a:moveTo>
                    <a:lnTo>
                      <a:pt x="93526" y="455853"/>
                    </a:lnTo>
                    <a:cubicBezTo>
                      <a:pt x="95606" y="464091"/>
                      <a:pt x="98018" y="474410"/>
                      <a:pt x="100514" y="482648"/>
                    </a:cubicBezTo>
                    <a:lnTo>
                      <a:pt x="109165" y="512023"/>
                    </a:lnTo>
                    <a:lnTo>
                      <a:pt x="78469" y="512023"/>
                    </a:lnTo>
                    <a:lnTo>
                      <a:pt x="86705" y="482648"/>
                    </a:lnTo>
                    <a:cubicBezTo>
                      <a:pt x="89034" y="474576"/>
                      <a:pt x="91030" y="464091"/>
                      <a:pt x="93110" y="455853"/>
                    </a:cubicBezTo>
                    <a:close/>
                    <a:moveTo>
                      <a:pt x="220871" y="455076"/>
                    </a:moveTo>
                    <a:cubicBezTo>
                      <a:pt x="236520" y="455076"/>
                      <a:pt x="245427" y="462723"/>
                      <a:pt x="245427" y="475441"/>
                    </a:cubicBezTo>
                    <a:cubicBezTo>
                      <a:pt x="245427" y="489655"/>
                      <a:pt x="235105" y="498050"/>
                      <a:pt x="218457" y="498050"/>
                    </a:cubicBezTo>
                    <a:cubicBezTo>
                      <a:pt x="213879" y="498050"/>
                      <a:pt x="210550" y="497884"/>
                      <a:pt x="207886" y="497219"/>
                    </a:cubicBezTo>
                    <a:lnTo>
                      <a:pt x="207886" y="456323"/>
                    </a:lnTo>
                    <a:cubicBezTo>
                      <a:pt x="210217" y="455741"/>
                      <a:pt x="214545" y="455076"/>
                      <a:pt x="220871" y="455076"/>
                    </a:cubicBezTo>
                    <a:close/>
                    <a:moveTo>
                      <a:pt x="296445" y="432454"/>
                    </a:moveTo>
                    <a:lnTo>
                      <a:pt x="296445" y="571119"/>
                    </a:lnTo>
                    <a:lnTo>
                      <a:pt x="327588" y="571119"/>
                    </a:lnTo>
                    <a:lnTo>
                      <a:pt x="327588" y="525812"/>
                    </a:lnTo>
                    <a:lnTo>
                      <a:pt x="339579" y="511263"/>
                    </a:lnTo>
                    <a:lnTo>
                      <a:pt x="373553" y="571119"/>
                    </a:lnTo>
                    <a:lnTo>
                      <a:pt x="373553" y="571036"/>
                    </a:lnTo>
                    <a:lnTo>
                      <a:pt x="410193" y="571036"/>
                    </a:lnTo>
                    <a:lnTo>
                      <a:pt x="361812" y="491478"/>
                    </a:lnTo>
                    <a:lnTo>
                      <a:pt x="407778" y="432454"/>
                    </a:lnTo>
                    <a:lnTo>
                      <a:pt x="369223" y="432454"/>
                    </a:lnTo>
                    <a:lnTo>
                      <a:pt x="337664" y="478509"/>
                    </a:lnTo>
                    <a:cubicBezTo>
                      <a:pt x="334583" y="483497"/>
                      <a:pt x="331335" y="488402"/>
                      <a:pt x="328254" y="493723"/>
                    </a:cubicBezTo>
                    <a:lnTo>
                      <a:pt x="327588" y="493723"/>
                    </a:lnTo>
                    <a:lnTo>
                      <a:pt x="327588" y="432454"/>
                    </a:lnTo>
                    <a:close/>
                    <a:moveTo>
                      <a:pt x="73945" y="432454"/>
                    </a:moveTo>
                    <a:lnTo>
                      <a:pt x="31476" y="571119"/>
                    </a:lnTo>
                    <a:lnTo>
                      <a:pt x="64035" y="571119"/>
                    </a:lnTo>
                    <a:lnTo>
                      <a:pt x="73945" y="535538"/>
                    </a:lnTo>
                    <a:lnTo>
                      <a:pt x="113665" y="535538"/>
                    </a:lnTo>
                    <a:lnTo>
                      <a:pt x="124407" y="571119"/>
                    </a:lnTo>
                    <a:lnTo>
                      <a:pt x="158215" y="571119"/>
                    </a:lnTo>
                    <a:lnTo>
                      <a:pt x="115164" y="432454"/>
                    </a:lnTo>
                    <a:close/>
                    <a:moveTo>
                      <a:pt x="219169" y="431456"/>
                    </a:moveTo>
                    <a:cubicBezTo>
                      <a:pt x="200017" y="431456"/>
                      <a:pt x="186444" y="432620"/>
                      <a:pt x="176784" y="434283"/>
                    </a:cubicBezTo>
                    <a:lnTo>
                      <a:pt x="176784" y="571036"/>
                    </a:lnTo>
                    <a:lnTo>
                      <a:pt x="207844" y="571036"/>
                    </a:lnTo>
                    <a:lnTo>
                      <a:pt x="207844" y="521489"/>
                    </a:lnTo>
                    <a:cubicBezTo>
                      <a:pt x="210759" y="521904"/>
                      <a:pt x="214506" y="522154"/>
                      <a:pt x="218586" y="522154"/>
                    </a:cubicBezTo>
                    <a:cubicBezTo>
                      <a:pt x="237156" y="522154"/>
                      <a:pt x="252977" y="517581"/>
                      <a:pt x="263719" y="507523"/>
                    </a:cubicBezTo>
                    <a:cubicBezTo>
                      <a:pt x="271963" y="499708"/>
                      <a:pt x="276459" y="488153"/>
                      <a:pt x="276459" y="474602"/>
                    </a:cubicBezTo>
                    <a:cubicBezTo>
                      <a:pt x="276459" y="461052"/>
                      <a:pt x="270464" y="449496"/>
                      <a:pt x="261637" y="442513"/>
                    </a:cubicBezTo>
                    <a:cubicBezTo>
                      <a:pt x="252394" y="435114"/>
                      <a:pt x="238571" y="431456"/>
                      <a:pt x="219169" y="431456"/>
                    </a:cubicBezTo>
                    <a:close/>
                    <a:moveTo>
                      <a:pt x="175126" y="283499"/>
                    </a:moveTo>
                    <a:cubicBezTo>
                      <a:pt x="169297" y="289401"/>
                      <a:pt x="169297" y="298879"/>
                      <a:pt x="175126" y="304781"/>
                    </a:cubicBezTo>
                    <a:cubicBezTo>
                      <a:pt x="181037" y="310600"/>
                      <a:pt x="190529" y="310600"/>
                      <a:pt x="196441" y="304781"/>
                    </a:cubicBezTo>
                    <a:cubicBezTo>
                      <a:pt x="202352" y="298879"/>
                      <a:pt x="202352" y="289401"/>
                      <a:pt x="196441" y="283499"/>
                    </a:cubicBezTo>
                    <a:cubicBezTo>
                      <a:pt x="190529" y="277680"/>
                      <a:pt x="181037" y="277680"/>
                      <a:pt x="175126" y="283499"/>
                    </a:cubicBezTo>
                    <a:close/>
                    <a:moveTo>
                      <a:pt x="116510" y="224890"/>
                    </a:moveTo>
                    <a:cubicBezTo>
                      <a:pt x="110598" y="230793"/>
                      <a:pt x="110598" y="240270"/>
                      <a:pt x="116510" y="246172"/>
                    </a:cubicBezTo>
                    <a:cubicBezTo>
                      <a:pt x="122338" y="251992"/>
                      <a:pt x="131913" y="251992"/>
                      <a:pt x="137741" y="246172"/>
                    </a:cubicBezTo>
                    <a:cubicBezTo>
                      <a:pt x="143653" y="240270"/>
                      <a:pt x="143653" y="230793"/>
                      <a:pt x="137741" y="224890"/>
                    </a:cubicBezTo>
                    <a:cubicBezTo>
                      <a:pt x="131913" y="219071"/>
                      <a:pt x="122338" y="219071"/>
                      <a:pt x="116510" y="224890"/>
                    </a:cubicBezTo>
                    <a:close/>
                    <a:moveTo>
                      <a:pt x="171879" y="178170"/>
                    </a:moveTo>
                    <a:cubicBezTo>
                      <a:pt x="173294" y="178585"/>
                      <a:pt x="174043" y="179999"/>
                      <a:pt x="173627" y="181412"/>
                    </a:cubicBezTo>
                    <a:lnTo>
                      <a:pt x="164885" y="208846"/>
                    </a:lnTo>
                    <a:cubicBezTo>
                      <a:pt x="175126" y="213418"/>
                      <a:pt x="184784" y="219819"/>
                      <a:pt x="193110" y="228216"/>
                    </a:cubicBezTo>
                    <a:cubicBezTo>
                      <a:pt x="201520" y="236612"/>
                      <a:pt x="208014" y="246172"/>
                      <a:pt x="212510" y="256398"/>
                    </a:cubicBezTo>
                    <a:lnTo>
                      <a:pt x="240070" y="247752"/>
                    </a:lnTo>
                    <a:cubicBezTo>
                      <a:pt x="241402" y="247336"/>
                      <a:pt x="242900" y="248084"/>
                      <a:pt x="243317" y="249415"/>
                    </a:cubicBezTo>
                    <a:cubicBezTo>
                      <a:pt x="243733" y="250745"/>
                      <a:pt x="242984" y="252241"/>
                      <a:pt x="241568" y="252657"/>
                    </a:cubicBezTo>
                    <a:lnTo>
                      <a:pt x="214508" y="261219"/>
                    </a:lnTo>
                    <a:cubicBezTo>
                      <a:pt x="225832" y="291313"/>
                      <a:pt x="221086" y="326146"/>
                      <a:pt x="200104" y="352333"/>
                    </a:cubicBezTo>
                    <a:lnTo>
                      <a:pt x="68801" y="221316"/>
                    </a:lnTo>
                    <a:cubicBezTo>
                      <a:pt x="95028" y="200366"/>
                      <a:pt x="129915" y="195544"/>
                      <a:pt x="160139" y="206934"/>
                    </a:cubicBezTo>
                    <a:lnTo>
                      <a:pt x="168631" y="179832"/>
                    </a:lnTo>
                    <a:cubicBezTo>
                      <a:pt x="169048" y="178502"/>
                      <a:pt x="170546" y="177754"/>
                      <a:pt x="171879" y="178170"/>
                    </a:cubicBezTo>
                    <a:close/>
                    <a:moveTo>
                      <a:pt x="23899" y="23859"/>
                    </a:moveTo>
                    <a:lnTo>
                      <a:pt x="23899" y="194529"/>
                    </a:lnTo>
                    <a:cubicBezTo>
                      <a:pt x="31393" y="191454"/>
                      <a:pt x="40303" y="192867"/>
                      <a:pt x="46382" y="198936"/>
                    </a:cubicBezTo>
                    <a:cubicBezTo>
                      <a:pt x="54459" y="206999"/>
                      <a:pt x="54459" y="220134"/>
                      <a:pt x="46382" y="228198"/>
                    </a:cubicBezTo>
                    <a:lnTo>
                      <a:pt x="23899" y="250727"/>
                    </a:lnTo>
                    <a:lnTo>
                      <a:pt x="23899" y="265358"/>
                    </a:lnTo>
                    <a:lnTo>
                      <a:pt x="53710" y="235514"/>
                    </a:lnTo>
                    <a:lnTo>
                      <a:pt x="185777" y="367361"/>
                    </a:lnTo>
                    <a:lnTo>
                      <a:pt x="148472" y="404688"/>
                    </a:lnTo>
                    <a:lnTo>
                      <a:pt x="163128" y="404688"/>
                    </a:lnTo>
                    <a:lnTo>
                      <a:pt x="193105" y="374677"/>
                    </a:lnTo>
                    <a:cubicBezTo>
                      <a:pt x="201183" y="366613"/>
                      <a:pt x="214423" y="366613"/>
                      <a:pt x="222500" y="374677"/>
                    </a:cubicBezTo>
                    <a:cubicBezTo>
                      <a:pt x="230577" y="382741"/>
                      <a:pt x="230577" y="395959"/>
                      <a:pt x="222500" y="404023"/>
                    </a:cubicBezTo>
                    <a:lnTo>
                      <a:pt x="221834" y="404688"/>
                    </a:lnTo>
                    <a:lnTo>
                      <a:pt x="417770" y="404688"/>
                    </a:lnTo>
                    <a:lnTo>
                      <a:pt x="417770" y="157702"/>
                    </a:lnTo>
                    <a:lnTo>
                      <a:pt x="312349" y="157702"/>
                    </a:lnTo>
                    <a:cubicBezTo>
                      <a:pt x="305771" y="157702"/>
                      <a:pt x="300442" y="152381"/>
                      <a:pt x="300442" y="145731"/>
                    </a:cubicBezTo>
                    <a:lnTo>
                      <a:pt x="300442" y="23859"/>
                    </a:lnTo>
                    <a:close/>
                    <a:moveTo>
                      <a:pt x="23899" y="0"/>
                    </a:moveTo>
                    <a:lnTo>
                      <a:pt x="312349" y="0"/>
                    </a:lnTo>
                    <a:cubicBezTo>
                      <a:pt x="313265" y="0"/>
                      <a:pt x="314181" y="166"/>
                      <a:pt x="315097" y="333"/>
                    </a:cubicBezTo>
                    <a:cubicBezTo>
                      <a:pt x="315347" y="416"/>
                      <a:pt x="315514" y="499"/>
                      <a:pt x="315763" y="582"/>
                    </a:cubicBezTo>
                    <a:cubicBezTo>
                      <a:pt x="316596" y="831"/>
                      <a:pt x="317346" y="1081"/>
                      <a:pt x="318095" y="1496"/>
                    </a:cubicBezTo>
                    <a:cubicBezTo>
                      <a:pt x="318345" y="1663"/>
                      <a:pt x="318595" y="1829"/>
                      <a:pt x="318844" y="1995"/>
                    </a:cubicBezTo>
                    <a:cubicBezTo>
                      <a:pt x="319760" y="2577"/>
                      <a:pt x="320593" y="3242"/>
                      <a:pt x="321259" y="3990"/>
                    </a:cubicBezTo>
                    <a:cubicBezTo>
                      <a:pt x="321259" y="3990"/>
                      <a:pt x="321343" y="4073"/>
                      <a:pt x="321343" y="4073"/>
                    </a:cubicBezTo>
                    <a:lnTo>
                      <a:pt x="438755" y="137916"/>
                    </a:lnTo>
                    <a:cubicBezTo>
                      <a:pt x="440670" y="140078"/>
                      <a:pt x="441503" y="142821"/>
                      <a:pt x="441586" y="145648"/>
                    </a:cubicBezTo>
                    <a:cubicBezTo>
                      <a:pt x="441586" y="146063"/>
                      <a:pt x="441669" y="146479"/>
                      <a:pt x="441669" y="146978"/>
                    </a:cubicBezTo>
                    <a:lnTo>
                      <a:pt x="441669" y="583921"/>
                    </a:lnTo>
                    <a:cubicBezTo>
                      <a:pt x="441669" y="597056"/>
                      <a:pt x="430927" y="607780"/>
                      <a:pt x="417770" y="607780"/>
                    </a:cubicBezTo>
                    <a:lnTo>
                      <a:pt x="23899" y="607780"/>
                    </a:lnTo>
                    <a:cubicBezTo>
                      <a:pt x="10742" y="607780"/>
                      <a:pt x="0" y="597056"/>
                      <a:pt x="0" y="583921"/>
                    </a:cubicBezTo>
                    <a:lnTo>
                      <a:pt x="0" y="23859"/>
                    </a:lnTo>
                    <a:cubicBezTo>
                      <a:pt x="0" y="10724"/>
                      <a:pt x="10742" y="0"/>
                      <a:pt x="23899" y="0"/>
                    </a:cubicBezTo>
                    <a:close/>
                  </a:path>
                </a:pathLst>
              </a:custGeom>
              <a:solidFill>
                <a:schemeClr val="tx1">
                  <a:lumMod val="50000"/>
                  <a:lumOff val="50000"/>
                </a:schemeClr>
              </a:solidFill>
              <a:ln>
                <a:noFill/>
              </a:ln>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grpSp>
          <p:nvGrpSpPr>
            <p:cNvPr id="178" name="ïṩḻïḑé">
              <a:extLst>
                <a:ext uri="{FF2B5EF4-FFF2-40B4-BE49-F238E27FC236}">
                  <a16:creationId xmlns:a16="http://schemas.microsoft.com/office/drawing/2014/main" id="{80342DDC-AF24-461B-90FA-3AE7C9FA6B78}"/>
                </a:ext>
              </a:extLst>
            </p:cNvPr>
            <p:cNvGrpSpPr/>
            <p:nvPr/>
          </p:nvGrpSpPr>
          <p:grpSpPr>
            <a:xfrm>
              <a:off x="5543526" y="2311733"/>
              <a:ext cx="1104947" cy="1104945"/>
              <a:chOff x="5704654" y="1774206"/>
              <a:chExt cx="1104947" cy="1104945"/>
            </a:xfrm>
          </p:grpSpPr>
          <p:sp>
            <p:nvSpPr>
              <p:cNvPr id="197" name="ïṩḻïdé">
                <a:extLst>
                  <a:ext uri="{FF2B5EF4-FFF2-40B4-BE49-F238E27FC236}">
                    <a16:creationId xmlns:a16="http://schemas.microsoft.com/office/drawing/2014/main" id="{461564AE-8977-4EF7-9E27-A92A12D66532}"/>
                  </a:ext>
                </a:extLst>
              </p:cNvPr>
              <p:cNvSpPr/>
              <p:nvPr/>
            </p:nvSpPr>
            <p:spPr>
              <a:xfrm>
                <a:off x="5704654" y="1774206"/>
                <a:ext cx="1104947" cy="1104945"/>
              </a:xfrm>
              <a:prstGeom prst="ellipse">
                <a:avLst/>
              </a:prstGeom>
              <a:solidFill>
                <a:schemeClr val="bg1">
                  <a:lumMod val="95000"/>
                </a:schemeClr>
              </a:solidFill>
              <a:ln w="381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p>
            </p:txBody>
          </p:sp>
          <p:sp>
            <p:nvSpPr>
              <p:cNvPr id="198" name="išḻïḍè">
                <a:extLst>
                  <a:ext uri="{FF2B5EF4-FFF2-40B4-BE49-F238E27FC236}">
                    <a16:creationId xmlns:a16="http://schemas.microsoft.com/office/drawing/2014/main" id="{2E7E77FE-A6DB-4E1E-A31D-469CB241FA07}"/>
                  </a:ext>
                </a:extLst>
              </p:cNvPr>
              <p:cNvSpPr/>
              <p:nvPr/>
            </p:nvSpPr>
            <p:spPr bwMode="auto">
              <a:xfrm>
                <a:off x="6027830" y="2010076"/>
                <a:ext cx="469440" cy="633204"/>
              </a:xfrm>
              <a:custGeom>
                <a:avLst/>
                <a:gdLst>
                  <a:gd name="T0" fmla="*/ 88862 h 440259"/>
                  <a:gd name="T1" fmla="*/ 88862 h 440259"/>
                  <a:gd name="T2" fmla="*/ 278945 h 440259"/>
                  <a:gd name="T3" fmla="*/ 278945 h 440259"/>
                  <a:gd name="T4" fmla="*/ 278945 h 440259"/>
                  <a:gd name="T5" fmla="*/ 278945 h 440259"/>
                  <a:gd name="T6" fmla="*/ 278945 h 440259"/>
                  <a:gd name="T7" fmla="*/ 278945 h 440259"/>
                  <a:gd name="T8" fmla="*/ 278945 h 440259"/>
                  <a:gd name="T9" fmla="*/ 278945 h 440259"/>
                  <a:gd name="T10" fmla="*/ 278945 h 440259"/>
                  <a:gd name="T11" fmla="*/ 278945 h 440259"/>
                  <a:gd name="T12" fmla="*/ 278945 h 440259"/>
                  <a:gd name="T13" fmla="*/ 278945 h 440259"/>
                  <a:gd name="T14" fmla="*/ 278945 h 440259"/>
                  <a:gd name="T15" fmla="*/ 278945 h 440259"/>
                  <a:gd name="T16" fmla="*/ 278945 h 440259"/>
                  <a:gd name="T17" fmla="*/ 278945 h 440259"/>
                  <a:gd name="T18" fmla="*/ 278945 h 440259"/>
                  <a:gd name="T19" fmla="*/ 278945 h 440259"/>
                  <a:gd name="T20" fmla="*/ 278945 h 440259"/>
                  <a:gd name="T21" fmla="*/ 278945 h 440259"/>
                  <a:gd name="T22" fmla="*/ 278945 h 440259"/>
                  <a:gd name="T23" fmla="*/ 278945 h 440259"/>
                  <a:gd name="T24" fmla="*/ 278945 h 440259"/>
                  <a:gd name="T25" fmla="*/ 278945 h 440259"/>
                  <a:gd name="T26" fmla="*/ 278945 h 440259"/>
                  <a:gd name="T27" fmla="*/ 278945 h 440259"/>
                  <a:gd name="T28" fmla="*/ 88862 h 440259"/>
                  <a:gd name="T29" fmla="*/ 88862 h 440259"/>
                  <a:gd name="T30" fmla="*/ 278945 h 440259"/>
                  <a:gd name="T31" fmla="*/ 278945 h 440259"/>
                  <a:gd name="T32" fmla="*/ 278945 h 440259"/>
                  <a:gd name="T33" fmla="*/ 278945 h 440259"/>
                  <a:gd name="T34" fmla="*/ 278945 h 440259"/>
                  <a:gd name="T35" fmla="*/ 278945 h 440259"/>
                  <a:gd name="T36" fmla="*/ 278945 h 440259"/>
                  <a:gd name="T37" fmla="*/ 278945 h 440259"/>
                  <a:gd name="T38" fmla="*/ 278945 h 440259"/>
                  <a:gd name="T39" fmla="*/ 278945 h 440259"/>
                  <a:gd name="T40" fmla="*/ 278945 h 440259"/>
                  <a:gd name="T41" fmla="*/ 278945 h 440259"/>
                  <a:gd name="T42" fmla="*/ 278945 h 440259"/>
                  <a:gd name="T43" fmla="*/ 278945 h 440259"/>
                  <a:gd name="T44" fmla="*/ 278945 h 440259"/>
                  <a:gd name="T45" fmla="*/ 278945 h 440259"/>
                  <a:gd name="T46" fmla="*/ 278945 h 440259"/>
                  <a:gd name="T47" fmla="*/ 278945 h 440259"/>
                  <a:gd name="T48" fmla="*/ 278945 h 440259"/>
                  <a:gd name="T49" fmla="*/ 278945 h 440259"/>
                  <a:gd name="T50" fmla="*/ 278945 h 440259"/>
                  <a:gd name="T51" fmla="*/ 278945 h 440259"/>
                  <a:gd name="T52" fmla="*/ 278945 h 440259"/>
                  <a:gd name="T53" fmla="*/ 278945 h 440259"/>
                  <a:gd name="T54" fmla="*/ 278945 h 440259"/>
                  <a:gd name="T55" fmla="*/ 278945 h 440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3" h="423">
                    <a:moveTo>
                      <a:pt x="307" y="51"/>
                    </a:moveTo>
                    <a:cubicBezTo>
                      <a:pt x="183" y="51"/>
                      <a:pt x="162" y="4"/>
                      <a:pt x="162" y="4"/>
                    </a:cubicBezTo>
                    <a:cubicBezTo>
                      <a:pt x="161" y="2"/>
                      <a:pt x="159" y="0"/>
                      <a:pt x="156" y="0"/>
                    </a:cubicBezTo>
                    <a:lnTo>
                      <a:pt x="156" y="0"/>
                    </a:lnTo>
                    <a:cubicBezTo>
                      <a:pt x="154" y="0"/>
                      <a:pt x="152" y="2"/>
                      <a:pt x="151" y="4"/>
                    </a:cubicBezTo>
                    <a:cubicBezTo>
                      <a:pt x="150" y="4"/>
                      <a:pt x="129" y="51"/>
                      <a:pt x="6" y="51"/>
                    </a:cubicBezTo>
                    <a:cubicBezTo>
                      <a:pt x="3" y="51"/>
                      <a:pt x="0" y="54"/>
                      <a:pt x="0" y="57"/>
                    </a:cubicBezTo>
                    <a:lnTo>
                      <a:pt x="0" y="268"/>
                    </a:lnTo>
                    <a:cubicBezTo>
                      <a:pt x="0" y="354"/>
                      <a:pt x="148" y="419"/>
                      <a:pt x="154" y="422"/>
                    </a:cubicBezTo>
                    <a:cubicBezTo>
                      <a:pt x="155" y="422"/>
                      <a:pt x="155" y="423"/>
                      <a:pt x="156" y="423"/>
                    </a:cubicBezTo>
                    <a:cubicBezTo>
                      <a:pt x="157" y="423"/>
                      <a:pt x="158" y="422"/>
                      <a:pt x="159" y="422"/>
                    </a:cubicBezTo>
                    <a:cubicBezTo>
                      <a:pt x="165" y="419"/>
                      <a:pt x="313" y="354"/>
                      <a:pt x="313" y="268"/>
                    </a:cubicBezTo>
                    <a:lnTo>
                      <a:pt x="313" y="57"/>
                    </a:lnTo>
                    <a:cubicBezTo>
                      <a:pt x="313" y="54"/>
                      <a:pt x="310" y="51"/>
                      <a:pt x="307" y="51"/>
                    </a:cubicBezTo>
                    <a:close/>
                    <a:moveTo>
                      <a:pt x="279" y="255"/>
                    </a:moveTo>
                    <a:cubicBezTo>
                      <a:pt x="279" y="323"/>
                      <a:pt x="163" y="374"/>
                      <a:pt x="158" y="376"/>
                    </a:cubicBezTo>
                    <a:cubicBezTo>
                      <a:pt x="158" y="377"/>
                      <a:pt x="157" y="377"/>
                      <a:pt x="156" y="377"/>
                    </a:cubicBezTo>
                    <a:cubicBezTo>
                      <a:pt x="156" y="377"/>
                      <a:pt x="155" y="377"/>
                      <a:pt x="154" y="376"/>
                    </a:cubicBezTo>
                    <a:cubicBezTo>
                      <a:pt x="149" y="374"/>
                      <a:pt x="34" y="323"/>
                      <a:pt x="34" y="255"/>
                    </a:cubicBezTo>
                    <a:lnTo>
                      <a:pt x="34" y="91"/>
                    </a:lnTo>
                    <a:cubicBezTo>
                      <a:pt x="34" y="88"/>
                      <a:pt x="36" y="86"/>
                      <a:pt x="39" y="86"/>
                    </a:cubicBezTo>
                    <a:cubicBezTo>
                      <a:pt x="135" y="86"/>
                      <a:pt x="152" y="49"/>
                      <a:pt x="152" y="49"/>
                    </a:cubicBezTo>
                    <a:cubicBezTo>
                      <a:pt x="153" y="47"/>
                      <a:pt x="154" y="46"/>
                      <a:pt x="156" y="46"/>
                    </a:cubicBezTo>
                    <a:lnTo>
                      <a:pt x="156" y="46"/>
                    </a:lnTo>
                    <a:cubicBezTo>
                      <a:pt x="158" y="46"/>
                      <a:pt x="160" y="47"/>
                      <a:pt x="161" y="49"/>
                    </a:cubicBezTo>
                    <a:cubicBezTo>
                      <a:pt x="161" y="49"/>
                      <a:pt x="177" y="86"/>
                      <a:pt x="274" y="86"/>
                    </a:cubicBezTo>
                    <a:cubicBezTo>
                      <a:pt x="277" y="86"/>
                      <a:pt x="279" y="88"/>
                      <a:pt x="279" y="91"/>
                    </a:cubicBezTo>
                    <a:lnTo>
                      <a:pt x="279" y="255"/>
                    </a:lnTo>
                    <a:close/>
                  </a:path>
                </a:pathLst>
              </a:custGeom>
              <a:solidFill>
                <a:schemeClr val="bg1">
                  <a:lumMod val="50000"/>
                </a:schemeClr>
              </a:solidFill>
              <a:ln>
                <a:noFill/>
              </a:ln>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grpSp>
          <p:nvGrpSpPr>
            <p:cNvPr id="179" name="î$liďé">
              <a:extLst>
                <a:ext uri="{FF2B5EF4-FFF2-40B4-BE49-F238E27FC236}">
                  <a16:creationId xmlns:a16="http://schemas.microsoft.com/office/drawing/2014/main" id="{32242A26-6F60-4216-819A-E14B36B8E9CC}"/>
                </a:ext>
              </a:extLst>
            </p:cNvPr>
            <p:cNvGrpSpPr/>
            <p:nvPr/>
          </p:nvGrpSpPr>
          <p:grpSpPr>
            <a:xfrm>
              <a:off x="6880195" y="3588926"/>
              <a:ext cx="1104947" cy="1104945"/>
              <a:chOff x="7041323" y="3051399"/>
              <a:chExt cx="1104947" cy="1104945"/>
            </a:xfrm>
          </p:grpSpPr>
          <p:sp>
            <p:nvSpPr>
              <p:cNvPr id="195" name="îṧľîḍê">
                <a:extLst>
                  <a:ext uri="{FF2B5EF4-FFF2-40B4-BE49-F238E27FC236}">
                    <a16:creationId xmlns:a16="http://schemas.microsoft.com/office/drawing/2014/main" id="{4251870B-F5F0-4202-AAC8-3987132BC2AE}"/>
                  </a:ext>
                </a:extLst>
              </p:cNvPr>
              <p:cNvSpPr/>
              <p:nvPr/>
            </p:nvSpPr>
            <p:spPr>
              <a:xfrm>
                <a:off x="7041323" y="3051399"/>
                <a:ext cx="1104947" cy="1104945"/>
              </a:xfrm>
              <a:prstGeom prst="ellipse">
                <a:avLst/>
              </a:prstGeom>
              <a:solidFill>
                <a:schemeClr val="bg1">
                  <a:lumMod val="95000"/>
                </a:schemeClr>
              </a:solidFill>
              <a:ln w="3810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p>
            </p:txBody>
          </p:sp>
          <p:sp>
            <p:nvSpPr>
              <p:cNvPr id="196" name="iS1iḑe">
                <a:extLst>
                  <a:ext uri="{FF2B5EF4-FFF2-40B4-BE49-F238E27FC236}">
                    <a16:creationId xmlns:a16="http://schemas.microsoft.com/office/drawing/2014/main" id="{CC60C195-1864-4129-8605-F2770DB1F894}"/>
                  </a:ext>
                </a:extLst>
              </p:cNvPr>
              <p:cNvSpPr/>
              <p:nvPr/>
            </p:nvSpPr>
            <p:spPr bwMode="auto">
              <a:xfrm>
                <a:off x="7283432" y="3441103"/>
                <a:ext cx="633204" cy="325534"/>
              </a:xfrm>
              <a:custGeom>
                <a:avLst/>
                <a:gdLst>
                  <a:gd name="T0" fmla="*/ 3388 w 6238"/>
                  <a:gd name="T1" fmla="*/ 819 h 3212"/>
                  <a:gd name="T2" fmla="*/ 1786 w 6238"/>
                  <a:gd name="T3" fmla="*/ 870 h 3212"/>
                  <a:gd name="T4" fmla="*/ 6238 w 6238"/>
                  <a:gd name="T5" fmla="*/ 2764 h 3212"/>
                  <a:gd name="T6" fmla="*/ 5536 w 6238"/>
                  <a:gd name="T7" fmla="*/ 3212 h 3212"/>
                  <a:gd name="T8" fmla="*/ 4757 w 6238"/>
                  <a:gd name="T9" fmla="*/ 2764 h 3212"/>
                  <a:gd name="T10" fmla="*/ 3963 w 6238"/>
                  <a:gd name="T11" fmla="*/ 3212 h 3212"/>
                  <a:gd name="T12" fmla="*/ 3205 w 6238"/>
                  <a:gd name="T13" fmla="*/ 2764 h 3212"/>
                  <a:gd name="T14" fmla="*/ 2458 w 6238"/>
                  <a:gd name="T15" fmla="*/ 3212 h 3212"/>
                  <a:gd name="T16" fmla="*/ 1673 w 6238"/>
                  <a:gd name="T17" fmla="*/ 2764 h 3212"/>
                  <a:gd name="T18" fmla="*/ 897 w 6238"/>
                  <a:gd name="T19" fmla="*/ 3212 h 3212"/>
                  <a:gd name="T20" fmla="*/ 168 w 6238"/>
                  <a:gd name="T21" fmla="*/ 2764 h 3212"/>
                  <a:gd name="T22" fmla="*/ 6238 w 6238"/>
                  <a:gd name="T23" fmla="*/ 0 h 3212"/>
                  <a:gd name="T24" fmla="*/ 1984 w 6238"/>
                  <a:gd name="T25" fmla="*/ 896 h 3212"/>
                  <a:gd name="T26" fmla="*/ 1118 w 6238"/>
                  <a:gd name="T27" fmla="*/ 918 h 3212"/>
                  <a:gd name="T28" fmla="*/ 1218 w 6238"/>
                  <a:gd name="T29" fmla="*/ 1103 h 3212"/>
                  <a:gd name="T30" fmla="*/ 1319 w 6238"/>
                  <a:gd name="T31" fmla="*/ 1228 h 3212"/>
                  <a:gd name="T32" fmla="*/ 1218 w 6238"/>
                  <a:gd name="T33" fmla="*/ 1412 h 3212"/>
                  <a:gd name="T34" fmla="*/ 1118 w 6238"/>
                  <a:gd name="T35" fmla="*/ 1565 h 3212"/>
                  <a:gd name="T36" fmla="*/ 1218 w 6238"/>
                  <a:gd name="T37" fmla="*/ 1746 h 3212"/>
                  <a:gd name="T38" fmla="*/ 1319 w 6238"/>
                  <a:gd name="T39" fmla="*/ 1870 h 3212"/>
                  <a:gd name="T40" fmla="*/ 2183 w 6238"/>
                  <a:gd name="T41" fmla="*/ 1835 h 3212"/>
                  <a:gd name="T42" fmla="*/ 2082 w 6238"/>
                  <a:gd name="T43" fmla="*/ 1667 h 3212"/>
                  <a:gd name="T44" fmla="*/ 1984 w 6238"/>
                  <a:gd name="T45" fmla="*/ 1543 h 3212"/>
                  <a:gd name="T46" fmla="*/ 2082 w 6238"/>
                  <a:gd name="T47" fmla="*/ 1352 h 3212"/>
                  <a:gd name="T48" fmla="*/ 2183 w 6238"/>
                  <a:gd name="T49" fmla="*/ 1193 h 3212"/>
                  <a:gd name="T50" fmla="*/ 2082 w 6238"/>
                  <a:gd name="T51" fmla="*/ 1021 h 3212"/>
                  <a:gd name="T52" fmla="*/ 3651 w 6238"/>
                  <a:gd name="T53" fmla="*/ 896 h 3212"/>
                  <a:gd name="T54" fmla="*/ 2787 w 6238"/>
                  <a:gd name="T55" fmla="*/ 918 h 3212"/>
                  <a:gd name="T56" fmla="*/ 2887 w 6238"/>
                  <a:gd name="T57" fmla="*/ 1103 h 3212"/>
                  <a:gd name="T58" fmla="*/ 2787 w 6238"/>
                  <a:gd name="T59" fmla="*/ 1228 h 3212"/>
                  <a:gd name="T60" fmla="*/ 2687 w 6238"/>
                  <a:gd name="T61" fmla="*/ 1412 h 3212"/>
                  <a:gd name="T62" fmla="*/ 2787 w 6238"/>
                  <a:gd name="T63" fmla="*/ 1565 h 3212"/>
                  <a:gd name="T64" fmla="*/ 2887 w 6238"/>
                  <a:gd name="T65" fmla="*/ 1746 h 3212"/>
                  <a:gd name="T66" fmla="*/ 2787 w 6238"/>
                  <a:gd name="T67" fmla="*/ 1870 h 3212"/>
                  <a:gd name="T68" fmla="*/ 3651 w 6238"/>
                  <a:gd name="T69" fmla="*/ 1835 h 3212"/>
                  <a:gd name="T70" fmla="*/ 3553 w 6238"/>
                  <a:gd name="T71" fmla="*/ 1667 h 3212"/>
                  <a:gd name="T72" fmla="*/ 3651 w 6238"/>
                  <a:gd name="T73" fmla="*/ 1543 h 3212"/>
                  <a:gd name="T74" fmla="*/ 3752 w 6238"/>
                  <a:gd name="T75" fmla="*/ 1352 h 3212"/>
                  <a:gd name="T76" fmla="*/ 3651 w 6238"/>
                  <a:gd name="T77" fmla="*/ 1193 h 3212"/>
                  <a:gd name="T78" fmla="*/ 3553 w 6238"/>
                  <a:gd name="T79" fmla="*/ 1021 h 3212"/>
                  <a:gd name="T80" fmla="*/ 5160 w 6238"/>
                  <a:gd name="T81" fmla="*/ 921 h 3212"/>
                  <a:gd name="T82" fmla="*/ 4295 w 6238"/>
                  <a:gd name="T83" fmla="*/ 894 h 3212"/>
                  <a:gd name="T84" fmla="*/ 4396 w 6238"/>
                  <a:gd name="T85" fmla="*/ 1019 h 3212"/>
                  <a:gd name="T86" fmla="*/ 4295 w 6238"/>
                  <a:gd name="T87" fmla="*/ 1190 h 3212"/>
                  <a:gd name="T88" fmla="*/ 4195 w 6238"/>
                  <a:gd name="T89" fmla="*/ 1349 h 3212"/>
                  <a:gd name="T90" fmla="*/ 4295 w 6238"/>
                  <a:gd name="T91" fmla="*/ 1540 h 3212"/>
                  <a:gd name="T92" fmla="*/ 4396 w 6238"/>
                  <a:gd name="T93" fmla="*/ 1665 h 3212"/>
                  <a:gd name="T94" fmla="*/ 4295 w 6238"/>
                  <a:gd name="T95" fmla="*/ 1833 h 3212"/>
                  <a:gd name="T96" fmla="*/ 5160 w 6238"/>
                  <a:gd name="T97" fmla="*/ 1873 h 3212"/>
                  <a:gd name="T98" fmla="*/ 5062 w 6238"/>
                  <a:gd name="T99" fmla="*/ 1748 h 3212"/>
                  <a:gd name="T100" fmla="*/ 5160 w 6238"/>
                  <a:gd name="T101" fmla="*/ 1567 h 3212"/>
                  <a:gd name="T102" fmla="*/ 5260 w 6238"/>
                  <a:gd name="T103" fmla="*/ 1414 h 3212"/>
                  <a:gd name="T104" fmla="*/ 5160 w 6238"/>
                  <a:gd name="T105" fmla="*/ 1230 h 3212"/>
                  <a:gd name="T106" fmla="*/ 5062 w 6238"/>
                  <a:gd name="T107" fmla="*/ 1106 h 3212"/>
                  <a:gd name="T108" fmla="*/ 5260 w 6238"/>
                  <a:gd name="T109" fmla="*/ 921 h 3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238" h="3212">
                    <a:moveTo>
                      <a:pt x="4966" y="870"/>
                    </a:moveTo>
                    <a:cubicBezTo>
                      <a:pt x="4966" y="899"/>
                      <a:pt x="4943" y="922"/>
                      <a:pt x="4915" y="922"/>
                    </a:cubicBezTo>
                    <a:cubicBezTo>
                      <a:pt x="4886" y="922"/>
                      <a:pt x="4863" y="899"/>
                      <a:pt x="4863" y="870"/>
                    </a:cubicBezTo>
                    <a:cubicBezTo>
                      <a:pt x="4863" y="842"/>
                      <a:pt x="4886" y="819"/>
                      <a:pt x="4915" y="819"/>
                    </a:cubicBezTo>
                    <a:cubicBezTo>
                      <a:pt x="4943" y="819"/>
                      <a:pt x="4966" y="842"/>
                      <a:pt x="4966" y="870"/>
                    </a:cubicBezTo>
                    <a:close/>
                    <a:moveTo>
                      <a:pt x="3388" y="819"/>
                    </a:moveTo>
                    <a:cubicBezTo>
                      <a:pt x="3359" y="819"/>
                      <a:pt x="3336" y="842"/>
                      <a:pt x="3336" y="870"/>
                    </a:cubicBezTo>
                    <a:cubicBezTo>
                      <a:pt x="3336" y="899"/>
                      <a:pt x="3359" y="922"/>
                      <a:pt x="3388" y="922"/>
                    </a:cubicBezTo>
                    <a:cubicBezTo>
                      <a:pt x="3416" y="922"/>
                      <a:pt x="3439" y="899"/>
                      <a:pt x="3439" y="870"/>
                    </a:cubicBezTo>
                    <a:cubicBezTo>
                      <a:pt x="3439" y="842"/>
                      <a:pt x="3416" y="819"/>
                      <a:pt x="3388" y="819"/>
                    </a:cubicBezTo>
                    <a:close/>
                    <a:moveTo>
                      <a:pt x="1838" y="819"/>
                    </a:moveTo>
                    <a:cubicBezTo>
                      <a:pt x="1809" y="819"/>
                      <a:pt x="1786" y="842"/>
                      <a:pt x="1786" y="870"/>
                    </a:cubicBezTo>
                    <a:cubicBezTo>
                      <a:pt x="1786" y="899"/>
                      <a:pt x="1809" y="922"/>
                      <a:pt x="1838" y="922"/>
                    </a:cubicBezTo>
                    <a:cubicBezTo>
                      <a:pt x="1866" y="922"/>
                      <a:pt x="1889" y="899"/>
                      <a:pt x="1889" y="870"/>
                    </a:cubicBezTo>
                    <a:cubicBezTo>
                      <a:pt x="1889" y="842"/>
                      <a:pt x="1866" y="819"/>
                      <a:pt x="1838" y="819"/>
                    </a:cubicBezTo>
                    <a:close/>
                    <a:moveTo>
                      <a:pt x="5622" y="1382"/>
                    </a:moveTo>
                    <a:cubicBezTo>
                      <a:pt x="5622" y="1722"/>
                      <a:pt x="5898" y="1998"/>
                      <a:pt x="6238" y="1998"/>
                    </a:cubicBezTo>
                    <a:lnTo>
                      <a:pt x="6238" y="2764"/>
                    </a:lnTo>
                    <a:lnTo>
                      <a:pt x="6052" y="2764"/>
                    </a:lnTo>
                    <a:lnTo>
                      <a:pt x="6052" y="3212"/>
                    </a:lnTo>
                    <a:lnTo>
                      <a:pt x="5809" y="3212"/>
                    </a:lnTo>
                    <a:lnTo>
                      <a:pt x="5809" y="2764"/>
                    </a:lnTo>
                    <a:lnTo>
                      <a:pt x="5536" y="2764"/>
                    </a:lnTo>
                    <a:lnTo>
                      <a:pt x="5536" y="3212"/>
                    </a:lnTo>
                    <a:lnTo>
                      <a:pt x="5293" y="3212"/>
                    </a:lnTo>
                    <a:lnTo>
                      <a:pt x="5293" y="2764"/>
                    </a:lnTo>
                    <a:lnTo>
                      <a:pt x="5000" y="2764"/>
                    </a:lnTo>
                    <a:lnTo>
                      <a:pt x="5000" y="3212"/>
                    </a:lnTo>
                    <a:lnTo>
                      <a:pt x="4757" y="3212"/>
                    </a:lnTo>
                    <a:lnTo>
                      <a:pt x="4757" y="2764"/>
                    </a:lnTo>
                    <a:lnTo>
                      <a:pt x="4484" y="2764"/>
                    </a:lnTo>
                    <a:lnTo>
                      <a:pt x="4484" y="3212"/>
                    </a:lnTo>
                    <a:lnTo>
                      <a:pt x="4241" y="3212"/>
                    </a:lnTo>
                    <a:lnTo>
                      <a:pt x="4241" y="2764"/>
                    </a:lnTo>
                    <a:lnTo>
                      <a:pt x="3963" y="2764"/>
                    </a:lnTo>
                    <a:lnTo>
                      <a:pt x="3963" y="3212"/>
                    </a:lnTo>
                    <a:lnTo>
                      <a:pt x="3720" y="3212"/>
                    </a:lnTo>
                    <a:lnTo>
                      <a:pt x="3720" y="2764"/>
                    </a:lnTo>
                    <a:lnTo>
                      <a:pt x="3448" y="2764"/>
                    </a:lnTo>
                    <a:lnTo>
                      <a:pt x="3448" y="3212"/>
                    </a:lnTo>
                    <a:lnTo>
                      <a:pt x="3205" y="3212"/>
                    </a:lnTo>
                    <a:lnTo>
                      <a:pt x="3205" y="2764"/>
                    </a:lnTo>
                    <a:lnTo>
                      <a:pt x="2943" y="2764"/>
                    </a:lnTo>
                    <a:lnTo>
                      <a:pt x="2943" y="3212"/>
                    </a:lnTo>
                    <a:lnTo>
                      <a:pt x="2700" y="3212"/>
                    </a:lnTo>
                    <a:lnTo>
                      <a:pt x="2700" y="2764"/>
                    </a:lnTo>
                    <a:lnTo>
                      <a:pt x="2458" y="2764"/>
                    </a:lnTo>
                    <a:lnTo>
                      <a:pt x="2458" y="3212"/>
                    </a:lnTo>
                    <a:lnTo>
                      <a:pt x="2215" y="3212"/>
                    </a:lnTo>
                    <a:lnTo>
                      <a:pt x="2215" y="2764"/>
                    </a:lnTo>
                    <a:lnTo>
                      <a:pt x="1916" y="2764"/>
                    </a:lnTo>
                    <a:lnTo>
                      <a:pt x="1916" y="3212"/>
                    </a:lnTo>
                    <a:lnTo>
                      <a:pt x="1673" y="3212"/>
                    </a:lnTo>
                    <a:lnTo>
                      <a:pt x="1673" y="2764"/>
                    </a:lnTo>
                    <a:lnTo>
                      <a:pt x="1401" y="2764"/>
                    </a:lnTo>
                    <a:lnTo>
                      <a:pt x="1401" y="3212"/>
                    </a:lnTo>
                    <a:lnTo>
                      <a:pt x="1158" y="3212"/>
                    </a:lnTo>
                    <a:lnTo>
                      <a:pt x="1158" y="2764"/>
                    </a:lnTo>
                    <a:lnTo>
                      <a:pt x="897" y="2764"/>
                    </a:lnTo>
                    <a:lnTo>
                      <a:pt x="897" y="3212"/>
                    </a:lnTo>
                    <a:lnTo>
                      <a:pt x="654" y="3212"/>
                    </a:lnTo>
                    <a:lnTo>
                      <a:pt x="654" y="2764"/>
                    </a:lnTo>
                    <a:lnTo>
                      <a:pt x="411" y="2764"/>
                    </a:lnTo>
                    <a:lnTo>
                      <a:pt x="411" y="3212"/>
                    </a:lnTo>
                    <a:lnTo>
                      <a:pt x="168" y="3212"/>
                    </a:lnTo>
                    <a:lnTo>
                      <a:pt x="168" y="2764"/>
                    </a:lnTo>
                    <a:lnTo>
                      <a:pt x="0" y="2764"/>
                    </a:lnTo>
                    <a:lnTo>
                      <a:pt x="0" y="1998"/>
                    </a:lnTo>
                    <a:cubicBezTo>
                      <a:pt x="340" y="1998"/>
                      <a:pt x="616" y="1722"/>
                      <a:pt x="616" y="1382"/>
                    </a:cubicBezTo>
                    <a:cubicBezTo>
                      <a:pt x="616" y="1042"/>
                      <a:pt x="340" y="766"/>
                      <a:pt x="0" y="766"/>
                    </a:cubicBezTo>
                    <a:lnTo>
                      <a:pt x="0" y="0"/>
                    </a:lnTo>
                    <a:lnTo>
                      <a:pt x="6238" y="0"/>
                    </a:lnTo>
                    <a:lnTo>
                      <a:pt x="6238" y="766"/>
                    </a:lnTo>
                    <a:cubicBezTo>
                      <a:pt x="5898" y="766"/>
                      <a:pt x="5622" y="1042"/>
                      <a:pt x="5622" y="1382"/>
                    </a:cubicBezTo>
                    <a:close/>
                    <a:moveTo>
                      <a:pt x="2183" y="921"/>
                    </a:moveTo>
                    <a:lnTo>
                      <a:pt x="2082" y="921"/>
                    </a:lnTo>
                    <a:lnTo>
                      <a:pt x="2082" y="896"/>
                    </a:lnTo>
                    <a:lnTo>
                      <a:pt x="1984" y="896"/>
                    </a:lnTo>
                    <a:lnTo>
                      <a:pt x="1984" y="755"/>
                    </a:lnTo>
                    <a:lnTo>
                      <a:pt x="1319" y="755"/>
                    </a:lnTo>
                    <a:lnTo>
                      <a:pt x="1319" y="894"/>
                    </a:lnTo>
                    <a:lnTo>
                      <a:pt x="1218" y="894"/>
                    </a:lnTo>
                    <a:lnTo>
                      <a:pt x="1218" y="918"/>
                    </a:lnTo>
                    <a:lnTo>
                      <a:pt x="1118" y="918"/>
                    </a:lnTo>
                    <a:lnTo>
                      <a:pt x="1118" y="981"/>
                    </a:lnTo>
                    <a:lnTo>
                      <a:pt x="1218" y="981"/>
                    </a:lnTo>
                    <a:lnTo>
                      <a:pt x="1218" y="1019"/>
                    </a:lnTo>
                    <a:lnTo>
                      <a:pt x="1319" y="1019"/>
                    </a:lnTo>
                    <a:lnTo>
                      <a:pt x="1319" y="1103"/>
                    </a:lnTo>
                    <a:lnTo>
                      <a:pt x="1218" y="1103"/>
                    </a:lnTo>
                    <a:lnTo>
                      <a:pt x="1218" y="1128"/>
                    </a:lnTo>
                    <a:lnTo>
                      <a:pt x="1118" y="1128"/>
                    </a:lnTo>
                    <a:lnTo>
                      <a:pt x="1118" y="1190"/>
                    </a:lnTo>
                    <a:lnTo>
                      <a:pt x="1218" y="1190"/>
                    </a:lnTo>
                    <a:lnTo>
                      <a:pt x="1218" y="1228"/>
                    </a:lnTo>
                    <a:lnTo>
                      <a:pt x="1319" y="1228"/>
                    </a:lnTo>
                    <a:lnTo>
                      <a:pt x="1319" y="1324"/>
                    </a:lnTo>
                    <a:lnTo>
                      <a:pt x="1218" y="1324"/>
                    </a:lnTo>
                    <a:lnTo>
                      <a:pt x="1218" y="1349"/>
                    </a:lnTo>
                    <a:lnTo>
                      <a:pt x="1118" y="1349"/>
                    </a:lnTo>
                    <a:lnTo>
                      <a:pt x="1118" y="1412"/>
                    </a:lnTo>
                    <a:lnTo>
                      <a:pt x="1218" y="1412"/>
                    </a:lnTo>
                    <a:lnTo>
                      <a:pt x="1218" y="1449"/>
                    </a:lnTo>
                    <a:lnTo>
                      <a:pt x="1319" y="1449"/>
                    </a:lnTo>
                    <a:lnTo>
                      <a:pt x="1319" y="1540"/>
                    </a:lnTo>
                    <a:lnTo>
                      <a:pt x="1218" y="1540"/>
                    </a:lnTo>
                    <a:lnTo>
                      <a:pt x="1218" y="1565"/>
                    </a:lnTo>
                    <a:lnTo>
                      <a:pt x="1118" y="1565"/>
                    </a:lnTo>
                    <a:lnTo>
                      <a:pt x="1118" y="1627"/>
                    </a:lnTo>
                    <a:lnTo>
                      <a:pt x="1218" y="1627"/>
                    </a:lnTo>
                    <a:lnTo>
                      <a:pt x="1218" y="1665"/>
                    </a:lnTo>
                    <a:lnTo>
                      <a:pt x="1319" y="1665"/>
                    </a:lnTo>
                    <a:lnTo>
                      <a:pt x="1319" y="1746"/>
                    </a:lnTo>
                    <a:lnTo>
                      <a:pt x="1218" y="1746"/>
                    </a:lnTo>
                    <a:lnTo>
                      <a:pt x="1218" y="1770"/>
                    </a:lnTo>
                    <a:lnTo>
                      <a:pt x="1118" y="1770"/>
                    </a:lnTo>
                    <a:lnTo>
                      <a:pt x="1118" y="1833"/>
                    </a:lnTo>
                    <a:lnTo>
                      <a:pt x="1218" y="1833"/>
                    </a:lnTo>
                    <a:lnTo>
                      <a:pt x="1218" y="1870"/>
                    </a:lnTo>
                    <a:lnTo>
                      <a:pt x="1319" y="1870"/>
                    </a:lnTo>
                    <a:lnTo>
                      <a:pt x="1319" y="2009"/>
                    </a:lnTo>
                    <a:lnTo>
                      <a:pt x="1984" y="2009"/>
                    </a:lnTo>
                    <a:lnTo>
                      <a:pt x="1984" y="1873"/>
                    </a:lnTo>
                    <a:lnTo>
                      <a:pt x="2082" y="1873"/>
                    </a:lnTo>
                    <a:lnTo>
                      <a:pt x="2082" y="1835"/>
                    </a:lnTo>
                    <a:lnTo>
                      <a:pt x="2183" y="1835"/>
                    </a:lnTo>
                    <a:lnTo>
                      <a:pt x="2183" y="1773"/>
                    </a:lnTo>
                    <a:lnTo>
                      <a:pt x="2082" y="1773"/>
                    </a:lnTo>
                    <a:lnTo>
                      <a:pt x="2082" y="1748"/>
                    </a:lnTo>
                    <a:lnTo>
                      <a:pt x="1984" y="1748"/>
                    </a:lnTo>
                    <a:lnTo>
                      <a:pt x="1984" y="1667"/>
                    </a:lnTo>
                    <a:lnTo>
                      <a:pt x="2082" y="1667"/>
                    </a:lnTo>
                    <a:lnTo>
                      <a:pt x="2082" y="1630"/>
                    </a:lnTo>
                    <a:lnTo>
                      <a:pt x="2183" y="1630"/>
                    </a:lnTo>
                    <a:lnTo>
                      <a:pt x="2183" y="1567"/>
                    </a:lnTo>
                    <a:lnTo>
                      <a:pt x="2082" y="1567"/>
                    </a:lnTo>
                    <a:lnTo>
                      <a:pt x="2082" y="1543"/>
                    </a:lnTo>
                    <a:lnTo>
                      <a:pt x="1984" y="1543"/>
                    </a:lnTo>
                    <a:lnTo>
                      <a:pt x="1984" y="1452"/>
                    </a:lnTo>
                    <a:lnTo>
                      <a:pt x="2082" y="1452"/>
                    </a:lnTo>
                    <a:lnTo>
                      <a:pt x="2082" y="1414"/>
                    </a:lnTo>
                    <a:lnTo>
                      <a:pt x="2183" y="1414"/>
                    </a:lnTo>
                    <a:lnTo>
                      <a:pt x="2183" y="1352"/>
                    </a:lnTo>
                    <a:lnTo>
                      <a:pt x="2082" y="1352"/>
                    </a:lnTo>
                    <a:lnTo>
                      <a:pt x="2082" y="1327"/>
                    </a:lnTo>
                    <a:lnTo>
                      <a:pt x="1984" y="1327"/>
                    </a:lnTo>
                    <a:lnTo>
                      <a:pt x="1984" y="1230"/>
                    </a:lnTo>
                    <a:lnTo>
                      <a:pt x="2082" y="1230"/>
                    </a:lnTo>
                    <a:lnTo>
                      <a:pt x="2082" y="1193"/>
                    </a:lnTo>
                    <a:lnTo>
                      <a:pt x="2183" y="1193"/>
                    </a:lnTo>
                    <a:lnTo>
                      <a:pt x="2183" y="1130"/>
                    </a:lnTo>
                    <a:lnTo>
                      <a:pt x="2082" y="1130"/>
                    </a:lnTo>
                    <a:lnTo>
                      <a:pt x="2082" y="1106"/>
                    </a:lnTo>
                    <a:lnTo>
                      <a:pt x="1984" y="1106"/>
                    </a:lnTo>
                    <a:lnTo>
                      <a:pt x="1984" y="1021"/>
                    </a:lnTo>
                    <a:lnTo>
                      <a:pt x="2082" y="1021"/>
                    </a:lnTo>
                    <a:lnTo>
                      <a:pt x="2082" y="984"/>
                    </a:lnTo>
                    <a:lnTo>
                      <a:pt x="2183" y="984"/>
                    </a:lnTo>
                    <a:lnTo>
                      <a:pt x="2183" y="921"/>
                    </a:lnTo>
                    <a:close/>
                    <a:moveTo>
                      <a:pt x="3752" y="921"/>
                    </a:moveTo>
                    <a:lnTo>
                      <a:pt x="3651" y="921"/>
                    </a:lnTo>
                    <a:lnTo>
                      <a:pt x="3651" y="896"/>
                    </a:lnTo>
                    <a:lnTo>
                      <a:pt x="3553" y="896"/>
                    </a:lnTo>
                    <a:lnTo>
                      <a:pt x="3553" y="755"/>
                    </a:lnTo>
                    <a:lnTo>
                      <a:pt x="2887" y="755"/>
                    </a:lnTo>
                    <a:lnTo>
                      <a:pt x="2887" y="894"/>
                    </a:lnTo>
                    <a:lnTo>
                      <a:pt x="2787" y="894"/>
                    </a:lnTo>
                    <a:lnTo>
                      <a:pt x="2787" y="918"/>
                    </a:lnTo>
                    <a:lnTo>
                      <a:pt x="2687" y="918"/>
                    </a:lnTo>
                    <a:lnTo>
                      <a:pt x="2687" y="981"/>
                    </a:lnTo>
                    <a:lnTo>
                      <a:pt x="2787" y="981"/>
                    </a:lnTo>
                    <a:lnTo>
                      <a:pt x="2787" y="1019"/>
                    </a:lnTo>
                    <a:lnTo>
                      <a:pt x="2887" y="1019"/>
                    </a:lnTo>
                    <a:lnTo>
                      <a:pt x="2887" y="1103"/>
                    </a:lnTo>
                    <a:lnTo>
                      <a:pt x="2787" y="1103"/>
                    </a:lnTo>
                    <a:lnTo>
                      <a:pt x="2787" y="1128"/>
                    </a:lnTo>
                    <a:lnTo>
                      <a:pt x="2687" y="1128"/>
                    </a:lnTo>
                    <a:lnTo>
                      <a:pt x="2687" y="1190"/>
                    </a:lnTo>
                    <a:lnTo>
                      <a:pt x="2787" y="1190"/>
                    </a:lnTo>
                    <a:lnTo>
                      <a:pt x="2787" y="1228"/>
                    </a:lnTo>
                    <a:lnTo>
                      <a:pt x="2887" y="1228"/>
                    </a:lnTo>
                    <a:lnTo>
                      <a:pt x="2887" y="1324"/>
                    </a:lnTo>
                    <a:lnTo>
                      <a:pt x="2787" y="1324"/>
                    </a:lnTo>
                    <a:lnTo>
                      <a:pt x="2787" y="1349"/>
                    </a:lnTo>
                    <a:lnTo>
                      <a:pt x="2687" y="1349"/>
                    </a:lnTo>
                    <a:lnTo>
                      <a:pt x="2687" y="1412"/>
                    </a:lnTo>
                    <a:lnTo>
                      <a:pt x="2787" y="1412"/>
                    </a:lnTo>
                    <a:lnTo>
                      <a:pt x="2787" y="1449"/>
                    </a:lnTo>
                    <a:lnTo>
                      <a:pt x="2887" y="1449"/>
                    </a:lnTo>
                    <a:lnTo>
                      <a:pt x="2887" y="1540"/>
                    </a:lnTo>
                    <a:lnTo>
                      <a:pt x="2787" y="1540"/>
                    </a:lnTo>
                    <a:lnTo>
                      <a:pt x="2787" y="1565"/>
                    </a:lnTo>
                    <a:lnTo>
                      <a:pt x="2687" y="1565"/>
                    </a:lnTo>
                    <a:lnTo>
                      <a:pt x="2687" y="1627"/>
                    </a:lnTo>
                    <a:lnTo>
                      <a:pt x="2787" y="1627"/>
                    </a:lnTo>
                    <a:lnTo>
                      <a:pt x="2787" y="1665"/>
                    </a:lnTo>
                    <a:lnTo>
                      <a:pt x="2887" y="1665"/>
                    </a:lnTo>
                    <a:lnTo>
                      <a:pt x="2887" y="1746"/>
                    </a:lnTo>
                    <a:lnTo>
                      <a:pt x="2787" y="1746"/>
                    </a:lnTo>
                    <a:lnTo>
                      <a:pt x="2787" y="1770"/>
                    </a:lnTo>
                    <a:lnTo>
                      <a:pt x="2687" y="1770"/>
                    </a:lnTo>
                    <a:lnTo>
                      <a:pt x="2687" y="1833"/>
                    </a:lnTo>
                    <a:lnTo>
                      <a:pt x="2787" y="1833"/>
                    </a:lnTo>
                    <a:lnTo>
                      <a:pt x="2787" y="1870"/>
                    </a:lnTo>
                    <a:lnTo>
                      <a:pt x="2887" y="1870"/>
                    </a:lnTo>
                    <a:lnTo>
                      <a:pt x="2887" y="2009"/>
                    </a:lnTo>
                    <a:lnTo>
                      <a:pt x="3553" y="2009"/>
                    </a:lnTo>
                    <a:lnTo>
                      <a:pt x="3553" y="1873"/>
                    </a:lnTo>
                    <a:lnTo>
                      <a:pt x="3651" y="1873"/>
                    </a:lnTo>
                    <a:lnTo>
                      <a:pt x="3651" y="1835"/>
                    </a:lnTo>
                    <a:lnTo>
                      <a:pt x="3752" y="1835"/>
                    </a:lnTo>
                    <a:lnTo>
                      <a:pt x="3752" y="1773"/>
                    </a:lnTo>
                    <a:lnTo>
                      <a:pt x="3651" y="1773"/>
                    </a:lnTo>
                    <a:lnTo>
                      <a:pt x="3651" y="1748"/>
                    </a:lnTo>
                    <a:lnTo>
                      <a:pt x="3553" y="1748"/>
                    </a:lnTo>
                    <a:lnTo>
                      <a:pt x="3553" y="1667"/>
                    </a:lnTo>
                    <a:lnTo>
                      <a:pt x="3651" y="1667"/>
                    </a:lnTo>
                    <a:lnTo>
                      <a:pt x="3651" y="1630"/>
                    </a:lnTo>
                    <a:lnTo>
                      <a:pt x="3752" y="1630"/>
                    </a:lnTo>
                    <a:lnTo>
                      <a:pt x="3752" y="1567"/>
                    </a:lnTo>
                    <a:lnTo>
                      <a:pt x="3651" y="1567"/>
                    </a:lnTo>
                    <a:lnTo>
                      <a:pt x="3651" y="1543"/>
                    </a:lnTo>
                    <a:lnTo>
                      <a:pt x="3553" y="1543"/>
                    </a:lnTo>
                    <a:lnTo>
                      <a:pt x="3553" y="1452"/>
                    </a:lnTo>
                    <a:lnTo>
                      <a:pt x="3651" y="1452"/>
                    </a:lnTo>
                    <a:lnTo>
                      <a:pt x="3651" y="1414"/>
                    </a:lnTo>
                    <a:lnTo>
                      <a:pt x="3752" y="1414"/>
                    </a:lnTo>
                    <a:lnTo>
                      <a:pt x="3752" y="1352"/>
                    </a:lnTo>
                    <a:lnTo>
                      <a:pt x="3651" y="1352"/>
                    </a:lnTo>
                    <a:lnTo>
                      <a:pt x="3651" y="1327"/>
                    </a:lnTo>
                    <a:lnTo>
                      <a:pt x="3553" y="1327"/>
                    </a:lnTo>
                    <a:lnTo>
                      <a:pt x="3553" y="1230"/>
                    </a:lnTo>
                    <a:lnTo>
                      <a:pt x="3651" y="1230"/>
                    </a:lnTo>
                    <a:lnTo>
                      <a:pt x="3651" y="1193"/>
                    </a:lnTo>
                    <a:lnTo>
                      <a:pt x="3752" y="1193"/>
                    </a:lnTo>
                    <a:lnTo>
                      <a:pt x="3752" y="1130"/>
                    </a:lnTo>
                    <a:lnTo>
                      <a:pt x="3651" y="1130"/>
                    </a:lnTo>
                    <a:lnTo>
                      <a:pt x="3651" y="1106"/>
                    </a:lnTo>
                    <a:lnTo>
                      <a:pt x="3553" y="1106"/>
                    </a:lnTo>
                    <a:lnTo>
                      <a:pt x="3553" y="1021"/>
                    </a:lnTo>
                    <a:lnTo>
                      <a:pt x="3651" y="1021"/>
                    </a:lnTo>
                    <a:lnTo>
                      <a:pt x="3651" y="984"/>
                    </a:lnTo>
                    <a:lnTo>
                      <a:pt x="3752" y="984"/>
                    </a:lnTo>
                    <a:lnTo>
                      <a:pt x="3752" y="921"/>
                    </a:lnTo>
                    <a:close/>
                    <a:moveTo>
                      <a:pt x="5260" y="921"/>
                    </a:moveTo>
                    <a:lnTo>
                      <a:pt x="5160" y="921"/>
                    </a:lnTo>
                    <a:lnTo>
                      <a:pt x="5160" y="896"/>
                    </a:lnTo>
                    <a:lnTo>
                      <a:pt x="5062" y="896"/>
                    </a:lnTo>
                    <a:lnTo>
                      <a:pt x="5062" y="755"/>
                    </a:lnTo>
                    <a:lnTo>
                      <a:pt x="4396" y="755"/>
                    </a:lnTo>
                    <a:lnTo>
                      <a:pt x="4396" y="894"/>
                    </a:lnTo>
                    <a:lnTo>
                      <a:pt x="4295" y="894"/>
                    </a:lnTo>
                    <a:lnTo>
                      <a:pt x="4295" y="918"/>
                    </a:lnTo>
                    <a:lnTo>
                      <a:pt x="4195" y="918"/>
                    </a:lnTo>
                    <a:lnTo>
                      <a:pt x="4195" y="981"/>
                    </a:lnTo>
                    <a:lnTo>
                      <a:pt x="4295" y="981"/>
                    </a:lnTo>
                    <a:lnTo>
                      <a:pt x="4295" y="1019"/>
                    </a:lnTo>
                    <a:lnTo>
                      <a:pt x="4396" y="1019"/>
                    </a:lnTo>
                    <a:lnTo>
                      <a:pt x="4396" y="1103"/>
                    </a:lnTo>
                    <a:lnTo>
                      <a:pt x="4295" y="1103"/>
                    </a:lnTo>
                    <a:lnTo>
                      <a:pt x="4295" y="1128"/>
                    </a:lnTo>
                    <a:lnTo>
                      <a:pt x="4195" y="1128"/>
                    </a:lnTo>
                    <a:lnTo>
                      <a:pt x="4195" y="1190"/>
                    </a:lnTo>
                    <a:lnTo>
                      <a:pt x="4295" y="1190"/>
                    </a:lnTo>
                    <a:lnTo>
                      <a:pt x="4295" y="1228"/>
                    </a:lnTo>
                    <a:lnTo>
                      <a:pt x="4396" y="1228"/>
                    </a:lnTo>
                    <a:lnTo>
                      <a:pt x="4396" y="1324"/>
                    </a:lnTo>
                    <a:lnTo>
                      <a:pt x="4295" y="1324"/>
                    </a:lnTo>
                    <a:lnTo>
                      <a:pt x="4295" y="1349"/>
                    </a:lnTo>
                    <a:lnTo>
                      <a:pt x="4195" y="1349"/>
                    </a:lnTo>
                    <a:lnTo>
                      <a:pt x="4195" y="1412"/>
                    </a:lnTo>
                    <a:lnTo>
                      <a:pt x="4295" y="1412"/>
                    </a:lnTo>
                    <a:lnTo>
                      <a:pt x="4295" y="1449"/>
                    </a:lnTo>
                    <a:lnTo>
                      <a:pt x="4396" y="1449"/>
                    </a:lnTo>
                    <a:lnTo>
                      <a:pt x="4396" y="1540"/>
                    </a:lnTo>
                    <a:lnTo>
                      <a:pt x="4295" y="1540"/>
                    </a:lnTo>
                    <a:lnTo>
                      <a:pt x="4295" y="1565"/>
                    </a:lnTo>
                    <a:lnTo>
                      <a:pt x="4195" y="1565"/>
                    </a:lnTo>
                    <a:lnTo>
                      <a:pt x="4195" y="1627"/>
                    </a:lnTo>
                    <a:lnTo>
                      <a:pt x="4295" y="1627"/>
                    </a:lnTo>
                    <a:lnTo>
                      <a:pt x="4295" y="1665"/>
                    </a:lnTo>
                    <a:lnTo>
                      <a:pt x="4396" y="1665"/>
                    </a:lnTo>
                    <a:lnTo>
                      <a:pt x="4396" y="1746"/>
                    </a:lnTo>
                    <a:lnTo>
                      <a:pt x="4295" y="1746"/>
                    </a:lnTo>
                    <a:lnTo>
                      <a:pt x="4295" y="1770"/>
                    </a:lnTo>
                    <a:lnTo>
                      <a:pt x="4195" y="1770"/>
                    </a:lnTo>
                    <a:lnTo>
                      <a:pt x="4195" y="1833"/>
                    </a:lnTo>
                    <a:lnTo>
                      <a:pt x="4295" y="1833"/>
                    </a:lnTo>
                    <a:lnTo>
                      <a:pt x="4295" y="1870"/>
                    </a:lnTo>
                    <a:lnTo>
                      <a:pt x="4396" y="1870"/>
                    </a:lnTo>
                    <a:lnTo>
                      <a:pt x="4396" y="2009"/>
                    </a:lnTo>
                    <a:lnTo>
                      <a:pt x="5062" y="2009"/>
                    </a:lnTo>
                    <a:lnTo>
                      <a:pt x="5062" y="1873"/>
                    </a:lnTo>
                    <a:lnTo>
                      <a:pt x="5160" y="1873"/>
                    </a:lnTo>
                    <a:lnTo>
                      <a:pt x="5160" y="1835"/>
                    </a:lnTo>
                    <a:lnTo>
                      <a:pt x="5260" y="1835"/>
                    </a:lnTo>
                    <a:lnTo>
                      <a:pt x="5260" y="1773"/>
                    </a:lnTo>
                    <a:lnTo>
                      <a:pt x="5160" y="1773"/>
                    </a:lnTo>
                    <a:lnTo>
                      <a:pt x="5160" y="1748"/>
                    </a:lnTo>
                    <a:lnTo>
                      <a:pt x="5062" y="1748"/>
                    </a:lnTo>
                    <a:lnTo>
                      <a:pt x="5062" y="1667"/>
                    </a:lnTo>
                    <a:lnTo>
                      <a:pt x="5160" y="1667"/>
                    </a:lnTo>
                    <a:lnTo>
                      <a:pt x="5160" y="1630"/>
                    </a:lnTo>
                    <a:lnTo>
                      <a:pt x="5260" y="1630"/>
                    </a:lnTo>
                    <a:lnTo>
                      <a:pt x="5260" y="1567"/>
                    </a:lnTo>
                    <a:lnTo>
                      <a:pt x="5160" y="1567"/>
                    </a:lnTo>
                    <a:lnTo>
                      <a:pt x="5160" y="1543"/>
                    </a:lnTo>
                    <a:lnTo>
                      <a:pt x="5062" y="1543"/>
                    </a:lnTo>
                    <a:lnTo>
                      <a:pt x="5062" y="1452"/>
                    </a:lnTo>
                    <a:lnTo>
                      <a:pt x="5160" y="1452"/>
                    </a:lnTo>
                    <a:lnTo>
                      <a:pt x="5160" y="1414"/>
                    </a:lnTo>
                    <a:lnTo>
                      <a:pt x="5260" y="1414"/>
                    </a:lnTo>
                    <a:lnTo>
                      <a:pt x="5260" y="1352"/>
                    </a:lnTo>
                    <a:lnTo>
                      <a:pt x="5160" y="1352"/>
                    </a:lnTo>
                    <a:lnTo>
                      <a:pt x="5160" y="1327"/>
                    </a:lnTo>
                    <a:lnTo>
                      <a:pt x="5062" y="1327"/>
                    </a:lnTo>
                    <a:lnTo>
                      <a:pt x="5062" y="1230"/>
                    </a:lnTo>
                    <a:lnTo>
                      <a:pt x="5160" y="1230"/>
                    </a:lnTo>
                    <a:lnTo>
                      <a:pt x="5160" y="1193"/>
                    </a:lnTo>
                    <a:lnTo>
                      <a:pt x="5260" y="1193"/>
                    </a:lnTo>
                    <a:lnTo>
                      <a:pt x="5260" y="1130"/>
                    </a:lnTo>
                    <a:lnTo>
                      <a:pt x="5160" y="1130"/>
                    </a:lnTo>
                    <a:lnTo>
                      <a:pt x="5160" y="1106"/>
                    </a:lnTo>
                    <a:lnTo>
                      <a:pt x="5062" y="1106"/>
                    </a:lnTo>
                    <a:lnTo>
                      <a:pt x="5062" y="1021"/>
                    </a:lnTo>
                    <a:lnTo>
                      <a:pt x="5160" y="1021"/>
                    </a:lnTo>
                    <a:lnTo>
                      <a:pt x="5160" y="984"/>
                    </a:lnTo>
                    <a:lnTo>
                      <a:pt x="5260" y="984"/>
                    </a:lnTo>
                    <a:lnTo>
                      <a:pt x="5260" y="921"/>
                    </a:lnTo>
                    <a:lnTo>
                      <a:pt x="5260" y="921"/>
                    </a:lnTo>
                    <a:close/>
                  </a:path>
                </a:pathLst>
              </a:custGeom>
              <a:solidFill>
                <a:schemeClr val="tx1">
                  <a:lumMod val="50000"/>
                  <a:lumOff val="50000"/>
                </a:schemeClr>
              </a:solidFill>
              <a:ln>
                <a:noFill/>
              </a:ln>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sz="900"/>
              </a:p>
            </p:txBody>
          </p:sp>
        </p:grpSp>
        <p:grpSp>
          <p:nvGrpSpPr>
            <p:cNvPr id="180" name="ïṡlïďé">
              <a:extLst>
                <a:ext uri="{FF2B5EF4-FFF2-40B4-BE49-F238E27FC236}">
                  <a16:creationId xmlns:a16="http://schemas.microsoft.com/office/drawing/2014/main" id="{A8AF4836-4522-40DB-B766-8E12212F9E8B}"/>
                </a:ext>
              </a:extLst>
            </p:cNvPr>
            <p:cNvGrpSpPr/>
            <p:nvPr/>
          </p:nvGrpSpPr>
          <p:grpSpPr>
            <a:xfrm>
              <a:off x="29007" y="3351468"/>
              <a:ext cx="4149774" cy="1006991"/>
              <a:chOff x="7419169" y="2276873"/>
              <a:chExt cx="3107771" cy="1006991"/>
            </a:xfrm>
          </p:grpSpPr>
          <p:sp>
            <p:nvSpPr>
              <p:cNvPr id="193" name="i$ḷîḓe">
                <a:extLst>
                  <a:ext uri="{FF2B5EF4-FFF2-40B4-BE49-F238E27FC236}">
                    <a16:creationId xmlns:a16="http://schemas.microsoft.com/office/drawing/2014/main" id="{D4121C54-52B9-4165-8864-887C7A7B1CC9}"/>
                  </a:ext>
                </a:extLst>
              </p:cNvPr>
              <p:cNvSpPr txBox="1"/>
              <p:nvPr/>
            </p:nvSpPr>
            <p:spPr>
              <a:xfrm>
                <a:off x="8328247" y="2276873"/>
                <a:ext cx="2198693" cy="388226"/>
              </a:xfrm>
              <a:prstGeom prst="rect">
                <a:avLst/>
              </a:prstGeom>
              <a:noFill/>
            </p:spPr>
            <p:txBody>
              <a:bodyPr wrap="square" lIns="91440" tIns="45720" rIns="91440" bIns="45720" anchor="b"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ltLang="zh-CN" sz="2400" b="1" dirty="0" smtClean="0">
                    <a:solidFill>
                      <a:schemeClr val="bg1"/>
                    </a:solidFill>
                  </a:rPr>
                  <a:t>APK</a:t>
                </a:r>
                <a:r>
                  <a:rPr lang="zh-CN" altLang="en-US" sz="2400" b="1" dirty="0" smtClean="0">
                    <a:solidFill>
                      <a:schemeClr val="bg1"/>
                    </a:solidFill>
                  </a:rPr>
                  <a:t>体积</a:t>
                </a:r>
                <a:endParaRPr lang="zh-CN" altLang="en-US" sz="2400" b="1" dirty="0">
                  <a:solidFill>
                    <a:schemeClr val="bg1"/>
                  </a:solidFill>
                </a:endParaRPr>
              </a:p>
            </p:txBody>
          </p:sp>
          <p:sp>
            <p:nvSpPr>
              <p:cNvPr id="194" name="íṩ1ïḍê">
                <a:extLst>
                  <a:ext uri="{FF2B5EF4-FFF2-40B4-BE49-F238E27FC236}">
                    <a16:creationId xmlns:a16="http://schemas.microsoft.com/office/drawing/2014/main" id="{E425FA9D-D363-45C3-8FFB-CF1C23EF9A16}"/>
                  </a:ext>
                </a:extLst>
              </p:cNvPr>
              <p:cNvSpPr txBox="1"/>
              <p:nvPr/>
            </p:nvSpPr>
            <p:spPr>
              <a:xfrm>
                <a:off x="7419169" y="2665098"/>
                <a:ext cx="3107771" cy="618766"/>
              </a:xfrm>
              <a:prstGeom prst="rect">
                <a:avLst/>
              </a:prstGeom>
            </p:spPr>
            <p:txBody>
              <a:bodyPr vert="horz" wrap="square" lIns="91440" tIns="45720" rIns="91440" bIns="45720"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20000"/>
                  </a:lnSpc>
                </a:pPr>
                <a:r>
                  <a:rPr lang="zh-CN" altLang="en-US" sz="1600" dirty="0">
                    <a:solidFill>
                      <a:srgbClr val="008CD7"/>
                    </a:solidFill>
                  </a:rPr>
                  <a:t>新版本新增大小不大于上个</a:t>
                </a:r>
                <a:r>
                  <a:rPr lang="zh-CN" altLang="en-US" sz="1600" dirty="0" smtClean="0">
                    <a:solidFill>
                      <a:srgbClr val="008CD7"/>
                    </a:solidFill>
                  </a:rPr>
                  <a:t>版本</a:t>
                </a:r>
                <a:r>
                  <a:rPr lang="en-US" altLang="zh-CN" sz="1600" dirty="0" smtClean="0">
                    <a:solidFill>
                      <a:srgbClr val="008CD7"/>
                    </a:solidFill>
                  </a:rPr>
                  <a:t>5%</a:t>
                </a:r>
                <a:endParaRPr lang="en-US" altLang="zh-CN" sz="1600" dirty="0">
                  <a:solidFill>
                    <a:srgbClr val="008CD7"/>
                  </a:solidFill>
                </a:endParaRPr>
              </a:p>
            </p:txBody>
          </p:sp>
        </p:grpSp>
        <p:grpSp>
          <p:nvGrpSpPr>
            <p:cNvPr id="181" name="îṧlïḑe">
              <a:extLst>
                <a:ext uri="{FF2B5EF4-FFF2-40B4-BE49-F238E27FC236}">
                  <a16:creationId xmlns:a16="http://schemas.microsoft.com/office/drawing/2014/main" id="{C1C185AE-B948-48C6-85C0-D729106E2C65}"/>
                </a:ext>
              </a:extLst>
            </p:cNvPr>
            <p:cNvGrpSpPr/>
            <p:nvPr/>
          </p:nvGrpSpPr>
          <p:grpSpPr>
            <a:xfrm>
              <a:off x="3743325" y="1459168"/>
              <a:ext cx="4705350" cy="790650"/>
              <a:chOff x="1197898" y="2503545"/>
              <a:chExt cx="2198693" cy="790650"/>
            </a:xfrm>
          </p:grpSpPr>
          <p:sp>
            <p:nvSpPr>
              <p:cNvPr id="191" name="iş1îdê">
                <a:extLst>
                  <a:ext uri="{FF2B5EF4-FFF2-40B4-BE49-F238E27FC236}">
                    <a16:creationId xmlns:a16="http://schemas.microsoft.com/office/drawing/2014/main" id="{9E24A385-BA05-4CE5-B897-F15804BA66F3}"/>
                  </a:ext>
                </a:extLst>
              </p:cNvPr>
              <p:cNvSpPr txBox="1"/>
              <p:nvPr/>
            </p:nvSpPr>
            <p:spPr>
              <a:xfrm>
                <a:off x="1197898" y="2503545"/>
                <a:ext cx="2198693" cy="388226"/>
              </a:xfrm>
              <a:prstGeom prst="rect">
                <a:avLst/>
              </a:prstGeom>
              <a:noFill/>
            </p:spPr>
            <p:txBody>
              <a:bodyPr wrap="square" lIns="91440" tIns="45720" rIns="91440" bIns="45720" anchor="b"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sz="2400" b="1" dirty="0" smtClean="0">
                    <a:solidFill>
                      <a:schemeClr val="bg1"/>
                    </a:solidFill>
                  </a:rPr>
                  <a:t>安全性</a:t>
                </a:r>
                <a:endParaRPr lang="zh-CN" altLang="en-US" sz="2400" b="1" dirty="0">
                  <a:solidFill>
                    <a:schemeClr val="bg1"/>
                  </a:solidFill>
                </a:endParaRPr>
              </a:p>
            </p:txBody>
          </p:sp>
          <p:sp>
            <p:nvSpPr>
              <p:cNvPr id="192" name="îsľïḋè">
                <a:extLst>
                  <a:ext uri="{FF2B5EF4-FFF2-40B4-BE49-F238E27FC236}">
                    <a16:creationId xmlns:a16="http://schemas.microsoft.com/office/drawing/2014/main" id="{CBCCE715-09AA-48BC-9A46-51114E10ED30}"/>
                  </a:ext>
                </a:extLst>
              </p:cNvPr>
              <p:cNvSpPr txBox="1"/>
              <p:nvPr/>
            </p:nvSpPr>
            <p:spPr>
              <a:xfrm>
                <a:off x="1197898" y="2891770"/>
                <a:ext cx="2198693" cy="402425"/>
              </a:xfrm>
              <a:prstGeom prst="rect">
                <a:avLst/>
              </a:prstGeom>
            </p:spPr>
            <p:txBody>
              <a:bodyPr vert="horz" wrap="square" lIns="91440" tIns="45720" rIns="91440" bIns="45720" anchor="t"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r>
                  <a:rPr lang="zh-CN" altLang="en-US" sz="1600" dirty="0" smtClean="0">
                    <a:solidFill>
                      <a:srgbClr val="008CD7"/>
                    </a:solidFill>
                  </a:rPr>
                  <a:t>网络</a:t>
                </a:r>
                <a:r>
                  <a:rPr lang="en-US" altLang="zh-CN" sz="1600" dirty="0" smtClean="0">
                    <a:solidFill>
                      <a:srgbClr val="008CD7"/>
                    </a:solidFill>
                  </a:rPr>
                  <a:t>/</a:t>
                </a:r>
                <a:r>
                  <a:rPr lang="zh-CN" altLang="en-US" sz="1600" dirty="0" smtClean="0">
                    <a:solidFill>
                      <a:srgbClr val="008CD7"/>
                    </a:solidFill>
                  </a:rPr>
                  <a:t>流量</a:t>
                </a:r>
                <a:r>
                  <a:rPr lang="en-US" altLang="zh-CN" sz="1600" dirty="0" smtClean="0">
                    <a:solidFill>
                      <a:srgbClr val="008CD7"/>
                    </a:solidFill>
                  </a:rPr>
                  <a:t>/</a:t>
                </a:r>
                <a:r>
                  <a:rPr lang="zh-CN" altLang="en-US" sz="1600" dirty="0" smtClean="0">
                    <a:solidFill>
                      <a:srgbClr val="008CD7"/>
                    </a:solidFill>
                  </a:rPr>
                  <a:t>支付</a:t>
                </a:r>
                <a:r>
                  <a:rPr lang="en-US" altLang="zh-CN" sz="1600" dirty="0" smtClean="0">
                    <a:solidFill>
                      <a:srgbClr val="008CD7"/>
                    </a:solidFill>
                  </a:rPr>
                  <a:t>/</a:t>
                </a:r>
                <a:r>
                  <a:rPr lang="zh-CN" altLang="en-US" sz="1600" dirty="0" smtClean="0">
                    <a:solidFill>
                      <a:srgbClr val="008CD7"/>
                    </a:solidFill>
                  </a:rPr>
                  <a:t>账户</a:t>
                </a:r>
                <a:r>
                  <a:rPr lang="en-US" altLang="zh-CN" sz="1600" dirty="0" smtClean="0">
                    <a:solidFill>
                      <a:srgbClr val="008CD7"/>
                    </a:solidFill>
                  </a:rPr>
                  <a:t>/</a:t>
                </a:r>
                <a:r>
                  <a:rPr lang="zh-CN" altLang="en-US" sz="1600" dirty="0" smtClean="0">
                    <a:solidFill>
                      <a:srgbClr val="008CD7"/>
                    </a:solidFill>
                  </a:rPr>
                  <a:t>数据存</a:t>
                </a:r>
                <a:endParaRPr lang="en-US" altLang="zh-CN" sz="1600" dirty="0">
                  <a:solidFill>
                    <a:srgbClr val="008CD7"/>
                  </a:solidFill>
                </a:endParaRPr>
              </a:p>
            </p:txBody>
          </p:sp>
        </p:grpSp>
        <p:grpSp>
          <p:nvGrpSpPr>
            <p:cNvPr id="182" name="iṥḷíḓê">
              <a:extLst>
                <a:ext uri="{FF2B5EF4-FFF2-40B4-BE49-F238E27FC236}">
                  <a16:creationId xmlns:a16="http://schemas.microsoft.com/office/drawing/2014/main" id="{07A81F5A-9940-49CD-941E-7B9B2876F897}"/>
                </a:ext>
              </a:extLst>
            </p:cNvPr>
            <p:cNvGrpSpPr/>
            <p:nvPr/>
          </p:nvGrpSpPr>
          <p:grpSpPr>
            <a:xfrm>
              <a:off x="7576135" y="5137680"/>
              <a:ext cx="3464036" cy="1006991"/>
              <a:chOff x="1197898" y="2503545"/>
              <a:chExt cx="2539736" cy="1006991"/>
            </a:xfrm>
          </p:grpSpPr>
          <p:sp>
            <p:nvSpPr>
              <p:cNvPr id="189" name="iṩlíḋé">
                <a:extLst>
                  <a:ext uri="{FF2B5EF4-FFF2-40B4-BE49-F238E27FC236}">
                    <a16:creationId xmlns:a16="http://schemas.microsoft.com/office/drawing/2014/main" id="{FE298157-7CA1-4771-B690-A70C3C7425B7}"/>
                  </a:ext>
                </a:extLst>
              </p:cNvPr>
              <p:cNvSpPr txBox="1"/>
              <p:nvPr/>
            </p:nvSpPr>
            <p:spPr>
              <a:xfrm>
                <a:off x="1197898" y="2503545"/>
                <a:ext cx="2198693" cy="388226"/>
              </a:xfrm>
              <a:prstGeom prst="rect">
                <a:avLst/>
              </a:prstGeom>
              <a:noFill/>
            </p:spPr>
            <p:txBody>
              <a:bodyPr wrap="square" lIns="91440" tIns="45720" rIns="91440" bIns="45720" anchor="b"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sz="2400" b="1" dirty="0" smtClean="0">
                    <a:solidFill>
                      <a:schemeClr val="bg1"/>
                    </a:solidFill>
                  </a:rPr>
                  <a:t>耗电</a:t>
                </a:r>
                <a:r>
                  <a:rPr lang="en-US" altLang="zh-CN" sz="2400" b="1" dirty="0" smtClean="0">
                    <a:solidFill>
                      <a:schemeClr val="bg1"/>
                    </a:solidFill>
                  </a:rPr>
                  <a:t>/</a:t>
                </a:r>
                <a:r>
                  <a:rPr lang="zh-CN" altLang="en-US" sz="2400" b="1" dirty="0">
                    <a:solidFill>
                      <a:schemeClr val="bg1"/>
                    </a:solidFill>
                  </a:rPr>
                  <a:t>温升</a:t>
                </a:r>
              </a:p>
            </p:txBody>
          </p:sp>
          <p:sp>
            <p:nvSpPr>
              <p:cNvPr id="190" name="îṧḷïḓê">
                <a:extLst>
                  <a:ext uri="{FF2B5EF4-FFF2-40B4-BE49-F238E27FC236}">
                    <a16:creationId xmlns:a16="http://schemas.microsoft.com/office/drawing/2014/main" id="{97941F00-1480-4477-A146-DE760A561A03}"/>
                  </a:ext>
                </a:extLst>
              </p:cNvPr>
              <p:cNvSpPr txBox="1"/>
              <p:nvPr/>
            </p:nvSpPr>
            <p:spPr>
              <a:xfrm>
                <a:off x="1197899" y="2891770"/>
                <a:ext cx="2539735" cy="618766"/>
              </a:xfrm>
              <a:prstGeom prst="rect">
                <a:avLst/>
              </a:prstGeom>
            </p:spPr>
            <p:txBody>
              <a:bodyPr vert="horz" wrap="square" lIns="91440" tIns="45720" rIns="91440" bIns="45720" anchor="ctr"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20000"/>
                  </a:lnSpc>
                </a:pPr>
                <a:r>
                  <a:rPr lang="zh-CN" altLang="en-US" sz="1600" dirty="0" smtClean="0">
                    <a:solidFill>
                      <a:srgbClr val="008CD7"/>
                    </a:solidFill>
                  </a:rPr>
                  <a:t>新功能增加电量不超过</a:t>
                </a:r>
                <a:r>
                  <a:rPr lang="en-US" altLang="zh-CN" sz="1600" dirty="0" smtClean="0">
                    <a:solidFill>
                      <a:srgbClr val="008CD7"/>
                    </a:solidFill>
                  </a:rPr>
                  <a:t>50mA/</a:t>
                </a:r>
                <a:r>
                  <a:rPr lang="zh-CN" altLang="en-US" sz="1600" dirty="0" smtClean="0">
                    <a:solidFill>
                      <a:srgbClr val="008CD7"/>
                    </a:solidFill>
                  </a:rPr>
                  <a:t>功能退出之后不继续耗电</a:t>
                </a:r>
                <a:endParaRPr lang="en-US" altLang="zh-CN" sz="1600" dirty="0">
                  <a:solidFill>
                    <a:srgbClr val="008CD7"/>
                  </a:solidFill>
                </a:endParaRPr>
              </a:p>
            </p:txBody>
          </p:sp>
        </p:grpSp>
        <p:grpSp>
          <p:nvGrpSpPr>
            <p:cNvPr id="183" name="ïśļíḍe">
              <a:extLst>
                <a:ext uri="{FF2B5EF4-FFF2-40B4-BE49-F238E27FC236}">
                  <a16:creationId xmlns:a16="http://schemas.microsoft.com/office/drawing/2014/main" id="{25E58A64-5CAD-46F8-AB65-B98F6B473A4C}"/>
                </a:ext>
              </a:extLst>
            </p:cNvPr>
            <p:cNvGrpSpPr/>
            <p:nvPr/>
          </p:nvGrpSpPr>
          <p:grpSpPr>
            <a:xfrm>
              <a:off x="8041295" y="3409083"/>
              <a:ext cx="4472021" cy="832034"/>
              <a:chOff x="1197898" y="2503545"/>
              <a:chExt cx="3278763" cy="832034"/>
            </a:xfrm>
          </p:grpSpPr>
          <p:sp>
            <p:nvSpPr>
              <p:cNvPr id="187" name="îṣlïḑê">
                <a:extLst>
                  <a:ext uri="{FF2B5EF4-FFF2-40B4-BE49-F238E27FC236}">
                    <a16:creationId xmlns:a16="http://schemas.microsoft.com/office/drawing/2014/main" id="{A7F12525-129B-47F0-B377-F85301E20ED2}"/>
                  </a:ext>
                </a:extLst>
              </p:cNvPr>
              <p:cNvSpPr txBox="1"/>
              <p:nvPr/>
            </p:nvSpPr>
            <p:spPr>
              <a:xfrm>
                <a:off x="1197898" y="2503545"/>
                <a:ext cx="2198693" cy="388226"/>
              </a:xfrm>
              <a:prstGeom prst="rect">
                <a:avLst/>
              </a:prstGeom>
              <a:noFill/>
            </p:spPr>
            <p:txBody>
              <a:bodyPr wrap="square" lIns="91440" tIns="45720" rIns="91440" bIns="45720" anchor="b"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sz="2400" b="1" dirty="0" smtClean="0">
                    <a:solidFill>
                      <a:schemeClr val="bg1"/>
                    </a:solidFill>
                  </a:rPr>
                  <a:t>内存</a:t>
                </a:r>
                <a:endParaRPr lang="zh-CN" altLang="en-US" sz="2400" b="1" dirty="0">
                  <a:solidFill>
                    <a:schemeClr val="bg1"/>
                  </a:solidFill>
                </a:endParaRPr>
              </a:p>
            </p:txBody>
          </p:sp>
          <p:sp>
            <p:nvSpPr>
              <p:cNvPr id="188" name="íŝľîḍè">
                <a:extLst>
                  <a:ext uri="{FF2B5EF4-FFF2-40B4-BE49-F238E27FC236}">
                    <a16:creationId xmlns:a16="http://schemas.microsoft.com/office/drawing/2014/main" id="{36CC9DFB-D93C-489A-A096-E810440E049D}"/>
                  </a:ext>
                </a:extLst>
              </p:cNvPr>
              <p:cNvSpPr txBox="1"/>
              <p:nvPr/>
            </p:nvSpPr>
            <p:spPr>
              <a:xfrm>
                <a:off x="1197898" y="2891771"/>
                <a:ext cx="3278763" cy="443808"/>
              </a:xfrm>
              <a:prstGeom prst="rect">
                <a:avLst/>
              </a:prstGeom>
            </p:spPr>
            <p:txBody>
              <a:bodyPr vert="horz" wrap="square" lIns="91440" tIns="45720" rIns="91440" bIns="45720" anchor="ctr"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20000"/>
                  </a:lnSpc>
                </a:pPr>
                <a:r>
                  <a:rPr lang="zh-CN" altLang="en-US" sz="1600" dirty="0" smtClean="0">
                    <a:solidFill>
                      <a:srgbClr val="008CD7"/>
                    </a:solidFill>
                  </a:rPr>
                  <a:t>新版本新增大小不大于上个版本</a:t>
                </a:r>
                <a:r>
                  <a:rPr lang="en-US" altLang="zh-CN" sz="1600" dirty="0" smtClean="0">
                    <a:solidFill>
                      <a:srgbClr val="008CD7"/>
                    </a:solidFill>
                  </a:rPr>
                  <a:t>10%</a:t>
                </a:r>
                <a:endParaRPr lang="en-US" altLang="zh-CN" sz="1600" dirty="0">
                  <a:solidFill>
                    <a:srgbClr val="008CD7"/>
                  </a:solidFill>
                </a:endParaRPr>
              </a:p>
            </p:txBody>
          </p:sp>
        </p:grpSp>
        <p:grpSp>
          <p:nvGrpSpPr>
            <p:cNvPr id="184" name="íşlîďe">
              <a:extLst>
                <a:ext uri="{FF2B5EF4-FFF2-40B4-BE49-F238E27FC236}">
                  <a16:creationId xmlns:a16="http://schemas.microsoft.com/office/drawing/2014/main" id="{AC5DAB4E-F69E-47E0-9FD0-F22F7CB5BE1E}"/>
                </a:ext>
              </a:extLst>
            </p:cNvPr>
            <p:cNvGrpSpPr/>
            <p:nvPr/>
          </p:nvGrpSpPr>
          <p:grpSpPr>
            <a:xfrm>
              <a:off x="1242890" y="5157676"/>
              <a:ext cx="3199840" cy="1006991"/>
              <a:chOff x="8130576" y="2276873"/>
              <a:chExt cx="2396364" cy="1006991"/>
            </a:xfrm>
          </p:grpSpPr>
          <p:sp>
            <p:nvSpPr>
              <p:cNvPr id="185" name="ïṩḻíḑé">
                <a:extLst>
                  <a:ext uri="{FF2B5EF4-FFF2-40B4-BE49-F238E27FC236}">
                    <a16:creationId xmlns:a16="http://schemas.microsoft.com/office/drawing/2014/main" id="{9E6B5834-CFAA-4CBA-BD33-ABE0E4425726}"/>
                  </a:ext>
                </a:extLst>
              </p:cNvPr>
              <p:cNvSpPr txBox="1"/>
              <p:nvPr/>
            </p:nvSpPr>
            <p:spPr>
              <a:xfrm>
                <a:off x="8328247" y="2276873"/>
                <a:ext cx="2198693" cy="388226"/>
              </a:xfrm>
              <a:prstGeom prst="rect">
                <a:avLst/>
              </a:prstGeom>
              <a:noFill/>
            </p:spPr>
            <p:txBody>
              <a:bodyPr wrap="square" lIns="91440" tIns="45720" rIns="91440" bIns="45720" anchor="b"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2400" b="1" dirty="0" smtClean="0">
                    <a:solidFill>
                      <a:schemeClr val="bg1"/>
                    </a:solidFill>
                  </a:rPr>
                  <a:t>性能</a:t>
                </a:r>
                <a:endParaRPr lang="zh-CN" altLang="en-US" sz="2400" b="1" dirty="0">
                  <a:solidFill>
                    <a:schemeClr val="bg1"/>
                  </a:solidFill>
                </a:endParaRPr>
              </a:p>
            </p:txBody>
          </p:sp>
          <p:sp>
            <p:nvSpPr>
              <p:cNvPr id="186" name="ïsḻíḍè">
                <a:extLst>
                  <a:ext uri="{FF2B5EF4-FFF2-40B4-BE49-F238E27FC236}">
                    <a16:creationId xmlns:a16="http://schemas.microsoft.com/office/drawing/2014/main" id="{E2725868-8591-466C-8955-28A6215930B1}"/>
                  </a:ext>
                </a:extLst>
              </p:cNvPr>
              <p:cNvSpPr txBox="1"/>
              <p:nvPr/>
            </p:nvSpPr>
            <p:spPr>
              <a:xfrm>
                <a:off x="8130576" y="2665098"/>
                <a:ext cx="2396364" cy="618766"/>
              </a:xfrm>
              <a:prstGeom prst="rect">
                <a:avLst/>
              </a:prstGeom>
            </p:spPr>
            <p:txBody>
              <a:bodyPr vert="horz" wrap="square" lIns="91440" tIns="45720" rIns="91440" bIns="45720"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ct val="120000"/>
                  </a:lnSpc>
                </a:pPr>
                <a:r>
                  <a:rPr lang="zh-CN" altLang="en-US" sz="1600" dirty="0" smtClean="0">
                    <a:solidFill>
                      <a:srgbClr val="008CD7"/>
                    </a:solidFill>
                  </a:rPr>
                  <a:t>流畅度</a:t>
                </a:r>
                <a:r>
                  <a:rPr lang="en-US" altLang="zh-CN" sz="1600" dirty="0" smtClean="0">
                    <a:solidFill>
                      <a:srgbClr val="008CD7"/>
                    </a:solidFill>
                  </a:rPr>
                  <a:t>/CPU/GPU/</a:t>
                </a:r>
                <a:r>
                  <a:rPr lang="zh-CN" altLang="en-US" sz="1600" dirty="0" smtClean="0">
                    <a:solidFill>
                      <a:srgbClr val="008CD7"/>
                    </a:solidFill>
                  </a:rPr>
                  <a:t>过度绘制</a:t>
                </a:r>
                <a:endParaRPr lang="en-US" altLang="zh-CN" sz="1600" dirty="0">
                  <a:solidFill>
                    <a:srgbClr val="008CD7"/>
                  </a:solidFill>
                </a:endParaRPr>
              </a:p>
            </p:txBody>
          </p:sp>
        </p:grpSp>
      </p:grpSp>
    </p:spTree>
    <p:extLst>
      <p:ext uri="{BB962C8B-B14F-4D97-AF65-F5344CB8AC3E}">
        <p14:creationId xmlns:p14="http://schemas.microsoft.com/office/powerpoint/2010/main" val="210563646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0" name="组合 29">
            <a:extLst>
              <a:ext uri="{FF2B5EF4-FFF2-40B4-BE49-F238E27FC236}">
                <a16:creationId xmlns:a16="http://schemas.microsoft.com/office/drawing/2014/main" id="{0853A8D8-448C-4E50-AD38-219140CD6184}"/>
              </a:ext>
            </a:extLst>
          </p:cNvPr>
          <p:cNvGrpSpPr/>
          <p:nvPr/>
        </p:nvGrpSpPr>
        <p:grpSpPr>
          <a:xfrm>
            <a:off x="669925" y="210537"/>
            <a:ext cx="468000" cy="468000"/>
            <a:chOff x="669925" y="48611"/>
            <a:chExt cx="468000" cy="468000"/>
          </a:xfrm>
        </p:grpSpPr>
        <p:sp>
          <p:nvSpPr>
            <p:cNvPr id="31" name="椭圆 30">
              <a:extLst>
                <a:ext uri="{FF2B5EF4-FFF2-40B4-BE49-F238E27FC236}">
                  <a16:creationId xmlns:a16="http://schemas.microsoft.com/office/drawing/2014/main" id="{18765B3C-06BD-445D-B72B-512E55DEF34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32" name="椭圆 31">
              <a:extLst>
                <a:ext uri="{FF2B5EF4-FFF2-40B4-BE49-F238E27FC236}">
                  <a16:creationId xmlns:a16="http://schemas.microsoft.com/office/drawing/2014/main" id="{A6AA7771-0E3D-4241-9DE3-825324394A29}"/>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grpSp>
      <p:sp>
        <p:nvSpPr>
          <p:cNvPr id="36" name="标题 1">
            <a:extLst>
              <a:ext uri="{FF2B5EF4-FFF2-40B4-BE49-F238E27FC236}">
                <a16:creationId xmlns:a16="http://schemas.microsoft.com/office/drawing/2014/main" id="{62930304-3D14-4FEB-B45D-709CE5948953}"/>
              </a:ext>
            </a:extLst>
          </p:cNvPr>
          <p:cNvSpPr txBox="1">
            <a:spLocks/>
          </p:cNvSpPr>
          <p:nvPr/>
        </p:nvSpPr>
        <p:spPr>
          <a:xfrm>
            <a:off x="1149783" y="198392"/>
            <a:ext cx="4092068" cy="57784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3200" b="0" dirty="0" smtClean="0">
                <a:latin typeface="Arial" panose="020B0604020202020204" pitchFamily="34" charset="0"/>
                <a:ea typeface="Microsoft YaHei" panose="020B0503020204020204" pitchFamily="34" charset="-122"/>
                <a:cs typeface="+mn-ea"/>
                <a:sym typeface="Arial" panose="020B0604020202020204" pitchFamily="34" charset="0"/>
              </a:rPr>
              <a:t>识别关键需求</a:t>
            </a:r>
            <a:endParaRPr lang="zh-CN" altLang="en-US" sz="3200" b="0" dirty="0">
              <a:latin typeface="Arial" panose="020B0604020202020204" pitchFamily="34" charset="0"/>
              <a:ea typeface="Microsoft YaHei" panose="020B0503020204020204" pitchFamily="34" charset="-122"/>
              <a:cs typeface="+mn-ea"/>
              <a:sym typeface="Arial" panose="020B0604020202020204" pitchFamily="34" charset="0"/>
            </a:endParaRPr>
          </a:p>
        </p:txBody>
      </p:sp>
      <p:grpSp>
        <p:nvGrpSpPr>
          <p:cNvPr id="9" name="2416"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1149782" y="1395508"/>
            <a:ext cx="9149249" cy="4517843"/>
            <a:chOff x="1349230" y="1395504"/>
            <a:chExt cx="8581026" cy="4517843"/>
          </a:xfrm>
        </p:grpSpPr>
        <p:sp>
          <p:nvSpPr>
            <p:cNvPr id="12" name="iṧľiḋé"/>
            <p:cNvSpPr txBox="1"/>
            <p:nvPr/>
          </p:nvSpPr>
          <p:spPr>
            <a:xfrm>
              <a:off x="5610256" y="1424279"/>
              <a:ext cx="466794" cy="461665"/>
            </a:xfrm>
            <a:prstGeom prst="rect">
              <a:avLst/>
            </a:prstGeom>
            <a:noFill/>
          </p:spPr>
          <p:txBody>
            <a:bodyPr wrap="none" anchor="ctr">
              <a:noAutofit/>
            </a:bodyPr>
            <a:lstStyle/>
            <a:p>
              <a:pPr algn="ctr"/>
              <a:r>
                <a:rPr lang="en-US" altLang="zh-CN" sz="2800" dirty="0">
                  <a:solidFill>
                    <a:schemeClr val="bg2">
                      <a:lumMod val="50000"/>
                    </a:schemeClr>
                  </a:solidFill>
                  <a:latin typeface="Impact" panose="020B0806030902050204" pitchFamily="34" charset="0"/>
                </a:rPr>
                <a:t>01</a:t>
              </a:r>
            </a:p>
          </p:txBody>
        </p:sp>
        <p:cxnSp>
          <p:nvCxnSpPr>
            <p:cNvPr id="13" name="直接连接符 12"/>
            <p:cNvCxnSpPr/>
            <p:nvPr/>
          </p:nvCxnSpPr>
          <p:spPr>
            <a:xfrm>
              <a:off x="6208722" y="1395504"/>
              <a:ext cx="0" cy="519214"/>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îṩḷïḍe">
              <a:extLst>
                <a:ext uri="{FF2B5EF4-FFF2-40B4-BE49-F238E27FC236}">
                  <a16:creationId xmlns:a16="http://schemas.microsoft.com/office/drawing/2014/main" id="{4D5C24C6-4DD0-4193-AD42-019C1134797B}"/>
                </a:ext>
              </a:extLst>
            </p:cNvPr>
            <p:cNvSpPr txBox="1"/>
            <p:nvPr/>
          </p:nvSpPr>
          <p:spPr bwMode="auto">
            <a:xfrm>
              <a:off x="6295143" y="1482037"/>
              <a:ext cx="3610267" cy="350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lnSpcReduction="1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buFontTx/>
                <a:buNone/>
              </a:pPr>
              <a:r>
                <a:rPr lang="zh-CN" altLang="en-US" sz="1800" b="1" dirty="0" smtClean="0"/>
                <a:t>显示存储空间</a:t>
              </a:r>
              <a:endParaRPr lang="en-US" altLang="zh-CN" sz="1800" b="1" dirty="0"/>
            </a:p>
          </p:txBody>
        </p:sp>
        <p:sp>
          <p:nvSpPr>
            <p:cNvPr id="16" name="íṧliḓê"/>
            <p:cNvSpPr txBox="1"/>
            <p:nvPr/>
          </p:nvSpPr>
          <p:spPr>
            <a:xfrm>
              <a:off x="5610256" y="2224005"/>
              <a:ext cx="503663" cy="461665"/>
            </a:xfrm>
            <a:prstGeom prst="rect">
              <a:avLst/>
            </a:prstGeom>
            <a:noFill/>
          </p:spPr>
          <p:txBody>
            <a:bodyPr wrap="none" anchor="ctr">
              <a:noAutofit/>
            </a:bodyPr>
            <a:lstStyle/>
            <a:p>
              <a:pPr algn="ctr"/>
              <a:r>
                <a:rPr lang="en-US" altLang="zh-CN" sz="2800" dirty="0">
                  <a:solidFill>
                    <a:schemeClr val="accent2">
                      <a:lumMod val="100000"/>
                    </a:schemeClr>
                  </a:solidFill>
                  <a:latin typeface="Impact" panose="020B0806030902050204" pitchFamily="34" charset="0"/>
                </a:rPr>
                <a:t>02</a:t>
              </a:r>
            </a:p>
          </p:txBody>
        </p:sp>
        <p:cxnSp>
          <p:nvCxnSpPr>
            <p:cNvPr id="17" name="直接连接符 16"/>
            <p:cNvCxnSpPr/>
            <p:nvPr/>
          </p:nvCxnSpPr>
          <p:spPr>
            <a:xfrm>
              <a:off x="6227156" y="2195230"/>
              <a:ext cx="0" cy="519214"/>
            </a:xfrm>
            <a:prstGeom prst="line">
              <a:avLst/>
            </a:prstGeom>
            <a:ln w="28575"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îṩļïďè">
              <a:extLst>
                <a:ext uri="{FF2B5EF4-FFF2-40B4-BE49-F238E27FC236}">
                  <a16:creationId xmlns:a16="http://schemas.microsoft.com/office/drawing/2014/main" id="{4D5C24C6-4DD0-4193-AD42-019C1134797B}"/>
                </a:ext>
              </a:extLst>
            </p:cNvPr>
            <p:cNvSpPr txBox="1"/>
            <p:nvPr/>
          </p:nvSpPr>
          <p:spPr bwMode="auto">
            <a:xfrm>
              <a:off x="6313577" y="2281763"/>
              <a:ext cx="3610267" cy="350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lnSpcReduction="1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buFontTx/>
                <a:buNone/>
              </a:pPr>
              <a:r>
                <a:rPr lang="zh-CN" altLang="en-US" sz="1800" b="1" dirty="0" smtClean="0"/>
                <a:t>扫描数据</a:t>
              </a:r>
              <a:endParaRPr lang="en-US" altLang="zh-CN" sz="1800" b="1" dirty="0"/>
            </a:p>
          </p:txBody>
        </p:sp>
        <p:sp>
          <p:nvSpPr>
            <p:cNvPr id="20" name="îS1îḓê"/>
            <p:cNvSpPr txBox="1"/>
            <p:nvPr/>
          </p:nvSpPr>
          <p:spPr>
            <a:xfrm>
              <a:off x="5610256" y="3023731"/>
              <a:ext cx="513282" cy="461665"/>
            </a:xfrm>
            <a:prstGeom prst="rect">
              <a:avLst/>
            </a:prstGeom>
            <a:noFill/>
          </p:spPr>
          <p:txBody>
            <a:bodyPr wrap="none" anchor="ctr">
              <a:noAutofit/>
            </a:bodyPr>
            <a:lstStyle/>
            <a:p>
              <a:pPr algn="ctr"/>
              <a:r>
                <a:rPr lang="en-US" altLang="zh-CN" sz="2800">
                  <a:solidFill>
                    <a:schemeClr val="accent3">
                      <a:lumMod val="100000"/>
                    </a:schemeClr>
                  </a:solidFill>
                  <a:latin typeface="Impact" panose="020B0806030902050204" pitchFamily="34" charset="0"/>
                </a:rPr>
                <a:t>03</a:t>
              </a:r>
            </a:p>
          </p:txBody>
        </p:sp>
        <p:cxnSp>
          <p:nvCxnSpPr>
            <p:cNvPr id="21" name="直接连接符 20"/>
            <p:cNvCxnSpPr/>
            <p:nvPr/>
          </p:nvCxnSpPr>
          <p:spPr>
            <a:xfrm>
              <a:off x="6231966" y="2994956"/>
              <a:ext cx="0" cy="519214"/>
            </a:xfrm>
            <a:prstGeom prst="line">
              <a:avLst/>
            </a:prstGeom>
            <a:ln w="28575"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ïS1iḋè">
              <a:extLst>
                <a:ext uri="{FF2B5EF4-FFF2-40B4-BE49-F238E27FC236}">
                  <a16:creationId xmlns:a16="http://schemas.microsoft.com/office/drawing/2014/main" id="{4D5C24C6-4DD0-4193-AD42-019C1134797B}"/>
                </a:ext>
              </a:extLst>
            </p:cNvPr>
            <p:cNvSpPr txBox="1"/>
            <p:nvPr/>
          </p:nvSpPr>
          <p:spPr bwMode="auto">
            <a:xfrm>
              <a:off x="6318387" y="3081489"/>
              <a:ext cx="3610267" cy="350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lnSpcReduction="1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buFontTx/>
                <a:buNone/>
              </a:pPr>
              <a:r>
                <a:rPr lang="zh-CN" altLang="en-US" sz="1800" b="1" dirty="0" smtClean="0"/>
                <a:t>显示数据</a:t>
              </a:r>
              <a:endParaRPr lang="en-US" altLang="zh-CN" sz="1800" b="1" dirty="0"/>
            </a:p>
          </p:txBody>
        </p:sp>
        <p:sp>
          <p:nvSpPr>
            <p:cNvPr id="24" name="ïš1íḓê"/>
            <p:cNvSpPr txBox="1"/>
            <p:nvPr/>
          </p:nvSpPr>
          <p:spPr>
            <a:xfrm>
              <a:off x="5610256" y="3823457"/>
              <a:ext cx="503663" cy="461665"/>
            </a:xfrm>
            <a:prstGeom prst="rect">
              <a:avLst/>
            </a:prstGeom>
            <a:noFill/>
          </p:spPr>
          <p:txBody>
            <a:bodyPr wrap="none" anchor="ctr">
              <a:noAutofit/>
            </a:bodyPr>
            <a:lstStyle/>
            <a:p>
              <a:pPr algn="ctr"/>
              <a:r>
                <a:rPr lang="en-US" altLang="zh-CN" sz="2800">
                  <a:solidFill>
                    <a:schemeClr val="accent4">
                      <a:lumMod val="100000"/>
                    </a:schemeClr>
                  </a:solidFill>
                  <a:latin typeface="Impact" panose="020B0806030902050204" pitchFamily="34" charset="0"/>
                </a:rPr>
                <a:t>04</a:t>
              </a:r>
            </a:p>
          </p:txBody>
        </p:sp>
        <p:cxnSp>
          <p:nvCxnSpPr>
            <p:cNvPr id="25" name="直接连接符 24"/>
            <p:cNvCxnSpPr/>
            <p:nvPr/>
          </p:nvCxnSpPr>
          <p:spPr>
            <a:xfrm>
              <a:off x="6227156" y="3794682"/>
              <a:ext cx="0" cy="519214"/>
            </a:xfrm>
            <a:prstGeom prst="line">
              <a:avLst/>
            </a:prstGeom>
            <a:ln w="28575"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ïšľíḋè">
              <a:extLst>
                <a:ext uri="{FF2B5EF4-FFF2-40B4-BE49-F238E27FC236}">
                  <a16:creationId xmlns:a16="http://schemas.microsoft.com/office/drawing/2014/main" id="{4D5C24C6-4DD0-4193-AD42-019C1134797B}"/>
                </a:ext>
              </a:extLst>
            </p:cNvPr>
            <p:cNvSpPr txBox="1"/>
            <p:nvPr/>
          </p:nvSpPr>
          <p:spPr bwMode="auto">
            <a:xfrm>
              <a:off x="6313577" y="3881215"/>
              <a:ext cx="3610267" cy="350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lnSpcReduction="1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buFontTx/>
                <a:buNone/>
              </a:pPr>
              <a:r>
                <a:rPr lang="zh-CN" altLang="en-US" sz="1800" b="1" dirty="0" smtClean="0"/>
                <a:t>动画</a:t>
              </a:r>
              <a:endParaRPr lang="en-US" altLang="zh-CN" sz="1800" b="1" dirty="0"/>
            </a:p>
          </p:txBody>
        </p:sp>
        <p:sp>
          <p:nvSpPr>
            <p:cNvPr id="28" name="iṣ1íḓe"/>
            <p:cNvSpPr txBox="1"/>
            <p:nvPr/>
          </p:nvSpPr>
          <p:spPr>
            <a:xfrm>
              <a:off x="5610256" y="4623183"/>
              <a:ext cx="514885" cy="461665"/>
            </a:xfrm>
            <a:prstGeom prst="rect">
              <a:avLst/>
            </a:prstGeom>
            <a:noFill/>
          </p:spPr>
          <p:txBody>
            <a:bodyPr wrap="none" anchor="ctr">
              <a:noAutofit/>
            </a:bodyPr>
            <a:lstStyle/>
            <a:p>
              <a:pPr algn="ctr"/>
              <a:r>
                <a:rPr lang="en-US" altLang="zh-CN" sz="2800">
                  <a:solidFill>
                    <a:schemeClr val="accent5">
                      <a:lumMod val="100000"/>
                    </a:schemeClr>
                  </a:solidFill>
                  <a:latin typeface="Impact" panose="020B0806030902050204" pitchFamily="34" charset="0"/>
                </a:rPr>
                <a:t>05</a:t>
              </a:r>
            </a:p>
          </p:txBody>
        </p:sp>
        <p:cxnSp>
          <p:nvCxnSpPr>
            <p:cNvPr id="29" name="直接连接符 28"/>
            <p:cNvCxnSpPr/>
            <p:nvPr/>
          </p:nvCxnSpPr>
          <p:spPr>
            <a:xfrm>
              <a:off x="6232767" y="4594408"/>
              <a:ext cx="0" cy="519214"/>
            </a:xfrm>
            <a:prstGeom prst="line">
              <a:avLst/>
            </a:prstGeom>
            <a:ln w="28575"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4" name="íṣlíďe">
              <a:extLst>
                <a:ext uri="{FF2B5EF4-FFF2-40B4-BE49-F238E27FC236}">
                  <a16:creationId xmlns:a16="http://schemas.microsoft.com/office/drawing/2014/main" id="{4D5C24C6-4DD0-4193-AD42-019C1134797B}"/>
                </a:ext>
              </a:extLst>
            </p:cNvPr>
            <p:cNvSpPr txBox="1"/>
            <p:nvPr/>
          </p:nvSpPr>
          <p:spPr bwMode="auto">
            <a:xfrm>
              <a:off x="6319188" y="4680941"/>
              <a:ext cx="3610267" cy="350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lnSpcReduction="1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buFontTx/>
                <a:buNone/>
              </a:pPr>
              <a:r>
                <a:rPr lang="zh-CN" altLang="en-US" sz="1800" b="1" dirty="0" smtClean="0"/>
                <a:t>删除数据</a:t>
              </a:r>
              <a:endParaRPr lang="en-US" altLang="zh-CN" sz="1800" b="1" dirty="0"/>
            </a:p>
          </p:txBody>
        </p:sp>
        <p:sp>
          <p:nvSpPr>
            <p:cNvPr id="35" name="íSľiḑè"/>
            <p:cNvSpPr txBox="1"/>
            <p:nvPr/>
          </p:nvSpPr>
          <p:spPr>
            <a:xfrm>
              <a:off x="5610256" y="5422908"/>
              <a:ext cx="516487" cy="461665"/>
            </a:xfrm>
            <a:prstGeom prst="rect">
              <a:avLst/>
            </a:prstGeom>
            <a:noFill/>
          </p:spPr>
          <p:txBody>
            <a:bodyPr wrap="none" anchor="ctr">
              <a:noAutofit/>
            </a:bodyPr>
            <a:lstStyle/>
            <a:p>
              <a:pPr algn="ctr"/>
              <a:r>
                <a:rPr lang="en-US" altLang="zh-CN" sz="2800">
                  <a:solidFill>
                    <a:schemeClr val="accent6">
                      <a:lumMod val="100000"/>
                    </a:schemeClr>
                  </a:solidFill>
                  <a:latin typeface="Impact" panose="020B0806030902050204" pitchFamily="34" charset="0"/>
                </a:rPr>
                <a:t>06</a:t>
              </a:r>
            </a:p>
          </p:txBody>
        </p:sp>
        <p:cxnSp>
          <p:nvCxnSpPr>
            <p:cNvPr id="37" name="直接连接符 36"/>
            <p:cNvCxnSpPr/>
            <p:nvPr/>
          </p:nvCxnSpPr>
          <p:spPr>
            <a:xfrm>
              <a:off x="6233568" y="5394133"/>
              <a:ext cx="0" cy="519214"/>
            </a:xfrm>
            <a:prstGeom prst="line">
              <a:avLst/>
            </a:prstGeom>
            <a:ln w="28575" cap="flat" cmpd="sng" algn="ctr">
              <a:solidFill>
                <a:schemeClr val="accent6">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 name="iṩḷîďé">
              <a:extLst>
                <a:ext uri="{FF2B5EF4-FFF2-40B4-BE49-F238E27FC236}">
                  <a16:creationId xmlns:a16="http://schemas.microsoft.com/office/drawing/2014/main" id="{4D5C24C6-4DD0-4193-AD42-019C1134797B}"/>
                </a:ext>
              </a:extLst>
            </p:cNvPr>
            <p:cNvSpPr txBox="1"/>
            <p:nvPr/>
          </p:nvSpPr>
          <p:spPr bwMode="auto">
            <a:xfrm>
              <a:off x="6319989" y="5480666"/>
              <a:ext cx="3610267" cy="350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lnSpcReduction="1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buFontTx/>
                <a:buNone/>
              </a:pPr>
              <a:r>
                <a:rPr lang="zh-CN" altLang="en-US" sz="1800" b="1" dirty="0" smtClean="0"/>
                <a:t>同步媒体数据</a:t>
              </a:r>
              <a:endParaRPr lang="en-US" altLang="zh-CN" sz="1800" b="1" dirty="0"/>
            </a:p>
          </p:txBody>
        </p:sp>
        <p:sp>
          <p:nvSpPr>
            <p:cNvPr id="40" name="íṣlïdé">
              <a:extLst>
                <a:ext uri="{FF2B5EF4-FFF2-40B4-BE49-F238E27FC236}">
                  <a16:creationId xmlns:a16="http://schemas.microsoft.com/office/drawing/2014/main" id="{4D5C24C6-4DD0-4193-AD42-019C1134797B}"/>
                </a:ext>
              </a:extLst>
            </p:cNvPr>
            <p:cNvSpPr txBox="1"/>
            <p:nvPr/>
          </p:nvSpPr>
          <p:spPr bwMode="auto">
            <a:xfrm>
              <a:off x="1349230" y="2224005"/>
              <a:ext cx="2968854" cy="654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buFontTx/>
                <a:buNone/>
              </a:pPr>
              <a:r>
                <a:rPr lang="zh-CN" altLang="en-US" sz="3200" b="1" dirty="0" smtClean="0">
                  <a:solidFill>
                    <a:schemeClr val="tx2"/>
                  </a:solidFill>
                </a:rPr>
                <a:t>空间清理需求表</a:t>
              </a:r>
              <a:endParaRPr lang="en-US" altLang="zh-CN" sz="3200" b="1" dirty="0">
                <a:solidFill>
                  <a:schemeClr val="tx2"/>
                </a:solidFill>
              </a:endParaRPr>
            </a:p>
          </p:txBody>
        </p:sp>
      </p:grpSp>
    </p:spTree>
    <p:extLst>
      <p:ext uri="{BB962C8B-B14F-4D97-AF65-F5344CB8AC3E}">
        <p14:creationId xmlns:p14="http://schemas.microsoft.com/office/powerpoint/2010/main" val="26839553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bg>
      <p:bgPr>
        <a:solidFill>
          <a:schemeClr val="accent3">
            <a:lumMod val="25000"/>
            <a:lumOff val="75000"/>
          </a:schemeClr>
        </a:solidFill>
        <a:effectLst/>
      </p:bgPr>
    </p:bg>
    <p:spTree>
      <p:nvGrpSpPr>
        <p:cNvPr id="1" name=""/>
        <p:cNvGrpSpPr/>
        <p:nvPr/>
      </p:nvGrpSpPr>
      <p:grpSpPr>
        <a:xfrm>
          <a:off x="0" y="0"/>
          <a:ext cx="0" cy="0"/>
          <a:chOff x="0" y="0"/>
          <a:chExt cx="0" cy="0"/>
        </a:xfrm>
      </p:grpSpPr>
      <p:grpSp>
        <p:nvGrpSpPr>
          <p:cNvPr id="29" name="组合 28">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30" name="椭圆 29">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31" name="椭圆 30">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grpSp>
      <p:sp>
        <p:nvSpPr>
          <p:cNvPr id="32" name="标题 1">
            <a:extLst>
              <a:ext uri="{FF2B5EF4-FFF2-40B4-BE49-F238E27FC236}">
                <a16:creationId xmlns:a16="http://schemas.microsoft.com/office/drawing/2014/main" id="{1D9D90DD-82BB-4388-81A3-44FA307364C4}"/>
              </a:ext>
            </a:extLst>
          </p:cNvPr>
          <p:cNvSpPr txBox="1">
            <a:spLocks/>
          </p:cNvSpPr>
          <p:nvPr/>
        </p:nvSpPr>
        <p:spPr>
          <a:xfrm>
            <a:off x="1149782" y="210918"/>
            <a:ext cx="4850185" cy="57784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3200" b="0" dirty="0" smtClean="0">
                <a:latin typeface="Arial" panose="020B0604020202020204" pitchFamily="34" charset="0"/>
                <a:ea typeface="Microsoft YaHei" panose="020B0503020204020204" pitchFamily="34" charset="-122"/>
                <a:cs typeface="+mn-ea"/>
                <a:sym typeface="Arial" panose="020B0604020202020204" pitchFamily="34" charset="0"/>
              </a:rPr>
              <a:t>总结</a:t>
            </a:r>
            <a:endParaRPr lang="zh-CN" altLang="en-US" sz="3200" b="0" dirty="0">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38" name="标题 1">
            <a:extLst>
              <a:ext uri="{FF2B5EF4-FFF2-40B4-BE49-F238E27FC236}">
                <a16:creationId xmlns:a16="http://schemas.microsoft.com/office/drawing/2014/main" id="{62930304-3D14-4FEB-B45D-709CE5948953}"/>
              </a:ext>
            </a:extLst>
          </p:cNvPr>
          <p:cNvSpPr txBox="1">
            <a:spLocks/>
          </p:cNvSpPr>
          <p:nvPr/>
        </p:nvSpPr>
        <p:spPr>
          <a:xfrm>
            <a:off x="1137925" y="1357605"/>
            <a:ext cx="7347103" cy="57784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3200" b="0" dirty="0" smtClean="0">
                <a:latin typeface="Arial" panose="020B0604020202020204" pitchFamily="34" charset="0"/>
                <a:ea typeface="Microsoft YaHei" panose="020B0503020204020204" pitchFamily="34" charset="-122"/>
                <a:cs typeface="+mn-ea"/>
                <a:sym typeface="Arial" panose="020B0604020202020204" pitchFamily="34" charset="0"/>
              </a:rPr>
              <a:t>织梦：关键需求</a:t>
            </a:r>
            <a:r>
              <a:rPr lang="en-US" altLang="zh-CN" sz="3200" b="0" dirty="0" smtClean="0">
                <a:latin typeface="Arial" panose="020B0604020202020204" pitchFamily="34" charset="0"/>
                <a:ea typeface="Microsoft YaHei" panose="020B0503020204020204" pitchFamily="34" charset="-122"/>
                <a:cs typeface="+mn-ea"/>
                <a:sym typeface="Arial" panose="020B0604020202020204" pitchFamily="34" charset="0"/>
              </a:rPr>
              <a:t>/</a:t>
            </a:r>
            <a:r>
              <a:rPr lang="zh-CN" altLang="en-US" sz="3200" b="0" dirty="0" smtClean="0">
                <a:latin typeface="Arial" panose="020B0604020202020204" pitchFamily="34" charset="0"/>
                <a:ea typeface="Microsoft YaHei" panose="020B0503020204020204" pitchFamily="34" charset="-122"/>
                <a:cs typeface="+mn-ea"/>
                <a:sym typeface="Arial" panose="020B0604020202020204" pitchFamily="34" charset="0"/>
              </a:rPr>
              <a:t>风险</a:t>
            </a:r>
            <a:endParaRPr lang="zh-CN" altLang="en-US" sz="3200" b="0" dirty="0">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39" name="标题 1">
            <a:extLst>
              <a:ext uri="{FF2B5EF4-FFF2-40B4-BE49-F238E27FC236}">
                <a16:creationId xmlns:a16="http://schemas.microsoft.com/office/drawing/2014/main" id="{62930304-3D14-4FEB-B45D-709CE5948953}"/>
              </a:ext>
            </a:extLst>
          </p:cNvPr>
          <p:cNvSpPr txBox="1">
            <a:spLocks/>
          </p:cNvSpPr>
          <p:nvPr/>
        </p:nvSpPr>
        <p:spPr>
          <a:xfrm>
            <a:off x="1149782" y="2229514"/>
            <a:ext cx="7347103" cy="57784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3200" b="0" dirty="0">
                <a:latin typeface="Arial" panose="020B0604020202020204" pitchFamily="34" charset="0"/>
                <a:ea typeface="Microsoft YaHei" panose="020B0503020204020204" pitchFamily="34" charset="-122"/>
                <a:cs typeface="+mn-ea"/>
                <a:sym typeface="Arial" panose="020B0604020202020204" pitchFamily="34" charset="0"/>
              </a:rPr>
              <a:t>解梦</a:t>
            </a:r>
            <a:r>
              <a:rPr lang="zh-CN" altLang="en-US" sz="3200" b="0" dirty="0" smtClean="0">
                <a:latin typeface="Arial" panose="020B0604020202020204" pitchFamily="34" charset="0"/>
                <a:ea typeface="Microsoft YaHei" panose="020B0503020204020204" pitchFamily="34" charset="-122"/>
                <a:cs typeface="+mn-ea"/>
                <a:sym typeface="Arial" panose="020B0604020202020204" pitchFamily="34" charset="0"/>
              </a:rPr>
              <a:t>：伪代码</a:t>
            </a:r>
            <a:r>
              <a:rPr lang="en-US" altLang="zh-CN" sz="3200" b="0" dirty="0" smtClean="0">
                <a:latin typeface="Arial" panose="020B0604020202020204" pitchFamily="34" charset="0"/>
                <a:ea typeface="Microsoft YaHei" panose="020B0503020204020204" pitchFamily="34" charset="-122"/>
                <a:cs typeface="+mn-ea"/>
                <a:sym typeface="Arial" panose="020B0604020202020204" pitchFamily="34" charset="0"/>
              </a:rPr>
              <a:t>/</a:t>
            </a:r>
            <a:r>
              <a:rPr lang="zh-CN" altLang="en-US" sz="3200" b="0" dirty="0" smtClean="0">
                <a:latin typeface="Arial" panose="020B0604020202020204" pitchFamily="34" charset="0"/>
                <a:ea typeface="Microsoft YaHei" panose="020B0503020204020204" pitchFamily="34" charset="-122"/>
                <a:cs typeface="+mn-ea"/>
                <a:sym typeface="Arial" panose="020B0604020202020204" pitchFamily="34" charset="0"/>
              </a:rPr>
              <a:t>流程图</a:t>
            </a:r>
            <a:r>
              <a:rPr lang="en-US" altLang="zh-CN" sz="3200" b="0" dirty="0" smtClean="0">
                <a:latin typeface="Arial" panose="020B0604020202020204" pitchFamily="34" charset="0"/>
                <a:ea typeface="Microsoft YaHei" panose="020B0503020204020204" pitchFamily="34" charset="-122"/>
                <a:cs typeface="+mn-ea"/>
                <a:sym typeface="Arial" panose="020B0604020202020204" pitchFamily="34" charset="0"/>
              </a:rPr>
              <a:t>/UML</a:t>
            </a:r>
            <a:endParaRPr lang="zh-CN" altLang="en-US" sz="3200" b="0" dirty="0">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40" name="标题 1">
            <a:extLst>
              <a:ext uri="{FF2B5EF4-FFF2-40B4-BE49-F238E27FC236}">
                <a16:creationId xmlns:a16="http://schemas.microsoft.com/office/drawing/2014/main" id="{62930304-3D14-4FEB-B45D-709CE5948953}"/>
              </a:ext>
            </a:extLst>
          </p:cNvPr>
          <p:cNvSpPr txBox="1">
            <a:spLocks/>
          </p:cNvSpPr>
          <p:nvPr/>
        </p:nvSpPr>
        <p:spPr>
          <a:xfrm>
            <a:off x="1137924" y="3101423"/>
            <a:ext cx="9353613" cy="57784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3200" b="0" dirty="0" smtClean="0">
                <a:latin typeface="Arial" panose="020B0604020202020204" pitchFamily="34" charset="0"/>
                <a:ea typeface="Microsoft YaHei" panose="020B0503020204020204" pitchFamily="34" charset="-122"/>
                <a:cs typeface="+mn-ea"/>
                <a:sym typeface="Arial" panose="020B0604020202020204" pitchFamily="34" charset="0"/>
              </a:rPr>
              <a:t>圆梦：架构的理解</a:t>
            </a:r>
            <a:r>
              <a:rPr lang="en-US" altLang="zh-CN" sz="3200" b="0" dirty="0" smtClean="0">
                <a:latin typeface="Arial" panose="020B0604020202020204" pitchFamily="34" charset="0"/>
                <a:ea typeface="Microsoft YaHei" panose="020B0503020204020204" pitchFamily="34" charset="-122"/>
                <a:cs typeface="+mn-ea"/>
                <a:sym typeface="Arial" panose="020B0604020202020204" pitchFamily="34" charset="0"/>
              </a:rPr>
              <a:t>/</a:t>
            </a:r>
            <a:r>
              <a:rPr lang="zh-CN" altLang="en-US" sz="3200" b="0" dirty="0" smtClean="0">
                <a:latin typeface="Arial" panose="020B0604020202020204" pitchFamily="34" charset="0"/>
                <a:ea typeface="Microsoft YaHei" panose="020B0503020204020204" pitchFamily="34" charset="-122"/>
                <a:cs typeface="+mn-ea"/>
                <a:sym typeface="Arial" panose="020B0604020202020204" pitchFamily="34" charset="0"/>
              </a:rPr>
              <a:t>面向对象</a:t>
            </a:r>
            <a:r>
              <a:rPr lang="en-US" altLang="zh-CN" sz="3200" b="0" dirty="0" smtClean="0">
                <a:latin typeface="Arial" panose="020B0604020202020204" pitchFamily="34" charset="0"/>
                <a:ea typeface="Microsoft YaHei" panose="020B0503020204020204" pitchFamily="34" charset="-122"/>
                <a:cs typeface="+mn-ea"/>
                <a:sym typeface="Arial" panose="020B0604020202020204" pitchFamily="34" charset="0"/>
              </a:rPr>
              <a:t>/</a:t>
            </a:r>
            <a:r>
              <a:rPr lang="zh-CN" altLang="en-US" sz="3200" b="0" dirty="0" smtClean="0">
                <a:latin typeface="Arial" panose="020B0604020202020204" pitchFamily="34" charset="0"/>
                <a:ea typeface="Microsoft YaHei" panose="020B0503020204020204" pitchFamily="34" charset="-122"/>
                <a:cs typeface="+mn-ea"/>
                <a:sym typeface="Arial" panose="020B0604020202020204" pitchFamily="34" charset="0"/>
              </a:rPr>
              <a:t>分层</a:t>
            </a:r>
            <a:r>
              <a:rPr lang="en-US" altLang="zh-CN" sz="3200" b="0" dirty="0" smtClean="0">
                <a:latin typeface="Arial" panose="020B0604020202020204" pitchFamily="34" charset="0"/>
                <a:ea typeface="Microsoft YaHei" panose="020B0503020204020204" pitchFamily="34" charset="-122"/>
                <a:cs typeface="+mn-ea"/>
                <a:sym typeface="Arial" panose="020B0604020202020204" pitchFamily="34" charset="0"/>
              </a:rPr>
              <a:t>/</a:t>
            </a:r>
            <a:r>
              <a:rPr lang="zh-CN" altLang="en-US" sz="3200" b="0" dirty="0" smtClean="0">
                <a:latin typeface="Arial" panose="020B0604020202020204" pitchFamily="34" charset="0"/>
                <a:ea typeface="Microsoft YaHei" panose="020B0503020204020204" pitchFamily="34" charset="-122"/>
                <a:cs typeface="+mn-ea"/>
                <a:sym typeface="Arial" panose="020B0604020202020204" pitchFamily="34" charset="0"/>
              </a:rPr>
              <a:t>非功能性需求</a:t>
            </a:r>
            <a:endParaRPr lang="zh-CN" altLang="en-US" sz="3200" b="0" dirty="0">
              <a:latin typeface="Arial" panose="020B0604020202020204" pitchFamily="34" charset="0"/>
              <a:ea typeface="Microsoft YaHei" panose="020B0503020204020204" pitchFamily="34" charset="-122"/>
              <a:cs typeface="+mn-ea"/>
              <a:sym typeface="Arial" panose="020B0604020202020204" pitchFamily="34" charset="0"/>
            </a:endParaRPr>
          </a:p>
        </p:txBody>
      </p:sp>
    </p:spTree>
    <p:extLst>
      <p:ext uri="{BB962C8B-B14F-4D97-AF65-F5344CB8AC3E}">
        <p14:creationId xmlns:p14="http://schemas.microsoft.com/office/powerpoint/2010/main" val="4125338707"/>
      </p:ext>
    </p:extLst>
  </p:cSld>
  <p:clrMapOvr>
    <a:masterClrMapping/>
  </p:clrMapOvr>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custDataLst>
              <p:tags r:id="rId3"/>
            </p:custDataLst>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26" name="think-cell Slide" r:id="rId7" imgW="347" imgH="348" progId="TCLayout.ActiveDocument.1">
                  <p:embed/>
                </p:oleObj>
              </mc:Choice>
              <mc:Fallback>
                <p:oleObj name="think-cell Slide" r:id="rId7" imgW="347" imgH="348" progId="TCLayout.ActiveDocument.1">
                  <p:embed/>
                  <p:pic>
                    <p:nvPicPr>
                      <p:cNvPr id="3" name="对象 2" hidden="1">
                        <a:extLst>
                          <a:ext uri="{FF2B5EF4-FFF2-40B4-BE49-F238E27FC236}">
                            <a16:creationId xmlns:a16="http://schemas.microsoft.com/office/drawing/2014/main" id="{A6A819F1-33AF-45D7-8BF6-2B0A9769CAD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13" name="泪滴形 12">
            <a:extLst>
              <a:ext uri="{FF2B5EF4-FFF2-40B4-BE49-F238E27FC236}">
                <a16:creationId xmlns:a16="http://schemas.microsoft.com/office/drawing/2014/main" id="{DCEACB39-1D73-4404-BE2C-69712E854833}"/>
              </a:ext>
            </a:extLst>
          </p:cNvPr>
          <p:cNvSpPr/>
          <p:nvPr/>
        </p:nvSpPr>
        <p:spPr>
          <a:xfrm>
            <a:off x="4218860" y="1028700"/>
            <a:ext cx="4877229" cy="5003602"/>
          </a:xfrm>
          <a:prstGeom prst="teardrop">
            <a:avLst/>
          </a:prstGeom>
          <a:solidFill>
            <a:srgbClr val="007BC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16" name="文本框 15">
            <a:extLst>
              <a:ext uri="{FF2B5EF4-FFF2-40B4-BE49-F238E27FC236}">
                <a16:creationId xmlns:a16="http://schemas.microsoft.com/office/drawing/2014/main" id="{A669D75E-3E40-48D7-9A58-F8A005E70352}"/>
              </a:ext>
            </a:extLst>
          </p:cNvPr>
          <p:cNvSpPr txBox="1"/>
          <p:nvPr/>
        </p:nvSpPr>
        <p:spPr>
          <a:xfrm>
            <a:off x="4903587" y="2140080"/>
            <a:ext cx="3672800" cy="2176558"/>
          </a:xfrm>
          <a:prstGeom prst="rect">
            <a:avLst/>
          </a:prstGeom>
          <a:noFill/>
        </p:spPr>
        <p:txBody>
          <a:bodyPr wrap="none" rtlCol="0">
            <a:spAutoFit/>
          </a:bodyPr>
          <a:lstStyle/>
          <a:p>
            <a:pPr algn="ctr">
              <a:lnSpc>
                <a:spcPct val="150000"/>
              </a:lnSpc>
            </a:pPr>
            <a:r>
              <a:rPr lang="zh-CN" altLang="en-US" sz="4800" spc="2000" dirty="0">
                <a:solidFill>
                  <a:schemeClr val="bg1"/>
                </a:solidFill>
                <a:latin typeface="Arial" panose="020B0604020202020204" pitchFamily="34" charset="0"/>
                <a:ea typeface="Microsoft YaHei" panose="020B0503020204020204" pitchFamily="34" charset="-122"/>
                <a:cs typeface="+mn-ea"/>
                <a:sym typeface="Arial" panose="020B0604020202020204" pitchFamily="34" charset="0"/>
              </a:rPr>
              <a:t>谢谢欣赏</a:t>
            </a:r>
            <a:endParaRPr lang="en-US" altLang="zh-CN" sz="4800" spc="2000" dirty="0">
              <a:solidFill>
                <a:schemeClr val="bg1"/>
              </a:solidFill>
              <a:latin typeface="Arial" panose="020B0604020202020204" pitchFamily="34" charset="0"/>
              <a:ea typeface="Microsoft YaHei" panose="020B0503020204020204" pitchFamily="34" charset="-122"/>
              <a:cs typeface="+mn-ea"/>
              <a:sym typeface="Arial" panose="020B0604020202020204" pitchFamily="34" charset="0"/>
            </a:endParaRPr>
          </a:p>
          <a:p>
            <a:pPr algn="ctr">
              <a:lnSpc>
                <a:spcPct val="150000"/>
              </a:lnSpc>
            </a:pPr>
            <a:r>
              <a:rPr lang="zh-CN" altLang="en-US" sz="4800" spc="2000" dirty="0">
                <a:solidFill>
                  <a:schemeClr val="bg1"/>
                </a:solidFill>
                <a:latin typeface="Arial" panose="020B0604020202020204" pitchFamily="34" charset="0"/>
                <a:ea typeface="Microsoft YaHei" panose="020B0503020204020204" pitchFamily="34" charset="-122"/>
                <a:cs typeface="+mn-ea"/>
                <a:sym typeface="Arial" panose="020B0604020202020204" pitchFamily="34" charset="0"/>
              </a:rPr>
              <a:t>多多指正</a:t>
            </a:r>
          </a:p>
        </p:txBody>
      </p:sp>
    </p:spTree>
    <p:extLst>
      <p:ext uri="{BB962C8B-B14F-4D97-AF65-F5344CB8AC3E}">
        <p14:creationId xmlns:p14="http://schemas.microsoft.com/office/powerpoint/2010/main" val="125904303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组合 29">
            <a:extLst>
              <a:ext uri="{FF2B5EF4-FFF2-40B4-BE49-F238E27FC236}">
                <a16:creationId xmlns:a16="http://schemas.microsoft.com/office/drawing/2014/main" id="{0853A8D8-448C-4E50-AD38-219140CD6184}"/>
              </a:ext>
            </a:extLst>
          </p:cNvPr>
          <p:cNvGrpSpPr/>
          <p:nvPr/>
        </p:nvGrpSpPr>
        <p:grpSpPr>
          <a:xfrm>
            <a:off x="669925" y="210537"/>
            <a:ext cx="468000" cy="468000"/>
            <a:chOff x="669925" y="48611"/>
            <a:chExt cx="468000" cy="468000"/>
          </a:xfrm>
        </p:grpSpPr>
        <p:sp>
          <p:nvSpPr>
            <p:cNvPr id="31" name="椭圆 30">
              <a:extLst>
                <a:ext uri="{FF2B5EF4-FFF2-40B4-BE49-F238E27FC236}">
                  <a16:creationId xmlns:a16="http://schemas.microsoft.com/office/drawing/2014/main" id="{18765B3C-06BD-445D-B72B-512E55DEF34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32" name="椭圆 31">
              <a:extLst>
                <a:ext uri="{FF2B5EF4-FFF2-40B4-BE49-F238E27FC236}">
                  <a16:creationId xmlns:a16="http://schemas.microsoft.com/office/drawing/2014/main" id="{A6AA7771-0E3D-4241-9DE3-825324394A29}"/>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grpSp>
      <p:sp>
        <p:nvSpPr>
          <p:cNvPr id="36" name="标题 1">
            <a:extLst>
              <a:ext uri="{FF2B5EF4-FFF2-40B4-BE49-F238E27FC236}">
                <a16:creationId xmlns:a16="http://schemas.microsoft.com/office/drawing/2014/main" id="{62930304-3D14-4FEB-B45D-709CE5948953}"/>
              </a:ext>
            </a:extLst>
          </p:cNvPr>
          <p:cNvSpPr txBox="1">
            <a:spLocks/>
          </p:cNvSpPr>
          <p:nvPr/>
        </p:nvSpPr>
        <p:spPr>
          <a:xfrm>
            <a:off x="1149783" y="198392"/>
            <a:ext cx="4092068" cy="57784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3200" b="0" dirty="0" smtClean="0">
                <a:latin typeface="Arial" panose="020B0604020202020204" pitchFamily="34" charset="0"/>
                <a:ea typeface="Microsoft YaHei" panose="020B0503020204020204" pitchFamily="34" charset="-122"/>
                <a:cs typeface="+mn-ea"/>
                <a:sym typeface="Arial" panose="020B0604020202020204" pitchFamily="34" charset="0"/>
              </a:rPr>
              <a:t>需求风险识别</a:t>
            </a:r>
            <a:endParaRPr lang="zh-CN" altLang="en-US" sz="3200" b="0" dirty="0">
              <a:latin typeface="Arial" panose="020B0604020202020204" pitchFamily="34" charset="0"/>
              <a:ea typeface="Microsoft YaHei" panose="020B0503020204020204" pitchFamily="34" charset="-122"/>
              <a:cs typeface="+mn-ea"/>
              <a:sym typeface="Arial" panose="020B0604020202020204" pitchFamily="34" charset="0"/>
            </a:endParaRPr>
          </a:p>
        </p:txBody>
      </p:sp>
      <p:pic>
        <p:nvPicPr>
          <p:cNvPr id="7170" name="Picture 2" descr="âold super marioâçå¾çæç´¢ç»æ"/>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13845807">
            <a:off x="4809640" y="4296241"/>
            <a:ext cx="665056" cy="665056"/>
          </a:xfrm>
          <a:prstGeom prst="rect">
            <a:avLst/>
          </a:prstGeom>
          <a:noFill/>
          <a:extLst>
            <a:ext uri="{909E8E84-426E-40DD-AFC4-6F175D3DCCD1}">
              <a14:hiddenFill xmlns:a14="http://schemas.microsoft.com/office/drawing/2010/main">
                <a:solidFill>
                  <a:srgbClr val="FFFFFF"/>
                </a:solidFill>
              </a14:hiddenFill>
            </a:ext>
          </a:extLst>
        </p:spPr>
      </p:pic>
      <p:pic>
        <p:nvPicPr>
          <p:cNvPr id="7172" name="Picture 4" descr="âold super mario flagâçå¾çæç´¢ç»æ"/>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716413" y="1040890"/>
            <a:ext cx="545642" cy="1754111"/>
          </a:xfrm>
          <a:prstGeom prst="rect">
            <a:avLst/>
          </a:prstGeom>
          <a:noFill/>
          <a:extLst>
            <a:ext uri="{909E8E84-426E-40DD-AFC4-6F175D3DCCD1}">
              <a14:hiddenFill xmlns:a14="http://schemas.microsoft.com/office/drawing/2010/main">
                <a:solidFill>
                  <a:srgbClr val="FFFFFF"/>
                </a:solidFill>
              </a14:hiddenFill>
            </a:ext>
          </a:extLst>
        </p:spPr>
      </p:pic>
      <p:grpSp>
        <p:nvGrpSpPr>
          <p:cNvPr id="9" name="3bb8b015-5b29-4eac-b7fc-965736038ffa"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5080250" y="2799811"/>
            <a:ext cx="1979085" cy="1971870"/>
            <a:chOff x="3599286" y="1174751"/>
            <a:chExt cx="4993428" cy="4975224"/>
          </a:xfrm>
        </p:grpSpPr>
        <p:sp>
          <p:nvSpPr>
            <p:cNvPr id="10" name="îṧļîḓê">
              <a:extLst>
                <a:ext uri="{FF2B5EF4-FFF2-40B4-BE49-F238E27FC236}">
                  <a16:creationId xmlns:a16="http://schemas.microsoft.com/office/drawing/2014/main" id="{1311A7F8-CAC7-4F9B-AD6D-5D103A35F492}"/>
                </a:ext>
              </a:extLst>
            </p:cNvPr>
            <p:cNvSpPr/>
            <p:nvPr/>
          </p:nvSpPr>
          <p:spPr bwMode="auto">
            <a:xfrm>
              <a:off x="5777461" y="3352926"/>
              <a:ext cx="618869" cy="612804"/>
            </a:xfrm>
            <a:custGeom>
              <a:avLst/>
              <a:gdLst>
                <a:gd name="T0" fmla="*/ 49 w 49"/>
                <a:gd name="T1" fmla="*/ 24 h 49"/>
                <a:gd name="T2" fmla="*/ 49 w 49"/>
                <a:gd name="T3" fmla="*/ 0 h 49"/>
                <a:gd name="T4" fmla="*/ 25 w 49"/>
                <a:gd name="T5" fmla="*/ 0 h 49"/>
                <a:gd name="T6" fmla="*/ 1 w 49"/>
                <a:gd name="T7" fmla="*/ 0 h 49"/>
                <a:gd name="T8" fmla="*/ 0 w 49"/>
                <a:gd name="T9" fmla="*/ 24 h 49"/>
                <a:gd name="T10" fmla="*/ 1 w 49"/>
                <a:gd name="T11" fmla="*/ 48 h 49"/>
                <a:gd name="T12" fmla="*/ 25 w 49"/>
                <a:gd name="T13" fmla="*/ 49 h 49"/>
                <a:gd name="T14" fmla="*/ 49 w 49"/>
                <a:gd name="T15" fmla="*/ 48 h 49"/>
                <a:gd name="T16" fmla="*/ 49 w 49"/>
                <a:gd name="T17" fmla="*/ 2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49">
                  <a:moveTo>
                    <a:pt x="49" y="24"/>
                  </a:moveTo>
                  <a:cubicBezTo>
                    <a:pt x="49" y="16"/>
                    <a:pt x="49" y="8"/>
                    <a:pt x="49" y="0"/>
                  </a:cubicBezTo>
                  <a:cubicBezTo>
                    <a:pt x="41" y="0"/>
                    <a:pt x="33" y="0"/>
                    <a:pt x="25" y="0"/>
                  </a:cubicBezTo>
                  <a:cubicBezTo>
                    <a:pt x="17" y="0"/>
                    <a:pt x="9" y="0"/>
                    <a:pt x="1" y="0"/>
                  </a:cubicBezTo>
                  <a:cubicBezTo>
                    <a:pt x="0" y="8"/>
                    <a:pt x="0" y="16"/>
                    <a:pt x="0" y="24"/>
                  </a:cubicBezTo>
                  <a:cubicBezTo>
                    <a:pt x="0" y="32"/>
                    <a:pt x="0" y="40"/>
                    <a:pt x="1" y="48"/>
                  </a:cubicBezTo>
                  <a:cubicBezTo>
                    <a:pt x="9" y="49"/>
                    <a:pt x="17" y="49"/>
                    <a:pt x="25" y="49"/>
                  </a:cubicBezTo>
                  <a:cubicBezTo>
                    <a:pt x="33" y="49"/>
                    <a:pt x="41" y="49"/>
                    <a:pt x="49" y="48"/>
                  </a:cubicBezTo>
                  <a:cubicBezTo>
                    <a:pt x="49" y="40"/>
                    <a:pt x="49" y="32"/>
                    <a:pt x="49" y="24"/>
                  </a:cubicBezTo>
                  <a:close/>
                </a:path>
              </a:pathLst>
            </a:custGeom>
            <a:solidFill>
              <a:srgbClr val="FF9A1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îŝļïḋe">
              <a:extLst>
                <a:ext uri="{FF2B5EF4-FFF2-40B4-BE49-F238E27FC236}">
                  <a16:creationId xmlns:a16="http://schemas.microsoft.com/office/drawing/2014/main" id="{410A4344-4340-42E3-8201-2BEF98F1E300}"/>
                </a:ext>
              </a:extLst>
            </p:cNvPr>
            <p:cNvSpPr/>
            <p:nvPr/>
          </p:nvSpPr>
          <p:spPr bwMode="auto">
            <a:xfrm>
              <a:off x="5892743" y="1174751"/>
              <a:ext cx="388310" cy="491457"/>
            </a:xfrm>
            <a:custGeom>
              <a:avLst/>
              <a:gdLst>
                <a:gd name="T0" fmla="*/ 0 w 31"/>
                <a:gd name="T1" fmla="*/ 39 h 39"/>
                <a:gd name="T2" fmla="*/ 16 w 31"/>
                <a:gd name="T3" fmla="*/ 39 h 39"/>
                <a:gd name="T4" fmla="*/ 31 w 31"/>
                <a:gd name="T5" fmla="*/ 39 h 39"/>
                <a:gd name="T6" fmla="*/ 24 w 31"/>
                <a:gd name="T7" fmla="*/ 0 h 39"/>
                <a:gd name="T8" fmla="*/ 16 w 31"/>
                <a:gd name="T9" fmla="*/ 0 h 39"/>
                <a:gd name="T10" fmla="*/ 8 w 31"/>
                <a:gd name="T11" fmla="*/ 0 h 39"/>
                <a:gd name="T12" fmla="*/ 0 w 31"/>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31" h="39">
                  <a:moveTo>
                    <a:pt x="0" y="39"/>
                  </a:moveTo>
                  <a:cubicBezTo>
                    <a:pt x="6" y="39"/>
                    <a:pt x="11" y="39"/>
                    <a:pt x="16" y="39"/>
                  </a:cubicBezTo>
                  <a:cubicBezTo>
                    <a:pt x="21" y="39"/>
                    <a:pt x="26" y="39"/>
                    <a:pt x="31" y="39"/>
                  </a:cubicBezTo>
                  <a:cubicBezTo>
                    <a:pt x="29" y="21"/>
                    <a:pt x="26" y="8"/>
                    <a:pt x="24" y="0"/>
                  </a:cubicBezTo>
                  <a:cubicBezTo>
                    <a:pt x="21" y="0"/>
                    <a:pt x="18" y="0"/>
                    <a:pt x="16" y="0"/>
                  </a:cubicBezTo>
                  <a:cubicBezTo>
                    <a:pt x="13" y="0"/>
                    <a:pt x="11" y="0"/>
                    <a:pt x="8" y="0"/>
                  </a:cubicBezTo>
                  <a:cubicBezTo>
                    <a:pt x="6" y="8"/>
                    <a:pt x="3" y="21"/>
                    <a:pt x="0" y="39"/>
                  </a:cubicBezTo>
                  <a:close/>
                </a:path>
              </a:pathLst>
            </a:custGeom>
            <a:solidFill>
              <a:srgbClr val="61C3C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ïṥlíḑè">
              <a:extLst>
                <a:ext uri="{FF2B5EF4-FFF2-40B4-BE49-F238E27FC236}">
                  <a16:creationId xmlns:a16="http://schemas.microsoft.com/office/drawing/2014/main" id="{7CB37AD5-AACC-47A3-B534-B14F77EAEC0C}"/>
                </a:ext>
              </a:extLst>
            </p:cNvPr>
            <p:cNvSpPr/>
            <p:nvPr/>
          </p:nvSpPr>
          <p:spPr bwMode="auto">
            <a:xfrm>
              <a:off x="6748237" y="1235424"/>
              <a:ext cx="770555" cy="691677"/>
            </a:xfrm>
            <a:custGeom>
              <a:avLst/>
              <a:gdLst>
                <a:gd name="T0" fmla="*/ 0 w 61"/>
                <a:gd name="T1" fmla="*/ 0 h 55"/>
                <a:gd name="T2" fmla="*/ 20 w 61"/>
                <a:gd name="T3" fmla="*/ 42 h 55"/>
                <a:gd name="T4" fmla="*/ 61 w 61"/>
                <a:gd name="T5" fmla="*/ 55 h 55"/>
                <a:gd name="T6" fmla="*/ 23 w 61"/>
                <a:gd name="T7" fmla="*/ 7 h 55"/>
                <a:gd name="T8" fmla="*/ 0 w 61"/>
                <a:gd name="T9" fmla="*/ 0 h 55"/>
              </a:gdLst>
              <a:ahLst/>
              <a:cxnLst>
                <a:cxn ang="0">
                  <a:pos x="T0" y="T1"/>
                </a:cxn>
                <a:cxn ang="0">
                  <a:pos x="T2" y="T3"/>
                </a:cxn>
                <a:cxn ang="0">
                  <a:pos x="T4" y="T5"/>
                </a:cxn>
                <a:cxn ang="0">
                  <a:pos x="T6" y="T7"/>
                </a:cxn>
                <a:cxn ang="0">
                  <a:pos x="T8" y="T9"/>
                </a:cxn>
              </a:cxnLst>
              <a:rect l="0" t="0" r="r" b="b"/>
              <a:pathLst>
                <a:path w="61" h="55">
                  <a:moveTo>
                    <a:pt x="0" y="0"/>
                  </a:moveTo>
                  <a:cubicBezTo>
                    <a:pt x="8" y="12"/>
                    <a:pt x="15" y="26"/>
                    <a:pt x="20" y="42"/>
                  </a:cubicBezTo>
                  <a:cubicBezTo>
                    <a:pt x="35" y="46"/>
                    <a:pt x="48" y="50"/>
                    <a:pt x="61" y="55"/>
                  </a:cubicBezTo>
                  <a:cubicBezTo>
                    <a:pt x="50" y="36"/>
                    <a:pt x="38" y="20"/>
                    <a:pt x="23" y="7"/>
                  </a:cubicBezTo>
                  <a:cubicBezTo>
                    <a:pt x="16" y="4"/>
                    <a:pt x="8" y="2"/>
                    <a:pt x="0" y="0"/>
                  </a:cubicBezTo>
                  <a:close/>
                </a:path>
              </a:pathLst>
            </a:custGeom>
            <a:solidFill>
              <a:srgbClr val="F0E66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isļîḓé">
              <a:extLst>
                <a:ext uri="{FF2B5EF4-FFF2-40B4-BE49-F238E27FC236}">
                  <a16:creationId xmlns:a16="http://schemas.microsoft.com/office/drawing/2014/main" id="{0071401F-C984-473B-87EB-434F68033C2B}"/>
                </a:ext>
              </a:extLst>
            </p:cNvPr>
            <p:cNvSpPr/>
            <p:nvPr/>
          </p:nvSpPr>
          <p:spPr bwMode="auto">
            <a:xfrm>
              <a:off x="4667139" y="1235424"/>
              <a:ext cx="770555" cy="691677"/>
            </a:xfrm>
            <a:custGeom>
              <a:avLst/>
              <a:gdLst>
                <a:gd name="T0" fmla="*/ 40 w 61"/>
                <a:gd name="T1" fmla="*/ 42 h 55"/>
                <a:gd name="T2" fmla="*/ 61 w 61"/>
                <a:gd name="T3" fmla="*/ 0 h 55"/>
                <a:gd name="T4" fmla="*/ 37 w 61"/>
                <a:gd name="T5" fmla="*/ 7 h 55"/>
                <a:gd name="T6" fmla="*/ 0 w 61"/>
                <a:gd name="T7" fmla="*/ 55 h 55"/>
                <a:gd name="T8" fmla="*/ 40 w 61"/>
                <a:gd name="T9" fmla="*/ 42 h 55"/>
              </a:gdLst>
              <a:ahLst/>
              <a:cxnLst>
                <a:cxn ang="0">
                  <a:pos x="T0" y="T1"/>
                </a:cxn>
                <a:cxn ang="0">
                  <a:pos x="T2" y="T3"/>
                </a:cxn>
                <a:cxn ang="0">
                  <a:pos x="T4" y="T5"/>
                </a:cxn>
                <a:cxn ang="0">
                  <a:pos x="T6" y="T7"/>
                </a:cxn>
                <a:cxn ang="0">
                  <a:pos x="T8" y="T9"/>
                </a:cxn>
              </a:cxnLst>
              <a:rect l="0" t="0" r="r" b="b"/>
              <a:pathLst>
                <a:path w="61" h="55">
                  <a:moveTo>
                    <a:pt x="40" y="42"/>
                  </a:moveTo>
                  <a:cubicBezTo>
                    <a:pt x="46" y="26"/>
                    <a:pt x="53" y="12"/>
                    <a:pt x="61" y="0"/>
                  </a:cubicBezTo>
                  <a:cubicBezTo>
                    <a:pt x="53" y="2"/>
                    <a:pt x="45" y="4"/>
                    <a:pt x="37" y="7"/>
                  </a:cubicBezTo>
                  <a:cubicBezTo>
                    <a:pt x="23" y="20"/>
                    <a:pt x="10" y="36"/>
                    <a:pt x="0" y="55"/>
                  </a:cubicBezTo>
                  <a:cubicBezTo>
                    <a:pt x="12" y="50"/>
                    <a:pt x="26" y="46"/>
                    <a:pt x="40" y="42"/>
                  </a:cubicBezTo>
                  <a:close/>
                </a:path>
              </a:pathLst>
            </a:custGeom>
            <a:solidFill>
              <a:srgbClr val="FF9A1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ï$ḷíḑê">
              <a:extLst>
                <a:ext uri="{FF2B5EF4-FFF2-40B4-BE49-F238E27FC236}">
                  <a16:creationId xmlns:a16="http://schemas.microsoft.com/office/drawing/2014/main" id="{D40E9BA8-D457-4424-BAB7-468201F80EC4}"/>
                </a:ext>
              </a:extLst>
            </p:cNvPr>
            <p:cNvSpPr/>
            <p:nvPr/>
          </p:nvSpPr>
          <p:spPr bwMode="auto">
            <a:xfrm>
              <a:off x="5352747" y="1174751"/>
              <a:ext cx="491457" cy="552130"/>
            </a:xfrm>
            <a:custGeom>
              <a:avLst/>
              <a:gdLst>
                <a:gd name="T0" fmla="*/ 32 w 39"/>
                <a:gd name="T1" fmla="*/ 40 h 44"/>
                <a:gd name="T2" fmla="*/ 32 w 39"/>
                <a:gd name="T3" fmla="*/ 40 h 44"/>
                <a:gd name="T4" fmla="*/ 39 w 39"/>
                <a:gd name="T5" fmla="*/ 0 h 44"/>
                <a:gd name="T6" fmla="*/ 23 w 39"/>
                <a:gd name="T7" fmla="*/ 2 h 44"/>
                <a:gd name="T8" fmla="*/ 0 w 39"/>
                <a:gd name="T9" fmla="*/ 44 h 44"/>
                <a:gd name="T10" fmla="*/ 32 w 39"/>
                <a:gd name="T11" fmla="*/ 40 h 44"/>
              </a:gdLst>
              <a:ahLst/>
              <a:cxnLst>
                <a:cxn ang="0">
                  <a:pos x="T0" y="T1"/>
                </a:cxn>
                <a:cxn ang="0">
                  <a:pos x="T2" y="T3"/>
                </a:cxn>
                <a:cxn ang="0">
                  <a:pos x="T4" y="T5"/>
                </a:cxn>
                <a:cxn ang="0">
                  <a:pos x="T6" y="T7"/>
                </a:cxn>
                <a:cxn ang="0">
                  <a:pos x="T8" y="T9"/>
                </a:cxn>
                <a:cxn ang="0">
                  <a:pos x="T10" y="T11"/>
                </a:cxn>
              </a:cxnLst>
              <a:rect l="0" t="0" r="r" b="b"/>
              <a:pathLst>
                <a:path w="39" h="44">
                  <a:moveTo>
                    <a:pt x="32" y="40"/>
                  </a:moveTo>
                  <a:cubicBezTo>
                    <a:pt x="32" y="40"/>
                    <a:pt x="32" y="40"/>
                    <a:pt x="32" y="40"/>
                  </a:cubicBezTo>
                  <a:cubicBezTo>
                    <a:pt x="34" y="23"/>
                    <a:pt x="36" y="10"/>
                    <a:pt x="39" y="0"/>
                  </a:cubicBezTo>
                  <a:cubicBezTo>
                    <a:pt x="34" y="1"/>
                    <a:pt x="28" y="1"/>
                    <a:pt x="23" y="2"/>
                  </a:cubicBezTo>
                  <a:cubicBezTo>
                    <a:pt x="15" y="13"/>
                    <a:pt x="7" y="27"/>
                    <a:pt x="0" y="44"/>
                  </a:cubicBezTo>
                  <a:cubicBezTo>
                    <a:pt x="10" y="42"/>
                    <a:pt x="21" y="41"/>
                    <a:pt x="32" y="40"/>
                  </a:cubicBezTo>
                  <a:close/>
                </a:path>
              </a:pathLst>
            </a:custGeom>
            <a:solidFill>
              <a:srgbClr val="0C2C5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ïšľidé">
              <a:extLst>
                <a:ext uri="{FF2B5EF4-FFF2-40B4-BE49-F238E27FC236}">
                  <a16:creationId xmlns:a16="http://schemas.microsoft.com/office/drawing/2014/main" id="{2DE3F82D-E2E3-4DDD-8005-C4C7172F4F22}"/>
                </a:ext>
              </a:extLst>
            </p:cNvPr>
            <p:cNvSpPr/>
            <p:nvPr/>
          </p:nvSpPr>
          <p:spPr bwMode="auto">
            <a:xfrm>
              <a:off x="6548016" y="3352926"/>
              <a:ext cx="606735" cy="600669"/>
            </a:xfrm>
            <a:custGeom>
              <a:avLst/>
              <a:gdLst>
                <a:gd name="T0" fmla="*/ 48 w 48"/>
                <a:gd name="T1" fmla="*/ 24 h 48"/>
                <a:gd name="T2" fmla="*/ 48 w 48"/>
                <a:gd name="T3" fmla="*/ 2 h 48"/>
                <a:gd name="T4" fmla="*/ 0 w 48"/>
                <a:gd name="T5" fmla="*/ 0 h 48"/>
                <a:gd name="T6" fmla="*/ 0 w 48"/>
                <a:gd name="T7" fmla="*/ 24 h 48"/>
                <a:gd name="T8" fmla="*/ 0 w 48"/>
                <a:gd name="T9" fmla="*/ 48 h 48"/>
                <a:gd name="T10" fmla="*/ 48 w 48"/>
                <a:gd name="T11" fmla="*/ 46 h 48"/>
                <a:gd name="T12" fmla="*/ 48 w 48"/>
                <a:gd name="T13" fmla="*/ 24 h 48"/>
              </a:gdLst>
              <a:ahLst/>
              <a:cxnLst>
                <a:cxn ang="0">
                  <a:pos x="T0" y="T1"/>
                </a:cxn>
                <a:cxn ang="0">
                  <a:pos x="T2" y="T3"/>
                </a:cxn>
                <a:cxn ang="0">
                  <a:pos x="T4" y="T5"/>
                </a:cxn>
                <a:cxn ang="0">
                  <a:pos x="T6" y="T7"/>
                </a:cxn>
                <a:cxn ang="0">
                  <a:pos x="T8" y="T9"/>
                </a:cxn>
                <a:cxn ang="0">
                  <a:pos x="T10" y="T11"/>
                </a:cxn>
                <a:cxn ang="0">
                  <a:pos x="T12" y="T13"/>
                </a:cxn>
              </a:cxnLst>
              <a:rect l="0" t="0" r="r" b="b"/>
              <a:pathLst>
                <a:path w="48" h="48">
                  <a:moveTo>
                    <a:pt x="48" y="24"/>
                  </a:moveTo>
                  <a:cubicBezTo>
                    <a:pt x="48" y="17"/>
                    <a:pt x="48" y="9"/>
                    <a:pt x="48" y="2"/>
                  </a:cubicBezTo>
                  <a:cubicBezTo>
                    <a:pt x="32" y="1"/>
                    <a:pt x="16" y="1"/>
                    <a:pt x="0" y="0"/>
                  </a:cubicBezTo>
                  <a:cubicBezTo>
                    <a:pt x="0" y="8"/>
                    <a:pt x="0" y="16"/>
                    <a:pt x="0" y="24"/>
                  </a:cubicBezTo>
                  <a:cubicBezTo>
                    <a:pt x="0" y="32"/>
                    <a:pt x="0" y="40"/>
                    <a:pt x="0" y="48"/>
                  </a:cubicBezTo>
                  <a:cubicBezTo>
                    <a:pt x="16" y="48"/>
                    <a:pt x="32" y="47"/>
                    <a:pt x="48" y="46"/>
                  </a:cubicBezTo>
                  <a:cubicBezTo>
                    <a:pt x="48" y="39"/>
                    <a:pt x="48" y="32"/>
                    <a:pt x="48" y="24"/>
                  </a:cubicBezTo>
                  <a:close/>
                </a:path>
              </a:pathLst>
            </a:custGeom>
            <a:solidFill>
              <a:srgbClr val="F0E66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íSḻïḑè">
              <a:extLst>
                <a:ext uri="{FF2B5EF4-FFF2-40B4-BE49-F238E27FC236}">
                  <a16:creationId xmlns:a16="http://schemas.microsoft.com/office/drawing/2014/main" id="{8EFEB9B5-59B8-44EB-AB2A-F9E917B7C12E}"/>
                </a:ext>
              </a:extLst>
            </p:cNvPr>
            <p:cNvSpPr/>
            <p:nvPr/>
          </p:nvSpPr>
          <p:spPr bwMode="auto">
            <a:xfrm>
              <a:off x="6523747" y="4081008"/>
              <a:ext cx="618869" cy="618869"/>
            </a:xfrm>
            <a:custGeom>
              <a:avLst/>
              <a:gdLst>
                <a:gd name="T0" fmla="*/ 49 w 49"/>
                <a:gd name="T1" fmla="*/ 0 h 49"/>
                <a:gd name="T2" fmla="*/ 1 w 49"/>
                <a:gd name="T3" fmla="*/ 2 h 49"/>
                <a:gd name="T4" fmla="*/ 0 w 49"/>
                <a:gd name="T5" fmla="*/ 49 h 49"/>
                <a:gd name="T6" fmla="*/ 44 w 49"/>
                <a:gd name="T7" fmla="*/ 45 h 49"/>
                <a:gd name="T8" fmla="*/ 49 w 49"/>
                <a:gd name="T9" fmla="*/ 0 h 49"/>
              </a:gdLst>
              <a:ahLst/>
              <a:cxnLst>
                <a:cxn ang="0">
                  <a:pos x="T0" y="T1"/>
                </a:cxn>
                <a:cxn ang="0">
                  <a:pos x="T2" y="T3"/>
                </a:cxn>
                <a:cxn ang="0">
                  <a:pos x="T4" y="T5"/>
                </a:cxn>
                <a:cxn ang="0">
                  <a:pos x="T6" y="T7"/>
                </a:cxn>
                <a:cxn ang="0">
                  <a:pos x="T8" y="T9"/>
                </a:cxn>
              </a:cxnLst>
              <a:rect l="0" t="0" r="r" b="b"/>
              <a:pathLst>
                <a:path w="49" h="49">
                  <a:moveTo>
                    <a:pt x="49" y="0"/>
                  </a:moveTo>
                  <a:cubicBezTo>
                    <a:pt x="34" y="1"/>
                    <a:pt x="18" y="1"/>
                    <a:pt x="1" y="2"/>
                  </a:cubicBezTo>
                  <a:cubicBezTo>
                    <a:pt x="1" y="18"/>
                    <a:pt x="0" y="34"/>
                    <a:pt x="0" y="49"/>
                  </a:cubicBezTo>
                  <a:cubicBezTo>
                    <a:pt x="15" y="48"/>
                    <a:pt x="30" y="47"/>
                    <a:pt x="44" y="45"/>
                  </a:cubicBezTo>
                  <a:cubicBezTo>
                    <a:pt x="46" y="30"/>
                    <a:pt x="48" y="15"/>
                    <a:pt x="49" y="0"/>
                  </a:cubicBezTo>
                  <a:close/>
                </a:path>
              </a:pathLst>
            </a:custGeom>
            <a:solidFill>
              <a:srgbClr val="61C3C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 name="íšḷidé">
              <a:extLst>
                <a:ext uri="{FF2B5EF4-FFF2-40B4-BE49-F238E27FC236}">
                  <a16:creationId xmlns:a16="http://schemas.microsoft.com/office/drawing/2014/main" id="{79787017-4F6E-41FE-9D8E-94BE97B99EA2}"/>
                </a:ext>
              </a:extLst>
            </p:cNvPr>
            <p:cNvSpPr/>
            <p:nvPr/>
          </p:nvSpPr>
          <p:spPr bwMode="auto">
            <a:xfrm>
              <a:off x="6444870" y="4796955"/>
              <a:ext cx="606735" cy="697747"/>
            </a:xfrm>
            <a:custGeom>
              <a:avLst/>
              <a:gdLst>
                <a:gd name="T0" fmla="*/ 48 w 48"/>
                <a:gd name="T1" fmla="*/ 0 h 55"/>
                <a:gd name="T2" fmla="*/ 5 w 48"/>
                <a:gd name="T3" fmla="*/ 4 h 55"/>
                <a:gd name="T4" fmla="*/ 0 w 48"/>
                <a:gd name="T5" fmla="*/ 55 h 55"/>
                <a:gd name="T6" fmla="*/ 35 w 48"/>
                <a:gd name="T7" fmla="*/ 50 h 55"/>
                <a:gd name="T8" fmla="*/ 48 w 48"/>
                <a:gd name="T9" fmla="*/ 0 h 55"/>
              </a:gdLst>
              <a:ahLst/>
              <a:cxnLst>
                <a:cxn ang="0">
                  <a:pos x="T0" y="T1"/>
                </a:cxn>
                <a:cxn ang="0">
                  <a:pos x="T2" y="T3"/>
                </a:cxn>
                <a:cxn ang="0">
                  <a:pos x="T4" y="T5"/>
                </a:cxn>
                <a:cxn ang="0">
                  <a:pos x="T6" y="T7"/>
                </a:cxn>
                <a:cxn ang="0">
                  <a:pos x="T8" y="T9"/>
                </a:cxn>
              </a:cxnLst>
              <a:rect l="0" t="0" r="r" b="b"/>
              <a:pathLst>
                <a:path w="48" h="55">
                  <a:moveTo>
                    <a:pt x="48" y="0"/>
                  </a:moveTo>
                  <a:cubicBezTo>
                    <a:pt x="34" y="2"/>
                    <a:pt x="20" y="3"/>
                    <a:pt x="5" y="4"/>
                  </a:cubicBezTo>
                  <a:cubicBezTo>
                    <a:pt x="4" y="22"/>
                    <a:pt x="2" y="39"/>
                    <a:pt x="0" y="55"/>
                  </a:cubicBezTo>
                  <a:cubicBezTo>
                    <a:pt x="12" y="54"/>
                    <a:pt x="24" y="52"/>
                    <a:pt x="35" y="50"/>
                  </a:cubicBezTo>
                  <a:cubicBezTo>
                    <a:pt x="40" y="35"/>
                    <a:pt x="45" y="18"/>
                    <a:pt x="48" y="0"/>
                  </a:cubicBezTo>
                  <a:close/>
                </a:path>
              </a:pathLst>
            </a:custGeom>
            <a:solidFill>
              <a:srgbClr val="FF9A1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 name="iśḻîďê">
              <a:extLst>
                <a:ext uri="{FF2B5EF4-FFF2-40B4-BE49-F238E27FC236}">
                  <a16:creationId xmlns:a16="http://schemas.microsoft.com/office/drawing/2014/main" id="{AE48FC2B-E262-43F0-9C66-6D9F21CD21DE}"/>
                </a:ext>
              </a:extLst>
            </p:cNvPr>
            <p:cNvSpPr/>
            <p:nvPr/>
          </p:nvSpPr>
          <p:spPr bwMode="auto">
            <a:xfrm>
              <a:off x="5789596" y="4105277"/>
              <a:ext cx="606735" cy="618869"/>
            </a:xfrm>
            <a:custGeom>
              <a:avLst/>
              <a:gdLst>
                <a:gd name="T0" fmla="*/ 48 w 48"/>
                <a:gd name="T1" fmla="*/ 0 h 49"/>
                <a:gd name="T2" fmla="*/ 24 w 48"/>
                <a:gd name="T3" fmla="*/ 0 h 49"/>
                <a:gd name="T4" fmla="*/ 0 w 48"/>
                <a:gd name="T5" fmla="*/ 0 h 49"/>
                <a:gd name="T6" fmla="*/ 2 w 48"/>
                <a:gd name="T7" fmla="*/ 48 h 49"/>
                <a:gd name="T8" fmla="*/ 24 w 48"/>
                <a:gd name="T9" fmla="*/ 49 h 49"/>
                <a:gd name="T10" fmla="*/ 46 w 48"/>
                <a:gd name="T11" fmla="*/ 48 h 49"/>
                <a:gd name="T12" fmla="*/ 48 w 48"/>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48" h="49">
                  <a:moveTo>
                    <a:pt x="48" y="0"/>
                  </a:moveTo>
                  <a:cubicBezTo>
                    <a:pt x="40" y="0"/>
                    <a:pt x="32" y="0"/>
                    <a:pt x="24" y="0"/>
                  </a:cubicBezTo>
                  <a:cubicBezTo>
                    <a:pt x="16" y="0"/>
                    <a:pt x="8" y="0"/>
                    <a:pt x="0" y="0"/>
                  </a:cubicBezTo>
                  <a:cubicBezTo>
                    <a:pt x="0" y="17"/>
                    <a:pt x="1" y="33"/>
                    <a:pt x="2" y="48"/>
                  </a:cubicBezTo>
                  <a:cubicBezTo>
                    <a:pt x="9" y="48"/>
                    <a:pt x="16" y="49"/>
                    <a:pt x="24" y="49"/>
                  </a:cubicBezTo>
                  <a:cubicBezTo>
                    <a:pt x="31" y="49"/>
                    <a:pt x="39" y="48"/>
                    <a:pt x="46" y="48"/>
                  </a:cubicBezTo>
                  <a:cubicBezTo>
                    <a:pt x="47" y="33"/>
                    <a:pt x="47" y="17"/>
                    <a:pt x="48" y="0"/>
                  </a:cubicBezTo>
                  <a:close/>
                </a:path>
              </a:pathLst>
            </a:custGeom>
            <a:solidFill>
              <a:srgbClr val="F0E66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 name="îṧ1iḓé">
              <a:extLst>
                <a:ext uri="{FF2B5EF4-FFF2-40B4-BE49-F238E27FC236}">
                  <a16:creationId xmlns:a16="http://schemas.microsoft.com/office/drawing/2014/main" id="{DEBE08C2-4BED-4771-AD2E-C9F9C9567702}"/>
                </a:ext>
              </a:extLst>
            </p:cNvPr>
            <p:cNvSpPr/>
            <p:nvPr/>
          </p:nvSpPr>
          <p:spPr bwMode="auto">
            <a:xfrm>
              <a:off x="5813866" y="4863698"/>
              <a:ext cx="546061" cy="643139"/>
            </a:xfrm>
            <a:custGeom>
              <a:avLst/>
              <a:gdLst>
                <a:gd name="T0" fmla="*/ 0 w 43"/>
                <a:gd name="T1" fmla="*/ 0 h 51"/>
                <a:gd name="T2" fmla="*/ 5 w 43"/>
                <a:gd name="T3" fmla="*/ 51 h 51"/>
                <a:gd name="T4" fmla="*/ 22 w 43"/>
                <a:gd name="T5" fmla="*/ 51 h 51"/>
                <a:gd name="T6" fmla="*/ 39 w 43"/>
                <a:gd name="T7" fmla="*/ 51 h 51"/>
                <a:gd name="T8" fmla="*/ 43 w 43"/>
                <a:gd name="T9" fmla="*/ 0 h 51"/>
                <a:gd name="T10" fmla="*/ 22 w 43"/>
                <a:gd name="T11" fmla="*/ 0 h 51"/>
                <a:gd name="T12" fmla="*/ 0 w 43"/>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43" h="51">
                  <a:moveTo>
                    <a:pt x="0" y="0"/>
                  </a:moveTo>
                  <a:cubicBezTo>
                    <a:pt x="2" y="18"/>
                    <a:pt x="3" y="35"/>
                    <a:pt x="5" y="51"/>
                  </a:cubicBezTo>
                  <a:cubicBezTo>
                    <a:pt x="11" y="51"/>
                    <a:pt x="16" y="51"/>
                    <a:pt x="22" y="51"/>
                  </a:cubicBezTo>
                  <a:cubicBezTo>
                    <a:pt x="27" y="51"/>
                    <a:pt x="33" y="51"/>
                    <a:pt x="39" y="51"/>
                  </a:cubicBezTo>
                  <a:cubicBezTo>
                    <a:pt x="41" y="35"/>
                    <a:pt x="42" y="18"/>
                    <a:pt x="43" y="0"/>
                  </a:cubicBezTo>
                  <a:cubicBezTo>
                    <a:pt x="36" y="0"/>
                    <a:pt x="29" y="0"/>
                    <a:pt x="22" y="0"/>
                  </a:cubicBezTo>
                  <a:cubicBezTo>
                    <a:pt x="15" y="0"/>
                    <a:pt x="7" y="0"/>
                    <a:pt x="0" y="0"/>
                  </a:cubicBezTo>
                  <a:close/>
                </a:path>
              </a:pathLst>
            </a:custGeom>
            <a:solidFill>
              <a:srgbClr val="61C3C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 name="i$1îdè">
              <a:extLst>
                <a:ext uri="{FF2B5EF4-FFF2-40B4-BE49-F238E27FC236}">
                  <a16:creationId xmlns:a16="http://schemas.microsoft.com/office/drawing/2014/main" id="{83047BE4-A3F4-4625-B4A7-84C2C4EF8B18}"/>
                </a:ext>
              </a:extLst>
            </p:cNvPr>
            <p:cNvSpPr/>
            <p:nvPr/>
          </p:nvSpPr>
          <p:spPr bwMode="auto">
            <a:xfrm>
              <a:off x="6444870" y="1830024"/>
              <a:ext cx="606735" cy="691677"/>
            </a:xfrm>
            <a:custGeom>
              <a:avLst/>
              <a:gdLst>
                <a:gd name="T0" fmla="*/ 0 w 48"/>
                <a:gd name="T1" fmla="*/ 0 h 55"/>
                <a:gd name="T2" fmla="*/ 5 w 48"/>
                <a:gd name="T3" fmla="*/ 50 h 55"/>
                <a:gd name="T4" fmla="*/ 48 w 48"/>
                <a:gd name="T5" fmla="*/ 55 h 55"/>
                <a:gd name="T6" fmla="*/ 35 w 48"/>
                <a:gd name="T7" fmla="*/ 5 h 55"/>
                <a:gd name="T8" fmla="*/ 0 w 48"/>
                <a:gd name="T9" fmla="*/ 0 h 55"/>
              </a:gdLst>
              <a:ahLst/>
              <a:cxnLst>
                <a:cxn ang="0">
                  <a:pos x="T0" y="T1"/>
                </a:cxn>
                <a:cxn ang="0">
                  <a:pos x="T2" y="T3"/>
                </a:cxn>
                <a:cxn ang="0">
                  <a:pos x="T4" y="T5"/>
                </a:cxn>
                <a:cxn ang="0">
                  <a:pos x="T6" y="T7"/>
                </a:cxn>
                <a:cxn ang="0">
                  <a:pos x="T8" y="T9"/>
                </a:cxn>
              </a:cxnLst>
              <a:rect l="0" t="0" r="r" b="b"/>
              <a:pathLst>
                <a:path w="48" h="55">
                  <a:moveTo>
                    <a:pt x="0" y="0"/>
                  </a:moveTo>
                  <a:cubicBezTo>
                    <a:pt x="2" y="15"/>
                    <a:pt x="4" y="32"/>
                    <a:pt x="5" y="50"/>
                  </a:cubicBezTo>
                  <a:cubicBezTo>
                    <a:pt x="20" y="51"/>
                    <a:pt x="34" y="53"/>
                    <a:pt x="48" y="55"/>
                  </a:cubicBezTo>
                  <a:cubicBezTo>
                    <a:pt x="45" y="37"/>
                    <a:pt x="40" y="20"/>
                    <a:pt x="35" y="5"/>
                  </a:cubicBezTo>
                  <a:cubicBezTo>
                    <a:pt x="24" y="3"/>
                    <a:pt x="12" y="1"/>
                    <a:pt x="0" y="0"/>
                  </a:cubicBezTo>
                  <a:close/>
                </a:path>
              </a:pathLst>
            </a:custGeom>
            <a:solidFill>
              <a:srgbClr val="61C3C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 name="ïṧľïďé">
              <a:extLst>
                <a:ext uri="{FF2B5EF4-FFF2-40B4-BE49-F238E27FC236}">
                  <a16:creationId xmlns:a16="http://schemas.microsoft.com/office/drawing/2014/main" id="{F125CC6F-0763-4259-8C1E-EA9013EE56AB}"/>
                </a:ext>
              </a:extLst>
            </p:cNvPr>
            <p:cNvSpPr/>
            <p:nvPr/>
          </p:nvSpPr>
          <p:spPr bwMode="auto">
            <a:xfrm>
              <a:off x="7227559" y="2697653"/>
              <a:ext cx="697747" cy="600669"/>
            </a:xfrm>
            <a:custGeom>
              <a:avLst/>
              <a:gdLst>
                <a:gd name="T0" fmla="*/ 55 w 55"/>
                <a:gd name="T1" fmla="*/ 48 h 48"/>
                <a:gd name="T2" fmla="*/ 50 w 55"/>
                <a:gd name="T3" fmla="*/ 13 h 48"/>
                <a:gd name="T4" fmla="*/ 0 w 55"/>
                <a:gd name="T5" fmla="*/ 0 h 48"/>
                <a:gd name="T6" fmla="*/ 5 w 55"/>
                <a:gd name="T7" fmla="*/ 43 h 48"/>
                <a:gd name="T8" fmla="*/ 55 w 55"/>
                <a:gd name="T9" fmla="*/ 48 h 48"/>
              </a:gdLst>
              <a:ahLst/>
              <a:cxnLst>
                <a:cxn ang="0">
                  <a:pos x="T0" y="T1"/>
                </a:cxn>
                <a:cxn ang="0">
                  <a:pos x="T2" y="T3"/>
                </a:cxn>
                <a:cxn ang="0">
                  <a:pos x="T4" y="T5"/>
                </a:cxn>
                <a:cxn ang="0">
                  <a:pos x="T6" y="T7"/>
                </a:cxn>
                <a:cxn ang="0">
                  <a:pos x="T8" y="T9"/>
                </a:cxn>
              </a:cxnLst>
              <a:rect l="0" t="0" r="r" b="b"/>
              <a:pathLst>
                <a:path w="55" h="48">
                  <a:moveTo>
                    <a:pt x="55" y="48"/>
                  </a:moveTo>
                  <a:cubicBezTo>
                    <a:pt x="54" y="36"/>
                    <a:pt x="52" y="24"/>
                    <a:pt x="50" y="13"/>
                  </a:cubicBezTo>
                  <a:cubicBezTo>
                    <a:pt x="35" y="8"/>
                    <a:pt x="18" y="3"/>
                    <a:pt x="0" y="0"/>
                  </a:cubicBezTo>
                  <a:cubicBezTo>
                    <a:pt x="2" y="14"/>
                    <a:pt x="4" y="28"/>
                    <a:pt x="5" y="43"/>
                  </a:cubicBezTo>
                  <a:cubicBezTo>
                    <a:pt x="23" y="44"/>
                    <a:pt x="40" y="46"/>
                    <a:pt x="55" y="48"/>
                  </a:cubicBezTo>
                  <a:close/>
                </a:path>
              </a:pathLst>
            </a:custGeom>
            <a:solidFill>
              <a:srgbClr val="FF9A1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íṡľiḋê">
              <a:extLst>
                <a:ext uri="{FF2B5EF4-FFF2-40B4-BE49-F238E27FC236}">
                  <a16:creationId xmlns:a16="http://schemas.microsoft.com/office/drawing/2014/main" id="{7C175BF3-29B4-43F1-9AAF-A9FB9DFA4912}"/>
                </a:ext>
              </a:extLst>
            </p:cNvPr>
            <p:cNvSpPr/>
            <p:nvPr/>
          </p:nvSpPr>
          <p:spPr bwMode="auto">
            <a:xfrm>
              <a:off x="7063739" y="1927102"/>
              <a:ext cx="758420" cy="758420"/>
            </a:xfrm>
            <a:custGeom>
              <a:avLst/>
              <a:gdLst>
                <a:gd name="T0" fmla="*/ 0 w 60"/>
                <a:gd name="T1" fmla="*/ 0 h 60"/>
                <a:gd name="T2" fmla="*/ 11 w 60"/>
                <a:gd name="T3" fmla="*/ 49 h 60"/>
                <a:gd name="T4" fmla="*/ 60 w 60"/>
                <a:gd name="T5" fmla="*/ 60 h 60"/>
                <a:gd name="T6" fmla="*/ 44 w 60"/>
                <a:gd name="T7" fmla="*/ 16 h 60"/>
                <a:gd name="T8" fmla="*/ 0 w 60"/>
                <a:gd name="T9" fmla="*/ 0 h 60"/>
              </a:gdLst>
              <a:ahLst/>
              <a:cxnLst>
                <a:cxn ang="0">
                  <a:pos x="T0" y="T1"/>
                </a:cxn>
                <a:cxn ang="0">
                  <a:pos x="T2" y="T3"/>
                </a:cxn>
                <a:cxn ang="0">
                  <a:pos x="T4" y="T5"/>
                </a:cxn>
                <a:cxn ang="0">
                  <a:pos x="T6" y="T7"/>
                </a:cxn>
                <a:cxn ang="0">
                  <a:pos x="T8" y="T9"/>
                </a:cxn>
              </a:cxnLst>
              <a:rect l="0" t="0" r="r" b="b"/>
              <a:pathLst>
                <a:path w="60" h="60">
                  <a:moveTo>
                    <a:pt x="0" y="0"/>
                  </a:moveTo>
                  <a:cubicBezTo>
                    <a:pt x="4" y="15"/>
                    <a:pt x="8" y="31"/>
                    <a:pt x="11" y="49"/>
                  </a:cubicBezTo>
                  <a:cubicBezTo>
                    <a:pt x="29" y="52"/>
                    <a:pt x="45" y="56"/>
                    <a:pt x="60" y="60"/>
                  </a:cubicBezTo>
                  <a:cubicBezTo>
                    <a:pt x="56" y="44"/>
                    <a:pt x="51" y="30"/>
                    <a:pt x="44" y="16"/>
                  </a:cubicBezTo>
                  <a:cubicBezTo>
                    <a:pt x="30" y="10"/>
                    <a:pt x="16" y="4"/>
                    <a:pt x="0" y="0"/>
                  </a:cubicBezTo>
                  <a:close/>
                </a:path>
              </a:pathLst>
            </a:custGeom>
            <a:solidFill>
              <a:srgbClr val="0C2C5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ïŝ1iḍè">
              <a:extLst>
                <a:ext uri="{FF2B5EF4-FFF2-40B4-BE49-F238E27FC236}">
                  <a16:creationId xmlns:a16="http://schemas.microsoft.com/office/drawing/2014/main" id="{135E2C7F-7AEB-4FC8-81A2-115025BA96FF}"/>
                </a:ext>
              </a:extLst>
            </p:cNvPr>
            <p:cNvSpPr/>
            <p:nvPr/>
          </p:nvSpPr>
          <p:spPr bwMode="auto">
            <a:xfrm>
              <a:off x="6523747" y="2606645"/>
              <a:ext cx="618869" cy="618869"/>
            </a:xfrm>
            <a:custGeom>
              <a:avLst/>
              <a:gdLst>
                <a:gd name="T0" fmla="*/ 49 w 49"/>
                <a:gd name="T1" fmla="*/ 49 h 49"/>
                <a:gd name="T2" fmla="*/ 44 w 49"/>
                <a:gd name="T3" fmla="*/ 5 h 49"/>
                <a:gd name="T4" fmla="*/ 0 w 49"/>
                <a:gd name="T5" fmla="*/ 0 h 49"/>
                <a:gd name="T6" fmla="*/ 1 w 49"/>
                <a:gd name="T7" fmla="*/ 48 h 49"/>
                <a:gd name="T8" fmla="*/ 49 w 49"/>
                <a:gd name="T9" fmla="*/ 49 h 49"/>
              </a:gdLst>
              <a:ahLst/>
              <a:cxnLst>
                <a:cxn ang="0">
                  <a:pos x="T0" y="T1"/>
                </a:cxn>
                <a:cxn ang="0">
                  <a:pos x="T2" y="T3"/>
                </a:cxn>
                <a:cxn ang="0">
                  <a:pos x="T4" y="T5"/>
                </a:cxn>
                <a:cxn ang="0">
                  <a:pos x="T6" y="T7"/>
                </a:cxn>
                <a:cxn ang="0">
                  <a:pos x="T8" y="T9"/>
                </a:cxn>
              </a:cxnLst>
              <a:rect l="0" t="0" r="r" b="b"/>
              <a:pathLst>
                <a:path w="49" h="49">
                  <a:moveTo>
                    <a:pt x="49" y="49"/>
                  </a:moveTo>
                  <a:cubicBezTo>
                    <a:pt x="48" y="34"/>
                    <a:pt x="46" y="19"/>
                    <a:pt x="44" y="5"/>
                  </a:cubicBezTo>
                  <a:cubicBezTo>
                    <a:pt x="30" y="3"/>
                    <a:pt x="15" y="1"/>
                    <a:pt x="0" y="0"/>
                  </a:cubicBezTo>
                  <a:cubicBezTo>
                    <a:pt x="0" y="15"/>
                    <a:pt x="1" y="31"/>
                    <a:pt x="1" y="48"/>
                  </a:cubicBezTo>
                  <a:cubicBezTo>
                    <a:pt x="18" y="48"/>
                    <a:pt x="34" y="49"/>
                    <a:pt x="49" y="49"/>
                  </a:cubicBezTo>
                  <a:close/>
                </a:path>
              </a:pathLst>
            </a:custGeom>
            <a:solidFill>
              <a:srgbClr val="F0E66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ï$1íḍè">
              <a:extLst>
                <a:ext uri="{FF2B5EF4-FFF2-40B4-BE49-F238E27FC236}">
                  <a16:creationId xmlns:a16="http://schemas.microsoft.com/office/drawing/2014/main" id="{1959A58F-6D4A-42E6-A2D1-C093ADE84D7F}"/>
                </a:ext>
              </a:extLst>
            </p:cNvPr>
            <p:cNvSpPr/>
            <p:nvPr/>
          </p:nvSpPr>
          <p:spPr bwMode="auto">
            <a:xfrm>
              <a:off x="6347792" y="1174751"/>
              <a:ext cx="491457" cy="552130"/>
            </a:xfrm>
            <a:custGeom>
              <a:avLst/>
              <a:gdLst>
                <a:gd name="T0" fmla="*/ 0 w 39"/>
                <a:gd name="T1" fmla="*/ 0 h 44"/>
                <a:gd name="T2" fmla="*/ 7 w 39"/>
                <a:gd name="T3" fmla="*/ 40 h 44"/>
                <a:gd name="T4" fmla="*/ 7 w 39"/>
                <a:gd name="T5" fmla="*/ 40 h 44"/>
                <a:gd name="T6" fmla="*/ 39 w 39"/>
                <a:gd name="T7" fmla="*/ 44 h 44"/>
                <a:gd name="T8" fmla="*/ 15 w 39"/>
                <a:gd name="T9" fmla="*/ 2 h 44"/>
                <a:gd name="T10" fmla="*/ 0 w 39"/>
                <a:gd name="T11" fmla="*/ 0 h 44"/>
              </a:gdLst>
              <a:ahLst/>
              <a:cxnLst>
                <a:cxn ang="0">
                  <a:pos x="T0" y="T1"/>
                </a:cxn>
                <a:cxn ang="0">
                  <a:pos x="T2" y="T3"/>
                </a:cxn>
                <a:cxn ang="0">
                  <a:pos x="T4" y="T5"/>
                </a:cxn>
                <a:cxn ang="0">
                  <a:pos x="T6" y="T7"/>
                </a:cxn>
                <a:cxn ang="0">
                  <a:pos x="T8" y="T9"/>
                </a:cxn>
                <a:cxn ang="0">
                  <a:pos x="T10" y="T11"/>
                </a:cxn>
              </a:cxnLst>
              <a:rect l="0" t="0" r="r" b="b"/>
              <a:pathLst>
                <a:path w="39" h="44">
                  <a:moveTo>
                    <a:pt x="0" y="0"/>
                  </a:moveTo>
                  <a:cubicBezTo>
                    <a:pt x="2" y="10"/>
                    <a:pt x="5" y="23"/>
                    <a:pt x="7" y="40"/>
                  </a:cubicBezTo>
                  <a:cubicBezTo>
                    <a:pt x="7" y="40"/>
                    <a:pt x="7" y="40"/>
                    <a:pt x="7" y="40"/>
                  </a:cubicBezTo>
                  <a:cubicBezTo>
                    <a:pt x="18" y="41"/>
                    <a:pt x="28" y="42"/>
                    <a:pt x="39" y="44"/>
                  </a:cubicBezTo>
                  <a:cubicBezTo>
                    <a:pt x="32" y="27"/>
                    <a:pt x="24" y="13"/>
                    <a:pt x="15" y="2"/>
                  </a:cubicBezTo>
                  <a:cubicBezTo>
                    <a:pt x="10" y="1"/>
                    <a:pt x="5" y="1"/>
                    <a:pt x="0" y="0"/>
                  </a:cubicBezTo>
                  <a:close/>
                </a:path>
              </a:pathLst>
            </a:custGeom>
            <a:solidFill>
              <a:srgbClr val="0C2C5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íṡlíḓè">
              <a:extLst>
                <a:ext uri="{FF2B5EF4-FFF2-40B4-BE49-F238E27FC236}">
                  <a16:creationId xmlns:a16="http://schemas.microsoft.com/office/drawing/2014/main" id="{71977BB2-D56C-4AED-8986-027F5274CA04}"/>
                </a:ext>
              </a:extLst>
            </p:cNvPr>
            <p:cNvSpPr/>
            <p:nvPr/>
          </p:nvSpPr>
          <p:spPr bwMode="auto">
            <a:xfrm>
              <a:off x="8022380" y="2910012"/>
              <a:ext cx="558196" cy="491457"/>
            </a:xfrm>
            <a:custGeom>
              <a:avLst/>
              <a:gdLst>
                <a:gd name="T0" fmla="*/ 0 w 44"/>
                <a:gd name="T1" fmla="*/ 0 h 39"/>
                <a:gd name="T2" fmla="*/ 4 w 44"/>
                <a:gd name="T3" fmla="*/ 32 h 39"/>
                <a:gd name="T4" fmla="*/ 4 w 44"/>
                <a:gd name="T5" fmla="*/ 32 h 39"/>
                <a:gd name="T6" fmla="*/ 44 w 44"/>
                <a:gd name="T7" fmla="*/ 39 h 39"/>
                <a:gd name="T8" fmla="*/ 42 w 44"/>
                <a:gd name="T9" fmla="*/ 24 h 39"/>
                <a:gd name="T10" fmla="*/ 0 w 44"/>
                <a:gd name="T11" fmla="*/ 0 h 39"/>
              </a:gdLst>
              <a:ahLst/>
              <a:cxnLst>
                <a:cxn ang="0">
                  <a:pos x="T0" y="T1"/>
                </a:cxn>
                <a:cxn ang="0">
                  <a:pos x="T2" y="T3"/>
                </a:cxn>
                <a:cxn ang="0">
                  <a:pos x="T4" y="T5"/>
                </a:cxn>
                <a:cxn ang="0">
                  <a:pos x="T6" y="T7"/>
                </a:cxn>
                <a:cxn ang="0">
                  <a:pos x="T8" y="T9"/>
                </a:cxn>
                <a:cxn ang="0">
                  <a:pos x="T10" y="T11"/>
                </a:cxn>
              </a:cxnLst>
              <a:rect l="0" t="0" r="r" b="b"/>
              <a:pathLst>
                <a:path w="44" h="39">
                  <a:moveTo>
                    <a:pt x="0" y="0"/>
                  </a:moveTo>
                  <a:cubicBezTo>
                    <a:pt x="2" y="11"/>
                    <a:pt x="3" y="21"/>
                    <a:pt x="4" y="32"/>
                  </a:cubicBezTo>
                  <a:cubicBezTo>
                    <a:pt x="4" y="32"/>
                    <a:pt x="4" y="32"/>
                    <a:pt x="4" y="32"/>
                  </a:cubicBezTo>
                  <a:cubicBezTo>
                    <a:pt x="21" y="34"/>
                    <a:pt x="34" y="37"/>
                    <a:pt x="44" y="39"/>
                  </a:cubicBezTo>
                  <a:cubicBezTo>
                    <a:pt x="43" y="34"/>
                    <a:pt x="43" y="29"/>
                    <a:pt x="42" y="24"/>
                  </a:cubicBezTo>
                  <a:cubicBezTo>
                    <a:pt x="31" y="15"/>
                    <a:pt x="17" y="7"/>
                    <a:pt x="0" y="0"/>
                  </a:cubicBezTo>
                  <a:close/>
                </a:path>
              </a:pathLst>
            </a:custGeom>
            <a:solidFill>
              <a:srgbClr val="FF9A1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iŝḻíḍè">
              <a:extLst>
                <a:ext uri="{FF2B5EF4-FFF2-40B4-BE49-F238E27FC236}">
                  <a16:creationId xmlns:a16="http://schemas.microsoft.com/office/drawing/2014/main" id="{3727F55D-AF23-4549-A1F1-FA5337E5951A}"/>
                </a:ext>
              </a:extLst>
            </p:cNvPr>
            <p:cNvSpPr/>
            <p:nvPr/>
          </p:nvSpPr>
          <p:spPr bwMode="auto">
            <a:xfrm>
              <a:off x="8089122" y="3462139"/>
              <a:ext cx="503592" cy="394379"/>
            </a:xfrm>
            <a:custGeom>
              <a:avLst/>
              <a:gdLst>
                <a:gd name="T0" fmla="*/ 39 w 40"/>
                <a:gd name="T1" fmla="*/ 23 h 31"/>
                <a:gd name="T2" fmla="*/ 40 w 40"/>
                <a:gd name="T3" fmla="*/ 15 h 31"/>
                <a:gd name="T4" fmla="*/ 39 w 40"/>
                <a:gd name="T5" fmla="*/ 8 h 31"/>
                <a:gd name="T6" fmla="*/ 0 w 40"/>
                <a:gd name="T7" fmla="*/ 0 h 31"/>
                <a:gd name="T8" fmla="*/ 0 w 40"/>
                <a:gd name="T9" fmla="*/ 15 h 31"/>
                <a:gd name="T10" fmla="*/ 0 w 40"/>
                <a:gd name="T11" fmla="*/ 31 h 31"/>
                <a:gd name="T12" fmla="*/ 39 w 40"/>
                <a:gd name="T13" fmla="*/ 23 h 31"/>
              </a:gdLst>
              <a:ahLst/>
              <a:cxnLst>
                <a:cxn ang="0">
                  <a:pos x="T0" y="T1"/>
                </a:cxn>
                <a:cxn ang="0">
                  <a:pos x="T2" y="T3"/>
                </a:cxn>
                <a:cxn ang="0">
                  <a:pos x="T4" y="T5"/>
                </a:cxn>
                <a:cxn ang="0">
                  <a:pos x="T6" y="T7"/>
                </a:cxn>
                <a:cxn ang="0">
                  <a:pos x="T8" y="T9"/>
                </a:cxn>
                <a:cxn ang="0">
                  <a:pos x="T10" y="T11"/>
                </a:cxn>
                <a:cxn ang="0">
                  <a:pos x="T12" y="T13"/>
                </a:cxn>
              </a:cxnLst>
              <a:rect l="0" t="0" r="r" b="b"/>
              <a:pathLst>
                <a:path w="40" h="31">
                  <a:moveTo>
                    <a:pt x="39" y="23"/>
                  </a:moveTo>
                  <a:cubicBezTo>
                    <a:pt x="39" y="20"/>
                    <a:pt x="40" y="18"/>
                    <a:pt x="40" y="15"/>
                  </a:cubicBezTo>
                  <a:cubicBezTo>
                    <a:pt x="40" y="13"/>
                    <a:pt x="39" y="10"/>
                    <a:pt x="39" y="8"/>
                  </a:cubicBezTo>
                  <a:cubicBezTo>
                    <a:pt x="31" y="5"/>
                    <a:pt x="18" y="2"/>
                    <a:pt x="0" y="0"/>
                  </a:cubicBezTo>
                  <a:cubicBezTo>
                    <a:pt x="0" y="5"/>
                    <a:pt x="0" y="10"/>
                    <a:pt x="0" y="15"/>
                  </a:cubicBezTo>
                  <a:cubicBezTo>
                    <a:pt x="0" y="20"/>
                    <a:pt x="0" y="25"/>
                    <a:pt x="0" y="31"/>
                  </a:cubicBezTo>
                  <a:cubicBezTo>
                    <a:pt x="18" y="28"/>
                    <a:pt x="31" y="25"/>
                    <a:pt x="39" y="23"/>
                  </a:cubicBezTo>
                  <a:close/>
                </a:path>
              </a:pathLst>
            </a:custGeom>
            <a:solidFill>
              <a:srgbClr val="61C3C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iślídè">
              <a:extLst>
                <a:ext uri="{FF2B5EF4-FFF2-40B4-BE49-F238E27FC236}">
                  <a16:creationId xmlns:a16="http://schemas.microsoft.com/office/drawing/2014/main" id="{71DA5A6F-F919-47BD-A6C4-93C461760336}"/>
                </a:ext>
              </a:extLst>
            </p:cNvPr>
            <p:cNvSpPr/>
            <p:nvPr/>
          </p:nvSpPr>
          <p:spPr bwMode="auto">
            <a:xfrm>
              <a:off x="8022380" y="3905057"/>
              <a:ext cx="558196" cy="491457"/>
            </a:xfrm>
            <a:custGeom>
              <a:avLst/>
              <a:gdLst>
                <a:gd name="T0" fmla="*/ 42 w 44"/>
                <a:gd name="T1" fmla="*/ 16 h 39"/>
                <a:gd name="T2" fmla="*/ 44 w 44"/>
                <a:gd name="T3" fmla="*/ 0 h 39"/>
                <a:gd name="T4" fmla="*/ 4 w 44"/>
                <a:gd name="T5" fmla="*/ 7 h 39"/>
                <a:gd name="T6" fmla="*/ 4 w 44"/>
                <a:gd name="T7" fmla="*/ 7 h 39"/>
                <a:gd name="T8" fmla="*/ 0 w 44"/>
                <a:gd name="T9" fmla="*/ 39 h 39"/>
                <a:gd name="T10" fmla="*/ 42 w 44"/>
                <a:gd name="T11" fmla="*/ 16 h 39"/>
              </a:gdLst>
              <a:ahLst/>
              <a:cxnLst>
                <a:cxn ang="0">
                  <a:pos x="T0" y="T1"/>
                </a:cxn>
                <a:cxn ang="0">
                  <a:pos x="T2" y="T3"/>
                </a:cxn>
                <a:cxn ang="0">
                  <a:pos x="T4" y="T5"/>
                </a:cxn>
                <a:cxn ang="0">
                  <a:pos x="T6" y="T7"/>
                </a:cxn>
                <a:cxn ang="0">
                  <a:pos x="T8" y="T9"/>
                </a:cxn>
                <a:cxn ang="0">
                  <a:pos x="T10" y="T11"/>
                </a:cxn>
              </a:cxnLst>
              <a:rect l="0" t="0" r="r" b="b"/>
              <a:pathLst>
                <a:path w="44" h="39">
                  <a:moveTo>
                    <a:pt x="42" y="16"/>
                  </a:moveTo>
                  <a:cubicBezTo>
                    <a:pt x="43" y="11"/>
                    <a:pt x="43" y="5"/>
                    <a:pt x="44" y="0"/>
                  </a:cubicBezTo>
                  <a:cubicBezTo>
                    <a:pt x="34" y="3"/>
                    <a:pt x="21" y="5"/>
                    <a:pt x="4" y="7"/>
                  </a:cubicBezTo>
                  <a:cubicBezTo>
                    <a:pt x="4" y="7"/>
                    <a:pt x="4" y="7"/>
                    <a:pt x="4" y="7"/>
                  </a:cubicBezTo>
                  <a:cubicBezTo>
                    <a:pt x="3" y="18"/>
                    <a:pt x="2" y="29"/>
                    <a:pt x="0" y="39"/>
                  </a:cubicBezTo>
                  <a:cubicBezTo>
                    <a:pt x="17" y="32"/>
                    <a:pt x="31" y="24"/>
                    <a:pt x="42" y="16"/>
                  </a:cubicBezTo>
                  <a:close/>
                </a:path>
              </a:pathLst>
            </a:custGeom>
            <a:solidFill>
              <a:srgbClr val="0C2C5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íṩļíḋê">
              <a:extLst>
                <a:ext uri="{FF2B5EF4-FFF2-40B4-BE49-F238E27FC236}">
                  <a16:creationId xmlns:a16="http://schemas.microsoft.com/office/drawing/2014/main" id="{202CD35C-8258-4CAA-894C-0B340FEC8007}"/>
                </a:ext>
              </a:extLst>
            </p:cNvPr>
            <p:cNvSpPr/>
            <p:nvPr/>
          </p:nvSpPr>
          <p:spPr bwMode="auto">
            <a:xfrm>
              <a:off x="6347792" y="5579644"/>
              <a:ext cx="491457" cy="558196"/>
            </a:xfrm>
            <a:custGeom>
              <a:avLst/>
              <a:gdLst>
                <a:gd name="T0" fmla="*/ 7 w 39"/>
                <a:gd name="T1" fmla="*/ 4 h 44"/>
                <a:gd name="T2" fmla="*/ 7 w 39"/>
                <a:gd name="T3" fmla="*/ 5 h 44"/>
                <a:gd name="T4" fmla="*/ 0 w 39"/>
                <a:gd name="T5" fmla="*/ 44 h 44"/>
                <a:gd name="T6" fmla="*/ 15 w 39"/>
                <a:gd name="T7" fmla="*/ 42 h 44"/>
                <a:gd name="T8" fmla="*/ 39 w 39"/>
                <a:gd name="T9" fmla="*/ 0 h 44"/>
                <a:gd name="T10" fmla="*/ 7 w 39"/>
                <a:gd name="T11" fmla="*/ 4 h 44"/>
              </a:gdLst>
              <a:ahLst/>
              <a:cxnLst>
                <a:cxn ang="0">
                  <a:pos x="T0" y="T1"/>
                </a:cxn>
                <a:cxn ang="0">
                  <a:pos x="T2" y="T3"/>
                </a:cxn>
                <a:cxn ang="0">
                  <a:pos x="T4" y="T5"/>
                </a:cxn>
                <a:cxn ang="0">
                  <a:pos x="T6" y="T7"/>
                </a:cxn>
                <a:cxn ang="0">
                  <a:pos x="T8" y="T9"/>
                </a:cxn>
                <a:cxn ang="0">
                  <a:pos x="T10" y="T11"/>
                </a:cxn>
              </a:cxnLst>
              <a:rect l="0" t="0" r="r" b="b"/>
              <a:pathLst>
                <a:path w="39" h="44">
                  <a:moveTo>
                    <a:pt x="7" y="4"/>
                  </a:moveTo>
                  <a:cubicBezTo>
                    <a:pt x="7" y="5"/>
                    <a:pt x="7" y="5"/>
                    <a:pt x="7" y="5"/>
                  </a:cubicBezTo>
                  <a:cubicBezTo>
                    <a:pt x="5" y="22"/>
                    <a:pt x="2" y="34"/>
                    <a:pt x="0" y="44"/>
                  </a:cubicBezTo>
                  <a:cubicBezTo>
                    <a:pt x="5" y="44"/>
                    <a:pt x="10" y="43"/>
                    <a:pt x="15" y="42"/>
                  </a:cubicBezTo>
                  <a:cubicBezTo>
                    <a:pt x="24" y="32"/>
                    <a:pt x="32" y="17"/>
                    <a:pt x="39" y="0"/>
                  </a:cubicBezTo>
                  <a:cubicBezTo>
                    <a:pt x="28" y="2"/>
                    <a:pt x="18" y="3"/>
                    <a:pt x="7" y="4"/>
                  </a:cubicBezTo>
                  <a:close/>
                </a:path>
              </a:pathLst>
            </a:custGeom>
            <a:solidFill>
              <a:srgbClr val="0C2C5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şḻïďê">
              <a:extLst>
                <a:ext uri="{FF2B5EF4-FFF2-40B4-BE49-F238E27FC236}">
                  <a16:creationId xmlns:a16="http://schemas.microsoft.com/office/drawing/2014/main" id="{61EC5FDC-1C15-4936-A375-04B79EF568EB}"/>
                </a:ext>
              </a:extLst>
            </p:cNvPr>
            <p:cNvSpPr/>
            <p:nvPr/>
          </p:nvSpPr>
          <p:spPr bwMode="auto">
            <a:xfrm>
              <a:off x="5892743" y="5646383"/>
              <a:ext cx="388310" cy="503592"/>
            </a:xfrm>
            <a:custGeom>
              <a:avLst/>
              <a:gdLst>
                <a:gd name="T0" fmla="*/ 31 w 31"/>
                <a:gd name="T1" fmla="*/ 0 h 40"/>
                <a:gd name="T2" fmla="*/ 16 w 31"/>
                <a:gd name="T3" fmla="*/ 1 h 40"/>
                <a:gd name="T4" fmla="*/ 0 w 31"/>
                <a:gd name="T5" fmla="*/ 0 h 40"/>
                <a:gd name="T6" fmla="*/ 8 w 31"/>
                <a:gd name="T7" fmla="*/ 40 h 40"/>
                <a:gd name="T8" fmla="*/ 16 w 31"/>
                <a:gd name="T9" fmla="*/ 40 h 40"/>
                <a:gd name="T10" fmla="*/ 24 w 31"/>
                <a:gd name="T11" fmla="*/ 40 h 40"/>
                <a:gd name="T12" fmla="*/ 31 w 31"/>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31" h="40">
                  <a:moveTo>
                    <a:pt x="31" y="0"/>
                  </a:moveTo>
                  <a:cubicBezTo>
                    <a:pt x="26" y="0"/>
                    <a:pt x="21" y="1"/>
                    <a:pt x="16" y="1"/>
                  </a:cubicBezTo>
                  <a:cubicBezTo>
                    <a:pt x="11" y="1"/>
                    <a:pt x="6" y="0"/>
                    <a:pt x="0" y="0"/>
                  </a:cubicBezTo>
                  <a:cubicBezTo>
                    <a:pt x="3" y="18"/>
                    <a:pt x="6" y="31"/>
                    <a:pt x="8" y="40"/>
                  </a:cubicBezTo>
                  <a:cubicBezTo>
                    <a:pt x="11" y="40"/>
                    <a:pt x="13" y="40"/>
                    <a:pt x="16" y="40"/>
                  </a:cubicBezTo>
                  <a:cubicBezTo>
                    <a:pt x="18" y="40"/>
                    <a:pt x="21" y="40"/>
                    <a:pt x="24" y="40"/>
                  </a:cubicBezTo>
                  <a:cubicBezTo>
                    <a:pt x="26" y="31"/>
                    <a:pt x="29" y="18"/>
                    <a:pt x="31" y="0"/>
                  </a:cubicBezTo>
                  <a:close/>
                </a:path>
              </a:pathLst>
            </a:custGeom>
            <a:solidFill>
              <a:srgbClr val="FF9A1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íṡľiḍé">
              <a:extLst>
                <a:ext uri="{FF2B5EF4-FFF2-40B4-BE49-F238E27FC236}">
                  <a16:creationId xmlns:a16="http://schemas.microsoft.com/office/drawing/2014/main" id="{9F743EBA-F1EC-4CD2-AA67-8E4D19534DE8}"/>
                </a:ext>
              </a:extLst>
            </p:cNvPr>
            <p:cNvSpPr/>
            <p:nvPr/>
          </p:nvSpPr>
          <p:spPr bwMode="auto">
            <a:xfrm>
              <a:off x="5352747" y="5579644"/>
              <a:ext cx="491457" cy="558196"/>
            </a:xfrm>
            <a:custGeom>
              <a:avLst/>
              <a:gdLst>
                <a:gd name="T0" fmla="*/ 39 w 39"/>
                <a:gd name="T1" fmla="*/ 44 h 44"/>
                <a:gd name="T2" fmla="*/ 32 w 39"/>
                <a:gd name="T3" fmla="*/ 5 h 44"/>
                <a:gd name="T4" fmla="*/ 32 w 39"/>
                <a:gd name="T5" fmla="*/ 4 h 44"/>
                <a:gd name="T6" fmla="*/ 0 w 39"/>
                <a:gd name="T7" fmla="*/ 0 h 44"/>
                <a:gd name="T8" fmla="*/ 23 w 39"/>
                <a:gd name="T9" fmla="*/ 42 h 44"/>
                <a:gd name="T10" fmla="*/ 39 w 39"/>
                <a:gd name="T11" fmla="*/ 44 h 44"/>
              </a:gdLst>
              <a:ahLst/>
              <a:cxnLst>
                <a:cxn ang="0">
                  <a:pos x="T0" y="T1"/>
                </a:cxn>
                <a:cxn ang="0">
                  <a:pos x="T2" y="T3"/>
                </a:cxn>
                <a:cxn ang="0">
                  <a:pos x="T4" y="T5"/>
                </a:cxn>
                <a:cxn ang="0">
                  <a:pos x="T6" y="T7"/>
                </a:cxn>
                <a:cxn ang="0">
                  <a:pos x="T8" y="T9"/>
                </a:cxn>
                <a:cxn ang="0">
                  <a:pos x="T10" y="T11"/>
                </a:cxn>
              </a:cxnLst>
              <a:rect l="0" t="0" r="r" b="b"/>
              <a:pathLst>
                <a:path w="39" h="44">
                  <a:moveTo>
                    <a:pt x="39" y="44"/>
                  </a:moveTo>
                  <a:cubicBezTo>
                    <a:pt x="36" y="34"/>
                    <a:pt x="34" y="22"/>
                    <a:pt x="32" y="5"/>
                  </a:cubicBezTo>
                  <a:cubicBezTo>
                    <a:pt x="32" y="4"/>
                    <a:pt x="32" y="4"/>
                    <a:pt x="32" y="4"/>
                  </a:cubicBezTo>
                  <a:cubicBezTo>
                    <a:pt x="21" y="3"/>
                    <a:pt x="10" y="2"/>
                    <a:pt x="0" y="0"/>
                  </a:cubicBezTo>
                  <a:cubicBezTo>
                    <a:pt x="7" y="17"/>
                    <a:pt x="15" y="32"/>
                    <a:pt x="23" y="42"/>
                  </a:cubicBezTo>
                  <a:cubicBezTo>
                    <a:pt x="28" y="43"/>
                    <a:pt x="34" y="44"/>
                    <a:pt x="39" y="44"/>
                  </a:cubicBezTo>
                  <a:close/>
                </a:path>
              </a:pathLst>
            </a:custGeom>
            <a:solidFill>
              <a:srgbClr val="0C2C5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ísḷiďé">
              <a:extLst>
                <a:ext uri="{FF2B5EF4-FFF2-40B4-BE49-F238E27FC236}">
                  <a16:creationId xmlns:a16="http://schemas.microsoft.com/office/drawing/2014/main" id="{79FF5512-6044-4EAD-98F9-A7431FE48751}"/>
                </a:ext>
              </a:extLst>
            </p:cNvPr>
            <p:cNvSpPr/>
            <p:nvPr/>
          </p:nvSpPr>
          <p:spPr bwMode="auto">
            <a:xfrm>
              <a:off x="6748237" y="5379420"/>
              <a:ext cx="770555" cy="691677"/>
            </a:xfrm>
            <a:custGeom>
              <a:avLst/>
              <a:gdLst>
                <a:gd name="T0" fmla="*/ 20 w 61"/>
                <a:gd name="T1" fmla="*/ 13 h 55"/>
                <a:gd name="T2" fmla="*/ 0 w 61"/>
                <a:gd name="T3" fmla="*/ 55 h 55"/>
                <a:gd name="T4" fmla="*/ 23 w 61"/>
                <a:gd name="T5" fmla="*/ 48 h 55"/>
                <a:gd name="T6" fmla="*/ 61 w 61"/>
                <a:gd name="T7" fmla="*/ 0 h 55"/>
                <a:gd name="T8" fmla="*/ 20 w 61"/>
                <a:gd name="T9" fmla="*/ 13 h 55"/>
              </a:gdLst>
              <a:ahLst/>
              <a:cxnLst>
                <a:cxn ang="0">
                  <a:pos x="T0" y="T1"/>
                </a:cxn>
                <a:cxn ang="0">
                  <a:pos x="T2" y="T3"/>
                </a:cxn>
                <a:cxn ang="0">
                  <a:pos x="T4" y="T5"/>
                </a:cxn>
                <a:cxn ang="0">
                  <a:pos x="T6" y="T7"/>
                </a:cxn>
                <a:cxn ang="0">
                  <a:pos x="T8" y="T9"/>
                </a:cxn>
              </a:cxnLst>
              <a:rect l="0" t="0" r="r" b="b"/>
              <a:pathLst>
                <a:path w="61" h="55">
                  <a:moveTo>
                    <a:pt x="20" y="13"/>
                  </a:moveTo>
                  <a:cubicBezTo>
                    <a:pt x="15" y="29"/>
                    <a:pt x="8" y="43"/>
                    <a:pt x="0" y="55"/>
                  </a:cubicBezTo>
                  <a:cubicBezTo>
                    <a:pt x="8" y="53"/>
                    <a:pt x="16" y="51"/>
                    <a:pt x="23" y="48"/>
                  </a:cubicBezTo>
                  <a:cubicBezTo>
                    <a:pt x="38" y="36"/>
                    <a:pt x="50" y="19"/>
                    <a:pt x="61" y="0"/>
                  </a:cubicBezTo>
                  <a:cubicBezTo>
                    <a:pt x="48" y="6"/>
                    <a:pt x="35" y="10"/>
                    <a:pt x="20" y="13"/>
                  </a:cubicBezTo>
                  <a:close/>
                </a:path>
              </a:pathLst>
            </a:custGeom>
            <a:solidFill>
              <a:srgbClr val="0C2C5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ïślïďe">
              <a:extLst>
                <a:ext uri="{FF2B5EF4-FFF2-40B4-BE49-F238E27FC236}">
                  <a16:creationId xmlns:a16="http://schemas.microsoft.com/office/drawing/2014/main" id="{E1E57824-1AD0-4DE2-9982-3E93F2E26C8A}"/>
                </a:ext>
              </a:extLst>
            </p:cNvPr>
            <p:cNvSpPr/>
            <p:nvPr/>
          </p:nvSpPr>
          <p:spPr bwMode="auto">
            <a:xfrm>
              <a:off x="7822159" y="2230469"/>
              <a:ext cx="691677" cy="770555"/>
            </a:xfrm>
            <a:custGeom>
              <a:avLst/>
              <a:gdLst>
                <a:gd name="T0" fmla="*/ 0 w 55"/>
                <a:gd name="T1" fmla="*/ 0 h 61"/>
                <a:gd name="T2" fmla="*/ 13 w 55"/>
                <a:gd name="T3" fmla="*/ 41 h 61"/>
                <a:gd name="T4" fmla="*/ 55 w 55"/>
                <a:gd name="T5" fmla="*/ 61 h 61"/>
                <a:gd name="T6" fmla="*/ 48 w 55"/>
                <a:gd name="T7" fmla="*/ 38 h 61"/>
                <a:gd name="T8" fmla="*/ 0 w 55"/>
                <a:gd name="T9" fmla="*/ 0 h 61"/>
              </a:gdLst>
              <a:ahLst/>
              <a:cxnLst>
                <a:cxn ang="0">
                  <a:pos x="T0" y="T1"/>
                </a:cxn>
                <a:cxn ang="0">
                  <a:pos x="T2" y="T3"/>
                </a:cxn>
                <a:cxn ang="0">
                  <a:pos x="T4" y="T5"/>
                </a:cxn>
                <a:cxn ang="0">
                  <a:pos x="T6" y="T7"/>
                </a:cxn>
                <a:cxn ang="0">
                  <a:pos x="T8" y="T9"/>
                </a:cxn>
              </a:cxnLst>
              <a:rect l="0" t="0" r="r" b="b"/>
              <a:pathLst>
                <a:path w="55" h="61">
                  <a:moveTo>
                    <a:pt x="0" y="0"/>
                  </a:moveTo>
                  <a:cubicBezTo>
                    <a:pt x="5" y="13"/>
                    <a:pt x="9" y="26"/>
                    <a:pt x="13" y="41"/>
                  </a:cubicBezTo>
                  <a:cubicBezTo>
                    <a:pt x="29" y="47"/>
                    <a:pt x="43" y="53"/>
                    <a:pt x="55" y="61"/>
                  </a:cubicBezTo>
                  <a:cubicBezTo>
                    <a:pt x="53" y="53"/>
                    <a:pt x="51" y="45"/>
                    <a:pt x="48" y="38"/>
                  </a:cubicBezTo>
                  <a:cubicBezTo>
                    <a:pt x="35" y="23"/>
                    <a:pt x="19" y="11"/>
                    <a:pt x="0" y="0"/>
                  </a:cubicBezTo>
                  <a:close/>
                </a:path>
              </a:pathLst>
            </a:custGeom>
            <a:solidFill>
              <a:srgbClr val="0C2C5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iṣ1îďe">
              <a:extLst>
                <a:ext uri="{FF2B5EF4-FFF2-40B4-BE49-F238E27FC236}">
                  <a16:creationId xmlns:a16="http://schemas.microsoft.com/office/drawing/2014/main" id="{40049E4F-7566-47D1-A8F3-D7864BDA7967}"/>
                </a:ext>
              </a:extLst>
            </p:cNvPr>
            <p:cNvSpPr/>
            <p:nvPr/>
          </p:nvSpPr>
          <p:spPr bwMode="auto">
            <a:xfrm>
              <a:off x="4667139" y="5379420"/>
              <a:ext cx="770555" cy="691677"/>
            </a:xfrm>
            <a:custGeom>
              <a:avLst/>
              <a:gdLst>
                <a:gd name="T0" fmla="*/ 61 w 61"/>
                <a:gd name="T1" fmla="*/ 55 h 55"/>
                <a:gd name="T2" fmla="*/ 40 w 61"/>
                <a:gd name="T3" fmla="*/ 13 h 55"/>
                <a:gd name="T4" fmla="*/ 0 w 61"/>
                <a:gd name="T5" fmla="*/ 0 h 55"/>
                <a:gd name="T6" fmla="*/ 37 w 61"/>
                <a:gd name="T7" fmla="*/ 48 h 55"/>
                <a:gd name="T8" fmla="*/ 61 w 61"/>
                <a:gd name="T9" fmla="*/ 55 h 55"/>
              </a:gdLst>
              <a:ahLst/>
              <a:cxnLst>
                <a:cxn ang="0">
                  <a:pos x="T0" y="T1"/>
                </a:cxn>
                <a:cxn ang="0">
                  <a:pos x="T2" y="T3"/>
                </a:cxn>
                <a:cxn ang="0">
                  <a:pos x="T4" y="T5"/>
                </a:cxn>
                <a:cxn ang="0">
                  <a:pos x="T6" y="T7"/>
                </a:cxn>
                <a:cxn ang="0">
                  <a:pos x="T8" y="T9"/>
                </a:cxn>
              </a:cxnLst>
              <a:rect l="0" t="0" r="r" b="b"/>
              <a:pathLst>
                <a:path w="61" h="55">
                  <a:moveTo>
                    <a:pt x="61" y="55"/>
                  </a:moveTo>
                  <a:cubicBezTo>
                    <a:pt x="53" y="43"/>
                    <a:pt x="46" y="29"/>
                    <a:pt x="40" y="13"/>
                  </a:cubicBezTo>
                  <a:cubicBezTo>
                    <a:pt x="26" y="10"/>
                    <a:pt x="12" y="6"/>
                    <a:pt x="0" y="0"/>
                  </a:cubicBezTo>
                  <a:cubicBezTo>
                    <a:pt x="10" y="19"/>
                    <a:pt x="23" y="36"/>
                    <a:pt x="37" y="48"/>
                  </a:cubicBezTo>
                  <a:cubicBezTo>
                    <a:pt x="45" y="51"/>
                    <a:pt x="53" y="53"/>
                    <a:pt x="61" y="55"/>
                  </a:cubicBezTo>
                  <a:close/>
                </a:path>
              </a:pathLst>
            </a:custGeom>
            <a:solidFill>
              <a:srgbClr val="FF9A1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îs1ídê">
              <a:extLst>
                <a:ext uri="{FF2B5EF4-FFF2-40B4-BE49-F238E27FC236}">
                  <a16:creationId xmlns:a16="http://schemas.microsoft.com/office/drawing/2014/main" id="{92DCA9EB-B0E7-4AA1-98AF-FD2FB8F12D69}"/>
                </a:ext>
              </a:extLst>
            </p:cNvPr>
            <p:cNvSpPr/>
            <p:nvPr/>
          </p:nvSpPr>
          <p:spPr bwMode="auto">
            <a:xfrm>
              <a:off x="3611421" y="2910012"/>
              <a:ext cx="552130" cy="491457"/>
            </a:xfrm>
            <a:custGeom>
              <a:avLst/>
              <a:gdLst>
                <a:gd name="T0" fmla="*/ 2 w 44"/>
                <a:gd name="T1" fmla="*/ 24 h 39"/>
                <a:gd name="T2" fmla="*/ 0 w 44"/>
                <a:gd name="T3" fmla="*/ 39 h 39"/>
                <a:gd name="T4" fmla="*/ 39 w 44"/>
                <a:gd name="T5" fmla="*/ 32 h 39"/>
                <a:gd name="T6" fmla="*/ 40 w 44"/>
                <a:gd name="T7" fmla="*/ 32 h 39"/>
                <a:gd name="T8" fmla="*/ 44 w 44"/>
                <a:gd name="T9" fmla="*/ 0 h 39"/>
                <a:gd name="T10" fmla="*/ 2 w 44"/>
                <a:gd name="T11" fmla="*/ 24 h 39"/>
              </a:gdLst>
              <a:ahLst/>
              <a:cxnLst>
                <a:cxn ang="0">
                  <a:pos x="T0" y="T1"/>
                </a:cxn>
                <a:cxn ang="0">
                  <a:pos x="T2" y="T3"/>
                </a:cxn>
                <a:cxn ang="0">
                  <a:pos x="T4" y="T5"/>
                </a:cxn>
                <a:cxn ang="0">
                  <a:pos x="T6" y="T7"/>
                </a:cxn>
                <a:cxn ang="0">
                  <a:pos x="T8" y="T9"/>
                </a:cxn>
                <a:cxn ang="0">
                  <a:pos x="T10" y="T11"/>
                </a:cxn>
              </a:cxnLst>
              <a:rect l="0" t="0" r="r" b="b"/>
              <a:pathLst>
                <a:path w="44" h="39">
                  <a:moveTo>
                    <a:pt x="2" y="24"/>
                  </a:moveTo>
                  <a:cubicBezTo>
                    <a:pt x="1" y="29"/>
                    <a:pt x="0" y="34"/>
                    <a:pt x="0" y="39"/>
                  </a:cubicBezTo>
                  <a:cubicBezTo>
                    <a:pt x="10" y="37"/>
                    <a:pt x="23" y="34"/>
                    <a:pt x="39" y="32"/>
                  </a:cubicBezTo>
                  <a:cubicBezTo>
                    <a:pt x="40" y="32"/>
                    <a:pt x="40" y="32"/>
                    <a:pt x="40" y="32"/>
                  </a:cubicBezTo>
                  <a:cubicBezTo>
                    <a:pt x="41" y="21"/>
                    <a:pt x="42" y="11"/>
                    <a:pt x="44" y="0"/>
                  </a:cubicBezTo>
                  <a:cubicBezTo>
                    <a:pt x="27" y="7"/>
                    <a:pt x="12" y="15"/>
                    <a:pt x="2" y="24"/>
                  </a:cubicBezTo>
                  <a:close/>
                </a:path>
              </a:pathLst>
            </a:custGeom>
            <a:solidFill>
              <a:srgbClr val="FF9A1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îṩḻiḋe">
              <a:extLst>
                <a:ext uri="{FF2B5EF4-FFF2-40B4-BE49-F238E27FC236}">
                  <a16:creationId xmlns:a16="http://schemas.microsoft.com/office/drawing/2014/main" id="{A4B4D81B-3408-4957-93C5-C4639CB0429A}"/>
                </a:ext>
              </a:extLst>
            </p:cNvPr>
            <p:cNvSpPr/>
            <p:nvPr/>
          </p:nvSpPr>
          <p:spPr bwMode="auto">
            <a:xfrm>
              <a:off x="3611421" y="3905057"/>
              <a:ext cx="552130" cy="491457"/>
            </a:xfrm>
            <a:custGeom>
              <a:avLst/>
              <a:gdLst>
                <a:gd name="T0" fmla="*/ 40 w 44"/>
                <a:gd name="T1" fmla="*/ 7 h 39"/>
                <a:gd name="T2" fmla="*/ 39 w 44"/>
                <a:gd name="T3" fmla="*/ 7 h 39"/>
                <a:gd name="T4" fmla="*/ 0 w 44"/>
                <a:gd name="T5" fmla="*/ 0 h 39"/>
                <a:gd name="T6" fmla="*/ 2 w 44"/>
                <a:gd name="T7" fmla="*/ 16 h 39"/>
                <a:gd name="T8" fmla="*/ 44 w 44"/>
                <a:gd name="T9" fmla="*/ 39 h 39"/>
                <a:gd name="T10" fmla="*/ 40 w 44"/>
                <a:gd name="T11" fmla="*/ 7 h 39"/>
              </a:gdLst>
              <a:ahLst/>
              <a:cxnLst>
                <a:cxn ang="0">
                  <a:pos x="T0" y="T1"/>
                </a:cxn>
                <a:cxn ang="0">
                  <a:pos x="T2" y="T3"/>
                </a:cxn>
                <a:cxn ang="0">
                  <a:pos x="T4" y="T5"/>
                </a:cxn>
                <a:cxn ang="0">
                  <a:pos x="T6" y="T7"/>
                </a:cxn>
                <a:cxn ang="0">
                  <a:pos x="T8" y="T9"/>
                </a:cxn>
                <a:cxn ang="0">
                  <a:pos x="T10" y="T11"/>
                </a:cxn>
              </a:cxnLst>
              <a:rect l="0" t="0" r="r" b="b"/>
              <a:pathLst>
                <a:path w="44" h="39">
                  <a:moveTo>
                    <a:pt x="40" y="7"/>
                  </a:moveTo>
                  <a:cubicBezTo>
                    <a:pt x="39" y="7"/>
                    <a:pt x="39" y="7"/>
                    <a:pt x="39" y="7"/>
                  </a:cubicBezTo>
                  <a:cubicBezTo>
                    <a:pt x="23" y="5"/>
                    <a:pt x="10" y="3"/>
                    <a:pt x="0" y="0"/>
                  </a:cubicBezTo>
                  <a:cubicBezTo>
                    <a:pt x="0" y="5"/>
                    <a:pt x="1" y="11"/>
                    <a:pt x="2" y="16"/>
                  </a:cubicBezTo>
                  <a:cubicBezTo>
                    <a:pt x="12" y="24"/>
                    <a:pt x="27" y="32"/>
                    <a:pt x="44" y="39"/>
                  </a:cubicBezTo>
                  <a:cubicBezTo>
                    <a:pt x="42" y="29"/>
                    <a:pt x="41" y="18"/>
                    <a:pt x="40" y="7"/>
                  </a:cubicBezTo>
                  <a:close/>
                </a:path>
              </a:pathLst>
            </a:custGeom>
            <a:solidFill>
              <a:srgbClr val="0C2C5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Sḻîde">
              <a:extLst>
                <a:ext uri="{FF2B5EF4-FFF2-40B4-BE49-F238E27FC236}">
                  <a16:creationId xmlns:a16="http://schemas.microsoft.com/office/drawing/2014/main" id="{FE7FA0DB-0AE4-42FF-B002-9887129904DA}"/>
                </a:ext>
              </a:extLst>
            </p:cNvPr>
            <p:cNvSpPr/>
            <p:nvPr/>
          </p:nvSpPr>
          <p:spPr bwMode="auto">
            <a:xfrm>
              <a:off x="3672094" y="2230469"/>
              <a:ext cx="691677" cy="770555"/>
            </a:xfrm>
            <a:custGeom>
              <a:avLst/>
              <a:gdLst>
                <a:gd name="T0" fmla="*/ 7 w 55"/>
                <a:gd name="T1" fmla="*/ 38 h 61"/>
                <a:gd name="T2" fmla="*/ 0 w 55"/>
                <a:gd name="T3" fmla="*/ 61 h 61"/>
                <a:gd name="T4" fmla="*/ 42 w 55"/>
                <a:gd name="T5" fmla="*/ 41 h 61"/>
                <a:gd name="T6" fmla="*/ 55 w 55"/>
                <a:gd name="T7" fmla="*/ 0 h 61"/>
                <a:gd name="T8" fmla="*/ 7 w 55"/>
                <a:gd name="T9" fmla="*/ 38 h 61"/>
              </a:gdLst>
              <a:ahLst/>
              <a:cxnLst>
                <a:cxn ang="0">
                  <a:pos x="T0" y="T1"/>
                </a:cxn>
                <a:cxn ang="0">
                  <a:pos x="T2" y="T3"/>
                </a:cxn>
                <a:cxn ang="0">
                  <a:pos x="T4" y="T5"/>
                </a:cxn>
                <a:cxn ang="0">
                  <a:pos x="T6" y="T7"/>
                </a:cxn>
                <a:cxn ang="0">
                  <a:pos x="T8" y="T9"/>
                </a:cxn>
              </a:cxnLst>
              <a:rect l="0" t="0" r="r" b="b"/>
              <a:pathLst>
                <a:path w="55" h="61">
                  <a:moveTo>
                    <a:pt x="7" y="38"/>
                  </a:moveTo>
                  <a:cubicBezTo>
                    <a:pt x="4" y="45"/>
                    <a:pt x="2" y="53"/>
                    <a:pt x="0" y="61"/>
                  </a:cubicBezTo>
                  <a:cubicBezTo>
                    <a:pt x="12" y="53"/>
                    <a:pt x="26" y="47"/>
                    <a:pt x="42" y="41"/>
                  </a:cubicBezTo>
                  <a:cubicBezTo>
                    <a:pt x="45" y="26"/>
                    <a:pt x="49" y="13"/>
                    <a:pt x="55" y="0"/>
                  </a:cubicBezTo>
                  <a:cubicBezTo>
                    <a:pt x="36" y="11"/>
                    <a:pt x="19" y="23"/>
                    <a:pt x="7" y="38"/>
                  </a:cubicBezTo>
                  <a:close/>
                </a:path>
              </a:pathLst>
            </a:custGeom>
            <a:solidFill>
              <a:srgbClr val="0C2C5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ïṡľiḍe">
              <a:extLst>
                <a:ext uri="{FF2B5EF4-FFF2-40B4-BE49-F238E27FC236}">
                  <a16:creationId xmlns:a16="http://schemas.microsoft.com/office/drawing/2014/main" id="{963A5C6D-676F-40CD-BF67-D5E2B11FD47B}"/>
                </a:ext>
              </a:extLst>
            </p:cNvPr>
            <p:cNvSpPr/>
            <p:nvPr/>
          </p:nvSpPr>
          <p:spPr bwMode="auto">
            <a:xfrm>
              <a:off x="3599286" y="3462139"/>
              <a:ext cx="503592" cy="394379"/>
            </a:xfrm>
            <a:custGeom>
              <a:avLst/>
              <a:gdLst>
                <a:gd name="T0" fmla="*/ 0 w 40"/>
                <a:gd name="T1" fmla="*/ 8 h 31"/>
                <a:gd name="T2" fmla="*/ 0 w 40"/>
                <a:gd name="T3" fmla="*/ 15 h 31"/>
                <a:gd name="T4" fmla="*/ 0 w 40"/>
                <a:gd name="T5" fmla="*/ 23 h 31"/>
                <a:gd name="T6" fmla="*/ 40 w 40"/>
                <a:gd name="T7" fmla="*/ 31 h 31"/>
                <a:gd name="T8" fmla="*/ 39 w 40"/>
                <a:gd name="T9" fmla="*/ 15 h 31"/>
                <a:gd name="T10" fmla="*/ 40 w 40"/>
                <a:gd name="T11" fmla="*/ 0 h 31"/>
                <a:gd name="T12" fmla="*/ 0 w 40"/>
                <a:gd name="T13" fmla="*/ 8 h 31"/>
              </a:gdLst>
              <a:ahLst/>
              <a:cxnLst>
                <a:cxn ang="0">
                  <a:pos x="T0" y="T1"/>
                </a:cxn>
                <a:cxn ang="0">
                  <a:pos x="T2" y="T3"/>
                </a:cxn>
                <a:cxn ang="0">
                  <a:pos x="T4" y="T5"/>
                </a:cxn>
                <a:cxn ang="0">
                  <a:pos x="T6" y="T7"/>
                </a:cxn>
                <a:cxn ang="0">
                  <a:pos x="T8" y="T9"/>
                </a:cxn>
                <a:cxn ang="0">
                  <a:pos x="T10" y="T11"/>
                </a:cxn>
                <a:cxn ang="0">
                  <a:pos x="T12" y="T13"/>
                </a:cxn>
              </a:cxnLst>
              <a:rect l="0" t="0" r="r" b="b"/>
              <a:pathLst>
                <a:path w="40" h="31">
                  <a:moveTo>
                    <a:pt x="0" y="8"/>
                  </a:moveTo>
                  <a:cubicBezTo>
                    <a:pt x="0" y="10"/>
                    <a:pt x="0" y="13"/>
                    <a:pt x="0" y="15"/>
                  </a:cubicBezTo>
                  <a:cubicBezTo>
                    <a:pt x="0" y="18"/>
                    <a:pt x="0" y="20"/>
                    <a:pt x="0" y="23"/>
                  </a:cubicBezTo>
                  <a:cubicBezTo>
                    <a:pt x="9" y="25"/>
                    <a:pt x="22" y="28"/>
                    <a:pt x="40" y="31"/>
                  </a:cubicBezTo>
                  <a:cubicBezTo>
                    <a:pt x="40" y="25"/>
                    <a:pt x="39" y="20"/>
                    <a:pt x="39" y="15"/>
                  </a:cubicBezTo>
                  <a:cubicBezTo>
                    <a:pt x="39" y="10"/>
                    <a:pt x="40" y="5"/>
                    <a:pt x="40" y="0"/>
                  </a:cubicBezTo>
                  <a:cubicBezTo>
                    <a:pt x="22" y="2"/>
                    <a:pt x="9" y="5"/>
                    <a:pt x="0" y="8"/>
                  </a:cubicBezTo>
                  <a:close/>
                </a:path>
              </a:pathLst>
            </a:custGeom>
            <a:solidFill>
              <a:srgbClr val="F0E66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îṩḻîḓè">
              <a:extLst>
                <a:ext uri="{FF2B5EF4-FFF2-40B4-BE49-F238E27FC236}">
                  <a16:creationId xmlns:a16="http://schemas.microsoft.com/office/drawing/2014/main" id="{BD727693-DF2F-4A24-82D2-97F59A5DC423}"/>
                </a:ext>
              </a:extLst>
            </p:cNvPr>
            <p:cNvSpPr/>
            <p:nvPr/>
          </p:nvSpPr>
          <p:spPr bwMode="auto">
            <a:xfrm>
              <a:off x="3672094" y="4311567"/>
              <a:ext cx="691677" cy="764486"/>
            </a:xfrm>
            <a:custGeom>
              <a:avLst/>
              <a:gdLst>
                <a:gd name="T0" fmla="*/ 55 w 55"/>
                <a:gd name="T1" fmla="*/ 61 h 61"/>
                <a:gd name="T2" fmla="*/ 42 w 55"/>
                <a:gd name="T3" fmla="*/ 21 h 61"/>
                <a:gd name="T4" fmla="*/ 0 w 55"/>
                <a:gd name="T5" fmla="*/ 0 h 61"/>
                <a:gd name="T6" fmla="*/ 7 w 55"/>
                <a:gd name="T7" fmla="*/ 24 h 61"/>
                <a:gd name="T8" fmla="*/ 55 w 55"/>
                <a:gd name="T9" fmla="*/ 61 h 61"/>
              </a:gdLst>
              <a:ahLst/>
              <a:cxnLst>
                <a:cxn ang="0">
                  <a:pos x="T0" y="T1"/>
                </a:cxn>
                <a:cxn ang="0">
                  <a:pos x="T2" y="T3"/>
                </a:cxn>
                <a:cxn ang="0">
                  <a:pos x="T4" y="T5"/>
                </a:cxn>
                <a:cxn ang="0">
                  <a:pos x="T6" y="T7"/>
                </a:cxn>
                <a:cxn ang="0">
                  <a:pos x="T8" y="T9"/>
                </a:cxn>
              </a:cxnLst>
              <a:rect l="0" t="0" r="r" b="b"/>
              <a:pathLst>
                <a:path w="55" h="61">
                  <a:moveTo>
                    <a:pt x="55" y="61"/>
                  </a:moveTo>
                  <a:cubicBezTo>
                    <a:pt x="49" y="49"/>
                    <a:pt x="45" y="35"/>
                    <a:pt x="42" y="21"/>
                  </a:cubicBezTo>
                  <a:cubicBezTo>
                    <a:pt x="26" y="15"/>
                    <a:pt x="12" y="8"/>
                    <a:pt x="0" y="0"/>
                  </a:cubicBezTo>
                  <a:cubicBezTo>
                    <a:pt x="2" y="8"/>
                    <a:pt x="4" y="16"/>
                    <a:pt x="7" y="24"/>
                  </a:cubicBezTo>
                  <a:cubicBezTo>
                    <a:pt x="19" y="38"/>
                    <a:pt x="36" y="51"/>
                    <a:pt x="55" y="61"/>
                  </a:cubicBezTo>
                  <a:close/>
                </a:path>
              </a:pathLst>
            </a:custGeom>
            <a:solidFill>
              <a:srgbClr val="FF9A1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ïŝľíḍe">
              <a:extLst>
                <a:ext uri="{FF2B5EF4-FFF2-40B4-BE49-F238E27FC236}">
                  <a16:creationId xmlns:a16="http://schemas.microsoft.com/office/drawing/2014/main" id="{FBC1905A-06C5-42A6-B61A-4918D297736E}"/>
                </a:ext>
              </a:extLst>
            </p:cNvPr>
            <p:cNvSpPr/>
            <p:nvPr/>
          </p:nvSpPr>
          <p:spPr bwMode="auto">
            <a:xfrm>
              <a:off x="3890519" y="4936506"/>
              <a:ext cx="916171" cy="922237"/>
            </a:xfrm>
            <a:custGeom>
              <a:avLst/>
              <a:gdLst>
                <a:gd name="T0" fmla="*/ 73 w 73"/>
                <a:gd name="T1" fmla="*/ 73 h 73"/>
                <a:gd name="T2" fmla="*/ 45 w 73"/>
                <a:gd name="T3" fmla="*/ 28 h 73"/>
                <a:gd name="T4" fmla="*/ 0 w 73"/>
                <a:gd name="T5" fmla="*/ 0 h 73"/>
                <a:gd name="T6" fmla="*/ 1 w 73"/>
                <a:gd name="T7" fmla="*/ 0 h 73"/>
                <a:gd name="T8" fmla="*/ 73 w 73"/>
                <a:gd name="T9" fmla="*/ 72 h 73"/>
                <a:gd name="T10" fmla="*/ 73 w 73"/>
                <a:gd name="T11" fmla="*/ 73 h 73"/>
              </a:gdLst>
              <a:ahLst/>
              <a:cxnLst>
                <a:cxn ang="0">
                  <a:pos x="T0" y="T1"/>
                </a:cxn>
                <a:cxn ang="0">
                  <a:pos x="T2" y="T3"/>
                </a:cxn>
                <a:cxn ang="0">
                  <a:pos x="T4" y="T5"/>
                </a:cxn>
                <a:cxn ang="0">
                  <a:pos x="T6" y="T7"/>
                </a:cxn>
                <a:cxn ang="0">
                  <a:pos x="T8" y="T9"/>
                </a:cxn>
                <a:cxn ang="0">
                  <a:pos x="T10" y="T11"/>
                </a:cxn>
              </a:cxnLst>
              <a:rect l="0" t="0" r="r" b="b"/>
              <a:pathLst>
                <a:path w="73" h="73">
                  <a:moveTo>
                    <a:pt x="73" y="73"/>
                  </a:moveTo>
                  <a:cubicBezTo>
                    <a:pt x="63" y="60"/>
                    <a:pt x="53" y="45"/>
                    <a:pt x="45" y="28"/>
                  </a:cubicBezTo>
                  <a:cubicBezTo>
                    <a:pt x="28" y="20"/>
                    <a:pt x="13" y="10"/>
                    <a:pt x="0" y="0"/>
                  </a:cubicBezTo>
                  <a:cubicBezTo>
                    <a:pt x="1" y="0"/>
                    <a:pt x="1" y="0"/>
                    <a:pt x="1" y="0"/>
                  </a:cubicBezTo>
                  <a:cubicBezTo>
                    <a:pt x="16" y="31"/>
                    <a:pt x="42" y="57"/>
                    <a:pt x="73" y="72"/>
                  </a:cubicBezTo>
                  <a:lnTo>
                    <a:pt x="73" y="73"/>
                  </a:lnTo>
                  <a:close/>
                </a:path>
              </a:pathLst>
            </a:custGeom>
            <a:solidFill>
              <a:srgbClr val="61C3C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îş1ïḑè">
              <a:extLst>
                <a:ext uri="{FF2B5EF4-FFF2-40B4-BE49-F238E27FC236}">
                  <a16:creationId xmlns:a16="http://schemas.microsoft.com/office/drawing/2014/main" id="{2D89619E-1095-45C1-ACC1-5E304262AFC0}"/>
                </a:ext>
              </a:extLst>
            </p:cNvPr>
            <p:cNvSpPr/>
            <p:nvPr/>
          </p:nvSpPr>
          <p:spPr bwMode="auto">
            <a:xfrm>
              <a:off x="7822159" y="4311567"/>
              <a:ext cx="691677" cy="764486"/>
            </a:xfrm>
            <a:custGeom>
              <a:avLst/>
              <a:gdLst>
                <a:gd name="T0" fmla="*/ 48 w 55"/>
                <a:gd name="T1" fmla="*/ 24 h 61"/>
                <a:gd name="T2" fmla="*/ 55 w 55"/>
                <a:gd name="T3" fmla="*/ 0 h 61"/>
                <a:gd name="T4" fmla="*/ 13 w 55"/>
                <a:gd name="T5" fmla="*/ 21 h 61"/>
                <a:gd name="T6" fmla="*/ 0 w 55"/>
                <a:gd name="T7" fmla="*/ 61 h 61"/>
                <a:gd name="T8" fmla="*/ 48 w 55"/>
                <a:gd name="T9" fmla="*/ 24 h 61"/>
              </a:gdLst>
              <a:ahLst/>
              <a:cxnLst>
                <a:cxn ang="0">
                  <a:pos x="T0" y="T1"/>
                </a:cxn>
                <a:cxn ang="0">
                  <a:pos x="T2" y="T3"/>
                </a:cxn>
                <a:cxn ang="0">
                  <a:pos x="T4" y="T5"/>
                </a:cxn>
                <a:cxn ang="0">
                  <a:pos x="T6" y="T7"/>
                </a:cxn>
                <a:cxn ang="0">
                  <a:pos x="T8" y="T9"/>
                </a:cxn>
              </a:cxnLst>
              <a:rect l="0" t="0" r="r" b="b"/>
              <a:pathLst>
                <a:path w="55" h="61">
                  <a:moveTo>
                    <a:pt x="48" y="24"/>
                  </a:moveTo>
                  <a:cubicBezTo>
                    <a:pt x="51" y="16"/>
                    <a:pt x="53" y="8"/>
                    <a:pt x="55" y="0"/>
                  </a:cubicBezTo>
                  <a:cubicBezTo>
                    <a:pt x="43" y="8"/>
                    <a:pt x="29" y="15"/>
                    <a:pt x="13" y="21"/>
                  </a:cubicBezTo>
                  <a:cubicBezTo>
                    <a:pt x="9" y="35"/>
                    <a:pt x="5" y="49"/>
                    <a:pt x="0" y="61"/>
                  </a:cubicBezTo>
                  <a:cubicBezTo>
                    <a:pt x="19" y="51"/>
                    <a:pt x="35" y="38"/>
                    <a:pt x="48" y="24"/>
                  </a:cubicBezTo>
                  <a:close/>
                </a:path>
              </a:pathLst>
            </a:custGeom>
            <a:solidFill>
              <a:srgbClr val="0C2C5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îš1ídê">
              <a:extLst>
                <a:ext uri="{FF2B5EF4-FFF2-40B4-BE49-F238E27FC236}">
                  <a16:creationId xmlns:a16="http://schemas.microsoft.com/office/drawing/2014/main" id="{9F04264E-D29A-4074-931F-B1EBEE50C2B0}"/>
                </a:ext>
              </a:extLst>
            </p:cNvPr>
            <p:cNvSpPr/>
            <p:nvPr/>
          </p:nvSpPr>
          <p:spPr bwMode="auto">
            <a:xfrm>
              <a:off x="3890519" y="1459914"/>
              <a:ext cx="916171" cy="922237"/>
            </a:xfrm>
            <a:custGeom>
              <a:avLst/>
              <a:gdLst>
                <a:gd name="T0" fmla="*/ 0 w 73"/>
                <a:gd name="T1" fmla="*/ 73 h 73"/>
                <a:gd name="T2" fmla="*/ 45 w 73"/>
                <a:gd name="T3" fmla="*/ 44 h 73"/>
                <a:gd name="T4" fmla="*/ 73 w 73"/>
                <a:gd name="T5" fmla="*/ 0 h 73"/>
                <a:gd name="T6" fmla="*/ 73 w 73"/>
                <a:gd name="T7" fmla="*/ 0 h 73"/>
                <a:gd name="T8" fmla="*/ 1 w 73"/>
                <a:gd name="T9" fmla="*/ 72 h 73"/>
                <a:gd name="T10" fmla="*/ 0 w 73"/>
                <a:gd name="T11" fmla="*/ 73 h 73"/>
              </a:gdLst>
              <a:ahLst/>
              <a:cxnLst>
                <a:cxn ang="0">
                  <a:pos x="T0" y="T1"/>
                </a:cxn>
                <a:cxn ang="0">
                  <a:pos x="T2" y="T3"/>
                </a:cxn>
                <a:cxn ang="0">
                  <a:pos x="T4" y="T5"/>
                </a:cxn>
                <a:cxn ang="0">
                  <a:pos x="T6" y="T7"/>
                </a:cxn>
                <a:cxn ang="0">
                  <a:pos x="T8" y="T9"/>
                </a:cxn>
                <a:cxn ang="0">
                  <a:pos x="T10" y="T11"/>
                </a:cxn>
              </a:cxnLst>
              <a:rect l="0" t="0" r="r" b="b"/>
              <a:pathLst>
                <a:path w="73" h="73">
                  <a:moveTo>
                    <a:pt x="0" y="73"/>
                  </a:moveTo>
                  <a:cubicBezTo>
                    <a:pt x="13" y="62"/>
                    <a:pt x="28" y="52"/>
                    <a:pt x="45" y="44"/>
                  </a:cubicBezTo>
                  <a:cubicBezTo>
                    <a:pt x="53" y="28"/>
                    <a:pt x="63" y="13"/>
                    <a:pt x="73" y="0"/>
                  </a:cubicBezTo>
                  <a:cubicBezTo>
                    <a:pt x="73" y="0"/>
                    <a:pt x="73" y="0"/>
                    <a:pt x="73" y="0"/>
                  </a:cubicBezTo>
                  <a:cubicBezTo>
                    <a:pt x="42" y="15"/>
                    <a:pt x="16" y="41"/>
                    <a:pt x="1" y="72"/>
                  </a:cubicBezTo>
                  <a:lnTo>
                    <a:pt x="0" y="73"/>
                  </a:lnTo>
                  <a:close/>
                </a:path>
              </a:pathLst>
            </a:custGeom>
            <a:solidFill>
              <a:srgbClr val="FF9A1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iṡļïḓé">
              <a:extLst>
                <a:ext uri="{FF2B5EF4-FFF2-40B4-BE49-F238E27FC236}">
                  <a16:creationId xmlns:a16="http://schemas.microsoft.com/office/drawing/2014/main" id="{C7289912-362C-4622-B8D9-58B013BFD486}"/>
                </a:ext>
              </a:extLst>
            </p:cNvPr>
            <p:cNvSpPr/>
            <p:nvPr/>
          </p:nvSpPr>
          <p:spPr bwMode="auto">
            <a:xfrm>
              <a:off x="7367106" y="4936506"/>
              <a:ext cx="922237" cy="922237"/>
            </a:xfrm>
            <a:custGeom>
              <a:avLst/>
              <a:gdLst>
                <a:gd name="T0" fmla="*/ 73 w 73"/>
                <a:gd name="T1" fmla="*/ 0 h 73"/>
                <a:gd name="T2" fmla="*/ 29 w 73"/>
                <a:gd name="T3" fmla="*/ 28 h 73"/>
                <a:gd name="T4" fmla="*/ 0 w 73"/>
                <a:gd name="T5" fmla="*/ 73 h 73"/>
                <a:gd name="T6" fmla="*/ 1 w 73"/>
                <a:gd name="T7" fmla="*/ 72 h 73"/>
                <a:gd name="T8" fmla="*/ 73 w 73"/>
                <a:gd name="T9" fmla="*/ 0 h 73"/>
              </a:gdLst>
              <a:ahLst/>
              <a:cxnLst>
                <a:cxn ang="0">
                  <a:pos x="T0" y="T1"/>
                </a:cxn>
                <a:cxn ang="0">
                  <a:pos x="T2" y="T3"/>
                </a:cxn>
                <a:cxn ang="0">
                  <a:pos x="T4" y="T5"/>
                </a:cxn>
                <a:cxn ang="0">
                  <a:pos x="T6" y="T7"/>
                </a:cxn>
                <a:cxn ang="0">
                  <a:pos x="T8" y="T9"/>
                </a:cxn>
              </a:cxnLst>
              <a:rect l="0" t="0" r="r" b="b"/>
              <a:pathLst>
                <a:path w="73" h="73">
                  <a:moveTo>
                    <a:pt x="73" y="0"/>
                  </a:moveTo>
                  <a:cubicBezTo>
                    <a:pt x="60" y="10"/>
                    <a:pt x="45" y="20"/>
                    <a:pt x="29" y="28"/>
                  </a:cubicBezTo>
                  <a:cubicBezTo>
                    <a:pt x="21" y="45"/>
                    <a:pt x="11" y="60"/>
                    <a:pt x="0" y="73"/>
                  </a:cubicBezTo>
                  <a:cubicBezTo>
                    <a:pt x="1" y="72"/>
                    <a:pt x="1" y="72"/>
                    <a:pt x="1" y="72"/>
                  </a:cubicBezTo>
                  <a:cubicBezTo>
                    <a:pt x="32" y="57"/>
                    <a:pt x="58" y="31"/>
                    <a:pt x="73" y="0"/>
                  </a:cubicBezTo>
                  <a:close/>
                </a:path>
              </a:pathLst>
            </a:custGeom>
            <a:solidFill>
              <a:srgbClr val="FF9A1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îṣḷiḑé">
              <a:extLst>
                <a:ext uri="{FF2B5EF4-FFF2-40B4-BE49-F238E27FC236}">
                  <a16:creationId xmlns:a16="http://schemas.microsoft.com/office/drawing/2014/main" id="{0EC217B0-DB07-4EEE-9491-271A8B5C92FB}"/>
                </a:ext>
              </a:extLst>
            </p:cNvPr>
            <p:cNvSpPr/>
            <p:nvPr/>
          </p:nvSpPr>
          <p:spPr bwMode="auto">
            <a:xfrm>
              <a:off x="5025110" y="3352926"/>
              <a:ext cx="612804" cy="600669"/>
            </a:xfrm>
            <a:custGeom>
              <a:avLst/>
              <a:gdLst>
                <a:gd name="T0" fmla="*/ 0 w 49"/>
                <a:gd name="T1" fmla="*/ 24 h 48"/>
                <a:gd name="T2" fmla="*/ 1 w 49"/>
                <a:gd name="T3" fmla="*/ 46 h 48"/>
                <a:gd name="T4" fmla="*/ 49 w 49"/>
                <a:gd name="T5" fmla="*/ 48 h 48"/>
                <a:gd name="T6" fmla="*/ 49 w 49"/>
                <a:gd name="T7" fmla="*/ 24 h 48"/>
                <a:gd name="T8" fmla="*/ 49 w 49"/>
                <a:gd name="T9" fmla="*/ 0 h 48"/>
                <a:gd name="T10" fmla="*/ 1 w 49"/>
                <a:gd name="T11" fmla="*/ 2 h 48"/>
                <a:gd name="T12" fmla="*/ 0 w 49"/>
                <a:gd name="T13" fmla="*/ 24 h 48"/>
              </a:gdLst>
              <a:ahLst/>
              <a:cxnLst>
                <a:cxn ang="0">
                  <a:pos x="T0" y="T1"/>
                </a:cxn>
                <a:cxn ang="0">
                  <a:pos x="T2" y="T3"/>
                </a:cxn>
                <a:cxn ang="0">
                  <a:pos x="T4" y="T5"/>
                </a:cxn>
                <a:cxn ang="0">
                  <a:pos x="T6" y="T7"/>
                </a:cxn>
                <a:cxn ang="0">
                  <a:pos x="T8" y="T9"/>
                </a:cxn>
                <a:cxn ang="0">
                  <a:pos x="T10" y="T11"/>
                </a:cxn>
                <a:cxn ang="0">
                  <a:pos x="T12" y="T13"/>
                </a:cxn>
              </a:cxnLst>
              <a:rect l="0" t="0" r="r" b="b"/>
              <a:pathLst>
                <a:path w="49" h="48">
                  <a:moveTo>
                    <a:pt x="0" y="24"/>
                  </a:moveTo>
                  <a:cubicBezTo>
                    <a:pt x="0" y="32"/>
                    <a:pt x="1" y="39"/>
                    <a:pt x="1" y="46"/>
                  </a:cubicBezTo>
                  <a:cubicBezTo>
                    <a:pt x="16" y="47"/>
                    <a:pt x="32" y="48"/>
                    <a:pt x="49" y="48"/>
                  </a:cubicBezTo>
                  <a:cubicBezTo>
                    <a:pt x="49" y="40"/>
                    <a:pt x="49" y="32"/>
                    <a:pt x="49" y="24"/>
                  </a:cubicBezTo>
                  <a:cubicBezTo>
                    <a:pt x="49" y="16"/>
                    <a:pt x="49" y="8"/>
                    <a:pt x="49" y="0"/>
                  </a:cubicBezTo>
                  <a:cubicBezTo>
                    <a:pt x="32" y="1"/>
                    <a:pt x="16" y="1"/>
                    <a:pt x="1" y="2"/>
                  </a:cubicBezTo>
                  <a:cubicBezTo>
                    <a:pt x="1" y="9"/>
                    <a:pt x="0" y="17"/>
                    <a:pt x="0" y="24"/>
                  </a:cubicBezTo>
                  <a:close/>
                </a:path>
              </a:pathLst>
            </a:custGeom>
            <a:solidFill>
              <a:srgbClr val="F0E66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ïṧḷîḋè">
              <a:extLst>
                <a:ext uri="{FF2B5EF4-FFF2-40B4-BE49-F238E27FC236}">
                  <a16:creationId xmlns:a16="http://schemas.microsoft.com/office/drawing/2014/main" id="{B0ADB207-D59F-46B4-A494-35BD07C0B1C5}"/>
                </a:ext>
              </a:extLst>
            </p:cNvPr>
            <p:cNvSpPr/>
            <p:nvPr/>
          </p:nvSpPr>
          <p:spPr bwMode="auto">
            <a:xfrm>
              <a:off x="7367106" y="1459914"/>
              <a:ext cx="922237" cy="922237"/>
            </a:xfrm>
            <a:custGeom>
              <a:avLst/>
              <a:gdLst>
                <a:gd name="T0" fmla="*/ 0 w 73"/>
                <a:gd name="T1" fmla="*/ 0 h 73"/>
                <a:gd name="T2" fmla="*/ 29 w 73"/>
                <a:gd name="T3" fmla="*/ 44 h 73"/>
                <a:gd name="T4" fmla="*/ 73 w 73"/>
                <a:gd name="T5" fmla="*/ 73 h 73"/>
                <a:gd name="T6" fmla="*/ 73 w 73"/>
                <a:gd name="T7" fmla="*/ 72 h 73"/>
                <a:gd name="T8" fmla="*/ 1 w 73"/>
                <a:gd name="T9" fmla="*/ 0 h 73"/>
                <a:gd name="T10" fmla="*/ 0 w 73"/>
                <a:gd name="T11" fmla="*/ 0 h 73"/>
              </a:gdLst>
              <a:ahLst/>
              <a:cxnLst>
                <a:cxn ang="0">
                  <a:pos x="T0" y="T1"/>
                </a:cxn>
                <a:cxn ang="0">
                  <a:pos x="T2" y="T3"/>
                </a:cxn>
                <a:cxn ang="0">
                  <a:pos x="T4" y="T5"/>
                </a:cxn>
                <a:cxn ang="0">
                  <a:pos x="T6" y="T7"/>
                </a:cxn>
                <a:cxn ang="0">
                  <a:pos x="T8" y="T9"/>
                </a:cxn>
                <a:cxn ang="0">
                  <a:pos x="T10" y="T11"/>
                </a:cxn>
              </a:cxnLst>
              <a:rect l="0" t="0" r="r" b="b"/>
              <a:pathLst>
                <a:path w="73" h="73">
                  <a:moveTo>
                    <a:pt x="0" y="0"/>
                  </a:moveTo>
                  <a:cubicBezTo>
                    <a:pt x="11" y="13"/>
                    <a:pt x="21" y="28"/>
                    <a:pt x="29" y="44"/>
                  </a:cubicBezTo>
                  <a:cubicBezTo>
                    <a:pt x="45" y="52"/>
                    <a:pt x="60" y="62"/>
                    <a:pt x="73" y="73"/>
                  </a:cubicBezTo>
                  <a:cubicBezTo>
                    <a:pt x="73" y="72"/>
                    <a:pt x="73" y="72"/>
                    <a:pt x="73" y="72"/>
                  </a:cubicBezTo>
                  <a:cubicBezTo>
                    <a:pt x="58" y="41"/>
                    <a:pt x="32" y="15"/>
                    <a:pt x="1" y="0"/>
                  </a:cubicBezTo>
                  <a:lnTo>
                    <a:pt x="0" y="0"/>
                  </a:lnTo>
                  <a:close/>
                </a:path>
              </a:pathLst>
            </a:custGeom>
            <a:solidFill>
              <a:srgbClr val="FF9A1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îṥļîde">
              <a:extLst>
                <a:ext uri="{FF2B5EF4-FFF2-40B4-BE49-F238E27FC236}">
                  <a16:creationId xmlns:a16="http://schemas.microsoft.com/office/drawing/2014/main" id="{99BB0DDC-9362-452D-8792-D8F37FED7DB2}"/>
                </a:ext>
              </a:extLst>
            </p:cNvPr>
            <p:cNvSpPr/>
            <p:nvPr/>
          </p:nvSpPr>
          <p:spPr bwMode="auto">
            <a:xfrm>
              <a:off x="4363772" y="1927102"/>
              <a:ext cx="758420" cy="758420"/>
            </a:xfrm>
            <a:custGeom>
              <a:avLst/>
              <a:gdLst>
                <a:gd name="T0" fmla="*/ 0 w 60"/>
                <a:gd name="T1" fmla="*/ 60 h 60"/>
                <a:gd name="T2" fmla="*/ 48 w 60"/>
                <a:gd name="T3" fmla="*/ 49 h 60"/>
                <a:gd name="T4" fmla="*/ 60 w 60"/>
                <a:gd name="T5" fmla="*/ 0 h 60"/>
                <a:gd name="T6" fmla="*/ 15 w 60"/>
                <a:gd name="T7" fmla="*/ 16 h 60"/>
                <a:gd name="T8" fmla="*/ 0 w 60"/>
                <a:gd name="T9" fmla="*/ 60 h 60"/>
              </a:gdLst>
              <a:ahLst/>
              <a:cxnLst>
                <a:cxn ang="0">
                  <a:pos x="T0" y="T1"/>
                </a:cxn>
                <a:cxn ang="0">
                  <a:pos x="T2" y="T3"/>
                </a:cxn>
                <a:cxn ang="0">
                  <a:pos x="T4" y="T5"/>
                </a:cxn>
                <a:cxn ang="0">
                  <a:pos x="T6" y="T7"/>
                </a:cxn>
                <a:cxn ang="0">
                  <a:pos x="T8" y="T9"/>
                </a:cxn>
              </a:cxnLst>
              <a:rect l="0" t="0" r="r" b="b"/>
              <a:pathLst>
                <a:path w="60" h="60">
                  <a:moveTo>
                    <a:pt x="0" y="60"/>
                  </a:moveTo>
                  <a:cubicBezTo>
                    <a:pt x="15" y="56"/>
                    <a:pt x="31" y="52"/>
                    <a:pt x="48" y="49"/>
                  </a:cubicBezTo>
                  <a:cubicBezTo>
                    <a:pt x="51" y="31"/>
                    <a:pt x="55" y="15"/>
                    <a:pt x="60" y="0"/>
                  </a:cubicBezTo>
                  <a:cubicBezTo>
                    <a:pt x="44" y="4"/>
                    <a:pt x="29" y="10"/>
                    <a:pt x="15" y="16"/>
                  </a:cubicBezTo>
                  <a:cubicBezTo>
                    <a:pt x="9" y="30"/>
                    <a:pt x="4" y="44"/>
                    <a:pt x="0" y="60"/>
                  </a:cubicBezTo>
                  <a:close/>
                </a:path>
              </a:pathLst>
            </a:custGeom>
            <a:solidFill>
              <a:srgbClr val="61C3C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ïšḻiḍé">
              <a:extLst>
                <a:ext uri="{FF2B5EF4-FFF2-40B4-BE49-F238E27FC236}">
                  <a16:creationId xmlns:a16="http://schemas.microsoft.com/office/drawing/2014/main" id="{EE9BDE2A-E317-49B5-BD31-90E50A67E33C}"/>
                </a:ext>
              </a:extLst>
            </p:cNvPr>
            <p:cNvSpPr/>
            <p:nvPr/>
          </p:nvSpPr>
          <p:spPr bwMode="auto">
            <a:xfrm>
              <a:off x="5049380" y="4081008"/>
              <a:ext cx="618869" cy="618869"/>
            </a:xfrm>
            <a:custGeom>
              <a:avLst/>
              <a:gdLst>
                <a:gd name="T0" fmla="*/ 49 w 49"/>
                <a:gd name="T1" fmla="*/ 49 h 49"/>
                <a:gd name="T2" fmla="*/ 47 w 49"/>
                <a:gd name="T3" fmla="*/ 2 h 49"/>
                <a:gd name="T4" fmla="*/ 0 w 49"/>
                <a:gd name="T5" fmla="*/ 0 h 49"/>
                <a:gd name="T6" fmla="*/ 4 w 49"/>
                <a:gd name="T7" fmla="*/ 45 h 49"/>
                <a:gd name="T8" fmla="*/ 49 w 49"/>
                <a:gd name="T9" fmla="*/ 49 h 49"/>
              </a:gdLst>
              <a:ahLst/>
              <a:cxnLst>
                <a:cxn ang="0">
                  <a:pos x="T0" y="T1"/>
                </a:cxn>
                <a:cxn ang="0">
                  <a:pos x="T2" y="T3"/>
                </a:cxn>
                <a:cxn ang="0">
                  <a:pos x="T4" y="T5"/>
                </a:cxn>
                <a:cxn ang="0">
                  <a:pos x="T6" y="T7"/>
                </a:cxn>
                <a:cxn ang="0">
                  <a:pos x="T8" y="T9"/>
                </a:cxn>
              </a:cxnLst>
              <a:rect l="0" t="0" r="r" b="b"/>
              <a:pathLst>
                <a:path w="49" h="49">
                  <a:moveTo>
                    <a:pt x="49" y="49"/>
                  </a:moveTo>
                  <a:cubicBezTo>
                    <a:pt x="48" y="34"/>
                    <a:pt x="48" y="18"/>
                    <a:pt x="47" y="2"/>
                  </a:cubicBezTo>
                  <a:cubicBezTo>
                    <a:pt x="31" y="1"/>
                    <a:pt x="15" y="1"/>
                    <a:pt x="0" y="0"/>
                  </a:cubicBezTo>
                  <a:cubicBezTo>
                    <a:pt x="1" y="15"/>
                    <a:pt x="2" y="30"/>
                    <a:pt x="4" y="45"/>
                  </a:cubicBezTo>
                  <a:cubicBezTo>
                    <a:pt x="19" y="47"/>
                    <a:pt x="34" y="48"/>
                    <a:pt x="49" y="49"/>
                  </a:cubicBezTo>
                  <a:close/>
                </a:path>
              </a:pathLst>
            </a:custGeom>
            <a:solidFill>
              <a:srgbClr val="61C3C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ïṩľiḑè">
              <a:extLst>
                <a:ext uri="{FF2B5EF4-FFF2-40B4-BE49-F238E27FC236}">
                  <a16:creationId xmlns:a16="http://schemas.microsoft.com/office/drawing/2014/main" id="{98FC8709-00F6-488E-B6C6-E30887119F31}"/>
                </a:ext>
              </a:extLst>
            </p:cNvPr>
            <p:cNvSpPr/>
            <p:nvPr/>
          </p:nvSpPr>
          <p:spPr bwMode="auto">
            <a:xfrm>
              <a:off x="5134323" y="1830024"/>
              <a:ext cx="594600" cy="691677"/>
            </a:xfrm>
            <a:custGeom>
              <a:avLst/>
              <a:gdLst>
                <a:gd name="T0" fmla="*/ 12 w 47"/>
                <a:gd name="T1" fmla="*/ 5 h 55"/>
                <a:gd name="T2" fmla="*/ 0 w 47"/>
                <a:gd name="T3" fmla="*/ 55 h 55"/>
                <a:gd name="T4" fmla="*/ 43 w 47"/>
                <a:gd name="T5" fmla="*/ 50 h 55"/>
                <a:gd name="T6" fmla="*/ 47 w 47"/>
                <a:gd name="T7" fmla="*/ 0 h 55"/>
                <a:gd name="T8" fmla="*/ 12 w 47"/>
                <a:gd name="T9" fmla="*/ 5 h 55"/>
              </a:gdLst>
              <a:ahLst/>
              <a:cxnLst>
                <a:cxn ang="0">
                  <a:pos x="T0" y="T1"/>
                </a:cxn>
                <a:cxn ang="0">
                  <a:pos x="T2" y="T3"/>
                </a:cxn>
                <a:cxn ang="0">
                  <a:pos x="T4" y="T5"/>
                </a:cxn>
                <a:cxn ang="0">
                  <a:pos x="T6" y="T7"/>
                </a:cxn>
                <a:cxn ang="0">
                  <a:pos x="T8" y="T9"/>
                </a:cxn>
              </a:cxnLst>
              <a:rect l="0" t="0" r="r" b="b"/>
              <a:pathLst>
                <a:path w="47" h="55">
                  <a:moveTo>
                    <a:pt x="12" y="5"/>
                  </a:moveTo>
                  <a:cubicBezTo>
                    <a:pt x="7" y="20"/>
                    <a:pt x="3" y="37"/>
                    <a:pt x="0" y="55"/>
                  </a:cubicBezTo>
                  <a:cubicBezTo>
                    <a:pt x="13" y="53"/>
                    <a:pt x="28" y="51"/>
                    <a:pt x="43" y="50"/>
                  </a:cubicBezTo>
                  <a:cubicBezTo>
                    <a:pt x="44" y="32"/>
                    <a:pt x="45" y="15"/>
                    <a:pt x="47" y="0"/>
                  </a:cubicBezTo>
                  <a:cubicBezTo>
                    <a:pt x="35" y="1"/>
                    <a:pt x="24" y="3"/>
                    <a:pt x="12" y="5"/>
                  </a:cubicBezTo>
                  <a:close/>
                </a:path>
              </a:pathLst>
            </a:custGeom>
            <a:solidFill>
              <a:srgbClr val="F0E66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îṧḻïďê">
              <a:extLst>
                <a:ext uri="{FF2B5EF4-FFF2-40B4-BE49-F238E27FC236}">
                  <a16:creationId xmlns:a16="http://schemas.microsoft.com/office/drawing/2014/main" id="{1F5AAF7D-2C5A-4F47-A47C-E65CB28F0482}"/>
                </a:ext>
              </a:extLst>
            </p:cNvPr>
            <p:cNvSpPr/>
            <p:nvPr/>
          </p:nvSpPr>
          <p:spPr bwMode="auto">
            <a:xfrm>
              <a:off x="5049380" y="2606645"/>
              <a:ext cx="618869" cy="618869"/>
            </a:xfrm>
            <a:custGeom>
              <a:avLst/>
              <a:gdLst>
                <a:gd name="T0" fmla="*/ 49 w 49"/>
                <a:gd name="T1" fmla="*/ 0 h 49"/>
                <a:gd name="T2" fmla="*/ 4 w 49"/>
                <a:gd name="T3" fmla="*/ 5 h 49"/>
                <a:gd name="T4" fmla="*/ 0 w 49"/>
                <a:gd name="T5" fmla="*/ 49 h 49"/>
                <a:gd name="T6" fmla="*/ 47 w 49"/>
                <a:gd name="T7" fmla="*/ 48 h 49"/>
                <a:gd name="T8" fmla="*/ 49 w 49"/>
                <a:gd name="T9" fmla="*/ 0 h 49"/>
              </a:gdLst>
              <a:ahLst/>
              <a:cxnLst>
                <a:cxn ang="0">
                  <a:pos x="T0" y="T1"/>
                </a:cxn>
                <a:cxn ang="0">
                  <a:pos x="T2" y="T3"/>
                </a:cxn>
                <a:cxn ang="0">
                  <a:pos x="T4" y="T5"/>
                </a:cxn>
                <a:cxn ang="0">
                  <a:pos x="T6" y="T7"/>
                </a:cxn>
                <a:cxn ang="0">
                  <a:pos x="T8" y="T9"/>
                </a:cxn>
              </a:cxnLst>
              <a:rect l="0" t="0" r="r" b="b"/>
              <a:pathLst>
                <a:path w="49" h="49">
                  <a:moveTo>
                    <a:pt x="49" y="0"/>
                  </a:moveTo>
                  <a:cubicBezTo>
                    <a:pt x="34" y="1"/>
                    <a:pt x="19" y="3"/>
                    <a:pt x="4" y="5"/>
                  </a:cubicBezTo>
                  <a:cubicBezTo>
                    <a:pt x="2" y="19"/>
                    <a:pt x="1" y="34"/>
                    <a:pt x="0" y="49"/>
                  </a:cubicBezTo>
                  <a:cubicBezTo>
                    <a:pt x="15" y="49"/>
                    <a:pt x="31" y="48"/>
                    <a:pt x="47" y="48"/>
                  </a:cubicBezTo>
                  <a:cubicBezTo>
                    <a:pt x="48" y="31"/>
                    <a:pt x="48" y="15"/>
                    <a:pt x="49" y="0"/>
                  </a:cubicBezTo>
                  <a:close/>
                </a:path>
              </a:pathLst>
            </a:custGeom>
            <a:solidFill>
              <a:srgbClr val="61C3C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îṥlîdé">
              <a:extLst>
                <a:ext uri="{FF2B5EF4-FFF2-40B4-BE49-F238E27FC236}">
                  <a16:creationId xmlns:a16="http://schemas.microsoft.com/office/drawing/2014/main" id="{25170F9F-6576-4991-AEDE-6C3D4DC0A585}"/>
                </a:ext>
              </a:extLst>
            </p:cNvPr>
            <p:cNvSpPr/>
            <p:nvPr/>
          </p:nvSpPr>
          <p:spPr bwMode="auto">
            <a:xfrm>
              <a:off x="5813866" y="1799686"/>
              <a:ext cx="546061" cy="655273"/>
            </a:xfrm>
            <a:custGeom>
              <a:avLst/>
              <a:gdLst>
                <a:gd name="T0" fmla="*/ 43 w 43"/>
                <a:gd name="T1" fmla="*/ 52 h 52"/>
                <a:gd name="T2" fmla="*/ 39 w 43"/>
                <a:gd name="T3" fmla="*/ 1 h 52"/>
                <a:gd name="T4" fmla="*/ 22 w 43"/>
                <a:gd name="T5" fmla="*/ 0 h 52"/>
                <a:gd name="T6" fmla="*/ 5 w 43"/>
                <a:gd name="T7" fmla="*/ 1 h 52"/>
                <a:gd name="T8" fmla="*/ 0 w 43"/>
                <a:gd name="T9" fmla="*/ 52 h 52"/>
                <a:gd name="T10" fmla="*/ 22 w 43"/>
                <a:gd name="T11" fmla="*/ 51 h 52"/>
                <a:gd name="T12" fmla="*/ 43 w 43"/>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43" h="52">
                  <a:moveTo>
                    <a:pt x="43" y="52"/>
                  </a:moveTo>
                  <a:cubicBezTo>
                    <a:pt x="42" y="33"/>
                    <a:pt x="41" y="16"/>
                    <a:pt x="39" y="1"/>
                  </a:cubicBezTo>
                  <a:cubicBezTo>
                    <a:pt x="33" y="1"/>
                    <a:pt x="27" y="0"/>
                    <a:pt x="22" y="0"/>
                  </a:cubicBezTo>
                  <a:cubicBezTo>
                    <a:pt x="16" y="0"/>
                    <a:pt x="11" y="1"/>
                    <a:pt x="5" y="1"/>
                  </a:cubicBezTo>
                  <a:cubicBezTo>
                    <a:pt x="3" y="16"/>
                    <a:pt x="2" y="33"/>
                    <a:pt x="0" y="52"/>
                  </a:cubicBezTo>
                  <a:cubicBezTo>
                    <a:pt x="7" y="52"/>
                    <a:pt x="15" y="51"/>
                    <a:pt x="22" y="51"/>
                  </a:cubicBezTo>
                  <a:cubicBezTo>
                    <a:pt x="29" y="51"/>
                    <a:pt x="36" y="52"/>
                    <a:pt x="43" y="52"/>
                  </a:cubicBezTo>
                  <a:close/>
                </a:path>
              </a:pathLst>
            </a:custGeom>
            <a:solidFill>
              <a:srgbClr val="F0E66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ïSļîḑé">
              <a:extLst>
                <a:ext uri="{FF2B5EF4-FFF2-40B4-BE49-F238E27FC236}">
                  <a16:creationId xmlns:a16="http://schemas.microsoft.com/office/drawing/2014/main" id="{FA161BDE-2A7B-43B6-B8E8-76552F1E849E}"/>
                </a:ext>
              </a:extLst>
            </p:cNvPr>
            <p:cNvSpPr/>
            <p:nvPr/>
          </p:nvSpPr>
          <p:spPr bwMode="auto">
            <a:xfrm>
              <a:off x="5789596" y="2594510"/>
              <a:ext cx="606735" cy="606735"/>
            </a:xfrm>
            <a:custGeom>
              <a:avLst/>
              <a:gdLst>
                <a:gd name="T0" fmla="*/ 0 w 48"/>
                <a:gd name="T1" fmla="*/ 48 h 48"/>
                <a:gd name="T2" fmla="*/ 24 w 48"/>
                <a:gd name="T3" fmla="*/ 48 h 48"/>
                <a:gd name="T4" fmla="*/ 48 w 48"/>
                <a:gd name="T5" fmla="*/ 48 h 48"/>
                <a:gd name="T6" fmla="*/ 46 w 48"/>
                <a:gd name="T7" fmla="*/ 0 h 48"/>
                <a:gd name="T8" fmla="*/ 24 w 48"/>
                <a:gd name="T9" fmla="*/ 0 h 48"/>
                <a:gd name="T10" fmla="*/ 2 w 48"/>
                <a:gd name="T11" fmla="*/ 0 h 48"/>
                <a:gd name="T12" fmla="*/ 0 w 48"/>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48" h="48">
                  <a:moveTo>
                    <a:pt x="0" y="48"/>
                  </a:moveTo>
                  <a:cubicBezTo>
                    <a:pt x="8" y="48"/>
                    <a:pt x="16" y="48"/>
                    <a:pt x="24" y="48"/>
                  </a:cubicBezTo>
                  <a:cubicBezTo>
                    <a:pt x="32" y="48"/>
                    <a:pt x="40" y="48"/>
                    <a:pt x="48" y="48"/>
                  </a:cubicBezTo>
                  <a:cubicBezTo>
                    <a:pt x="47" y="32"/>
                    <a:pt x="47" y="16"/>
                    <a:pt x="46" y="0"/>
                  </a:cubicBezTo>
                  <a:cubicBezTo>
                    <a:pt x="39" y="0"/>
                    <a:pt x="31" y="0"/>
                    <a:pt x="24" y="0"/>
                  </a:cubicBezTo>
                  <a:cubicBezTo>
                    <a:pt x="16" y="0"/>
                    <a:pt x="9" y="0"/>
                    <a:pt x="2" y="0"/>
                  </a:cubicBezTo>
                  <a:cubicBezTo>
                    <a:pt x="1" y="16"/>
                    <a:pt x="0" y="32"/>
                    <a:pt x="0" y="48"/>
                  </a:cubicBezTo>
                  <a:close/>
                </a:path>
              </a:pathLst>
            </a:custGeom>
            <a:solidFill>
              <a:srgbClr val="F0E66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iṡlîdê">
              <a:extLst>
                <a:ext uri="{FF2B5EF4-FFF2-40B4-BE49-F238E27FC236}">
                  <a16:creationId xmlns:a16="http://schemas.microsoft.com/office/drawing/2014/main" id="{B1A12FB8-F013-428A-8474-BBBE38E2AFDB}"/>
                </a:ext>
              </a:extLst>
            </p:cNvPr>
            <p:cNvSpPr/>
            <p:nvPr/>
          </p:nvSpPr>
          <p:spPr bwMode="auto">
            <a:xfrm>
              <a:off x="5134323" y="4796955"/>
              <a:ext cx="594600" cy="697747"/>
            </a:xfrm>
            <a:custGeom>
              <a:avLst/>
              <a:gdLst>
                <a:gd name="T0" fmla="*/ 47 w 47"/>
                <a:gd name="T1" fmla="*/ 55 h 55"/>
                <a:gd name="T2" fmla="*/ 43 w 47"/>
                <a:gd name="T3" fmla="*/ 4 h 55"/>
                <a:gd name="T4" fmla="*/ 0 w 47"/>
                <a:gd name="T5" fmla="*/ 0 h 55"/>
                <a:gd name="T6" fmla="*/ 12 w 47"/>
                <a:gd name="T7" fmla="*/ 50 h 55"/>
                <a:gd name="T8" fmla="*/ 47 w 47"/>
                <a:gd name="T9" fmla="*/ 55 h 55"/>
              </a:gdLst>
              <a:ahLst/>
              <a:cxnLst>
                <a:cxn ang="0">
                  <a:pos x="T0" y="T1"/>
                </a:cxn>
                <a:cxn ang="0">
                  <a:pos x="T2" y="T3"/>
                </a:cxn>
                <a:cxn ang="0">
                  <a:pos x="T4" y="T5"/>
                </a:cxn>
                <a:cxn ang="0">
                  <a:pos x="T6" y="T7"/>
                </a:cxn>
                <a:cxn ang="0">
                  <a:pos x="T8" y="T9"/>
                </a:cxn>
              </a:cxnLst>
              <a:rect l="0" t="0" r="r" b="b"/>
              <a:pathLst>
                <a:path w="47" h="55">
                  <a:moveTo>
                    <a:pt x="47" y="55"/>
                  </a:moveTo>
                  <a:cubicBezTo>
                    <a:pt x="45" y="39"/>
                    <a:pt x="44" y="22"/>
                    <a:pt x="43" y="4"/>
                  </a:cubicBezTo>
                  <a:cubicBezTo>
                    <a:pt x="28" y="3"/>
                    <a:pt x="13" y="2"/>
                    <a:pt x="0" y="0"/>
                  </a:cubicBezTo>
                  <a:cubicBezTo>
                    <a:pt x="3" y="18"/>
                    <a:pt x="7" y="35"/>
                    <a:pt x="12" y="50"/>
                  </a:cubicBezTo>
                  <a:cubicBezTo>
                    <a:pt x="24" y="52"/>
                    <a:pt x="35" y="54"/>
                    <a:pt x="47" y="55"/>
                  </a:cubicBezTo>
                  <a:close/>
                </a:path>
              </a:pathLst>
            </a:custGeom>
            <a:solidFill>
              <a:srgbClr val="F0E66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îṥlide">
              <a:extLst>
                <a:ext uri="{FF2B5EF4-FFF2-40B4-BE49-F238E27FC236}">
                  <a16:creationId xmlns:a16="http://schemas.microsoft.com/office/drawing/2014/main" id="{D67D8532-25A9-4ED3-AB36-CB283E135FB2}"/>
                </a:ext>
              </a:extLst>
            </p:cNvPr>
            <p:cNvSpPr/>
            <p:nvPr/>
          </p:nvSpPr>
          <p:spPr bwMode="auto">
            <a:xfrm>
              <a:off x="4254559" y="2697653"/>
              <a:ext cx="691677" cy="600669"/>
            </a:xfrm>
            <a:custGeom>
              <a:avLst/>
              <a:gdLst>
                <a:gd name="T0" fmla="*/ 0 w 55"/>
                <a:gd name="T1" fmla="*/ 48 h 48"/>
                <a:gd name="T2" fmla="*/ 51 w 55"/>
                <a:gd name="T3" fmla="*/ 43 h 48"/>
                <a:gd name="T4" fmla="*/ 55 w 55"/>
                <a:gd name="T5" fmla="*/ 0 h 48"/>
                <a:gd name="T6" fmla="*/ 6 w 55"/>
                <a:gd name="T7" fmla="*/ 13 h 48"/>
                <a:gd name="T8" fmla="*/ 0 w 55"/>
                <a:gd name="T9" fmla="*/ 48 h 48"/>
              </a:gdLst>
              <a:ahLst/>
              <a:cxnLst>
                <a:cxn ang="0">
                  <a:pos x="T0" y="T1"/>
                </a:cxn>
                <a:cxn ang="0">
                  <a:pos x="T2" y="T3"/>
                </a:cxn>
                <a:cxn ang="0">
                  <a:pos x="T4" y="T5"/>
                </a:cxn>
                <a:cxn ang="0">
                  <a:pos x="T6" y="T7"/>
                </a:cxn>
                <a:cxn ang="0">
                  <a:pos x="T8" y="T9"/>
                </a:cxn>
              </a:cxnLst>
              <a:rect l="0" t="0" r="r" b="b"/>
              <a:pathLst>
                <a:path w="55" h="48">
                  <a:moveTo>
                    <a:pt x="0" y="48"/>
                  </a:moveTo>
                  <a:cubicBezTo>
                    <a:pt x="16" y="46"/>
                    <a:pt x="33" y="44"/>
                    <a:pt x="51" y="43"/>
                  </a:cubicBezTo>
                  <a:cubicBezTo>
                    <a:pt x="52" y="28"/>
                    <a:pt x="53" y="14"/>
                    <a:pt x="55" y="0"/>
                  </a:cubicBezTo>
                  <a:cubicBezTo>
                    <a:pt x="37" y="3"/>
                    <a:pt x="21" y="8"/>
                    <a:pt x="6" y="13"/>
                  </a:cubicBezTo>
                  <a:cubicBezTo>
                    <a:pt x="3" y="24"/>
                    <a:pt x="1" y="36"/>
                    <a:pt x="0" y="48"/>
                  </a:cubicBezTo>
                  <a:close/>
                </a:path>
              </a:pathLst>
            </a:custGeom>
            <a:solidFill>
              <a:srgbClr val="0C2C5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iŝlíďé">
              <a:extLst>
                <a:ext uri="{FF2B5EF4-FFF2-40B4-BE49-F238E27FC236}">
                  <a16:creationId xmlns:a16="http://schemas.microsoft.com/office/drawing/2014/main" id="{C6090FBD-E0F4-4569-987E-57863248F759}"/>
                </a:ext>
              </a:extLst>
            </p:cNvPr>
            <p:cNvSpPr/>
            <p:nvPr/>
          </p:nvSpPr>
          <p:spPr bwMode="auto">
            <a:xfrm>
              <a:off x="7227559" y="4020335"/>
              <a:ext cx="697747" cy="588535"/>
            </a:xfrm>
            <a:custGeom>
              <a:avLst/>
              <a:gdLst>
                <a:gd name="T0" fmla="*/ 55 w 55"/>
                <a:gd name="T1" fmla="*/ 0 h 47"/>
                <a:gd name="T2" fmla="*/ 5 w 55"/>
                <a:gd name="T3" fmla="*/ 4 h 47"/>
                <a:gd name="T4" fmla="*/ 0 w 55"/>
                <a:gd name="T5" fmla="*/ 47 h 47"/>
                <a:gd name="T6" fmla="*/ 50 w 55"/>
                <a:gd name="T7" fmla="*/ 35 h 47"/>
                <a:gd name="T8" fmla="*/ 55 w 55"/>
                <a:gd name="T9" fmla="*/ 0 h 47"/>
              </a:gdLst>
              <a:ahLst/>
              <a:cxnLst>
                <a:cxn ang="0">
                  <a:pos x="T0" y="T1"/>
                </a:cxn>
                <a:cxn ang="0">
                  <a:pos x="T2" y="T3"/>
                </a:cxn>
                <a:cxn ang="0">
                  <a:pos x="T4" y="T5"/>
                </a:cxn>
                <a:cxn ang="0">
                  <a:pos x="T6" y="T7"/>
                </a:cxn>
                <a:cxn ang="0">
                  <a:pos x="T8" y="T9"/>
                </a:cxn>
              </a:cxnLst>
              <a:rect l="0" t="0" r="r" b="b"/>
              <a:pathLst>
                <a:path w="55" h="47">
                  <a:moveTo>
                    <a:pt x="55" y="0"/>
                  </a:moveTo>
                  <a:cubicBezTo>
                    <a:pt x="40" y="2"/>
                    <a:pt x="23" y="3"/>
                    <a:pt x="5" y="4"/>
                  </a:cubicBezTo>
                  <a:cubicBezTo>
                    <a:pt x="4" y="19"/>
                    <a:pt x="2" y="34"/>
                    <a:pt x="0" y="47"/>
                  </a:cubicBezTo>
                  <a:cubicBezTo>
                    <a:pt x="18" y="44"/>
                    <a:pt x="35" y="40"/>
                    <a:pt x="50" y="35"/>
                  </a:cubicBezTo>
                  <a:cubicBezTo>
                    <a:pt x="52" y="23"/>
                    <a:pt x="54" y="12"/>
                    <a:pt x="55" y="0"/>
                  </a:cubicBezTo>
                  <a:close/>
                </a:path>
              </a:pathLst>
            </a:custGeom>
            <a:solidFill>
              <a:srgbClr val="F0E66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îšļïḋé">
              <a:extLst>
                <a:ext uri="{FF2B5EF4-FFF2-40B4-BE49-F238E27FC236}">
                  <a16:creationId xmlns:a16="http://schemas.microsoft.com/office/drawing/2014/main" id="{2776BF16-08BD-462F-B681-9DB5EA573144}"/>
                </a:ext>
              </a:extLst>
            </p:cNvPr>
            <p:cNvSpPr/>
            <p:nvPr/>
          </p:nvSpPr>
          <p:spPr bwMode="auto">
            <a:xfrm>
              <a:off x="7294298" y="3389331"/>
              <a:ext cx="655273" cy="539996"/>
            </a:xfrm>
            <a:custGeom>
              <a:avLst/>
              <a:gdLst>
                <a:gd name="T0" fmla="*/ 52 w 52"/>
                <a:gd name="T1" fmla="*/ 21 h 43"/>
                <a:gd name="T2" fmla="*/ 51 w 52"/>
                <a:gd name="T3" fmla="*/ 4 h 43"/>
                <a:gd name="T4" fmla="*/ 0 w 52"/>
                <a:gd name="T5" fmla="*/ 0 h 43"/>
                <a:gd name="T6" fmla="*/ 1 w 52"/>
                <a:gd name="T7" fmla="*/ 21 h 43"/>
                <a:gd name="T8" fmla="*/ 0 w 52"/>
                <a:gd name="T9" fmla="*/ 43 h 43"/>
                <a:gd name="T10" fmla="*/ 51 w 52"/>
                <a:gd name="T11" fmla="*/ 38 h 43"/>
                <a:gd name="T12" fmla="*/ 52 w 52"/>
                <a:gd name="T13" fmla="*/ 21 h 43"/>
              </a:gdLst>
              <a:ahLst/>
              <a:cxnLst>
                <a:cxn ang="0">
                  <a:pos x="T0" y="T1"/>
                </a:cxn>
                <a:cxn ang="0">
                  <a:pos x="T2" y="T3"/>
                </a:cxn>
                <a:cxn ang="0">
                  <a:pos x="T4" y="T5"/>
                </a:cxn>
                <a:cxn ang="0">
                  <a:pos x="T6" y="T7"/>
                </a:cxn>
                <a:cxn ang="0">
                  <a:pos x="T8" y="T9"/>
                </a:cxn>
                <a:cxn ang="0">
                  <a:pos x="T10" y="T11"/>
                </a:cxn>
                <a:cxn ang="0">
                  <a:pos x="T12" y="T13"/>
                </a:cxn>
              </a:cxnLst>
              <a:rect l="0" t="0" r="r" b="b"/>
              <a:pathLst>
                <a:path w="52" h="43">
                  <a:moveTo>
                    <a:pt x="52" y="21"/>
                  </a:moveTo>
                  <a:cubicBezTo>
                    <a:pt x="52" y="16"/>
                    <a:pt x="51" y="10"/>
                    <a:pt x="51" y="4"/>
                  </a:cubicBezTo>
                  <a:cubicBezTo>
                    <a:pt x="36" y="3"/>
                    <a:pt x="19" y="1"/>
                    <a:pt x="0" y="0"/>
                  </a:cubicBezTo>
                  <a:cubicBezTo>
                    <a:pt x="1" y="7"/>
                    <a:pt x="1" y="14"/>
                    <a:pt x="1" y="21"/>
                  </a:cubicBezTo>
                  <a:cubicBezTo>
                    <a:pt x="1" y="28"/>
                    <a:pt x="1" y="36"/>
                    <a:pt x="0" y="43"/>
                  </a:cubicBezTo>
                  <a:cubicBezTo>
                    <a:pt x="19" y="41"/>
                    <a:pt x="36" y="40"/>
                    <a:pt x="51" y="38"/>
                  </a:cubicBezTo>
                  <a:cubicBezTo>
                    <a:pt x="51" y="33"/>
                    <a:pt x="52" y="27"/>
                    <a:pt x="52" y="21"/>
                  </a:cubicBezTo>
                  <a:close/>
                </a:path>
              </a:pathLst>
            </a:custGeom>
            <a:solidFill>
              <a:srgbClr val="0C2C5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ṡḷiḋè">
              <a:extLst>
                <a:ext uri="{FF2B5EF4-FFF2-40B4-BE49-F238E27FC236}">
                  <a16:creationId xmlns:a16="http://schemas.microsoft.com/office/drawing/2014/main" id="{15CF044D-CE57-4CFE-A14E-1359F54B2DC5}"/>
                </a:ext>
              </a:extLst>
            </p:cNvPr>
            <p:cNvSpPr/>
            <p:nvPr/>
          </p:nvSpPr>
          <p:spPr bwMode="auto">
            <a:xfrm>
              <a:off x="7063739" y="4621004"/>
              <a:ext cx="758420" cy="758420"/>
            </a:xfrm>
            <a:custGeom>
              <a:avLst/>
              <a:gdLst>
                <a:gd name="T0" fmla="*/ 60 w 60"/>
                <a:gd name="T1" fmla="*/ 0 h 60"/>
                <a:gd name="T2" fmla="*/ 11 w 60"/>
                <a:gd name="T3" fmla="*/ 12 h 60"/>
                <a:gd name="T4" fmla="*/ 0 w 60"/>
                <a:gd name="T5" fmla="*/ 60 h 60"/>
                <a:gd name="T6" fmla="*/ 44 w 60"/>
                <a:gd name="T7" fmla="*/ 45 h 60"/>
                <a:gd name="T8" fmla="*/ 60 w 60"/>
                <a:gd name="T9" fmla="*/ 0 h 60"/>
              </a:gdLst>
              <a:ahLst/>
              <a:cxnLst>
                <a:cxn ang="0">
                  <a:pos x="T0" y="T1"/>
                </a:cxn>
                <a:cxn ang="0">
                  <a:pos x="T2" y="T3"/>
                </a:cxn>
                <a:cxn ang="0">
                  <a:pos x="T4" y="T5"/>
                </a:cxn>
                <a:cxn ang="0">
                  <a:pos x="T6" y="T7"/>
                </a:cxn>
                <a:cxn ang="0">
                  <a:pos x="T8" y="T9"/>
                </a:cxn>
              </a:cxnLst>
              <a:rect l="0" t="0" r="r" b="b"/>
              <a:pathLst>
                <a:path w="60" h="60">
                  <a:moveTo>
                    <a:pt x="60" y="0"/>
                  </a:moveTo>
                  <a:cubicBezTo>
                    <a:pt x="45" y="5"/>
                    <a:pt x="29" y="9"/>
                    <a:pt x="11" y="12"/>
                  </a:cubicBezTo>
                  <a:cubicBezTo>
                    <a:pt x="8" y="29"/>
                    <a:pt x="4" y="46"/>
                    <a:pt x="0" y="60"/>
                  </a:cubicBezTo>
                  <a:cubicBezTo>
                    <a:pt x="16" y="56"/>
                    <a:pt x="30" y="51"/>
                    <a:pt x="44" y="45"/>
                  </a:cubicBezTo>
                  <a:cubicBezTo>
                    <a:pt x="51" y="31"/>
                    <a:pt x="56" y="16"/>
                    <a:pt x="60" y="0"/>
                  </a:cubicBezTo>
                  <a:close/>
                </a:path>
              </a:pathLst>
            </a:custGeom>
            <a:solidFill>
              <a:srgbClr val="0C2C5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ï$ḻïďe">
              <a:extLst>
                <a:ext uri="{FF2B5EF4-FFF2-40B4-BE49-F238E27FC236}">
                  <a16:creationId xmlns:a16="http://schemas.microsoft.com/office/drawing/2014/main" id="{FC6EF0F9-B394-4817-A1E8-C5B49A211D61}"/>
                </a:ext>
              </a:extLst>
            </p:cNvPr>
            <p:cNvSpPr/>
            <p:nvPr/>
          </p:nvSpPr>
          <p:spPr bwMode="auto">
            <a:xfrm>
              <a:off x="4254559" y="4020335"/>
              <a:ext cx="691677" cy="588535"/>
            </a:xfrm>
            <a:custGeom>
              <a:avLst/>
              <a:gdLst>
                <a:gd name="T0" fmla="*/ 55 w 55"/>
                <a:gd name="T1" fmla="*/ 47 h 47"/>
                <a:gd name="T2" fmla="*/ 51 w 55"/>
                <a:gd name="T3" fmla="*/ 4 h 47"/>
                <a:gd name="T4" fmla="*/ 0 w 55"/>
                <a:gd name="T5" fmla="*/ 0 h 47"/>
                <a:gd name="T6" fmla="*/ 6 w 55"/>
                <a:gd name="T7" fmla="*/ 35 h 47"/>
                <a:gd name="T8" fmla="*/ 55 w 55"/>
                <a:gd name="T9" fmla="*/ 47 h 47"/>
              </a:gdLst>
              <a:ahLst/>
              <a:cxnLst>
                <a:cxn ang="0">
                  <a:pos x="T0" y="T1"/>
                </a:cxn>
                <a:cxn ang="0">
                  <a:pos x="T2" y="T3"/>
                </a:cxn>
                <a:cxn ang="0">
                  <a:pos x="T4" y="T5"/>
                </a:cxn>
                <a:cxn ang="0">
                  <a:pos x="T6" y="T7"/>
                </a:cxn>
                <a:cxn ang="0">
                  <a:pos x="T8" y="T9"/>
                </a:cxn>
              </a:cxnLst>
              <a:rect l="0" t="0" r="r" b="b"/>
              <a:pathLst>
                <a:path w="55" h="47">
                  <a:moveTo>
                    <a:pt x="55" y="47"/>
                  </a:moveTo>
                  <a:cubicBezTo>
                    <a:pt x="53" y="34"/>
                    <a:pt x="52" y="19"/>
                    <a:pt x="51" y="4"/>
                  </a:cubicBezTo>
                  <a:cubicBezTo>
                    <a:pt x="33" y="3"/>
                    <a:pt x="16" y="2"/>
                    <a:pt x="0" y="0"/>
                  </a:cubicBezTo>
                  <a:cubicBezTo>
                    <a:pt x="1" y="12"/>
                    <a:pt x="3" y="23"/>
                    <a:pt x="6" y="35"/>
                  </a:cubicBezTo>
                  <a:cubicBezTo>
                    <a:pt x="21" y="40"/>
                    <a:pt x="37" y="44"/>
                    <a:pt x="55" y="47"/>
                  </a:cubicBezTo>
                  <a:close/>
                </a:path>
              </a:pathLst>
            </a:custGeom>
            <a:solidFill>
              <a:srgbClr val="F0E66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isḷidè">
              <a:extLst>
                <a:ext uri="{FF2B5EF4-FFF2-40B4-BE49-F238E27FC236}">
                  <a16:creationId xmlns:a16="http://schemas.microsoft.com/office/drawing/2014/main" id="{DA6DF372-5D4D-4B0C-9EC7-A898693A59F6}"/>
                </a:ext>
              </a:extLst>
            </p:cNvPr>
            <p:cNvSpPr/>
            <p:nvPr/>
          </p:nvSpPr>
          <p:spPr bwMode="auto">
            <a:xfrm>
              <a:off x="4242425" y="3389331"/>
              <a:ext cx="643139" cy="539996"/>
            </a:xfrm>
            <a:custGeom>
              <a:avLst/>
              <a:gdLst>
                <a:gd name="T0" fmla="*/ 0 w 51"/>
                <a:gd name="T1" fmla="*/ 21 h 43"/>
                <a:gd name="T2" fmla="*/ 1 w 51"/>
                <a:gd name="T3" fmla="*/ 38 h 43"/>
                <a:gd name="T4" fmla="*/ 51 w 51"/>
                <a:gd name="T5" fmla="*/ 43 h 43"/>
                <a:gd name="T6" fmla="*/ 51 w 51"/>
                <a:gd name="T7" fmla="*/ 21 h 43"/>
                <a:gd name="T8" fmla="*/ 51 w 51"/>
                <a:gd name="T9" fmla="*/ 0 h 43"/>
                <a:gd name="T10" fmla="*/ 1 w 51"/>
                <a:gd name="T11" fmla="*/ 4 h 43"/>
                <a:gd name="T12" fmla="*/ 0 w 51"/>
                <a:gd name="T13" fmla="*/ 21 h 43"/>
              </a:gdLst>
              <a:ahLst/>
              <a:cxnLst>
                <a:cxn ang="0">
                  <a:pos x="T0" y="T1"/>
                </a:cxn>
                <a:cxn ang="0">
                  <a:pos x="T2" y="T3"/>
                </a:cxn>
                <a:cxn ang="0">
                  <a:pos x="T4" y="T5"/>
                </a:cxn>
                <a:cxn ang="0">
                  <a:pos x="T6" y="T7"/>
                </a:cxn>
                <a:cxn ang="0">
                  <a:pos x="T8" y="T9"/>
                </a:cxn>
                <a:cxn ang="0">
                  <a:pos x="T10" y="T11"/>
                </a:cxn>
                <a:cxn ang="0">
                  <a:pos x="T12" y="T13"/>
                </a:cxn>
              </a:cxnLst>
              <a:rect l="0" t="0" r="r" b="b"/>
              <a:pathLst>
                <a:path w="51" h="43">
                  <a:moveTo>
                    <a:pt x="0" y="21"/>
                  </a:moveTo>
                  <a:cubicBezTo>
                    <a:pt x="0" y="27"/>
                    <a:pt x="0" y="33"/>
                    <a:pt x="1" y="38"/>
                  </a:cubicBezTo>
                  <a:cubicBezTo>
                    <a:pt x="16" y="40"/>
                    <a:pt x="33" y="41"/>
                    <a:pt x="51" y="43"/>
                  </a:cubicBezTo>
                  <a:cubicBezTo>
                    <a:pt x="51" y="36"/>
                    <a:pt x="51" y="28"/>
                    <a:pt x="51" y="21"/>
                  </a:cubicBezTo>
                  <a:cubicBezTo>
                    <a:pt x="51" y="14"/>
                    <a:pt x="51" y="7"/>
                    <a:pt x="51" y="0"/>
                  </a:cubicBezTo>
                  <a:cubicBezTo>
                    <a:pt x="33" y="1"/>
                    <a:pt x="16" y="3"/>
                    <a:pt x="1" y="4"/>
                  </a:cubicBezTo>
                  <a:cubicBezTo>
                    <a:pt x="0" y="10"/>
                    <a:pt x="0" y="16"/>
                    <a:pt x="0" y="21"/>
                  </a:cubicBezTo>
                  <a:close/>
                </a:path>
              </a:pathLst>
            </a:custGeom>
            <a:solidFill>
              <a:srgbClr val="FF9A1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îśľiḑè">
              <a:extLst>
                <a:ext uri="{FF2B5EF4-FFF2-40B4-BE49-F238E27FC236}">
                  <a16:creationId xmlns:a16="http://schemas.microsoft.com/office/drawing/2014/main" id="{96AB1A39-E1DD-4059-89BC-C1108117F31B}"/>
                </a:ext>
              </a:extLst>
            </p:cNvPr>
            <p:cNvSpPr/>
            <p:nvPr/>
          </p:nvSpPr>
          <p:spPr bwMode="auto">
            <a:xfrm>
              <a:off x="4363772" y="4621004"/>
              <a:ext cx="758420" cy="758420"/>
            </a:xfrm>
            <a:custGeom>
              <a:avLst/>
              <a:gdLst>
                <a:gd name="T0" fmla="*/ 60 w 60"/>
                <a:gd name="T1" fmla="*/ 60 h 60"/>
                <a:gd name="T2" fmla="*/ 48 w 60"/>
                <a:gd name="T3" fmla="*/ 12 h 60"/>
                <a:gd name="T4" fmla="*/ 0 w 60"/>
                <a:gd name="T5" fmla="*/ 0 h 60"/>
                <a:gd name="T6" fmla="*/ 15 w 60"/>
                <a:gd name="T7" fmla="*/ 45 h 60"/>
                <a:gd name="T8" fmla="*/ 60 w 60"/>
                <a:gd name="T9" fmla="*/ 60 h 60"/>
              </a:gdLst>
              <a:ahLst/>
              <a:cxnLst>
                <a:cxn ang="0">
                  <a:pos x="T0" y="T1"/>
                </a:cxn>
                <a:cxn ang="0">
                  <a:pos x="T2" y="T3"/>
                </a:cxn>
                <a:cxn ang="0">
                  <a:pos x="T4" y="T5"/>
                </a:cxn>
                <a:cxn ang="0">
                  <a:pos x="T6" y="T7"/>
                </a:cxn>
                <a:cxn ang="0">
                  <a:pos x="T8" y="T9"/>
                </a:cxn>
              </a:cxnLst>
              <a:rect l="0" t="0" r="r" b="b"/>
              <a:pathLst>
                <a:path w="60" h="60">
                  <a:moveTo>
                    <a:pt x="60" y="60"/>
                  </a:moveTo>
                  <a:cubicBezTo>
                    <a:pt x="55" y="46"/>
                    <a:pt x="51" y="29"/>
                    <a:pt x="48" y="12"/>
                  </a:cubicBezTo>
                  <a:cubicBezTo>
                    <a:pt x="31" y="9"/>
                    <a:pt x="15" y="5"/>
                    <a:pt x="0" y="0"/>
                  </a:cubicBezTo>
                  <a:cubicBezTo>
                    <a:pt x="4" y="16"/>
                    <a:pt x="9" y="31"/>
                    <a:pt x="15" y="45"/>
                  </a:cubicBezTo>
                  <a:cubicBezTo>
                    <a:pt x="29" y="51"/>
                    <a:pt x="44" y="56"/>
                    <a:pt x="60" y="60"/>
                  </a:cubicBezTo>
                  <a:close/>
                </a:path>
              </a:pathLst>
            </a:custGeom>
            <a:solidFill>
              <a:srgbClr val="0C2C5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îṩ1ïdé">
              <a:extLst>
                <a:ext uri="{FF2B5EF4-FFF2-40B4-BE49-F238E27FC236}">
                  <a16:creationId xmlns:a16="http://schemas.microsoft.com/office/drawing/2014/main" id="{1E5C451C-6B17-493F-8905-70AC6CCD67A8}"/>
                </a:ext>
              </a:extLst>
            </p:cNvPr>
            <p:cNvSpPr/>
            <p:nvPr/>
          </p:nvSpPr>
          <p:spPr bwMode="auto">
            <a:xfrm>
              <a:off x="5097919" y="2630914"/>
              <a:ext cx="1262008" cy="1322682"/>
            </a:xfrm>
            <a:custGeom>
              <a:avLst/>
              <a:gdLst>
                <a:gd name="T0" fmla="*/ 127 w 208"/>
                <a:gd name="T1" fmla="*/ 83 h 218"/>
                <a:gd name="T2" fmla="*/ 104 w 208"/>
                <a:gd name="T3" fmla="*/ 0 h 218"/>
                <a:gd name="T4" fmla="*/ 81 w 208"/>
                <a:gd name="T5" fmla="*/ 83 h 218"/>
                <a:gd name="T6" fmla="*/ 0 w 208"/>
                <a:gd name="T7" fmla="*/ 110 h 218"/>
                <a:gd name="T8" fmla="*/ 81 w 208"/>
                <a:gd name="T9" fmla="*/ 135 h 218"/>
                <a:gd name="T10" fmla="*/ 104 w 208"/>
                <a:gd name="T11" fmla="*/ 218 h 218"/>
                <a:gd name="T12" fmla="*/ 127 w 208"/>
                <a:gd name="T13" fmla="*/ 135 h 218"/>
                <a:gd name="T14" fmla="*/ 208 w 208"/>
                <a:gd name="T15" fmla="*/ 110 h 218"/>
                <a:gd name="T16" fmla="*/ 127 w 208"/>
                <a:gd name="T17" fmla="*/ 83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 h="218">
                  <a:moveTo>
                    <a:pt x="127" y="83"/>
                  </a:moveTo>
                  <a:lnTo>
                    <a:pt x="104" y="0"/>
                  </a:lnTo>
                  <a:lnTo>
                    <a:pt x="81" y="83"/>
                  </a:lnTo>
                  <a:lnTo>
                    <a:pt x="0" y="110"/>
                  </a:lnTo>
                  <a:lnTo>
                    <a:pt x="81" y="135"/>
                  </a:lnTo>
                  <a:lnTo>
                    <a:pt x="104" y="218"/>
                  </a:lnTo>
                  <a:lnTo>
                    <a:pt x="127" y="135"/>
                  </a:lnTo>
                  <a:lnTo>
                    <a:pt x="208" y="110"/>
                  </a:lnTo>
                  <a:lnTo>
                    <a:pt x="127"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ïślîḓé">
              <a:extLst>
                <a:ext uri="{FF2B5EF4-FFF2-40B4-BE49-F238E27FC236}">
                  <a16:creationId xmlns:a16="http://schemas.microsoft.com/office/drawing/2014/main" id="{985D96D3-9A73-4515-BE84-D5635B8CD1C1}"/>
                </a:ext>
              </a:extLst>
            </p:cNvPr>
            <p:cNvSpPr/>
            <p:nvPr/>
          </p:nvSpPr>
          <p:spPr bwMode="auto">
            <a:xfrm>
              <a:off x="5704653" y="1890698"/>
              <a:ext cx="655273" cy="679543"/>
            </a:xfrm>
            <a:custGeom>
              <a:avLst/>
              <a:gdLst>
                <a:gd name="T0" fmla="*/ 66 w 108"/>
                <a:gd name="T1" fmla="*/ 41 h 112"/>
                <a:gd name="T2" fmla="*/ 54 w 108"/>
                <a:gd name="T3" fmla="*/ 0 h 112"/>
                <a:gd name="T4" fmla="*/ 43 w 108"/>
                <a:gd name="T5" fmla="*/ 41 h 112"/>
                <a:gd name="T6" fmla="*/ 0 w 108"/>
                <a:gd name="T7" fmla="*/ 56 h 112"/>
                <a:gd name="T8" fmla="*/ 43 w 108"/>
                <a:gd name="T9" fmla="*/ 71 h 112"/>
                <a:gd name="T10" fmla="*/ 54 w 108"/>
                <a:gd name="T11" fmla="*/ 112 h 112"/>
                <a:gd name="T12" fmla="*/ 66 w 108"/>
                <a:gd name="T13" fmla="*/ 71 h 112"/>
                <a:gd name="T14" fmla="*/ 108 w 108"/>
                <a:gd name="T15" fmla="*/ 56 h 112"/>
                <a:gd name="T16" fmla="*/ 66 w 108"/>
                <a:gd name="T17" fmla="*/ 4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12">
                  <a:moveTo>
                    <a:pt x="66" y="41"/>
                  </a:moveTo>
                  <a:lnTo>
                    <a:pt x="54" y="0"/>
                  </a:lnTo>
                  <a:lnTo>
                    <a:pt x="43" y="41"/>
                  </a:lnTo>
                  <a:lnTo>
                    <a:pt x="0" y="56"/>
                  </a:lnTo>
                  <a:lnTo>
                    <a:pt x="43" y="71"/>
                  </a:lnTo>
                  <a:lnTo>
                    <a:pt x="54" y="112"/>
                  </a:lnTo>
                  <a:lnTo>
                    <a:pt x="66" y="71"/>
                  </a:lnTo>
                  <a:lnTo>
                    <a:pt x="108" y="56"/>
                  </a:lnTo>
                  <a:lnTo>
                    <a:pt x="66"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iṣlïḋê">
              <a:extLst>
                <a:ext uri="{FF2B5EF4-FFF2-40B4-BE49-F238E27FC236}">
                  <a16:creationId xmlns:a16="http://schemas.microsoft.com/office/drawing/2014/main" id="{C4C9ED3D-9511-4DBA-9863-4EB0BA54C37D}"/>
                </a:ext>
              </a:extLst>
            </p:cNvPr>
            <p:cNvSpPr/>
            <p:nvPr/>
          </p:nvSpPr>
          <p:spPr bwMode="auto">
            <a:xfrm>
              <a:off x="7215424" y="4020335"/>
              <a:ext cx="455053" cy="467188"/>
            </a:xfrm>
            <a:custGeom>
              <a:avLst/>
              <a:gdLst>
                <a:gd name="T0" fmla="*/ 46 w 75"/>
                <a:gd name="T1" fmla="*/ 29 h 77"/>
                <a:gd name="T2" fmla="*/ 38 w 75"/>
                <a:gd name="T3" fmla="*/ 0 h 77"/>
                <a:gd name="T4" fmla="*/ 29 w 75"/>
                <a:gd name="T5" fmla="*/ 29 h 77"/>
                <a:gd name="T6" fmla="*/ 0 w 75"/>
                <a:gd name="T7" fmla="*/ 37 h 77"/>
                <a:gd name="T8" fmla="*/ 29 w 75"/>
                <a:gd name="T9" fmla="*/ 48 h 77"/>
                <a:gd name="T10" fmla="*/ 38 w 75"/>
                <a:gd name="T11" fmla="*/ 77 h 77"/>
                <a:gd name="T12" fmla="*/ 46 w 75"/>
                <a:gd name="T13" fmla="*/ 48 h 77"/>
                <a:gd name="T14" fmla="*/ 75 w 75"/>
                <a:gd name="T15" fmla="*/ 37 h 77"/>
                <a:gd name="T16" fmla="*/ 46 w 75"/>
                <a:gd name="T17" fmla="*/ 2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77">
                  <a:moveTo>
                    <a:pt x="46" y="29"/>
                  </a:moveTo>
                  <a:lnTo>
                    <a:pt x="38" y="0"/>
                  </a:lnTo>
                  <a:lnTo>
                    <a:pt x="29" y="29"/>
                  </a:lnTo>
                  <a:lnTo>
                    <a:pt x="0" y="37"/>
                  </a:lnTo>
                  <a:lnTo>
                    <a:pt x="29" y="48"/>
                  </a:lnTo>
                  <a:lnTo>
                    <a:pt x="38" y="77"/>
                  </a:lnTo>
                  <a:lnTo>
                    <a:pt x="46" y="48"/>
                  </a:lnTo>
                  <a:lnTo>
                    <a:pt x="75" y="37"/>
                  </a:lnTo>
                  <a:lnTo>
                    <a:pt x="46"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ísḷïdê">
              <a:extLst>
                <a:ext uri="{FF2B5EF4-FFF2-40B4-BE49-F238E27FC236}">
                  <a16:creationId xmlns:a16="http://schemas.microsoft.com/office/drawing/2014/main" id="{E3BA987C-8C7D-42F0-ADD9-3174932FB36A}"/>
                </a:ext>
              </a:extLst>
            </p:cNvPr>
            <p:cNvSpPr/>
            <p:nvPr/>
          </p:nvSpPr>
          <p:spPr bwMode="auto">
            <a:xfrm>
              <a:off x="6032290" y="2782596"/>
              <a:ext cx="303367" cy="315502"/>
            </a:xfrm>
            <a:custGeom>
              <a:avLst/>
              <a:gdLst>
                <a:gd name="T0" fmla="*/ 31 w 50"/>
                <a:gd name="T1" fmla="*/ 21 h 52"/>
                <a:gd name="T2" fmla="*/ 25 w 50"/>
                <a:gd name="T3" fmla="*/ 0 h 52"/>
                <a:gd name="T4" fmla="*/ 21 w 50"/>
                <a:gd name="T5" fmla="*/ 21 h 52"/>
                <a:gd name="T6" fmla="*/ 0 w 50"/>
                <a:gd name="T7" fmla="*/ 27 h 52"/>
                <a:gd name="T8" fmla="*/ 21 w 50"/>
                <a:gd name="T9" fmla="*/ 34 h 52"/>
                <a:gd name="T10" fmla="*/ 25 w 50"/>
                <a:gd name="T11" fmla="*/ 52 h 52"/>
                <a:gd name="T12" fmla="*/ 31 w 50"/>
                <a:gd name="T13" fmla="*/ 34 h 52"/>
                <a:gd name="T14" fmla="*/ 50 w 50"/>
                <a:gd name="T15" fmla="*/ 27 h 52"/>
                <a:gd name="T16" fmla="*/ 31 w 50"/>
                <a:gd name="T17" fmla="*/ 2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52">
                  <a:moveTo>
                    <a:pt x="31" y="21"/>
                  </a:moveTo>
                  <a:lnTo>
                    <a:pt x="25" y="0"/>
                  </a:lnTo>
                  <a:lnTo>
                    <a:pt x="21" y="21"/>
                  </a:lnTo>
                  <a:lnTo>
                    <a:pt x="0" y="27"/>
                  </a:lnTo>
                  <a:lnTo>
                    <a:pt x="21" y="34"/>
                  </a:lnTo>
                  <a:lnTo>
                    <a:pt x="25" y="52"/>
                  </a:lnTo>
                  <a:lnTo>
                    <a:pt x="31" y="34"/>
                  </a:lnTo>
                  <a:lnTo>
                    <a:pt x="50" y="27"/>
                  </a:lnTo>
                  <a:lnTo>
                    <a:pt x="31"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pic>
        <p:nvPicPr>
          <p:cNvPr id="68" name="Picture 2" descr="âold super marioâçå¾çæç´¢ç»æ"/>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7516229" flipH="1">
            <a:off x="6635424" y="4336308"/>
            <a:ext cx="665056" cy="665056"/>
          </a:xfrm>
          <a:prstGeom prst="rect">
            <a:avLst/>
          </a:prstGeom>
          <a:noFill/>
          <a:extLst>
            <a:ext uri="{909E8E84-426E-40DD-AFC4-6F175D3DCCD1}">
              <a14:hiddenFill xmlns:a14="http://schemas.microsoft.com/office/drawing/2010/main">
                <a:solidFill>
                  <a:srgbClr val="FFFFFF"/>
                </a:solidFill>
              </a14:hiddenFill>
            </a:ext>
          </a:extLst>
        </p:spPr>
      </p:pic>
      <p:sp>
        <p:nvSpPr>
          <p:cNvPr id="2" name="文本框 1"/>
          <p:cNvSpPr txBox="1"/>
          <p:nvPr/>
        </p:nvSpPr>
        <p:spPr>
          <a:xfrm>
            <a:off x="1744394" y="2144422"/>
            <a:ext cx="1620957" cy="523220"/>
          </a:xfrm>
          <a:prstGeom prst="rect">
            <a:avLst/>
          </a:prstGeom>
          <a:noFill/>
        </p:spPr>
        <p:txBody>
          <a:bodyPr wrap="none" rtlCol="0">
            <a:spAutoFit/>
          </a:bodyPr>
          <a:lstStyle/>
          <a:p>
            <a:r>
              <a:rPr lang="zh-CN" altLang="en-US" sz="2800" b="1" dirty="0" smtClean="0">
                <a:solidFill>
                  <a:srgbClr val="008CD7"/>
                </a:solidFill>
              </a:rPr>
              <a:t>正向方法</a:t>
            </a:r>
            <a:endParaRPr lang="zh-CN" altLang="en-US" sz="2800" b="1" dirty="0">
              <a:solidFill>
                <a:srgbClr val="008CD7"/>
              </a:solidFill>
            </a:endParaRPr>
          </a:p>
        </p:txBody>
      </p:sp>
      <p:sp>
        <p:nvSpPr>
          <p:cNvPr id="69" name="文本框 68"/>
          <p:cNvSpPr txBox="1"/>
          <p:nvPr/>
        </p:nvSpPr>
        <p:spPr>
          <a:xfrm>
            <a:off x="8994111" y="2144422"/>
            <a:ext cx="1620957" cy="523220"/>
          </a:xfrm>
          <a:prstGeom prst="rect">
            <a:avLst/>
          </a:prstGeom>
          <a:noFill/>
        </p:spPr>
        <p:txBody>
          <a:bodyPr wrap="none" rtlCol="0">
            <a:spAutoFit/>
          </a:bodyPr>
          <a:lstStyle/>
          <a:p>
            <a:r>
              <a:rPr lang="zh-CN" altLang="en-US" sz="2800" b="1" dirty="0">
                <a:solidFill>
                  <a:srgbClr val="008CD7"/>
                </a:solidFill>
              </a:rPr>
              <a:t>逆向</a:t>
            </a:r>
            <a:r>
              <a:rPr lang="zh-CN" altLang="en-US" sz="2800" b="1" dirty="0" smtClean="0">
                <a:solidFill>
                  <a:srgbClr val="008CD7"/>
                </a:solidFill>
              </a:rPr>
              <a:t>方法</a:t>
            </a:r>
            <a:endParaRPr lang="zh-CN" altLang="en-US" sz="2800" b="1" dirty="0">
              <a:solidFill>
                <a:srgbClr val="008CD7"/>
              </a:solidFill>
            </a:endParaRPr>
          </a:p>
        </p:txBody>
      </p:sp>
      <p:sp>
        <p:nvSpPr>
          <p:cNvPr id="70" name="文本框 69"/>
          <p:cNvSpPr txBox="1"/>
          <p:nvPr/>
        </p:nvSpPr>
        <p:spPr>
          <a:xfrm>
            <a:off x="1756938" y="2937874"/>
            <a:ext cx="1762021" cy="1754326"/>
          </a:xfrm>
          <a:prstGeom prst="rect">
            <a:avLst/>
          </a:prstGeom>
          <a:noFill/>
        </p:spPr>
        <p:txBody>
          <a:bodyPr wrap="none" rtlCol="0">
            <a:spAutoFit/>
          </a:bodyPr>
          <a:lstStyle/>
          <a:p>
            <a:pPr marL="342900" indent="-342900">
              <a:lnSpc>
                <a:spcPct val="150000"/>
              </a:lnSpc>
              <a:buFont typeface="Arial" panose="020B0604020202020204" pitchFamily="34" charset="0"/>
              <a:buChar char="•"/>
            </a:pPr>
            <a:r>
              <a:rPr lang="zh-CN" altLang="en-US" sz="2400" dirty="0" smtClean="0"/>
              <a:t>分解需求</a:t>
            </a:r>
            <a:endParaRPr lang="en-US" altLang="zh-CN" sz="2400" dirty="0" smtClean="0"/>
          </a:p>
          <a:p>
            <a:pPr marL="342900" indent="-342900">
              <a:lnSpc>
                <a:spcPct val="150000"/>
              </a:lnSpc>
              <a:buFont typeface="Arial" panose="020B0604020202020204" pitchFamily="34" charset="0"/>
              <a:buChar char="•"/>
            </a:pPr>
            <a:r>
              <a:rPr lang="zh-CN" altLang="en-US" sz="2400" dirty="0" smtClean="0"/>
              <a:t>专家调研</a:t>
            </a:r>
            <a:endParaRPr lang="en-US" altLang="zh-CN" sz="2400" dirty="0" smtClean="0"/>
          </a:p>
          <a:p>
            <a:pPr marL="342900" indent="-342900">
              <a:lnSpc>
                <a:spcPct val="150000"/>
              </a:lnSpc>
              <a:buFont typeface="Arial" panose="020B0604020202020204" pitchFamily="34" charset="0"/>
              <a:buChar char="•"/>
            </a:pPr>
            <a:r>
              <a:rPr lang="en-US" altLang="zh-CN" sz="2400" dirty="0" smtClean="0"/>
              <a:t>SFMFA</a:t>
            </a:r>
            <a:endParaRPr lang="zh-CN" altLang="en-US" sz="2400" dirty="0"/>
          </a:p>
        </p:txBody>
      </p:sp>
      <p:sp>
        <p:nvSpPr>
          <p:cNvPr id="71" name="文本框 70"/>
          <p:cNvSpPr txBox="1"/>
          <p:nvPr/>
        </p:nvSpPr>
        <p:spPr>
          <a:xfrm>
            <a:off x="9285259" y="3011883"/>
            <a:ext cx="1293559" cy="1200329"/>
          </a:xfrm>
          <a:prstGeom prst="rect">
            <a:avLst/>
          </a:prstGeom>
          <a:noFill/>
        </p:spPr>
        <p:txBody>
          <a:bodyPr wrap="none" rtlCol="0">
            <a:spAutoFit/>
          </a:bodyPr>
          <a:lstStyle/>
          <a:p>
            <a:pPr marL="342900" indent="-342900">
              <a:lnSpc>
                <a:spcPct val="150000"/>
              </a:lnSpc>
              <a:buFont typeface="Arial" panose="020B0604020202020204" pitchFamily="34" charset="0"/>
              <a:buChar char="•"/>
            </a:pPr>
            <a:r>
              <a:rPr lang="en-US" altLang="zh-CN" sz="2400" dirty="0" smtClean="0"/>
              <a:t>SFTA</a:t>
            </a:r>
          </a:p>
          <a:p>
            <a:pPr marL="342900" indent="-342900">
              <a:lnSpc>
                <a:spcPct val="150000"/>
              </a:lnSpc>
              <a:buFont typeface="Arial" panose="020B0604020202020204" pitchFamily="34" charset="0"/>
              <a:buChar char="•"/>
            </a:pPr>
            <a:r>
              <a:rPr lang="en-US" altLang="zh-CN" sz="2400" dirty="0" smtClean="0"/>
              <a:t>DFX</a:t>
            </a:r>
          </a:p>
        </p:txBody>
      </p:sp>
      <p:sp>
        <p:nvSpPr>
          <p:cNvPr id="72" name="curved-arrow-pointing-up_20979"/>
          <p:cNvSpPr>
            <a:spLocks noChangeAspect="1"/>
          </p:cNvSpPr>
          <p:nvPr/>
        </p:nvSpPr>
        <p:spPr bwMode="auto">
          <a:xfrm rot="1864225">
            <a:off x="4382360" y="3307206"/>
            <a:ext cx="557554" cy="609685"/>
          </a:xfrm>
          <a:custGeom>
            <a:avLst/>
            <a:gdLst>
              <a:gd name="T0" fmla="*/ 1607 w 1977"/>
              <a:gd name="T1" fmla="*/ 2165 h 2165"/>
              <a:gd name="T2" fmla="*/ 435 w 1977"/>
              <a:gd name="T3" fmla="*/ 702 h 2165"/>
              <a:gd name="T4" fmla="*/ 0 w 1977"/>
              <a:gd name="T5" fmla="*/ 702 h 2165"/>
              <a:gd name="T6" fmla="*/ 701 w 1977"/>
              <a:gd name="T7" fmla="*/ 0 h 2165"/>
              <a:gd name="T8" fmla="*/ 1403 w 1977"/>
              <a:gd name="T9" fmla="*/ 702 h 2165"/>
              <a:gd name="T10" fmla="*/ 970 w 1977"/>
              <a:gd name="T11" fmla="*/ 702 h 2165"/>
              <a:gd name="T12" fmla="*/ 1845 w 1977"/>
              <a:gd name="T13" fmla="*/ 2054 h 2165"/>
              <a:gd name="T14" fmla="*/ 1977 w 1977"/>
              <a:gd name="T15" fmla="*/ 2092 h 2165"/>
              <a:gd name="T16" fmla="*/ 1845 w 1977"/>
              <a:gd name="T17" fmla="*/ 2130 h 2165"/>
              <a:gd name="T18" fmla="*/ 1607 w 1977"/>
              <a:gd name="T19" fmla="*/ 2165 h 2165"/>
              <a:gd name="T20" fmla="*/ 192 w 1977"/>
              <a:gd name="T21" fmla="*/ 622 h 2165"/>
              <a:gd name="T22" fmla="*/ 509 w 1977"/>
              <a:gd name="T23" fmla="*/ 622 h 2165"/>
              <a:gd name="T24" fmla="*/ 511 w 1977"/>
              <a:gd name="T25" fmla="*/ 659 h 2165"/>
              <a:gd name="T26" fmla="*/ 1607 w 1977"/>
              <a:gd name="T27" fmla="*/ 2085 h 2165"/>
              <a:gd name="T28" fmla="*/ 1691 w 1977"/>
              <a:gd name="T29" fmla="*/ 2080 h 2165"/>
              <a:gd name="T30" fmla="*/ 887 w 1977"/>
              <a:gd name="T31" fmla="*/ 665 h 2165"/>
              <a:gd name="T32" fmla="*/ 884 w 1977"/>
              <a:gd name="T33" fmla="*/ 622 h 2165"/>
              <a:gd name="T34" fmla="*/ 1211 w 1977"/>
              <a:gd name="T35" fmla="*/ 622 h 2165"/>
              <a:gd name="T36" fmla="*/ 702 w 1977"/>
              <a:gd name="T37" fmla="*/ 112 h 2165"/>
              <a:gd name="T38" fmla="*/ 192 w 1977"/>
              <a:gd name="T39" fmla="*/ 622 h 2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77" h="2165">
                <a:moveTo>
                  <a:pt x="1607" y="2165"/>
                </a:moveTo>
                <a:cubicBezTo>
                  <a:pt x="1010" y="2165"/>
                  <a:pt x="511" y="1538"/>
                  <a:pt x="435" y="702"/>
                </a:cubicBezTo>
                <a:lnTo>
                  <a:pt x="0" y="702"/>
                </a:lnTo>
                <a:lnTo>
                  <a:pt x="701" y="0"/>
                </a:lnTo>
                <a:lnTo>
                  <a:pt x="1403" y="702"/>
                </a:lnTo>
                <a:lnTo>
                  <a:pt x="970" y="702"/>
                </a:lnTo>
                <a:cubicBezTo>
                  <a:pt x="1033" y="1368"/>
                  <a:pt x="1389" y="1921"/>
                  <a:pt x="1845" y="2054"/>
                </a:cubicBezTo>
                <a:lnTo>
                  <a:pt x="1977" y="2092"/>
                </a:lnTo>
                <a:lnTo>
                  <a:pt x="1845" y="2130"/>
                </a:lnTo>
                <a:cubicBezTo>
                  <a:pt x="1767" y="2153"/>
                  <a:pt x="1687" y="2165"/>
                  <a:pt x="1607" y="2165"/>
                </a:cubicBezTo>
                <a:close/>
                <a:moveTo>
                  <a:pt x="192" y="622"/>
                </a:moveTo>
                <a:lnTo>
                  <a:pt x="509" y="622"/>
                </a:lnTo>
                <a:lnTo>
                  <a:pt x="511" y="659"/>
                </a:lnTo>
                <a:cubicBezTo>
                  <a:pt x="572" y="1472"/>
                  <a:pt x="1043" y="2085"/>
                  <a:pt x="1607" y="2085"/>
                </a:cubicBezTo>
                <a:cubicBezTo>
                  <a:pt x="1635" y="2085"/>
                  <a:pt x="1663" y="2083"/>
                  <a:pt x="1691" y="2080"/>
                </a:cubicBezTo>
                <a:cubicBezTo>
                  <a:pt x="1254" y="1877"/>
                  <a:pt x="937" y="1329"/>
                  <a:pt x="887" y="665"/>
                </a:cubicBezTo>
                <a:lnTo>
                  <a:pt x="884" y="622"/>
                </a:lnTo>
                <a:lnTo>
                  <a:pt x="1211" y="622"/>
                </a:lnTo>
                <a:lnTo>
                  <a:pt x="702" y="112"/>
                </a:lnTo>
                <a:lnTo>
                  <a:pt x="192" y="622"/>
                </a:lnTo>
                <a:close/>
              </a:path>
            </a:pathLst>
          </a:custGeom>
          <a:solidFill>
            <a:schemeClr val="accent1"/>
          </a:solidFill>
          <a:ln>
            <a:noFill/>
          </a:ln>
        </p:spPr>
      </p:sp>
      <p:sp>
        <p:nvSpPr>
          <p:cNvPr id="73" name="curved-arrow-pointing-up_20979"/>
          <p:cNvSpPr>
            <a:spLocks noChangeAspect="1"/>
          </p:cNvSpPr>
          <p:nvPr/>
        </p:nvSpPr>
        <p:spPr bwMode="auto">
          <a:xfrm rot="20114563" flipH="1">
            <a:off x="7150881" y="3275792"/>
            <a:ext cx="557554" cy="609685"/>
          </a:xfrm>
          <a:custGeom>
            <a:avLst/>
            <a:gdLst>
              <a:gd name="T0" fmla="*/ 1607 w 1977"/>
              <a:gd name="T1" fmla="*/ 2165 h 2165"/>
              <a:gd name="T2" fmla="*/ 435 w 1977"/>
              <a:gd name="T3" fmla="*/ 702 h 2165"/>
              <a:gd name="T4" fmla="*/ 0 w 1977"/>
              <a:gd name="T5" fmla="*/ 702 h 2165"/>
              <a:gd name="T6" fmla="*/ 701 w 1977"/>
              <a:gd name="T7" fmla="*/ 0 h 2165"/>
              <a:gd name="T8" fmla="*/ 1403 w 1977"/>
              <a:gd name="T9" fmla="*/ 702 h 2165"/>
              <a:gd name="T10" fmla="*/ 970 w 1977"/>
              <a:gd name="T11" fmla="*/ 702 h 2165"/>
              <a:gd name="T12" fmla="*/ 1845 w 1977"/>
              <a:gd name="T13" fmla="*/ 2054 h 2165"/>
              <a:gd name="T14" fmla="*/ 1977 w 1977"/>
              <a:gd name="T15" fmla="*/ 2092 h 2165"/>
              <a:gd name="T16" fmla="*/ 1845 w 1977"/>
              <a:gd name="T17" fmla="*/ 2130 h 2165"/>
              <a:gd name="T18" fmla="*/ 1607 w 1977"/>
              <a:gd name="T19" fmla="*/ 2165 h 2165"/>
              <a:gd name="T20" fmla="*/ 192 w 1977"/>
              <a:gd name="T21" fmla="*/ 622 h 2165"/>
              <a:gd name="T22" fmla="*/ 509 w 1977"/>
              <a:gd name="T23" fmla="*/ 622 h 2165"/>
              <a:gd name="T24" fmla="*/ 511 w 1977"/>
              <a:gd name="T25" fmla="*/ 659 h 2165"/>
              <a:gd name="T26" fmla="*/ 1607 w 1977"/>
              <a:gd name="T27" fmla="*/ 2085 h 2165"/>
              <a:gd name="T28" fmla="*/ 1691 w 1977"/>
              <a:gd name="T29" fmla="*/ 2080 h 2165"/>
              <a:gd name="T30" fmla="*/ 887 w 1977"/>
              <a:gd name="T31" fmla="*/ 665 h 2165"/>
              <a:gd name="T32" fmla="*/ 884 w 1977"/>
              <a:gd name="T33" fmla="*/ 622 h 2165"/>
              <a:gd name="T34" fmla="*/ 1211 w 1977"/>
              <a:gd name="T35" fmla="*/ 622 h 2165"/>
              <a:gd name="T36" fmla="*/ 702 w 1977"/>
              <a:gd name="T37" fmla="*/ 112 h 2165"/>
              <a:gd name="T38" fmla="*/ 192 w 1977"/>
              <a:gd name="T39" fmla="*/ 622 h 2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77" h="2165">
                <a:moveTo>
                  <a:pt x="1607" y="2165"/>
                </a:moveTo>
                <a:cubicBezTo>
                  <a:pt x="1010" y="2165"/>
                  <a:pt x="511" y="1538"/>
                  <a:pt x="435" y="702"/>
                </a:cubicBezTo>
                <a:lnTo>
                  <a:pt x="0" y="702"/>
                </a:lnTo>
                <a:lnTo>
                  <a:pt x="701" y="0"/>
                </a:lnTo>
                <a:lnTo>
                  <a:pt x="1403" y="702"/>
                </a:lnTo>
                <a:lnTo>
                  <a:pt x="970" y="702"/>
                </a:lnTo>
                <a:cubicBezTo>
                  <a:pt x="1033" y="1368"/>
                  <a:pt x="1389" y="1921"/>
                  <a:pt x="1845" y="2054"/>
                </a:cubicBezTo>
                <a:lnTo>
                  <a:pt x="1977" y="2092"/>
                </a:lnTo>
                <a:lnTo>
                  <a:pt x="1845" y="2130"/>
                </a:lnTo>
                <a:cubicBezTo>
                  <a:pt x="1767" y="2153"/>
                  <a:pt x="1687" y="2165"/>
                  <a:pt x="1607" y="2165"/>
                </a:cubicBezTo>
                <a:close/>
                <a:moveTo>
                  <a:pt x="192" y="622"/>
                </a:moveTo>
                <a:lnTo>
                  <a:pt x="509" y="622"/>
                </a:lnTo>
                <a:lnTo>
                  <a:pt x="511" y="659"/>
                </a:lnTo>
                <a:cubicBezTo>
                  <a:pt x="572" y="1472"/>
                  <a:pt x="1043" y="2085"/>
                  <a:pt x="1607" y="2085"/>
                </a:cubicBezTo>
                <a:cubicBezTo>
                  <a:pt x="1635" y="2085"/>
                  <a:pt x="1663" y="2083"/>
                  <a:pt x="1691" y="2080"/>
                </a:cubicBezTo>
                <a:cubicBezTo>
                  <a:pt x="1254" y="1877"/>
                  <a:pt x="937" y="1329"/>
                  <a:pt x="887" y="665"/>
                </a:cubicBezTo>
                <a:lnTo>
                  <a:pt x="884" y="622"/>
                </a:lnTo>
                <a:lnTo>
                  <a:pt x="1211" y="622"/>
                </a:lnTo>
                <a:lnTo>
                  <a:pt x="702" y="112"/>
                </a:lnTo>
                <a:lnTo>
                  <a:pt x="192" y="622"/>
                </a:lnTo>
                <a:close/>
              </a:path>
            </a:pathLst>
          </a:custGeom>
          <a:solidFill>
            <a:schemeClr val="accent1"/>
          </a:solidFill>
          <a:ln>
            <a:noFill/>
          </a:ln>
        </p:spPr>
      </p:sp>
      <p:cxnSp>
        <p:nvCxnSpPr>
          <p:cNvPr id="4" name="直接连接符 3"/>
          <p:cNvCxnSpPr/>
          <p:nvPr/>
        </p:nvCxnSpPr>
        <p:spPr>
          <a:xfrm>
            <a:off x="1635512" y="2557346"/>
            <a:ext cx="0" cy="3579929"/>
          </a:xfrm>
          <a:prstGeom prst="line">
            <a:avLst/>
          </a:prstGeom>
          <a:ln w="63500" cap="flat">
            <a:solidFill>
              <a:srgbClr val="CC3300"/>
            </a:solidFill>
            <a:prstDash val="solid"/>
            <a:round/>
            <a:tailEnd type="none"/>
          </a:ln>
          <a:effectLst>
            <a:outerShdw blurRad="40000" dist="23000" dir="5400000" rotWithShape="0">
              <a:srgbClr val="000000">
                <a:alpha val="35000"/>
              </a:srgbClr>
            </a:outerShdw>
            <a:softEdge rad="0"/>
          </a:effectLst>
        </p:spPr>
        <p:style>
          <a:lnRef idx="3">
            <a:schemeClr val="accent1"/>
          </a:lnRef>
          <a:fillRef idx="0">
            <a:schemeClr val="accent1"/>
          </a:fillRef>
          <a:effectRef idx="2">
            <a:schemeClr val="accent1"/>
          </a:effectRef>
          <a:fontRef idx="minor">
            <a:schemeClr val="tx1"/>
          </a:fontRef>
        </p:style>
      </p:cxnSp>
      <p:cxnSp>
        <p:nvCxnSpPr>
          <p:cNvPr id="74" name="直接连接符 73"/>
          <p:cNvCxnSpPr/>
          <p:nvPr/>
        </p:nvCxnSpPr>
        <p:spPr>
          <a:xfrm>
            <a:off x="10615068" y="2556080"/>
            <a:ext cx="0" cy="3579929"/>
          </a:xfrm>
          <a:prstGeom prst="line">
            <a:avLst/>
          </a:prstGeom>
          <a:ln w="63500" cap="flat">
            <a:solidFill>
              <a:srgbClr val="CC3300"/>
            </a:solidFill>
            <a:prstDash val="solid"/>
            <a:round/>
            <a:tailEnd type="none"/>
          </a:ln>
          <a:effectLst>
            <a:outerShdw blurRad="40000" dist="23000" dir="5400000" rotWithShape="0">
              <a:srgbClr val="000000">
                <a:alpha val="35000"/>
              </a:srgbClr>
            </a:outerShdw>
            <a:softEdge rad="0"/>
          </a:effectLst>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25927213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5311167" y="2967335"/>
            <a:ext cx="1569661" cy="923330"/>
          </a:xfrm>
          <a:prstGeom prst="rect">
            <a:avLst/>
          </a:prstGeom>
          <a:noFill/>
        </p:spPr>
        <p:txBody>
          <a:bodyPr wrap="none" lIns="91440" tIns="45720" rIns="91440" bIns="45720">
            <a:spAutoFit/>
          </a:bodyPr>
          <a:lstStyle/>
          <a:p>
            <a:pPr algn="ctr"/>
            <a:r>
              <a:rPr lang="zh-CN" altLang="en-US" sz="5400" dirty="0">
                <a:ln w="0"/>
                <a:solidFill>
                  <a:schemeClr val="accent1"/>
                </a:solidFill>
                <a:effectLst>
                  <a:outerShdw blurRad="38100" dist="25400" dir="5400000" algn="ctr" rotWithShape="0">
                    <a:srgbClr val="6E747A">
                      <a:alpha val="43000"/>
                    </a:srgbClr>
                  </a:outerShdw>
                </a:effectLst>
              </a:rPr>
              <a:t>正</a:t>
            </a:r>
            <a:r>
              <a:rPr lang="zh-CN" altLang="en-US" sz="5400" b="0" cap="none" spc="0" dirty="0" smtClean="0">
                <a:ln w="0"/>
                <a:solidFill>
                  <a:schemeClr val="accent1"/>
                </a:solidFill>
                <a:effectLst>
                  <a:outerShdw blurRad="38100" dist="25400" dir="5400000" algn="ctr" rotWithShape="0">
                    <a:srgbClr val="6E747A">
                      <a:alpha val="43000"/>
                    </a:srgbClr>
                  </a:outerShdw>
                </a:effectLst>
              </a:rPr>
              <a:t>向</a:t>
            </a:r>
            <a:endParaRPr lang="zh-CN" altLang="en-US" sz="5400" b="0" cap="none" spc="0" dirty="0">
              <a:ln w="0"/>
              <a:solidFill>
                <a:schemeClr val="accent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2997489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组合 29">
            <a:extLst>
              <a:ext uri="{FF2B5EF4-FFF2-40B4-BE49-F238E27FC236}">
                <a16:creationId xmlns:a16="http://schemas.microsoft.com/office/drawing/2014/main" id="{0853A8D8-448C-4E50-AD38-219140CD6184}"/>
              </a:ext>
            </a:extLst>
          </p:cNvPr>
          <p:cNvGrpSpPr/>
          <p:nvPr/>
        </p:nvGrpSpPr>
        <p:grpSpPr>
          <a:xfrm>
            <a:off x="669925" y="210537"/>
            <a:ext cx="468000" cy="468000"/>
            <a:chOff x="669925" y="48611"/>
            <a:chExt cx="468000" cy="468000"/>
          </a:xfrm>
        </p:grpSpPr>
        <p:sp>
          <p:nvSpPr>
            <p:cNvPr id="31" name="椭圆 30">
              <a:extLst>
                <a:ext uri="{FF2B5EF4-FFF2-40B4-BE49-F238E27FC236}">
                  <a16:creationId xmlns:a16="http://schemas.microsoft.com/office/drawing/2014/main" id="{18765B3C-06BD-445D-B72B-512E55DEF34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32" name="椭圆 31">
              <a:extLst>
                <a:ext uri="{FF2B5EF4-FFF2-40B4-BE49-F238E27FC236}">
                  <a16:creationId xmlns:a16="http://schemas.microsoft.com/office/drawing/2014/main" id="{A6AA7771-0E3D-4241-9DE3-825324394A29}"/>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grpSp>
      <p:sp>
        <p:nvSpPr>
          <p:cNvPr id="36" name="标题 1">
            <a:extLst>
              <a:ext uri="{FF2B5EF4-FFF2-40B4-BE49-F238E27FC236}">
                <a16:creationId xmlns:a16="http://schemas.microsoft.com/office/drawing/2014/main" id="{62930304-3D14-4FEB-B45D-709CE5948953}"/>
              </a:ext>
            </a:extLst>
          </p:cNvPr>
          <p:cNvSpPr txBox="1">
            <a:spLocks/>
          </p:cNvSpPr>
          <p:nvPr/>
        </p:nvSpPr>
        <p:spPr>
          <a:xfrm>
            <a:off x="1149783" y="198392"/>
            <a:ext cx="4092068" cy="57784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3200" b="0" dirty="0" smtClean="0">
                <a:latin typeface="Arial" panose="020B0604020202020204" pitchFamily="34" charset="0"/>
                <a:ea typeface="Microsoft YaHei" panose="020B0503020204020204" pitchFamily="34" charset="-122"/>
                <a:cs typeface="+mn-ea"/>
                <a:sym typeface="Arial" panose="020B0604020202020204" pitchFamily="34" charset="0"/>
              </a:rPr>
              <a:t>分解需求</a:t>
            </a:r>
            <a:endParaRPr lang="zh-CN" altLang="en-US" sz="3200" b="0" dirty="0">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7" name="文本框 6"/>
          <p:cNvSpPr txBox="1"/>
          <p:nvPr/>
        </p:nvSpPr>
        <p:spPr>
          <a:xfrm>
            <a:off x="1137925" y="1151277"/>
            <a:ext cx="3570208" cy="2308324"/>
          </a:xfrm>
          <a:prstGeom prst="rect">
            <a:avLst/>
          </a:prstGeom>
          <a:noFill/>
        </p:spPr>
        <p:txBody>
          <a:bodyPr wrap="none" rtlCol="0">
            <a:spAutoFit/>
          </a:bodyPr>
          <a:lstStyle/>
          <a:p>
            <a:pPr>
              <a:lnSpc>
                <a:spcPct val="150000"/>
              </a:lnSpc>
            </a:pPr>
            <a:r>
              <a:rPr lang="zh-CN" altLang="en-US" sz="2400" b="1" dirty="0" smtClean="0">
                <a:solidFill>
                  <a:srgbClr val="008CD7"/>
                </a:solidFill>
              </a:rPr>
              <a:t>需求分解的颗粒度要求：</a:t>
            </a:r>
            <a:endParaRPr lang="en-US" altLang="zh-CN" sz="2400" b="1" dirty="0" smtClean="0">
              <a:solidFill>
                <a:srgbClr val="008CD7"/>
              </a:solidFill>
            </a:endParaRPr>
          </a:p>
          <a:p>
            <a:pPr marL="342900" indent="-342900">
              <a:lnSpc>
                <a:spcPct val="150000"/>
              </a:lnSpc>
              <a:buFont typeface="Arial" panose="020B0604020202020204" pitchFamily="34" charset="0"/>
              <a:buChar char="•"/>
            </a:pPr>
            <a:r>
              <a:rPr lang="zh-CN" altLang="en-US" sz="2400" dirty="0" smtClean="0"/>
              <a:t>功能最小化</a:t>
            </a:r>
            <a:endParaRPr lang="en-US" altLang="zh-CN" sz="2400" dirty="0" smtClean="0"/>
          </a:p>
          <a:p>
            <a:pPr marL="342900" indent="-342900">
              <a:lnSpc>
                <a:spcPct val="150000"/>
              </a:lnSpc>
              <a:buFont typeface="Arial" panose="020B0604020202020204" pitchFamily="34" charset="0"/>
              <a:buChar char="•"/>
            </a:pPr>
            <a:r>
              <a:rPr lang="zh-CN" altLang="en-US" sz="2400" dirty="0" smtClean="0"/>
              <a:t>完成时间不可分割</a:t>
            </a:r>
            <a:endParaRPr lang="en-US" altLang="zh-CN" sz="2400" dirty="0" smtClean="0"/>
          </a:p>
          <a:p>
            <a:pPr marL="342900" indent="-342900">
              <a:lnSpc>
                <a:spcPct val="150000"/>
              </a:lnSpc>
              <a:buFont typeface="Arial" panose="020B0604020202020204" pitchFamily="34" charset="0"/>
              <a:buChar char="•"/>
            </a:pPr>
            <a:r>
              <a:rPr lang="zh-CN" altLang="en-US" sz="2400" dirty="0" smtClean="0"/>
              <a:t>单人完成</a:t>
            </a:r>
            <a:endParaRPr lang="zh-CN" altLang="en-US" sz="2400" dirty="0"/>
          </a:p>
        </p:txBody>
      </p:sp>
      <p:pic>
        <p:nvPicPr>
          <p:cNvPr id="8" name="图片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41851" y="1248700"/>
            <a:ext cx="6070750" cy="3945988"/>
          </a:xfrm>
          <a:prstGeom prst="rect">
            <a:avLst/>
          </a:prstGeom>
        </p:spPr>
      </p:pic>
      <p:sp>
        <p:nvSpPr>
          <p:cNvPr id="11" name="î$ḷîḓê">
            <a:extLst>
              <a:ext uri="{FF2B5EF4-FFF2-40B4-BE49-F238E27FC236}">
                <a16:creationId xmlns:a16="http://schemas.microsoft.com/office/drawing/2014/main" id="{0120662D-08EC-45F4-BE9C-84021ADB4C9A}"/>
              </a:ext>
            </a:extLst>
          </p:cNvPr>
          <p:cNvSpPr/>
          <p:nvPr/>
        </p:nvSpPr>
        <p:spPr bwMode="gray">
          <a:xfrm>
            <a:off x="8173525" y="198392"/>
            <a:ext cx="1506790" cy="480145"/>
          </a:xfrm>
          <a:prstGeom prst="rect">
            <a:avLst/>
          </a:prstGeom>
          <a:solidFill>
            <a:schemeClr val="accent1"/>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a:bodyPr>
          <a:lstStyle/>
          <a:p>
            <a:pPr algn="ctr"/>
            <a:r>
              <a:rPr lang="zh-CN" altLang="en-US" sz="2400" dirty="0" smtClean="0">
                <a:solidFill>
                  <a:schemeClr val="bg1"/>
                </a:solidFill>
              </a:rPr>
              <a:t>正向方法</a:t>
            </a:r>
            <a:endParaRPr lang="en-US" altLang="zh-CN" sz="2400" dirty="0">
              <a:solidFill>
                <a:schemeClr val="bg1"/>
              </a:solidFill>
            </a:endParaRPr>
          </a:p>
        </p:txBody>
      </p:sp>
      <p:sp>
        <p:nvSpPr>
          <p:cNvPr id="12" name="î$ḷîḓê">
            <a:extLst>
              <a:ext uri="{FF2B5EF4-FFF2-40B4-BE49-F238E27FC236}">
                <a16:creationId xmlns:a16="http://schemas.microsoft.com/office/drawing/2014/main" id="{0120662D-08EC-45F4-BE9C-84021ADB4C9A}"/>
              </a:ext>
            </a:extLst>
          </p:cNvPr>
          <p:cNvSpPr/>
          <p:nvPr/>
        </p:nvSpPr>
        <p:spPr bwMode="gray">
          <a:xfrm>
            <a:off x="9712399" y="199746"/>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a:bodyPr>
          <a:lstStyle/>
          <a:p>
            <a:pPr algn="ctr"/>
            <a:r>
              <a:rPr lang="zh-CN" altLang="en-US" sz="2400" dirty="0" smtClean="0">
                <a:solidFill>
                  <a:schemeClr val="bg1"/>
                </a:solidFill>
              </a:rPr>
              <a:t>逆向方法</a:t>
            </a:r>
            <a:endParaRPr lang="en-US" altLang="zh-CN" sz="2400" dirty="0">
              <a:solidFill>
                <a:schemeClr val="bg1"/>
              </a:solidFill>
            </a:endParaRPr>
          </a:p>
        </p:txBody>
      </p:sp>
    </p:spTree>
    <p:extLst>
      <p:ext uri="{BB962C8B-B14F-4D97-AF65-F5344CB8AC3E}">
        <p14:creationId xmlns:p14="http://schemas.microsoft.com/office/powerpoint/2010/main" val="6869490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组合 24">
            <a:extLst>
              <a:ext uri="{FF2B5EF4-FFF2-40B4-BE49-F238E27FC236}">
                <a16:creationId xmlns:a16="http://schemas.microsoft.com/office/drawing/2014/main" id="{CEB26AC6-8803-4B11-85B4-C59AA1468C0D}"/>
              </a:ext>
            </a:extLst>
          </p:cNvPr>
          <p:cNvGrpSpPr/>
          <p:nvPr/>
        </p:nvGrpSpPr>
        <p:grpSpPr>
          <a:xfrm>
            <a:off x="669925" y="210537"/>
            <a:ext cx="468000" cy="468000"/>
            <a:chOff x="669925" y="48611"/>
            <a:chExt cx="468000" cy="468000"/>
          </a:xfrm>
        </p:grpSpPr>
        <p:sp>
          <p:nvSpPr>
            <p:cNvPr id="26" name="椭圆 25">
              <a:extLst>
                <a:ext uri="{FF2B5EF4-FFF2-40B4-BE49-F238E27FC236}">
                  <a16:creationId xmlns:a16="http://schemas.microsoft.com/office/drawing/2014/main" id="{0C0097E0-6F96-45D5-ABB2-099551FBEE62}"/>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27" name="椭圆 26">
              <a:extLst>
                <a:ext uri="{FF2B5EF4-FFF2-40B4-BE49-F238E27FC236}">
                  <a16:creationId xmlns:a16="http://schemas.microsoft.com/office/drawing/2014/main" id="{6804E737-5EB1-46A1-83BC-A5C89D770A79}"/>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grpSp>
      <p:sp>
        <p:nvSpPr>
          <p:cNvPr id="28" name="标题 1">
            <a:extLst>
              <a:ext uri="{FF2B5EF4-FFF2-40B4-BE49-F238E27FC236}">
                <a16:creationId xmlns:a16="http://schemas.microsoft.com/office/drawing/2014/main" id="{049FB160-C30C-4855-9EE7-81A1CF522FFC}"/>
              </a:ext>
            </a:extLst>
          </p:cNvPr>
          <p:cNvSpPr>
            <a:spLocks noGrp="1"/>
          </p:cNvSpPr>
          <p:nvPr>
            <p:ph type="title" idx="4294967295"/>
          </p:nvPr>
        </p:nvSpPr>
        <p:spPr>
          <a:xfrm>
            <a:off x="1149783" y="223444"/>
            <a:ext cx="7837463" cy="577849"/>
          </a:xfrm>
          <a:prstGeom prst="rect">
            <a:avLst/>
          </a:prstGeom>
        </p:spPr>
        <p:txBody>
          <a:bodyPr/>
          <a:lstStyle/>
          <a:p>
            <a:r>
              <a:rPr lang="zh-CN" altLang="en-US" sz="3200" b="0" dirty="0">
                <a:latin typeface="Arial" panose="020B0604020202020204" pitchFamily="34" charset="0"/>
                <a:ea typeface="Microsoft YaHei" panose="020B0503020204020204" pitchFamily="34" charset="-122"/>
                <a:cs typeface="+mn-ea"/>
                <a:sym typeface="Arial" panose="020B0604020202020204" pitchFamily="34" charset="0"/>
              </a:rPr>
              <a:t>练习</a:t>
            </a:r>
            <a:r>
              <a:rPr lang="zh-CN" altLang="en-US" sz="3200" b="0" dirty="0" smtClean="0">
                <a:latin typeface="Arial" panose="020B0604020202020204" pitchFamily="34" charset="0"/>
                <a:ea typeface="Microsoft YaHei" panose="020B0503020204020204" pitchFamily="34" charset="-122"/>
                <a:cs typeface="+mn-ea"/>
                <a:sym typeface="Arial" panose="020B0604020202020204" pitchFamily="34" charset="0"/>
              </a:rPr>
              <a:t>：下列需求分解是否合理</a:t>
            </a:r>
            <a:endParaRPr lang="zh-CN" altLang="en-US" sz="3200" b="0" dirty="0">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41" name="文本框 40"/>
          <p:cNvSpPr txBox="1"/>
          <p:nvPr/>
        </p:nvSpPr>
        <p:spPr>
          <a:xfrm>
            <a:off x="1149782" y="1140116"/>
            <a:ext cx="2646878" cy="580415"/>
          </a:xfrm>
          <a:prstGeom prst="rect">
            <a:avLst/>
          </a:prstGeom>
          <a:noFill/>
        </p:spPr>
        <p:txBody>
          <a:bodyPr wrap="none" rtlCol="0">
            <a:spAutoFit/>
          </a:bodyPr>
          <a:lstStyle/>
          <a:p>
            <a:pPr>
              <a:lnSpc>
                <a:spcPct val="150000"/>
              </a:lnSpc>
            </a:pPr>
            <a:r>
              <a:rPr lang="zh-CN" altLang="en-US" sz="2400" b="1" dirty="0" smtClean="0">
                <a:solidFill>
                  <a:srgbClr val="008CD7"/>
                </a:solidFill>
              </a:rPr>
              <a:t>学生分数查询系统</a:t>
            </a:r>
            <a:endParaRPr lang="en-US" altLang="zh-CN" sz="2400" b="1" dirty="0" smtClean="0">
              <a:solidFill>
                <a:srgbClr val="008CD7"/>
              </a:solidFill>
            </a:endParaRPr>
          </a:p>
        </p:txBody>
      </p:sp>
      <p:sp>
        <p:nvSpPr>
          <p:cNvPr id="7" name="î$ḷîḓê">
            <a:extLst>
              <a:ext uri="{FF2B5EF4-FFF2-40B4-BE49-F238E27FC236}">
                <a16:creationId xmlns:a16="http://schemas.microsoft.com/office/drawing/2014/main" id="{0120662D-08EC-45F4-BE9C-84021ADB4C9A}"/>
              </a:ext>
            </a:extLst>
          </p:cNvPr>
          <p:cNvSpPr/>
          <p:nvPr/>
        </p:nvSpPr>
        <p:spPr bwMode="gray">
          <a:xfrm>
            <a:off x="8173525" y="198392"/>
            <a:ext cx="1506790" cy="480145"/>
          </a:xfrm>
          <a:prstGeom prst="rect">
            <a:avLst/>
          </a:prstGeom>
          <a:solidFill>
            <a:schemeClr val="accent1"/>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a:bodyPr>
          <a:lstStyle/>
          <a:p>
            <a:pPr algn="ctr"/>
            <a:r>
              <a:rPr lang="zh-CN" altLang="en-US" sz="2400" dirty="0" smtClean="0">
                <a:solidFill>
                  <a:schemeClr val="bg1"/>
                </a:solidFill>
              </a:rPr>
              <a:t>正向方法</a:t>
            </a:r>
            <a:endParaRPr lang="en-US" altLang="zh-CN" sz="2400" dirty="0">
              <a:solidFill>
                <a:schemeClr val="bg1"/>
              </a:solidFill>
            </a:endParaRPr>
          </a:p>
        </p:txBody>
      </p:sp>
      <p:sp>
        <p:nvSpPr>
          <p:cNvPr id="8" name="î$ḷîḓê">
            <a:extLst>
              <a:ext uri="{FF2B5EF4-FFF2-40B4-BE49-F238E27FC236}">
                <a16:creationId xmlns:a16="http://schemas.microsoft.com/office/drawing/2014/main" id="{0120662D-08EC-45F4-BE9C-84021ADB4C9A}"/>
              </a:ext>
            </a:extLst>
          </p:cNvPr>
          <p:cNvSpPr/>
          <p:nvPr/>
        </p:nvSpPr>
        <p:spPr bwMode="gray">
          <a:xfrm>
            <a:off x="9712399" y="199746"/>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a:bodyPr>
          <a:lstStyle/>
          <a:p>
            <a:pPr algn="ctr"/>
            <a:r>
              <a:rPr lang="zh-CN" altLang="en-US" sz="2400" dirty="0" smtClean="0">
                <a:solidFill>
                  <a:schemeClr val="bg1"/>
                </a:solidFill>
              </a:rPr>
              <a:t>逆向方法</a:t>
            </a:r>
            <a:endParaRPr lang="en-US" altLang="zh-CN" sz="2400" dirty="0">
              <a:solidFill>
                <a:schemeClr val="bg1"/>
              </a:solidFill>
            </a:endParaRPr>
          </a:p>
        </p:txBody>
      </p:sp>
      <p:sp>
        <p:nvSpPr>
          <p:cNvPr id="9" name="文本框 8"/>
          <p:cNvSpPr txBox="1"/>
          <p:nvPr/>
        </p:nvSpPr>
        <p:spPr>
          <a:xfrm>
            <a:off x="1450033" y="1877095"/>
            <a:ext cx="1762021" cy="2308324"/>
          </a:xfrm>
          <a:prstGeom prst="rect">
            <a:avLst/>
          </a:prstGeom>
          <a:noFill/>
        </p:spPr>
        <p:txBody>
          <a:bodyPr wrap="none" rtlCol="0">
            <a:spAutoFit/>
          </a:bodyPr>
          <a:lstStyle/>
          <a:p>
            <a:pPr marL="342900" indent="-342900">
              <a:lnSpc>
                <a:spcPct val="150000"/>
              </a:lnSpc>
              <a:buFontTx/>
              <a:buChar char="-"/>
            </a:pPr>
            <a:r>
              <a:rPr lang="zh-CN" altLang="en-US" sz="2400" dirty="0" smtClean="0"/>
              <a:t>分数输入</a:t>
            </a:r>
            <a:endParaRPr lang="en-US" altLang="zh-CN" sz="2400" dirty="0" smtClean="0"/>
          </a:p>
          <a:p>
            <a:pPr marL="342900" indent="-342900">
              <a:lnSpc>
                <a:spcPct val="150000"/>
              </a:lnSpc>
              <a:buFontTx/>
              <a:buChar char="-"/>
            </a:pPr>
            <a:r>
              <a:rPr lang="zh-CN" altLang="en-US" sz="2400" dirty="0" smtClean="0"/>
              <a:t>分数显示</a:t>
            </a:r>
            <a:endParaRPr lang="en-US" altLang="zh-CN" sz="2400" dirty="0" smtClean="0"/>
          </a:p>
          <a:p>
            <a:pPr marL="342900" indent="-342900">
              <a:lnSpc>
                <a:spcPct val="150000"/>
              </a:lnSpc>
              <a:buFontTx/>
              <a:buChar char="-"/>
            </a:pPr>
            <a:r>
              <a:rPr lang="zh-CN" altLang="en-US" sz="2400" dirty="0" smtClean="0"/>
              <a:t>分数查询</a:t>
            </a:r>
            <a:endParaRPr lang="en-US" altLang="zh-CN" sz="2400" dirty="0" smtClean="0"/>
          </a:p>
          <a:p>
            <a:pPr marL="342900" indent="-342900">
              <a:lnSpc>
                <a:spcPct val="150000"/>
              </a:lnSpc>
              <a:buFontTx/>
              <a:buChar char="-"/>
            </a:pPr>
            <a:r>
              <a:rPr lang="zh-CN" altLang="en-US" sz="2400" dirty="0" smtClean="0"/>
              <a:t>分数管理</a:t>
            </a:r>
            <a:endParaRPr lang="en-US" altLang="zh-CN" sz="2400" dirty="0" smtClean="0"/>
          </a:p>
        </p:txBody>
      </p:sp>
      <p:sp>
        <p:nvSpPr>
          <p:cNvPr id="10" name="文本框 9"/>
          <p:cNvSpPr txBox="1"/>
          <p:nvPr/>
        </p:nvSpPr>
        <p:spPr>
          <a:xfrm>
            <a:off x="3947573" y="1877095"/>
            <a:ext cx="1762021" cy="2308324"/>
          </a:xfrm>
          <a:prstGeom prst="rect">
            <a:avLst/>
          </a:prstGeom>
          <a:noFill/>
        </p:spPr>
        <p:txBody>
          <a:bodyPr wrap="none" rtlCol="0">
            <a:spAutoFit/>
          </a:bodyPr>
          <a:lstStyle/>
          <a:p>
            <a:pPr marL="342900" indent="-342900">
              <a:lnSpc>
                <a:spcPct val="150000"/>
              </a:lnSpc>
              <a:buFontTx/>
              <a:buChar char="-"/>
            </a:pPr>
            <a:r>
              <a:rPr lang="zh-CN" altLang="en-US" sz="2400" dirty="0" smtClean="0"/>
              <a:t>分数删除</a:t>
            </a:r>
            <a:endParaRPr lang="en-US" altLang="zh-CN" sz="2400" dirty="0" smtClean="0"/>
          </a:p>
          <a:p>
            <a:pPr marL="342900" indent="-342900">
              <a:lnSpc>
                <a:spcPct val="150000"/>
              </a:lnSpc>
              <a:buFontTx/>
              <a:buChar char="-"/>
            </a:pPr>
            <a:r>
              <a:rPr lang="zh-CN" altLang="en-US" sz="2400" dirty="0" smtClean="0"/>
              <a:t>分数修改</a:t>
            </a:r>
            <a:endParaRPr lang="en-US" altLang="zh-CN" sz="2400" dirty="0" smtClean="0"/>
          </a:p>
          <a:p>
            <a:pPr marL="342900" indent="-342900">
              <a:lnSpc>
                <a:spcPct val="150000"/>
              </a:lnSpc>
              <a:buFontTx/>
              <a:buChar char="-"/>
            </a:pPr>
            <a:r>
              <a:rPr lang="zh-CN" altLang="en-US" sz="2400" dirty="0" smtClean="0"/>
              <a:t>学生登录</a:t>
            </a:r>
            <a:endParaRPr lang="en-US" altLang="zh-CN" sz="2400" dirty="0" smtClean="0"/>
          </a:p>
          <a:p>
            <a:pPr marL="342900" indent="-342900">
              <a:lnSpc>
                <a:spcPct val="150000"/>
              </a:lnSpc>
              <a:buFontTx/>
              <a:buChar char="-"/>
            </a:pPr>
            <a:r>
              <a:rPr lang="zh-CN" altLang="en-US" sz="2400" dirty="0" smtClean="0"/>
              <a:t>后台管理</a:t>
            </a:r>
            <a:endParaRPr lang="en-US" altLang="zh-CN" sz="2400" dirty="0" smtClean="0"/>
          </a:p>
        </p:txBody>
      </p:sp>
    </p:spTree>
    <p:extLst>
      <p:ext uri="{BB962C8B-B14F-4D97-AF65-F5344CB8AC3E}">
        <p14:creationId xmlns:p14="http://schemas.microsoft.com/office/powerpoint/2010/main" val="289676373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组合 29">
            <a:extLst>
              <a:ext uri="{FF2B5EF4-FFF2-40B4-BE49-F238E27FC236}">
                <a16:creationId xmlns:a16="http://schemas.microsoft.com/office/drawing/2014/main" id="{0853A8D8-448C-4E50-AD38-219140CD6184}"/>
              </a:ext>
            </a:extLst>
          </p:cNvPr>
          <p:cNvGrpSpPr/>
          <p:nvPr/>
        </p:nvGrpSpPr>
        <p:grpSpPr>
          <a:xfrm>
            <a:off x="669925" y="210537"/>
            <a:ext cx="468000" cy="468000"/>
            <a:chOff x="669925" y="48611"/>
            <a:chExt cx="468000" cy="468000"/>
          </a:xfrm>
        </p:grpSpPr>
        <p:sp>
          <p:nvSpPr>
            <p:cNvPr id="31" name="椭圆 30">
              <a:extLst>
                <a:ext uri="{FF2B5EF4-FFF2-40B4-BE49-F238E27FC236}">
                  <a16:creationId xmlns:a16="http://schemas.microsoft.com/office/drawing/2014/main" id="{18765B3C-06BD-445D-B72B-512E55DEF34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32" name="椭圆 31">
              <a:extLst>
                <a:ext uri="{FF2B5EF4-FFF2-40B4-BE49-F238E27FC236}">
                  <a16:creationId xmlns:a16="http://schemas.microsoft.com/office/drawing/2014/main" id="{A6AA7771-0E3D-4241-9DE3-825324394A29}"/>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grpSp>
      <p:sp>
        <p:nvSpPr>
          <p:cNvPr id="36" name="标题 1">
            <a:extLst>
              <a:ext uri="{FF2B5EF4-FFF2-40B4-BE49-F238E27FC236}">
                <a16:creationId xmlns:a16="http://schemas.microsoft.com/office/drawing/2014/main" id="{62930304-3D14-4FEB-B45D-709CE5948953}"/>
              </a:ext>
            </a:extLst>
          </p:cNvPr>
          <p:cNvSpPr txBox="1">
            <a:spLocks/>
          </p:cNvSpPr>
          <p:nvPr/>
        </p:nvSpPr>
        <p:spPr>
          <a:xfrm>
            <a:off x="1149783" y="198392"/>
            <a:ext cx="4092068" cy="57784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3200" b="0" dirty="0" smtClean="0">
                <a:latin typeface="Arial" panose="020B0604020202020204" pitchFamily="34" charset="0"/>
                <a:ea typeface="Microsoft YaHei" panose="020B0503020204020204" pitchFamily="34" charset="-122"/>
                <a:cs typeface="+mn-ea"/>
                <a:sym typeface="Arial" panose="020B0604020202020204" pitchFamily="34" charset="0"/>
              </a:rPr>
              <a:t>专家调研</a:t>
            </a:r>
            <a:endParaRPr lang="zh-CN" altLang="en-US" sz="3200" b="0" dirty="0">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70" name="文本框 69"/>
          <p:cNvSpPr txBox="1"/>
          <p:nvPr/>
        </p:nvSpPr>
        <p:spPr>
          <a:xfrm>
            <a:off x="1149783" y="1037532"/>
            <a:ext cx="800219" cy="580415"/>
          </a:xfrm>
          <a:prstGeom prst="rect">
            <a:avLst/>
          </a:prstGeom>
          <a:noFill/>
        </p:spPr>
        <p:txBody>
          <a:bodyPr wrap="none" rtlCol="0">
            <a:spAutoFit/>
          </a:bodyPr>
          <a:lstStyle/>
          <a:p>
            <a:pPr>
              <a:lnSpc>
                <a:spcPct val="150000"/>
              </a:lnSpc>
            </a:pPr>
            <a:r>
              <a:rPr lang="zh-CN" altLang="en-US" sz="2400" b="1" dirty="0" smtClean="0">
                <a:solidFill>
                  <a:srgbClr val="008CD7"/>
                </a:solidFill>
              </a:rPr>
              <a:t>三多</a:t>
            </a:r>
            <a:endParaRPr lang="en-US" altLang="zh-CN" sz="2400" b="1" dirty="0" smtClean="0">
              <a:solidFill>
                <a:srgbClr val="008CD7"/>
              </a:solidFill>
            </a:endParaRPr>
          </a:p>
        </p:txBody>
      </p:sp>
      <p:grpSp>
        <p:nvGrpSpPr>
          <p:cNvPr id="7" name="186009"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0" y="2191450"/>
            <a:ext cx="12192000" cy="3765213"/>
            <a:chOff x="1" y="1917130"/>
            <a:chExt cx="12192000" cy="4227953"/>
          </a:xfrm>
        </p:grpSpPr>
        <p:sp>
          <p:nvSpPr>
            <p:cNvPr id="8" name="íṣļíde">
              <a:extLst>
                <a:ext uri="{FF2B5EF4-FFF2-40B4-BE49-F238E27FC236}">
                  <a16:creationId xmlns:a16="http://schemas.microsoft.com/office/drawing/2014/main" id="{DCCF568B-2019-4074-9811-592A5016C568}"/>
                </a:ext>
              </a:extLst>
            </p:cNvPr>
            <p:cNvSpPr/>
            <p:nvPr/>
          </p:nvSpPr>
          <p:spPr>
            <a:xfrm>
              <a:off x="1" y="4383006"/>
              <a:ext cx="12192000" cy="1762077"/>
            </a:xfrm>
            <a:prstGeom prst="trapezoid">
              <a:avLst>
                <a:gd name="adj" fmla="val 99668"/>
              </a:avLst>
            </a:prstGeom>
            <a:solidFill>
              <a:schemeClr val="tx2">
                <a:lumMod val="20000"/>
                <a:lumOff val="8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9" name="íSľïďê">
              <a:extLst>
                <a:ext uri="{FF2B5EF4-FFF2-40B4-BE49-F238E27FC236}">
                  <a16:creationId xmlns:a16="http://schemas.microsoft.com/office/drawing/2014/main" id="{68AA843B-04FC-40FD-9299-56726DF24BBB}"/>
                </a:ext>
              </a:extLst>
            </p:cNvPr>
            <p:cNvSpPr/>
            <p:nvPr/>
          </p:nvSpPr>
          <p:spPr>
            <a:xfrm>
              <a:off x="4669152" y="1917130"/>
              <a:ext cx="2853695" cy="3161994"/>
            </a:xfrm>
            <a:prstGeom prst="snip1Rect">
              <a:avLst>
                <a:gd name="adj" fmla="val 29383"/>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10" name="íṩḷíḋé">
              <a:extLst>
                <a:ext uri="{FF2B5EF4-FFF2-40B4-BE49-F238E27FC236}">
                  <a16:creationId xmlns:a16="http://schemas.microsoft.com/office/drawing/2014/main" id="{A2FA8DF2-A27C-4AC9-A1EA-3EED247FF2EA}"/>
                </a:ext>
              </a:extLst>
            </p:cNvPr>
            <p:cNvSpPr/>
            <p:nvPr/>
          </p:nvSpPr>
          <p:spPr>
            <a:xfrm>
              <a:off x="4669153" y="4955943"/>
              <a:ext cx="2853695" cy="123181"/>
            </a:xfrm>
            <a:prstGeom prst="rect">
              <a:avLst/>
            </a:prstGeom>
            <a:solidFill>
              <a:schemeClr val="bg2">
                <a:lumMod val="50000"/>
              </a:schemeClr>
            </a:solidFill>
            <a:ln w="3175">
              <a:noFill/>
              <a:prstDash val="solid"/>
              <a:round/>
              <a:headEnd/>
              <a:tailEnd/>
            </a:ln>
            <a:effectLst/>
          </p:spPr>
          <p:txBody>
            <a:bodyPr vert="horz" wrap="square" lIns="121920" tIns="60960" rIns="121920" bIns="60960" anchor="t" anchorCtr="0" compatLnSpc="1">
              <a:prstTxWarp prst="textNoShape">
                <a:avLst/>
              </a:prstTxWarp>
              <a:normAutofit fontScale="25000" lnSpcReduction="20000"/>
            </a:bodyPr>
            <a:lstStyle/>
            <a:p>
              <a:pPr algn="r"/>
              <a:endParaRPr sz="2000" b="1">
                <a:solidFill>
                  <a:schemeClr val="bg1"/>
                </a:solidFill>
              </a:endParaRPr>
            </a:p>
          </p:txBody>
        </p:sp>
        <p:sp>
          <p:nvSpPr>
            <p:cNvPr id="11" name="ïSḷïḓè">
              <a:extLst>
                <a:ext uri="{FF2B5EF4-FFF2-40B4-BE49-F238E27FC236}">
                  <a16:creationId xmlns:a16="http://schemas.microsoft.com/office/drawing/2014/main" id="{41327E5B-62DE-41BD-9716-292232632E92}"/>
                </a:ext>
              </a:extLst>
            </p:cNvPr>
            <p:cNvSpPr/>
            <p:nvPr/>
          </p:nvSpPr>
          <p:spPr bwMode="auto">
            <a:xfrm>
              <a:off x="6802874" y="1917130"/>
              <a:ext cx="719975" cy="719975"/>
            </a:xfrm>
            <a:custGeom>
              <a:avLst/>
              <a:gdLst>
                <a:gd name="T0" fmla="*/ 608 w 608"/>
                <a:gd name="T1" fmla="*/ 0 h 608"/>
                <a:gd name="T2" fmla="*/ 0 w 608"/>
                <a:gd name="T3" fmla="*/ 0 h 608"/>
                <a:gd name="T4" fmla="*/ 608 w 608"/>
                <a:gd name="T5" fmla="*/ 608 h 608"/>
                <a:gd name="T6" fmla="*/ 608 w 608"/>
                <a:gd name="T7" fmla="*/ 0 h 608"/>
              </a:gdLst>
              <a:ahLst/>
              <a:cxnLst>
                <a:cxn ang="0">
                  <a:pos x="T0" y="T1"/>
                </a:cxn>
                <a:cxn ang="0">
                  <a:pos x="T2" y="T3"/>
                </a:cxn>
                <a:cxn ang="0">
                  <a:pos x="T4" y="T5"/>
                </a:cxn>
                <a:cxn ang="0">
                  <a:pos x="T6" y="T7"/>
                </a:cxn>
              </a:cxnLst>
              <a:rect l="0" t="0" r="r" b="b"/>
              <a:pathLst>
                <a:path w="608" h="608">
                  <a:moveTo>
                    <a:pt x="608" y="0"/>
                  </a:moveTo>
                  <a:lnTo>
                    <a:pt x="0" y="0"/>
                  </a:lnTo>
                  <a:lnTo>
                    <a:pt x="608" y="608"/>
                  </a:lnTo>
                  <a:lnTo>
                    <a:pt x="608" y="0"/>
                  </a:lnTo>
                  <a:close/>
                </a:path>
              </a:pathLst>
            </a:custGeom>
            <a:solidFill>
              <a:schemeClr val="bg2">
                <a:lumMod val="75000"/>
              </a:schemeClr>
            </a:solidFill>
            <a:ln w="3175">
              <a:noFill/>
              <a:prstDash val="solid"/>
              <a:round/>
              <a:headEnd/>
              <a:tailEnd/>
            </a:ln>
            <a:effectLst/>
          </p:spPr>
          <p:txBody>
            <a:bodyPr vert="horz" wrap="none" lIns="90000" tIns="46800" rIns="90000" bIns="46800" anchor="t" anchorCtr="0" compatLnSpc="1">
              <a:prstTxWarp prst="textNoShape">
                <a:avLst/>
              </a:prstTxWarp>
              <a:normAutofit/>
            </a:bodyPr>
            <a:lstStyle/>
            <a:p>
              <a:pPr lvl="0" algn="r"/>
              <a:r>
                <a:rPr lang="en-US" altLang="zh-CN" sz="2800" b="1" dirty="0">
                  <a:solidFill>
                    <a:schemeClr val="bg1"/>
                  </a:solidFill>
                </a:rPr>
                <a:t>2</a:t>
              </a:r>
            </a:p>
          </p:txBody>
        </p:sp>
        <p:sp>
          <p:nvSpPr>
            <p:cNvPr id="12" name="íṩḷíďé">
              <a:extLst>
                <a:ext uri="{FF2B5EF4-FFF2-40B4-BE49-F238E27FC236}">
                  <a16:creationId xmlns:a16="http://schemas.microsoft.com/office/drawing/2014/main" id="{8316FAB6-BFE6-4632-85BC-DC6883FF18C6}"/>
                </a:ext>
              </a:extLst>
            </p:cNvPr>
            <p:cNvSpPr/>
            <p:nvPr/>
          </p:nvSpPr>
          <p:spPr>
            <a:xfrm>
              <a:off x="1356784" y="1917130"/>
              <a:ext cx="2853695" cy="3161994"/>
            </a:xfrm>
            <a:prstGeom prst="snip1Rect">
              <a:avLst>
                <a:gd name="adj" fmla="val 29383"/>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13" name="ïṣ1íḋé">
              <a:extLst>
                <a:ext uri="{FF2B5EF4-FFF2-40B4-BE49-F238E27FC236}">
                  <a16:creationId xmlns:a16="http://schemas.microsoft.com/office/drawing/2014/main" id="{777AAEFA-A0BA-42AF-913C-6E59B42E6D6B}"/>
                </a:ext>
              </a:extLst>
            </p:cNvPr>
            <p:cNvSpPr/>
            <p:nvPr/>
          </p:nvSpPr>
          <p:spPr>
            <a:xfrm>
              <a:off x="1356785" y="4955943"/>
              <a:ext cx="2853695" cy="123181"/>
            </a:xfrm>
            <a:prstGeom prst="rect">
              <a:avLst/>
            </a:prstGeom>
            <a:solidFill>
              <a:schemeClr val="tx2"/>
            </a:solidFill>
            <a:ln w="3175">
              <a:noFill/>
              <a:prstDash val="solid"/>
              <a:round/>
              <a:headEnd/>
              <a:tailEnd/>
            </a:ln>
            <a:effectLst/>
          </p:spPr>
          <p:txBody>
            <a:bodyPr anchor="ctr"/>
            <a:lstStyle/>
            <a:p>
              <a:pPr algn="ctr"/>
              <a:endParaRPr/>
            </a:p>
          </p:txBody>
        </p:sp>
        <p:sp>
          <p:nvSpPr>
            <p:cNvPr id="14" name="îṩ1iḋe">
              <a:extLst>
                <a:ext uri="{FF2B5EF4-FFF2-40B4-BE49-F238E27FC236}">
                  <a16:creationId xmlns:a16="http://schemas.microsoft.com/office/drawing/2014/main" id="{82E29058-C73B-4A5A-8ED4-8489E4076658}"/>
                </a:ext>
              </a:extLst>
            </p:cNvPr>
            <p:cNvSpPr/>
            <p:nvPr/>
          </p:nvSpPr>
          <p:spPr bwMode="auto">
            <a:xfrm>
              <a:off x="3490506" y="1917130"/>
              <a:ext cx="719975" cy="719975"/>
            </a:xfrm>
            <a:custGeom>
              <a:avLst/>
              <a:gdLst>
                <a:gd name="T0" fmla="*/ 608 w 608"/>
                <a:gd name="T1" fmla="*/ 0 h 608"/>
                <a:gd name="T2" fmla="*/ 0 w 608"/>
                <a:gd name="T3" fmla="*/ 0 h 608"/>
                <a:gd name="T4" fmla="*/ 608 w 608"/>
                <a:gd name="T5" fmla="*/ 608 h 608"/>
                <a:gd name="T6" fmla="*/ 608 w 608"/>
                <a:gd name="T7" fmla="*/ 0 h 608"/>
              </a:gdLst>
              <a:ahLst/>
              <a:cxnLst>
                <a:cxn ang="0">
                  <a:pos x="T0" y="T1"/>
                </a:cxn>
                <a:cxn ang="0">
                  <a:pos x="T2" y="T3"/>
                </a:cxn>
                <a:cxn ang="0">
                  <a:pos x="T4" y="T5"/>
                </a:cxn>
                <a:cxn ang="0">
                  <a:pos x="T6" y="T7"/>
                </a:cxn>
              </a:cxnLst>
              <a:rect l="0" t="0" r="r" b="b"/>
              <a:pathLst>
                <a:path w="608" h="608">
                  <a:moveTo>
                    <a:pt x="608" y="0"/>
                  </a:moveTo>
                  <a:lnTo>
                    <a:pt x="0" y="0"/>
                  </a:lnTo>
                  <a:lnTo>
                    <a:pt x="608" y="608"/>
                  </a:lnTo>
                  <a:lnTo>
                    <a:pt x="608" y="0"/>
                  </a:lnTo>
                  <a:close/>
                </a:path>
              </a:pathLst>
            </a:custGeom>
            <a:solidFill>
              <a:schemeClr val="tx2">
                <a:lumMod val="60000"/>
                <a:lumOff val="40000"/>
              </a:schemeClr>
            </a:solidFill>
            <a:ln w="3175">
              <a:noFill/>
              <a:prstDash val="solid"/>
              <a:round/>
              <a:headEnd/>
              <a:tailEnd/>
            </a:ln>
            <a:effectLst/>
          </p:spPr>
          <p:txBody>
            <a:bodyPr vert="horz" wrap="none" lIns="90000" tIns="46800" rIns="90000" bIns="46800" anchor="t" anchorCtr="0" compatLnSpc="1">
              <a:prstTxWarp prst="textNoShape">
                <a:avLst/>
              </a:prstTxWarp>
              <a:normAutofit/>
            </a:bodyPr>
            <a:lstStyle/>
            <a:p>
              <a:pPr lvl="0" algn="r"/>
              <a:r>
                <a:rPr lang="en-US" altLang="ko-KR" sz="2800" b="1" dirty="0">
                  <a:solidFill>
                    <a:schemeClr val="bg1"/>
                  </a:solidFill>
                </a:rPr>
                <a:t>1</a:t>
              </a:r>
            </a:p>
          </p:txBody>
        </p:sp>
        <p:sp>
          <p:nvSpPr>
            <p:cNvPr id="15" name="îşḻïḋe">
              <a:extLst>
                <a:ext uri="{FF2B5EF4-FFF2-40B4-BE49-F238E27FC236}">
                  <a16:creationId xmlns:a16="http://schemas.microsoft.com/office/drawing/2014/main" id="{D4503278-3B1A-4180-A6E9-36531B5E176F}"/>
                </a:ext>
              </a:extLst>
            </p:cNvPr>
            <p:cNvSpPr/>
            <p:nvPr/>
          </p:nvSpPr>
          <p:spPr>
            <a:xfrm>
              <a:off x="7966439" y="1917130"/>
              <a:ext cx="2853695" cy="3161994"/>
            </a:xfrm>
            <a:prstGeom prst="snip1Rect">
              <a:avLst>
                <a:gd name="adj" fmla="val 29383"/>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16" name="îṩľíḋê">
              <a:extLst>
                <a:ext uri="{FF2B5EF4-FFF2-40B4-BE49-F238E27FC236}">
                  <a16:creationId xmlns:a16="http://schemas.microsoft.com/office/drawing/2014/main" id="{45C4CDFC-4188-4E47-810E-1C8482B90243}"/>
                </a:ext>
              </a:extLst>
            </p:cNvPr>
            <p:cNvSpPr/>
            <p:nvPr/>
          </p:nvSpPr>
          <p:spPr>
            <a:xfrm>
              <a:off x="7981521" y="4955943"/>
              <a:ext cx="2853695" cy="123181"/>
            </a:xfrm>
            <a:prstGeom prst="rect">
              <a:avLst/>
            </a:prstGeom>
            <a:solidFill>
              <a:schemeClr val="tx2"/>
            </a:solidFill>
            <a:ln w="3175">
              <a:noFill/>
              <a:prstDash val="solid"/>
              <a:round/>
              <a:headEnd/>
              <a:tailEnd/>
            </a:ln>
            <a:effectLst/>
          </p:spPr>
          <p:txBody>
            <a:bodyPr anchor="ctr"/>
            <a:lstStyle/>
            <a:p>
              <a:pPr algn="ctr"/>
              <a:endParaRPr/>
            </a:p>
          </p:txBody>
        </p:sp>
        <p:sp>
          <p:nvSpPr>
            <p:cNvPr id="17" name="ïṩḻidé">
              <a:extLst>
                <a:ext uri="{FF2B5EF4-FFF2-40B4-BE49-F238E27FC236}">
                  <a16:creationId xmlns:a16="http://schemas.microsoft.com/office/drawing/2014/main" id="{F46A0AC6-0BC7-4EB1-891C-92D6BE4DFC19}"/>
                </a:ext>
              </a:extLst>
            </p:cNvPr>
            <p:cNvSpPr/>
            <p:nvPr/>
          </p:nvSpPr>
          <p:spPr bwMode="auto">
            <a:xfrm>
              <a:off x="10115242" y="1917130"/>
              <a:ext cx="719975" cy="719975"/>
            </a:xfrm>
            <a:custGeom>
              <a:avLst/>
              <a:gdLst>
                <a:gd name="T0" fmla="*/ 608 w 608"/>
                <a:gd name="T1" fmla="*/ 0 h 608"/>
                <a:gd name="T2" fmla="*/ 0 w 608"/>
                <a:gd name="T3" fmla="*/ 0 h 608"/>
                <a:gd name="T4" fmla="*/ 608 w 608"/>
                <a:gd name="T5" fmla="*/ 608 h 608"/>
                <a:gd name="T6" fmla="*/ 608 w 608"/>
                <a:gd name="T7" fmla="*/ 0 h 608"/>
              </a:gdLst>
              <a:ahLst/>
              <a:cxnLst>
                <a:cxn ang="0">
                  <a:pos x="T0" y="T1"/>
                </a:cxn>
                <a:cxn ang="0">
                  <a:pos x="T2" y="T3"/>
                </a:cxn>
                <a:cxn ang="0">
                  <a:pos x="T4" y="T5"/>
                </a:cxn>
                <a:cxn ang="0">
                  <a:pos x="T6" y="T7"/>
                </a:cxn>
              </a:cxnLst>
              <a:rect l="0" t="0" r="r" b="b"/>
              <a:pathLst>
                <a:path w="608" h="608">
                  <a:moveTo>
                    <a:pt x="608" y="0"/>
                  </a:moveTo>
                  <a:lnTo>
                    <a:pt x="0" y="0"/>
                  </a:lnTo>
                  <a:lnTo>
                    <a:pt x="608" y="608"/>
                  </a:lnTo>
                  <a:lnTo>
                    <a:pt x="608" y="0"/>
                  </a:lnTo>
                  <a:close/>
                </a:path>
              </a:pathLst>
            </a:custGeom>
            <a:solidFill>
              <a:schemeClr val="tx2">
                <a:lumMod val="60000"/>
                <a:lumOff val="40000"/>
              </a:schemeClr>
            </a:solidFill>
            <a:ln w="3175">
              <a:noFill/>
              <a:prstDash val="solid"/>
              <a:round/>
              <a:headEnd/>
              <a:tailEnd/>
            </a:ln>
            <a:effectLst/>
          </p:spPr>
          <p:txBody>
            <a:bodyPr vert="horz" wrap="none" lIns="90000" tIns="46800" rIns="90000" bIns="46800" anchor="t" anchorCtr="0" compatLnSpc="1">
              <a:prstTxWarp prst="textNoShape">
                <a:avLst/>
              </a:prstTxWarp>
              <a:normAutofit/>
            </a:bodyPr>
            <a:lstStyle/>
            <a:p>
              <a:pPr lvl="0" algn="r"/>
              <a:r>
                <a:rPr lang="en-US" altLang="ko-KR" sz="2800" b="1" dirty="0">
                  <a:solidFill>
                    <a:schemeClr val="bg1"/>
                  </a:solidFill>
                </a:rPr>
                <a:t>3</a:t>
              </a:r>
            </a:p>
          </p:txBody>
        </p:sp>
        <p:grpSp>
          <p:nvGrpSpPr>
            <p:cNvPr id="18" name="ïṧḻîďè"/>
            <p:cNvGrpSpPr/>
            <p:nvPr/>
          </p:nvGrpSpPr>
          <p:grpSpPr>
            <a:xfrm>
              <a:off x="7966172" y="2931526"/>
              <a:ext cx="2854228" cy="944997"/>
              <a:chOff x="8369298" y="1680562"/>
              <a:chExt cx="2327132" cy="944997"/>
            </a:xfrm>
          </p:grpSpPr>
          <p:sp>
            <p:nvSpPr>
              <p:cNvPr id="25" name="íş1ïde">
                <a:extLst>
                  <a:ext uri="{FF2B5EF4-FFF2-40B4-BE49-F238E27FC236}">
                    <a16:creationId xmlns:a16="http://schemas.microsoft.com/office/drawing/2014/main" id="{39340196-E1AA-4B49-976A-BF366BB2B662}"/>
                  </a:ext>
                </a:extLst>
              </p:cNvPr>
              <p:cNvSpPr/>
              <p:nvPr/>
            </p:nvSpPr>
            <p:spPr bwMode="auto">
              <a:xfrm>
                <a:off x="8369298" y="2068160"/>
                <a:ext cx="2327132" cy="557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lnSpc>
                    <a:spcPct val="130000"/>
                  </a:lnSpc>
                </a:pPr>
                <a:r>
                  <a:rPr lang="zh-CN" altLang="en-US" sz="2000" dirty="0" smtClean="0"/>
                  <a:t>避免不全面</a:t>
                </a:r>
                <a:endParaRPr lang="en-US" altLang="zh-CN" sz="2000" dirty="0"/>
              </a:p>
            </p:txBody>
          </p:sp>
          <p:sp>
            <p:nvSpPr>
              <p:cNvPr id="26" name="ïşliďê">
                <a:extLst>
                  <a:ext uri="{FF2B5EF4-FFF2-40B4-BE49-F238E27FC236}">
                    <a16:creationId xmlns:a16="http://schemas.microsoft.com/office/drawing/2014/main" id="{4D5C24C6-4DD0-4193-AD42-019C1134797B}"/>
                  </a:ext>
                </a:extLst>
              </p:cNvPr>
              <p:cNvSpPr txBox="1"/>
              <p:nvPr/>
            </p:nvSpPr>
            <p:spPr bwMode="auto">
              <a:xfrm>
                <a:off x="8369298" y="1680562"/>
                <a:ext cx="2327132"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buFontTx/>
                  <a:buNone/>
                </a:pPr>
                <a:r>
                  <a:rPr lang="zh-CN" altLang="en-US" sz="2400" b="1" dirty="0" smtClean="0"/>
                  <a:t>方法</a:t>
                </a:r>
                <a:r>
                  <a:rPr lang="zh-CN" altLang="en-US" sz="4000" b="1" dirty="0">
                    <a:solidFill>
                      <a:srgbClr val="0070C0"/>
                    </a:solidFill>
                    <a:effectLst>
                      <a:outerShdw blurRad="50800" dist="38100" algn="l" rotWithShape="0">
                        <a:prstClr val="black">
                          <a:alpha val="40000"/>
                        </a:prstClr>
                      </a:outerShdw>
                      <a:reflection blurRad="6350" stA="50000" endA="300" endPos="50000" dist="29997" dir="5400000" sy="-100000" algn="bl" rotWithShape="0"/>
                    </a:effectLst>
                  </a:rPr>
                  <a:t>多</a:t>
                </a:r>
                <a:endParaRPr lang="en-US" altLang="zh-CN" sz="4000" b="1" dirty="0">
                  <a:solidFill>
                    <a:srgbClr val="0070C0"/>
                  </a:solidFill>
                  <a:effectLst>
                    <a:outerShdw blurRad="50800" dist="38100" algn="l" rotWithShape="0">
                      <a:prstClr val="black">
                        <a:alpha val="40000"/>
                      </a:prstClr>
                    </a:outerShdw>
                    <a:reflection blurRad="6350" stA="50000" endA="300" endPos="50000" dist="29997" dir="5400000" sy="-100000" algn="bl" rotWithShape="0"/>
                  </a:effectLst>
                </a:endParaRPr>
              </a:p>
            </p:txBody>
          </p:sp>
        </p:grpSp>
        <p:grpSp>
          <p:nvGrpSpPr>
            <p:cNvPr id="19" name="ïṥļîďè"/>
            <p:cNvGrpSpPr/>
            <p:nvPr/>
          </p:nvGrpSpPr>
          <p:grpSpPr>
            <a:xfrm>
              <a:off x="4668885" y="2931526"/>
              <a:ext cx="2854228" cy="944997"/>
              <a:chOff x="8369298" y="1680562"/>
              <a:chExt cx="2327132" cy="944997"/>
            </a:xfrm>
          </p:grpSpPr>
          <p:sp>
            <p:nvSpPr>
              <p:cNvPr id="23" name="íṧḻîḋé">
                <a:extLst>
                  <a:ext uri="{FF2B5EF4-FFF2-40B4-BE49-F238E27FC236}">
                    <a16:creationId xmlns:a16="http://schemas.microsoft.com/office/drawing/2014/main" id="{39340196-E1AA-4B49-976A-BF366BB2B662}"/>
                  </a:ext>
                </a:extLst>
              </p:cNvPr>
              <p:cNvSpPr/>
              <p:nvPr/>
            </p:nvSpPr>
            <p:spPr bwMode="auto">
              <a:xfrm>
                <a:off x="8369298" y="2068160"/>
                <a:ext cx="2327132" cy="557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lnSpc>
                    <a:spcPct val="130000"/>
                  </a:lnSpc>
                </a:pPr>
                <a:r>
                  <a:rPr lang="zh-CN" altLang="en-US" sz="2000" dirty="0" smtClean="0"/>
                  <a:t>避免有遗漏</a:t>
                </a:r>
                <a:endParaRPr lang="en-US" altLang="zh-CN" sz="2000" dirty="0"/>
              </a:p>
            </p:txBody>
          </p:sp>
          <p:sp>
            <p:nvSpPr>
              <p:cNvPr id="24" name="îṡlîḓè">
                <a:extLst>
                  <a:ext uri="{FF2B5EF4-FFF2-40B4-BE49-F238E27FC236}">
                    <a16:creationId xmlns:a16="http://schemas.microsoft.com/office/drawing/2014/main" id="{4D5C24C6-4DD0-4193-AD42-019C1134797B}"/>
                  </a:ext>
                </a:extLst>
              </p:cNvPr>
              <p:cNvSpPr txBox="1"/>
              <p:nvPr/>
            </p:nvSpPr>
            <p:spPr bwMode="auto">
              <a:xfrm>
                <a:off x="8369298" y="1680562"/>
                <a:ext cx="2327132"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buFontTx/>
                  <a:buNone/>
                </a:pPr>
                <a:r>
                  <a:rPr lang="zh-CN" altLang="en-US" sz="2400" b="1" dirty="0" smtClean="0"/>
                  <a:t>碰撞</a:t>
                </a:r>
                <a:r>
                  <a:rPr lang="zh-CN" altLang="en-US" sz="4000" b="1" dirty="0">
                    <a:solidFill>
                      <a:srgbClr val="0070C0"/>
                    </a:solidFill>
                    <a:effectLst>
                      <a:outerShdw blurRad="50800" dist="38100" algn="l" rotWithShape="0">
                        <a:prstClr val="black">
                          <a:alpha val="40000"/>
                        </a:prstClr>
                      </a:outerShdw>
                      <a:reflection blurRad="6350" stA="50000" endA="300" endPos="50000" dist="29997" dir="5400000" sy="-100000" algn="bl" rotWithShape="0"/>
                    </a:effectLst>
                  </a:rPr>
                  <a:t>多</a:t>
                </a:r>
                <a:endParaRPr lang="en-US" altLang="zh-CN" sz="4000" b="1" dirty="0">
                  <a:solidFill>
                    <a:srgbClr val="0070C0"/>
                  </a:solidFill>
                  <a:effectLst>
                    <a:outerShdw blurRad="50800" dist="38100" algn="l" rotWithShape="0">
                      <a:prstClr val="black">
                        <a:alpha val="40000"/>
                      </a:prstClr>
                    </a:outerShdw>
                    <a:reflection blurRad="6350" stA="50000" endA="300" endPos="50000" dist="29997" dir="5400000" sy="-100000" algn="bl" rotWithShape="0"/>
                  </a:effectLst>
                </a:endParaRPr>
              </a:p>
            </p:txBody>
          </p:sp>
        </p:grpSp>
        <p:grpSp>
          <p:nvGrpSpPr>
            <p:cNvPr id="20" name="ïs1iḑé"/>
            <p:cNvGrpSpPr/>
            <p:nvPr/>
          </p:nvGrpSpPr>
          <p:grpSpPr>
            <a:xfrm>
              <a:off x="1356517" y="2931526"/>
              <a:ext cx="2854228" cy="944997"/>
              <a:chOff x="8369298" y="1680562"/>
              <a:chExt cx="2327132" cy="944997"/>
            </a:xfrm>
          </p:grpSpPr>
          <p:sp>
            <p:nvSpPr>
              <p:cNvPr id="21" name="iṥľíḑê">
                <a:extLst>
                  <a:ext uri="{FF2B5EF4-FFF2-40B4-BE49-F238E27FC236}">
                    <a16:creationId xmlns:a16="http://schemas.microsoft.com/office/drawing/2014/main" id="{39340196-E1AA-4B49-976A-BF366BB2B662}"/>
                  </a:ext>
                </a:extLst>
              </p:cNvPr>
              <p:cNvSpPr/>
              <p:nvPr/>
            </p:nvSpPr>
            <p:spPr bwMode="auto">
              <a:xfrm>
                <a:off x="8369298" y="2068160"/>
                <a:ext cx="2327132" cy="557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lnSpc>
                    <a:spcPct val="130000"/>
                  </a:lnSpc>
                </a:pPr>
                <a:r>
                  <a:rPr lang="zh-CN" altLang="en-US" sz="2000" dirty="0" smtClean="0"/>
                  <a:t>避免一言堂</a:t>
                </a:r>
                <a:endParaRPr lang="en-US" altLang="zh-CN" sz="2000" dirty="0"/>
              </a:p>
            </p:txBody>
          </p:sp>
          <p:sp>
            <p:nvSpPr>
              <p:cNvPr id="22" name="ïṩľîḓè">
                <a:extLst>
                  <a:ext uri="{FF2B5EF4-FFF2-40B4-BE49-F238E27FC236}">
                    <a16:creationId xmlns:a16="http://schemas.microsoft.com/office/drawing/2014/main" id="{4D5C24C6-4DD0-4193-AD42-019C1134797B}"/>
                  </a:ext>
                </a:extLst>
              </p:cNvPr>
              <p:cNvSpPr txBox="1"/>
              <p:nvPr/>
            </p:nvSpPr>
            <p:spPr bwMode="auto">
              <a:xfrm>
                <a:off x="8369298" y="1680562"/>
                <a:ext cx="2327132"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buFontTx/>
                  <a:buNone/>
                </a:pPr>
                <a:r>
                  <a:rPr lang="zh-CN" altLang="en-US" sz="2400" b="1" dirty="0" smtClean="0"/>
                  <a:t>专家</a:t>
                </a:r>
                <a:r>
                  <a:rPr lang="zh-CN" altLang="en-US" sz="4000" b="1" dirty="0" smtClean="0">
                    <a:solidFill>
                      <a:srgbClr val="0070C0"/>
                    </a:solidFill>
                    <a:effectLst>
                      <a:outerShdw blurRad="50800" dist="38100" algn="l" rotWithShape="0">
                        <a:prstClr val="black">
                          <a:alpha val="40000"/>
                        </a:prstClr>
                      </a:outerShdw>
                      <a:reflection blurRad="6350" stA="50000" endA="300" endPos="50000" dist="29997" dir="5400000" sy="-100000" algn="bl" rotWithShape="0"/>
                    </a:effectLst>
                  </a:rPr>
                  <a:t>多</a:t>
                </a:r>
                <a:endParaRPr lang="en-US" altLang="zh-CN" sz="2400" b="1" dirty="0">
                  <a:solidFill>
                    <a:srgbClr val="0070C0"/>
                  </a:solidFill>
                  <a:effectLst>
                    <a:outerShdw blurRad="50800" dist="38100" algn="l" rotWithShape="0">
                      <a:prstClr val="black">
                        <a:alpha val="40000"/>
                      </a:prstClr>
                    </a:outerShdw>
                    <a:reflection blurRad="6350" stA="50000" endA="300" endPos="50000" dist="29997" dir="5400000" sy="-100000" algn="bl" rotWithShape="0"/>
                  </a:effectLst>
                </a:endParaRPr>
              </a:p>
            </p:txBody>
          </p:sp>
        </p:grpSp>
      </p:grpSp>
      <p:sp>
        <p:nvSpPr>
          <p:cNvPr id="29" name="î$ḷîḓê">
            <a:extLst>
              <a:ext uri="{FF2B5EF4-FFF2-40B4-BE49-F238E27FC236}">
                <a16:creationId xmlns:a16="http://schemas.microsoft.com/office/drawing/2014/main" id="{0120662D-08EC-45F4-BE9C-84021ADB4C9A}"/>
              </a:ext>
            </a:extLst>
          </p:cNvPr>
          <p:cNvSpPr/>
          <p:nvPr/>
        </p:nvSpPr>
        <p:spPr bwMode="gray">
          <a:xfrm>
            <a:off x="8173525" y="198392"/>
            <a:ext cx="1506790" cy="480145"/>
          </a:xfrm>
          <a:prstGeom prst="rect">
            <a:avLst/>
          </a:prstGeom>
          <a:solidFill>
            <a:schemeClr val="accent1"/>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a:bodyPr>
          <a:lstStyle/>
          <a:p>
            <a:pPr algn="ctr"/>
            <a:r>
              <a:rPr lang="zh-CN" altLang="en-US" sz="2400" dirty="0" smtClean="0">
                <a:solidFill>
                  <a:schemeClr val="bg1"/>
                </a:solidFill>
              </a:rPr>
              <a:t>正向方法</a:t>
            </a:r>
            <a:endParaRPr lang="en-US" altLang="zh-CN" sz="2400" dirty="0">
              <a:solidFill>
                <a:schemeClr val="bg1"/>
              </a:solidFill>
            </a:endParaRPr>
          </a:p>
        </p:txBody>
      </p:sp>
      <p:sp>
        <p:nvSpPr>
          <p:cNvPr id="33" name="î$ḷîḓê">
            <a:extLst>
              <a:ext uri="{FF2B5EF4-FFF2-40B4-BE49-F238E27FC236}">
                <a16:creationId xmlns:a16="http://schemas.microsoft.com/office/drawing/2014/main" id="{0120662D-08EC-45F4-BE9C-84021ADB4C9A}"/>
              </a:ext>
            </a:extLst>
          </p:cNvPr>
          <p:cNvSpPr/>
          <p:nvPr/>
        </p:nvSpPr>
        <p:spPr bwMode="gray">
          <a:xfrm>
            <a:off x="9712399" y="199746"/>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a:bodyPr>
          <a:lstStyle/>
          <a:p>
            <a:pPr algn="ctr"/>
            <a:r>
              <a:rPr lang="zh-CN" altLang="en-US" sz="2400" dirty="0" smtClean="0">
                <a:solidFill>
                  <a:schemeClr val="bg1"/>
                </a:solidFill>
              </a:rPr>
              <a:t>逆向方法</a:t>
            </a:r>
            <a:endParaRPr lang="en-US" altLang="zh-CN" sz="2400" dirty="0">
              <a:solidFill>
                <a:schemeClr val="bg1"/>
              </a:solidFill>
            </a:endParaRPr>
          </a:p>
        </p:txBody>
      </p:sp>
    </p:spTree>
    <p:extLst>
      <p:ext uri="{BB962C8B-B14F-4D97-AF65-F5344CB8AC3E}">
        <p14:creationId xmlns:p14="http://schemas.microsoft.com/office/powerpoint/2010/main" val="31583452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组合 29">
            <a:extLst>
              <a:ext uri="{FF2B5EF4-FFF2-40B4-BE49-F238E27FC236}">
                <a16:creationId xmlns:a16="http://schemas.microsoft.com/office/drawing/2014/main" id="{0853A8D8-448C-4E50-AD38-219140CD6184}"/>
              </a:ext>
            </a:extLst>
          </p:cNvPr>
          <p:cNvGrpSpPr/>
          <p:nvPr/>
        </p:nvGrpSpPr>
        <p:grpSpPr>
          <a:xfrm>
            <a:off x="669925" y="210537"/>
            <a:ext cx="468000" cy="468000"/>
            <a:chOff x="669925" y="48611"/>
            <a:chExt cx="468000" cy="468000"/>
          </a:xfrm>
        </p:grpSpPr>
        <p:sp>
          <p:nvSpPr>
            <p:cNvPr id="31" name="椭圆 30">
              <a:extLst>
                <a:ext uri="{FF2B5EF4-FFF2-40B4-BE49-F238E27FC236}">
                  <a16:creationId xmlns:a16="http://schemas.microsoft.com/office/drawing/2014/main" id="{18765B3C-06BD-445D-B72B-512E55DEF34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32" name="椭圆 31">
              <a:extLst>
                <a:ext uri="{FF2B5EF4-FFF2-40B4-BE49-F238E27FC236}">
                  <a16:creationId xmlns:a16="http://schemas.microsoft.com/office/drawing/2014/main" id="{A6AA7771-0E3D-4241-9DE3-825324394A29}"/>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grpSp>
      <p:sp>
        <p:nvSpPr>
          <p:cNvPr id="36" name="标题 1">
            <a:extLst>
              <a:ext uri="{FF2B5EF4-FFF2-40B4-BE49-F238E27FC236}">
                <a16:creationId xmlns:a16="http://schemas.microsoft.com/office/drawing/2014/main" id="{62930304-3D14-4FEB-B45D-709CE5948953}"/>
              </a:ext>
            </a:extLst>
          </p:cNvPr>
          <p:cNvSpPr txBox="1">
            <a:spLocks/>
          </p:cNvSpPr>
          <p:nvPr/>
        </p:nvSpPr>
        <p:spPr>
          <a:xfrm>
            <a:off x="1149783" y="198392"/>
            <a:ext cx="4092068" cy="57784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3200" b="0" dirty="0" smtClean="0">
                <a:latin typeface="Arial" panose="020B0604020202020204" pitchFamily="34" charset="0"/>
                <a:ea typeface="Microsoft YaHei" panose="020B0503020204020204" pitchFamily="34" charset="-122"/>
                <a:cs typeface="+mn-ea"/>
                <a:sym typeface="Arial" panose="020B0604020202020204" pitchFamily="34" charset="0"/>
              </a:rPr>
              <a:t>专家调研</a:t>
            </a:r>
            <a:endParaRPr lang="zh-CN" altLang="en-US" sz="3200" b="0" dirty="0">
              <a:latin typeface="Arial" panose="020B0604020202020204" pitchFamily="34" charset="0"/>
              <a:ea typeface="Microsoft YaHei" panose="020B0503020204020204" pitchFamily="34" charset="-122"/>
              <a:cs typeface="+mn-ea"/>
              <a:sym typeface="Arial" panose="020B0604020202020204" pitchFamily="34" charset="0"/>
            </a:endParaRPr>
          </a:p>
        </p:txBody>
      </p:sp>
      <p:grpSp>
        <p:nvGrpSpPr>
          <p:cNvPr id="137" name="318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903925" y="2070379"/>
            <a:ext cx="10421402" cy="3712028"/>
            <a:chOff x="467482" y="1584000"/>
            <a:chExt cx="11257036" cy="3712028"/>
          </a:xfrm>
        </p:grpSpPr>
        <p:cxnSp>
          <p:nvCxnSpPr>
            <p:cNvPr id="138" name="直接箭头连接符 137"/>
            <p:cNvCxnSpPr>
              <a:cxnSpLocks/>
            </p:cNvCxnSpPr>
            <p:nvPr/>
          </p:nvCxnSpPr>
          <p:spPr>
            <a:xfrm>
              <a:off x="743459" y="4718070"/>
              <a:ext cx="10705082" cy="0"/>
            </a:xfrm>
            <a:prstGeom prst="straightConnector1">
              <a:avLst/>
            </a:prstGeom>
            <a:noFill/>
            <a:ln w="12700" cap="flat" cmpd="sng">
              <a:solidFill>
                <a:schemeClr val="accent6"/>
              </a:solidFill>
              <a:prstDash val="solid"/>
              <a:round/>
              <a:headEnd type="none" w="med" len="med"/>
              <a:tailEnd type="none" w="med" len="med"/>
            </a:ln>
          </p:spPr>
        </p:cxnSp>
        <p:sp>
          <p:nvSpPr>
            <p:cNvPr id="139" name="íṩľíďe"/>
            <p:cNvSpPr txBox="1"/>
            <p:nvPr/>
          </p:nvSpPr>
          <p:spPr>
            <a:xfrm>
              <a:off x="3857198" y="4140112"/>
              <a:ext cx="4477604" cy="1155916"/>
            </a:xfrm>
            <a:prstGeom prst="rect">
              <a:avLst/>
            </a:prstGeom>
            <a:solidFill>
              <a:schemeClr val="bg1"/>
            </a:solidFill>
          </p:spPr>
          <p:txBody>
            <a:bodyPr wrap="square" lIns="90000" tIns="46800" rIns="90000" bIns="46800" anchor="ctr" anchorCtr="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spcBef>
                  <a:spcPct val="0"/>
                </a:spcBef>
              </a:pPr>
              <a:r>
                <a:rPr lang="zh-CN" altLang="en-US" sz="2400" dirty="0" smtClean="0"/>
                <a:t>专家调研五法</a:t>
              </a:r>
              <a:endParaRPr lang="zh-CN" altLang="en-US" sz="2400" dirty="0"/>
            </a:p>
          </p:txBody>
        </p:sp>
        <p:sp>
          <p:nvSpPr>
            <p:cNvPr id="140" name="iṡļîdê"/>
            <p:cNvSpPr/>
            <p:nvPr/>
          </p:nvSpPr>
          <p:spPr>
            <a:xfrm>
              <a:off x="7025862" y="1584000"/>
              <a:ext cx="2505254" cy="1252515"/>
            </a:xfrm>
            <a:custGeom>
              <a:avLst/>
              <a:gdLst/>
              <a:ahLst/>
              <a:cxnLst/>
              <a:rect l="0" t="0" r="0" b="0"/>
              <a:pathLst>
                <a:path w="120000" h="120000" extrusionOk="0">
                  <a:moveTo>
                    <a:pt x="60000" y="30583"/>
                  </a:moveTo>
                  <a:cubicBezTo>
                    <a:pt x="84688" y="30583"/>
                    <a:pt x="104705" y="70616"/>
                    <a:pt x="104705" y="120000"/>
                  </a:cubicBezTo>
                  <a:lnTo>
                    <a:pt x="120000" y="120000"/>
                  </a:lnTo>
                  <a:cubicBezTo>
                    <a:pt x="120000" y="53727"/>
                    <a:pt x="93138" y="0"/>
                    <a:pt x="60000" y="0"/>
                  </a:cubicBezTo>
                  <a:cubicBezTo>
                    <a:pt x="26861" y="0"/>
                    <a:pt x="0" y="53727"/>
                    <a:pt x="0" y="120000"/>
                  </a:cubicBezTo>
                  <a:lnTo>
                    <a:pt x="15294" y="120000"/>
                  </a:lnTo>
                  <a:cubicBezTo>
                    <a:pt x="15294" y="70616"/>
                    <a:pt x="35311" y="30583"/>
                    <a:pt x="60000" y="30583"/>
                  </a:cubicBezTo>
                  <a:close/>
                </a:path>
              </a:pathLst>
            </a:custGeom>
            <a:solidFill>
              <a:schemeClr val="accent1"/>
            </a:solidFill>
            <a:ln>
              <a:no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41" name="íşḻíḑe"/>
            <p:cNvSpPr/>
            <p:nvPr/>
          </p:nvSpPr>
          <p:spPr>
            <a:xfrm>
              <a:off x="467482" y="2833361"/>
              <a:ext cx="2505254" cy="1252514"/>
            </a:xfrm>
            <a:custGeom>
              <a:avLst/>
              <a:gdLst/>
              <a:ahLst/>
              <a:cxnLst/>
              <a:rect l="0" t="0" r="0" b="0"/>
              <a:pathLst>
                <a:path w="120000" h="120000" extrusionOk="0">
                  <a:moveTo>
                    <a:pt x="60000" y="89416"/>
                  </a:moveTo>
                  <a:cubicBezTo>
                    <a:pt x="35311" y="89416"/>
                    <a:pt x="15294" y="49383"/>
                    <a:pt x="15294" y="0"/>
                  </a:cubicBezTo>
                  <a:lnTo>
                    <a:pt x="0" y="0"/>
                  </a:lnTo>
                  <a:cubicBezTo>
                    <a:pt x="0" y="66272"/>
                    <a:pt x="26861" y="120000"/>
                    <a:pt x="60000" y="120000"/>
                  </a:cubicBezTo>
                  <a:cubicBezTo>
                    <a:pt x="93138" y="120000"/>
                    <a:pt x="120000" y="66272"/>
                    <a:pt x="120000" y="0"/>
                  </a:cubicBezTo>
                  <a:lnTo>
                    <a:pt x="104705" y="0"/>
                  </a:lnTo>
                  <a:cubicBezTo>
                    <a:pt x="104705" y="49383"/>
                    <a:pt x="84688" y="89416"/>
                    <a:pt x="60000" y="89416"/>
                  </a:cubicBezTo>
                  <a:close/>
                </a:path>
              </a:pathLst>
            </a:custGeom>
            <a:solidFill>
              <a:schemeClr val="accent1"/>
            </a:solidFill>
            <a:ln>
              <a:no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42" name="i$ļîḓe"/>
            <p:cNvSpPr/>
            <p:nvPr/>
          </p:nvSpPr>
          <p:spPr>
            <a:xfrm>
              <a:off x="2655426" y="1584000"/>
              <a:ext cx="2505254" cy="1252515"/>
            </a:xfrm>
            <a:custGeom>
              <a:avLst/>
              <a:gdLst/>
              <a:ahLst/>
              <a:cxnLst/>
              <a:rect l="0" t="0" r="0" b="0"/>
              <a:pathLst>
                <a:path w="120000" h="120000" extrusionOk="0">
                  <a:moveTo>
                    <a:pt x="60000" y="30583"/>
                  </a:moveTo>
                  <a:cubicBezTo>
                    <a:pt x="84688" y="30583"/>
                    <a:pt x="104705" y="70616"/>
                    <a:pt x="104705" y="120000"/>
                  </a:cubicBezTo>
                  <a:lnTo>
                    <a:pt x="120000" y="120000"/>
                  </a:lnTo>
                  <a:cubicBezTo>
                    <a:pt x="120000" y="53727"/>
                    <a:pt x="93138" y="0"/>
                    <a:pt x="60000" y="0"/>
                  </a:cubicBezTo>
                  <a:cubicBezTo>
                    <a:pt x="26861" y="0"/>
                    <a:pt x="0" y="53727"/>
                    <a:pt x="0" y="120000"/>
                  </a:cubicBezTo>
                  <a:lnTo>
                    <a:pt x="15294" y="120000"/>
                  </a:lnTo>
                  <a:cubicBezTo>
                    <a:pt x="15294" y="70616"/>
                    <a:pt x="35311" y="30583"/>
                    <a:pt x="60000" y="30583"/>
                  </a:cubicBezTo>
                  <a:close/>
                </a:path>
              </a:pathLst>
            </a:custGeom>
            <a:solidFill>
              <a:schemeClr val="accent1"/>
            </a:solidFill>
            <a:ln>
              <a:no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43" name="ïş1îḍé"/>
            <p:cNvSpPr/>
            <p:nvPr/>
          </p:nvSpPr>
          <p:spPr>
            <a:xfrm>
              <a:off x="4843373" y="2833361"/>
              <a:ext cx="2505254" cy="1252514"/>
            </a:xfrm>
            <a:custGeom>
              <a:avLst/>
              <a:gdLst/>
              <a:ahLst/>
              <a:cxnLst/>
              <a:rect l="0" t="0" r="0" b="0"/>
              <a:pathLst>
                <a:path w="120000" h="120000" extrusionOk="0">
                  <a:moveTo>
                    <a:pt x="60000" y="89416"/>
                  </a:moveTo>
                  <a:cubicBezTo>
                    <a:pt x="35311" y="89416"/>
                    <a:pt x="15294" y="49383"/>
                    <a:pt x="15294" y="0"/>
                  </a:cubicBezTo>
                  <a:lnTo>
                    <a:pt x="0" y="0"/>
                  </a:lnTo>
                  <a:cubicBezTo>
                    <a:pt x="0" y="66272"/>
                    <a:pt x="26861" y="120000"/>
                    <a:pt x="60000" y="120000"/>
                  </a:cubicBezTo>
                  <a:cubicBezTo>
                    <a:pt x="93138" y="120000"/>
                    <a:pt x="120000" y="66272"/>
                    <a:pt x="120000" y="0"/>
                  </a:cubicBezTo>
                  <a:lnTo>
                    <a:pt x="104705" y="0"/>
                  </a:lnTo>
                  <a:cubicBezTo>
                    <a:pt x="104705" y="49383"/>
                    <a:pt x="84688" y="89416"/>
                    <a:pt x="60000" y="89416"/>
                  </a:cubicBezTo>
                  <a:close/>
                </a:path>
              </a:pathLst>
            </a:custGeom>
            <a:solidFill>
              <a:schemeClr val="accent1"/>
            </a:solidFill>
            <a:ln>
              <a:no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44" name="íślíde"/>
            <p:cNvSpPr/>
            <p:nvPr/>
          </p:nvSpPr>
          <p:spPr>
            <a:xfrm>
              <a:off x="9219264" y="2833361"/>
              <a:ext cx="2505254" cy="1252514"/>
            </a:xfrm>
            <a:custGeom>
              <a:avLst/>
              <a:gdLst/>
              <a:ahLst/>
              <a:cxnLst/>
              <a:rect l="0" t="0" r="0" b="0"/>
              <a:pathLst>
                <a:path w="120000" h="120000" extrusionOk="0">
                  <a:moveTo>
                    <a:pt x="60000" y="89416"/>
                  </a:moveTo>
                  <a:cubicBezTo>
                    <a:pt x="35311" y="89416"/>
                    <a:pt x="15294" y="49383"/>
                    <a:pt x="15294" y="0"/>
                  </a:cubicBezTo>
                  <a:lnTo>
                    <a:pt x="0" y="0"/>
                  </a:lnTo>
                  <a:cubicBezTo>
                    <a:pt x="0" y="66272"/>
                    <a:pt x="26861" y="120000"/>
                    <a:pt x="60000" y="120000"/>
                  </a:cubicBezTo>
                  <a:cubicBezTo>
                    <a:pt x="93138" y="120000"/>
                    <a:pt x="120000" y="66272"/>
                    <a:pt x="120000" y="0"/>
                  </a:cubicBezTo>
                  <a:lnTo>
                    <a:pt x="104705" y="0"/>
                  </a:lnTo>
                  <a:cubicBezTo>
                    <a:pt x="104705" y="49383"/>
                    <a:pt x="84688" y="89416"/>
                    <a:pt x="60000" y="89416"/>
                  </a:cubicBezTo>
                  <a:close/>
                </a:path>
              </a:pathLst>
            </a:custGeom>
            <a:solidFill>
              <a:schemeClr val="accent1">
                <a:lumMod val="100000"/>
              </a:schemeClr>
            </a:solidFill>
            <a:ln>
              <a:no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45" name="ïṧḻiḑé"/>
            <p:cNvSpPr txBox="1"/>
            <p:nvPr/>
          </p:nvSpPr>
          <p:spPr>
            <a:xfrm>
              <a:off x="7477324" y="2676540"/>
              <a:ext cx="1602330" cy="304533"/>
            </a:xfrm>
            <a:prstGeom prst="rect">
              <a:avLst/>
            </a:prstGeom>
            <a:noFill/>
            <a:ln>
              <a:noFill/>
            </a:ln>
          </p:spPr>
          <p:txBody>
            <a:bodyPr wrap="none" lIns="90000" tIns="46800" rIns="90000" bIns="46800" anchor="t"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lnSpc>
                  <a:spcPct val="110000"/>
                </a:lnSpc>
                <a:buSzPct val="25000"/>
                <a:buNone/>
              </a:pPr>
              <a:r>
                <a:rPr lang="zh-CN" altLang="en-US" sz="1600" b="1" i="0" u="none" strike="noStrike" cap="none" baseline="0" dirty="0" smtClean="0"/>
                <a:t>风险对照检查表</a:t>
              </a:r>
              <a:endParaRPr lang="zh-CN" altLang="en-US" sz="1600" b="1" i="0" u="none" strike="noStrike" cap="none" baseline="0" dirty="0"/>
            </a:p>
          </p:txBody>
        </p:sp>
        <p:sp>
          <p:nvSpPr>
            <p:cNvPr id="146" name="î$ḻïdé"/>
            <p:cNvSpPr/>
            <p:nvPr/>
          </p:nvSpPr>
          <p:spPr>
            <a:xfrm>
              <a:off x="7025862" y="2833361"/>
              <a:ext cx="2505254" cy="1252514"/>
            </a:xfrm>
            <a:custGeom>
              <a:avLst/>
              <a:gdLst/>
              <a:ahLst/>
              <a:cxnLst/>
              <a:rect l="0" t="0" r="0" b="0"/>
              <a:pathLst>
                <a:path w="120000" h="120000" extrusionOk="0">
                  <a:moveTo>
                    <a:pt x="60000" y="89416"/>
                  </a:moveTo>
                  <a:cubicBezTo>
                    <a:pt x="35311" y="89416"/>
                    <a:pt x="15294" y="49383"/>
                    <a:pt x="15294" y="0"/>
                  </a:cubicBezTo>
                  <a:lnTo>
                    <a:pt x="0" y="0"/>
                  </a:lnTo>
                  <a:cubicBezTo>
                    <a:pt x="0" y="66272"/>
                    <a:pt x="26861" y="120000"/>
                    <a:pt x="60000" y="120000"/>
                  </a:cubicBezTo>
                  <a:cubicBezTo>
                    <a:pt x="93138" y="120000"/>
                    <a:pt x="120000" y="66272"/>
                    <a:pt x="120000" y="0"/>
                  </a:cubicBezTo>
                  <a:lnTo>
                    <a:pt x="104705" y="0"/>
                  </a:lnTo>
                  <a:cubicBezTo>
                    <a:pt x="104705" y="49383"/>
                    <a:pt x="84688" y="89416"/>
                    <a:pt x="60000" y="89416"/>
                  </a:cubicBezTo>
                  <a:close/>
                </a:path>
              </a:pathLst>
            </a:custGeom>
            <a:solidFill>
              <a:schemeClr val="accent2"/>
            </a:solidFill>
            <a:ln>
              <a:no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47" name="iṣḷíḍê"/>
            <p:cNvSpPr/>
            <p:nvPr/>
          </p:nvSpPr>
          <p:spPr>
            <a:xfrm>
              <a:off x="8104664" y="2158039"/>
              <a:ext cx="347650" cy="348269"/>
            </a:xfrm>
            <a:custGeom>
              <a:avLst/>
              <a:gdLst>
                <a:gd name="connsiteX0" fmla="*/ 437042 w 605293"/>
                <a:gd name="connsiteY0" fmla="*/ 485489 h 606369"/>
                <a:gd name="connsiteX1" fmla="*/ 581273 w 605293"/>
                <a:gd name="connsiteY1" fmla="*/ 496093 h 606369"/>
                <a:gd name="connsiteX2" fmla="*/ 581273 w 605293"/>
                <a:gd name="connsiteY2" fmla="*/ 535045 h 606369"/>
                <a:gd name="connsiteX3" fmla="*/ 292811 w 605293"/>
                <a:gd name="connsiteY3" fmla="*/ 523492 h 606369"/>
                <a:gd name="connsiteX4" fmla="*/ 292811 w 605293"/>
                <a:gd name="connsiteY4" fmla="*/ 491142 h 606369"/>
                <a:gd name="connsiteX5" fmla="*/ 437042 w 605293"/>
                <a:gd name="connsiteY5" fmla="*/ 485489 h 606369"/>
                <a:gd name="connsiteX6" fmla="*/ 189885 w 605293"/>
                <a:gd name="connsiteY6" fmla="*/ 417569 h 606369"/>
                <a:gd name="connsiteX7" fmla="*/ 218340 w 605293"/>
                <a:gd name="connsiteY7" fmla="*/ 433872 h 606369"/>
                <a:gd name="connsiteX8" fmla="*/ 218560 w 605293"/>
                <a:gd name="connsiteY8" fmla="*/ 435744 h 606369"/>
                <a:gd name="connsiteX9" fmla="*/ 208524 w 605293"/>
                <a:gd name="connsiteY9" fmla="*/ 451607 h 606369"/>
                <a:gd name="connsiteX10" fmla="*/ 163966 w 605293"/>
                <a:gd name="connsiteY10" fmla="*/ 520894 h 606369"/>
                <a:gd name="connsiteX11" fmla="*/ 118637 w 605293"/>
                <a:gd name="connsiteY11" fmla="*/ 597010 h 606369"/>
                <a:gd name="connsiteX12" fmla="*/ 88638 w 605293"/>
                <a:gd name="connsiteY12" fmla="*/ 600865 h 606369"/>
                <a:gd name="connsiteX13" fmla="*/ 7353 w 605293"/>
                <a:gd name="connsiteY13" fmla="*/ 510539 h 606369"/>
                <a:gd name="connsiteX14" fmla="*/ 27647 w 605293"/>
                <a:gd name="connsiteY14" fmla="*/ 490381 h 606369"/>
                <a:gd name="connsiteX15" fmla="*/ 97902 w 605293"/>
                <a:gd name="connsiteY15" fmla="*/ 556473 h 606369"/>
                <a:gd name="connsiteX16" fmla="*/ 141246 w 605293"/>
                <a:gd name="connsiteY16" fmla="*/ 483992 h 606369"/>
                <a:gd name="connsiteX17" fmla="*/ 189885 w 605293"/>
                <a:gd name="connsiteY17" fmla="*/ 417569 h 606369"/>
                <a:gd name="connsiteX18" fmla="*/ 436761 w 605293"/>
                <a:gd name="connsiteY18" fmla="*/ 286136 h 606369"/>
                <a:gd name="connsiteX19" fmla="*/ 584650 w 605293"/>
                <a:gd name="connsiteY19" fmla="*/ 292624 h 606369"/>
                <a:gd name="connsiteX20" fmla="*/ 581783 w 605293"/>
                <a:gd name="connsiteY20" fmla="*/ 331414 h 606369"/>
                <a:gd name="connsiteX21" fmla="*/ 289285 w 605293"/>
                <a:gd name="connsiteY21" fmla="*/ 318741 h 606369"/>
                <a:gd name="connsiteX22" fmla="*/ 289285 w 605293"/>
                <a:gd name="connsiteY22" fmla="*/ 292954 h 606369"/>
                <a:gd name="connsiteX23" fmla="*/ 436761 w 605293"/>
                <a:gd name="connsiteY23" fmla="*/ 286136 h 606369"/>
                <a:gd name="connsiteX24" fmla="*/ 192081 w 605293"/>
                <a:gd name="connsiteY24" fmla="*/ 214000 h 606369"/>
                <a:gd name="connsiteX25" fmla="*/ 208090 w 605293"/>
                <a:gd name="connsiteY25" fmla="*/ 240540 h 606369"/>
                <a:gd name="connsiteX26" fmla="*/ 102744 w 605293"/>
                <a:gd name="connsiteY26" fmla="*/ 376606 h 606369"/>
                <a:gd name="connsiteX27" fmla="*/ 72519 w 605293"/>
                <a:gd name="connsiteY27" fmla="*/ 380572 h 606369"/>
                <a:gd name="connsiteX28" fmla="*/ 1920 w 605293"/>
                <a:gd name="connsiteY28" fmla="*/ 295407 h 606369"/>
                <a:gd name="connsiteX29" fmla="*/ 23982 w 605293"/>
                <a:gd name="connsiteY29" fmla="*/ 278440 h 606369"/>
                <a:gd name="connsiteX30" fmla="*/ 83660 w 605293"/>
                <a:gd name="connsiteY30" fmla="*/ 338155 h 606369"/>
                <a:gd name="connsiteX31" fmla="*/ 180071 w 605293"/>
                <a:gd name="connsiteY31" fmla="*/ 218946 h 606369"/>
                <a:gd name="connsiteX32" fmla="*/ 192081 w 605293"/>
                <a:gd name="connsiteY32" fmla="*/ 214000 h 606369"/>
                <a:gd name="connsiteX33" fmla="*/ 352715 w 605293"/>
                <a:gd name="connsiteY33" fmla="*/ 76472 h 606369"/>
                <a:gd name="connsiteX34" fmla="*/ 433019 w 605293"/>
                <a:gd name="connsiteY34" fmla="*/ 82614 h 606369"/>
                <a:gd name="connsiteX35" fmla="*/ 591312 w 605293"/>
                <a:gd name="connsiteY35" fmla="*/ 86581 h 606369"/>
                <a:gd name="connsiteX36" fmla="*/ 580943 w 605293"/>
                <a:gd name="connsiteY36" fmla="*/ 123820 h 606369"/>
                <a:gd name="connsiteX37" fmla="*/ 580943 w 605293"/>
                <a:gd name="connsiteY37" fmla="*/ 124261 h 606369"/>
                <a:gd name="connsiteX38" fmla="*/ 421327 w 605293"/>
                <a:gd name="connsiteY38" fmla="*/ 120846 h 606369"/>
                <a:gd name="connsiteX39" fmla="*/ 279801 w 605293"/>
                <a:gd name="connsiteY39" fmla="*/ 109608 h 606369"/>
                <a:gd name="connsiteX40" fmla="*/ 278037 w 605293"/>
                <a:gd name="connsiteY40" fmla="*/ 95946 h 606369"/>
                <a:gd name="connsiteX41" fmla="*/ 352715 w 605293"/>
                <a:gd name="connsiteY41" fmla="*/ 76472 h 606369"/>
                <a:gd name="connsiteX42" fmla="*/ 197707 w 605293"/>
                <a:gd name="connsiteY42" fmla="*/ 503 h 606369"/>
                <a:gd name="connsiteX43" fmla="*/ 211703 w 605293"/>
                <a:gd name="connsiteY43" fmla="*/ 18525 h 606369"/>
                <a:gd name="connsiteX44" fmla="*/ 211703 w 605293"/>
                <a:gd name="connsiteY44" fmla="*/ 19627 h 606369"/>
                <a:gd name="connsiteX45" fmla="*/ 207401 w 605293"/>
                <a:gd name="connsiteY45" fmla="*/ 30531 h 606369"/>
                <a:gd name="connsiteX46" fmla="*/ 206518 w 605293"/>
                <a:gd name="connsiteY46" fmla="*/ 33835 h 606369"/>
                <a:gd name="connsiteX47" fmla="*/ 194495 w 605293"/>
                <a:gd name="connsiteY47" fmla="*/ 48154 h 606369"/>
                <a:gd name="connsiteX48" fmla="*/ 163057 w 605293"/>
                <a:gd name="connsiteY48" fmla="*/ 84061 h 606369"/>
                <a:gd name="connsiteX49" fmla="*/ 95548 w 605293"/>
                <a:gd name="connsiteY49" fmla="*/ 161162 h 606369"/>
                <a:gd name="connsiteX50" fmla="*/ 68192 w 605293"/>
                <a:gd name="connsiteY50" fmla="*/ 161162 h 606369"/>
                <a:gd name="connsiteX51" fmla="*/ 4434 w 605293"/>
                <a:gd name="connsiteY51" fmla="*/ 80536 h 606369"/>
                <a:gd name="connsiteX52" fmla="*/ 29915 w 605293"/>
                <a:gd name="connsiteY52" fmla="*/ 60821 h 606369"/>
                <a:gd name="connsiteX53" fmla="*/ 81870 w 605293"/>
                <a:gd name="connsiteY53" fmla="*/ 118536 h 606369"/>
                <a:gd name="connsiteX54" fmla="*/ 175853 w 605293"/>
                <a:gd name="connsiteY54" fmla="*/ 8832 h 606369"/>
                <a:gd name="connsiteX55" fmla="*/ 197707 w 605293"/>
                <a:gd name="connsiteY55" fmla="*/ 503 h 60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605293" h="606369">
                  <a:moveTo>
                    <a:pt x="437042" y="485489"/>
                  </a:moveTo>
                  <a:cubicBezTo>
                    <a:pt x="485468" y="487070"/>
                    <a:pt x="533894" y="491362"/>
                    <a:pt x="581273" y="496093"/>
                  </a:cubicBezTo>
                  <a:cubicBezTo>
                    <a:pt x="605982" y="498514"/>
                    <a:pt x="606203" y="537356"/>
                    <a:pt x="581273" y="535045"/>
                  </a:cubicBezTo>
                  <a:cubicBezTo>
                    <a:pt x="484861" y="525802"/>
                    <a:pt x="389112" y="528113"/>
                    <a:pt x="292811" y="523492"/>
                  </a:cubicBezTo>
                  <a:cubicBezTo>
                    <a:pt x="271300" y="522501"/>
                    <a:pt x="272513" y="493673"/>
                    <a:pt x="292811" y="491142"/>
                  </a:cubicBezTo>
                  <a:cubicBezTo>
                    <a:pt x="340189" y="485035"/>
                    <a:pt x="388615" y="483907"/>
                    <a:pt x="437042" y="485489"/>
                  </a:cubicBezTo>
                  <a:close/>
                  <a:moveTo>
                    <a:pt x="189885" y="417569"/>
                  </a:moveTo>
                  <a:cubicBezTo>
                    <a:pt x="203561" y="410409"/>
                    <a:pt x="216685" y="419552"/>
                    <a:pt x="218340" y="433872"/>
                  </a:cubicBezTo>
                  <a:lnTo>
                    <a:pt x="218560" y="435744"/>
                  </a:lnTo>
                  <a:cubicBezTo>
                    <a:pt x="219222" y="441693"/>
                    <a:pt x="214259" y="448853"/>
                    <a:pt x="208524" y="451607"/>
                  </a:cubicBezTo>
                  <a:cubicBezTo>
                    <a:pt x="190877" y="470223"/>
                    <a:pt x="176981" y="499854"/>
                    <a:pt x="163966" y="520894"/>
                  </a:cubicBezTo>
                  <a:cubicBezTo>
                    <a:pt x="148305" y="546009"/>
                    <a:pt x="133526" y="571564"/>
                    <a:pt x="118637" y="597010"/>
                  </a:cubicBezTo>
                  <a:cubicBezTo>
                    <a:pt x="112571" y="607254"/>
                    <a:pt x="97020" y="609898"/>
                    <a:pt x="88638" y="600865"/>
                  </a:cubicBezTo>
                  <a:cubicBezTo>
                    <a:pt x="61175" y="571234"/>
                    <a:pt x="32720" y="542153"/>
                    <a:pt x="7353" y="510539"/>
                  </a:cubicBezTo>
                  <a:cubicBezTo>
                    <a:pt x="-4117" y="496329"/>
                    <a:pt x="13419" y="478264"/>
                    <a:pt x="27647" y="490381"/>
                  </a:cubicBezTo>
                  <a:cubicBezTo>
                    <a:pt x="52131" y="511090"/>
                    <a:pt x="74961" y="533782"/>
                    <a:pt x="97902" y="556473"/>
                  </a:cubicBezTo>
                  <a:cubicBezTo>
                    <a:pt x="111799" y="532019"/>
                    <a:pt x="126247" y="507785"/>
                    <a:pt x="141246" y="483992"/>
                  </a:cubicBezTo>
                  <a:cubicBezTo>
                    <a:pt x="154040" y="463613"/>
                    <a:pt x="167826" y="429135"/>
                    <a:pt x="189885" y="417569"/>
                  </a:cubicBezTo>
                  <a:close/>
                  <a:moveTo>
                    <a:pt x="436761" y="286136"/>
                  </a:moveTo>
                  <a:cubicBezTo>
                    <a:pt x="486434" y="287197"/>
                    <a:pt x="536176" y="290475"/>
                    <a:pt x="584650" y="292624"/>
                  </a:cubicBezTo>
                  <a:cubicBezTo>
                    <a:pt x="614319" y="293946"/>
                    <a:pt x="604724" y="337585"/>
                    <a:pt x="581783" y="331414"/>
                  </a:cubicBezTo>
                  <a:cubicBezTo>
                    <a:pt x="485056" y="328108"/>
                    <a:pt x="385020" y="332516"/>
                    <a:pt x="289285" y="318741"/>
                  </a:cubicBezTo>
                  <a:cubicBezTo>
                    <a:pt x="276491" y="316978"/>
                    <a:pt x="276381" y="294717"/>
                    <a:pt x="289285" y="292954"/>
                  </a:cubicBezTo>
                  <a:cubicBezTo>
                    <a:pt x="337483" y="286232"/>
                    <a:pt x="387088" y="285075"/>
                    <a:pt x="436761" y="286136"/>
                  </a:cubicBezTo>
                  <a:close/>
                  <a:moveTo>
                    <a:pt x="192081" y="214000"/>
                  </a:moveTo>
                  <a:cubicBezTo>
                    <a:pt x="204553" y="214016"/>
                    <a:pt x="216281" y="227402"/>
                    <a:pt x="208090" y="240540"/>
                  </a:cubicBezTo>
                  <a:cubicBezTo>
                    <a:pt x="178417" y="288686"/>
                    <a:pt x="137271" y="331765"/>
                    <a:pt x="102744" y="376606"/>
                  </a:cubicBezTo>
                  <a:cubicBezTo>
                    <a:pt x="95353" y="386301"/>
                    <a:pt x="82226" y="390157"/>
                    <a:pt x="72519" y="380572"/>
                  </a:cubicBezTo>
                  <a:cubicBezTo>
                    <a:pt x="46596" y="354791"/>
                    <a:pt x="20121" y="327358"/>
                    <a:pt x="1920" y="295407"/>
                  </a:cubicBezTo>
                  <a:cubicBezTo>
                    <a:pt x="-6022" y="281305"/>
                    <a:pt x="12510" y="267753"/>
                    <a:pt x="23982" y="278440"/>
                  </a:cubicBezTo>
                  <a:cubicBezTo>
                    <a:pt x="44610" y="297721"/>
                    <a:pt x="63473" y="318544"/>
                    <a:pt x="83660" y="338155"/>
                  </a:cubicBezTo>
                  <a:cubicBezTo>
                    <a:pt x="113885" y="297280"/>
                    <a:pt x="144000" y="253651"/>
                    <a:pt x="180071" y="218946"/>
                  </a:cubicBezTo>
                  <a:cubicBezTo>
                    <a:pt x="183684" y="215476"/>
                    <a:pt x="187924" y="213995"/>
                    <a:pt x="192081" y="214000"/>
                  </a:cubicBezTo>
                  <a:close/>
                  <a:moveTo>
                    <a:pt x="352715" y="76472"/>
                  </a:moveTo>
                  <a:cubicBezTo>
                    <a:pt x="379686" y="76803"/>
                    <a:pt x="407593" y="81403"/>
                    <a:pt x="433019" y="82614"/>
                  </a:cubicBezTo>
                  <a:cubicBezTo>
                    <a:pt x="486078" y="85149"/>
                    <a:pt x="538584" y="78428"/>
                    <a:pt x="591312" y="86581"/>
                  </a:cubicBezTo>
                  <a:cubicBezTo>
                    <a:pt x="615800" y="90327"/>
                    <a:pt x="605431" y="129770"/>
                    <a:pt x="580943" y="123820"/>
                  </a:cubicBezTo>
                  <a:cubicBezTo>
                    <a:pt x="580943" y="123931"/>
                    <a:pt x="580943" y="124151"/>
                    <a:pt x="580943" y="124261"/>
                  </a:cubicBezTo>
                  <a:cubicBezTo>
                    <a:pt x="528326" y="116108"/>
                    <a:pt x="474385" y="123820"/>
                    <a:pt x="421327" y="120846"/>
                  </a:cubicBezTo>
                  <a:cubicBezTo>
                    <a:pt x="376211" y="118422"/>
                    <a:pt x="322270" y="124151"/>
                    <a:pt x="279801" y="109608"/>
                  </a:cubicBezTo>
                  <a:cubicBezTo>
                    <a:pt x="273404" y="107404"/>
                    <a:pt x="272852" y="99802"/>
                    <a:pt x="278037" y="95946"/>
                  </a:cubicBezTo>
                  <a:cubicBezTo>
                    <a:pt x="299712" y="80081"/>
                    <a:pt x="325745" y="76142"/>
                    <a:pt x="352715" y="76472"/>
                  </a:cubicBezTo>
                  <a:close/>
                  <a:moveTo>
                    <a:pt x="197707" y="503"/>
                  </a:moveTo>
                  <a:cubicBezTo>
                    <a:pt x="205305" y="2224"/>
                    <a:pt x="211592" y="8337"/>
                    <a:pt x="211703" y="18525"/>
                  </a:cubicBezTo>
                  <a:cubicBezTo>
                    <a:pt x="211703" y="18966"/>
                    <a:pt x="211703" y="19296"/>
                    <a:pt x="211703" y="19627"/>
                  </a:cubicBezTo>
                  <a:cubicBezTo>
                    <a:pt x="211813" y="24253"/>
                    <a:pt x="209938" y="27667"/>
                    <a:pt x="207401" y="30531"/>
                  </a:cubicBezTo>
                  <a:cubicBezTo>
                    <a:pt x="207842" y="30861"/>
                    <a:pt x="207732" y="31742"/>
                    <a:pt x="206518" y="33835"/>
                  </a:cubicBezTo>
                  <a:cubicBezTo>
                    <a:pt x="202768" y="38902"/>
                    <a:pt x="198797" y="43638"/>
                    <a:pt x="194495" y="48154"/>
                  </a:cubicBezTo>
                  <a:cubicBezTo>
                    <a:pt x="184126" y="60270"/>
                    <a:pt x="173536" y="72165"/>
                    <a:pt x="163057" y="84061"/>
                  </a:cubicBezTo>
                  <a:cubicBezTo>
                    <a:pt x="140554" y="109835"/>
                    <a:pt x="118162" y="135609"/>
                    <a:pt x="95548" y="161162"/>
                  </a:cubicBezTo>
                  <a:cubicBezTo>
                    <a:pt x="88820" y="168652"/>
                    <a:pt x="75031" y="168432"/>
                    <a:pt x="68192" y="161162"/>
                  </a:cubicBezTo>
                  <a:cubicBezTo>
                    <a:pt x="45248" y="136159"/>
                    <a:pt x="21091" y="110275"/>
                    <a:pt x="4434" y="80536"/>
                  </a:cubicBezTo>
                  <a:cubicBezTo>
                    <a:pt x="-4611" y="64455"/>
                    <a:pt x="16789" y="47713"/>
                    <a:pt x="29915" y="60821"/>
                  </a:cubicBezTo>
                  <a:cubicBezTo>
                    <a:pt x="48116" y="79105"/>
                    <a:pt x="64662" y="99151"/>
                    <a:pt x="81870" y="118536"/>
                  </a:cubicBezTo>
                  <a:cubicBezTo>
                    <a:pt x="113749" y="82519"/>
                    <a:pt x="147614" y="47383"/>
                    <a:pt x="175853" y="8832"/>
                  </a:cubicBezTo>
                  <a:cubicBezTo>
                    <a:pt x="181203" y="1453"/>
                    <a:pt x="190110" y="-1218"/>
                    <a:pt x="197707" y="503"/>
                  </a:cubicBezTo>
                  <a:close/>
                </a:path>
              </a:pathLst>
            </a:custGeom>
            <a:solidFill>
              <a:schemeClr val="tx2"/>
            </a:solidFill>
            <a:ln>
              <a:no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48" name="iśḻiḍê"/>
            <p:cNvSpPr txBox="1"/>
            <p:nvPr/>
          </p:nvSpPr>
          <p:spPr>
            <a:xfrm>
              <a:off x="918944" y="2676540"/>
              <a:ext cx="1602330" cy="304533"/>
            </a:xfrm>
            <a:prstGeom prst="rect">
              <a:avLst/>
            </a:prstGeom>
            <a:noFill/>
            <a:ln>
              <a:noFill/>
            </a:ln>
          </p:spPr>
          <p:txBody>
            <a:bodyPr wrap="none" lIns="90000" tIns="46800" rIns="90000" bIns="46800" anchor="t"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lnSpc>
                  <a:spcPct val="110000"/>
                </a:lnSpc>
                <a:buSzPct val="25000"/>
                <a:buNone/>
              </a:pPr>
              <a:r>
                <a:rPr lang="zh-CN" altLang="en-US" sz="1600" b="1" i="0" u="none" strike="noStrike" cap="none" baseline="0" dirty="0" smtClean="0"/>
                <a:t>风险识别调查表</a:t>
              </a:r>
              <a:endParaRPr lang="zh-CN" altLang="en-US" sz="1600" b="1" i="0" u="none" strike="noStrike" cap="none" baseline="0" dirty="0"/>
            </a:p>
          </p:txBody>
        </p:sp>
        <p:sp>
          <p:nvSpPr>
            <p:cNvPr id="149" name="ísļiḑê"/>
            <p:cNvSpPr/>
            <p:nvPr/>
          </p:nvSpPr>
          <p:spPr>
            <a:xfrm>
              <a:off x="467482" y="1584000"/>
              <a:ext cx="2505254" cy="1252515"/>
            </a:xfrm>
            <a:custGeom>
              <a:avLst/>
              <a:gdLst/>
              <a:ahLst/>
              <a:cxnLst/>
              <a:rect l="0" t="0" r="0" b="0"/>
              <a:pathLst>
                <a:path w="120000" h="120000" extrusionOk="0">
                  <a:moveTo>
                    <a:pt x="60000" y="30583"/>
                  </a:moveTo>
                  <a:cubicBezTo>
                    <a:pt x="84688" y="30583"/>
                    <a:pt x="104705" y="70616"/>
                    <a:pt x="104705" y="120000"/>
                  </a:cubicBezTo>
                  <a:lnTo>
                    <a:pt x="120000" y="120000"/>
                  </a:lnTo>
                  <a:cubicBezTo>
                    <a:pt x="120000" y="53727"/>
                    <a:pt x="93138" y="0"/>
                    <a:pt x="60000" y="0"/>
                  </a:cubicBezTo>
                  <a:cubicBezTo>
                    <a:pt x="26861" y="0"/>
                    <a:pt x="0" y="53727"/>
                    <a:pt x="0" y="120000"/>
                  </a:cubicBezTo>
                  <a:lnTo>
                    <a:pt x="15294" y="120000"/>
                  </a:lnTo>
                  <a:cubicBezTo>
                    <a:pt x="15294" y="70616"/>
                    <a:pt x="35311" y="30583"/>
                    <a:pt x="60000" y="30583"/>
                  </a:cubicBezTo>
                  <a:close/>
                </a:path>
              </a:pathLst>
            </a:custGeom>
            <a:solidFill>
              <a:schemeClr val="accent2"/>
            </a:solidFill>
            <a:ln>
              <a:no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50" name="ïşľïḋè"/>
            <p:cNvSpPr/>
            <p:nvPr/>
          </p:nvSpPr>
          <p:spPr>
            <a:xfrm>
              <a:off x="1491557" y="2164422"/>
              <a:ext cx="457104" cy="313699"/>
            </a:xfrm>
            <a:custGeom>
              <a:avLst/>
              <a:gdLst>
                <a:gd name="connsiteX0" fmla="*/ 353594 w 595897"/>
                <a:gd name="connsiteY0" fmla="*/ 321572 h 408950"/>
                <a:gd name="connsiteX1" fmla="*/ 353594 w 595897"/>
                <a:gd name="connsiteY1" fmla="*/ 364545 h 408950"/>
                <a:gd name="connsiteX2" fmla="*/ 354311 w 595897"/>
                <a:gd name="connsiteY2" fmla="*/ 365261 h 408950"/>
                <a:gd name="connsiteX3" fmla="*/ 382290 w 595897"/>
                <a:gd name="connsiteY3" fmla="*/ 389612 h 408950"/>
                <a:gd name="connsiteX4" fmla="*/ 423899 w 595897"/>
                <a:gd name="connsiteY4" fmla="*/ 389612 h 408950"/>
                <a:gd name="connsiteX5" fmla="*/ 185777 w 595897"/>
                <a:gd name="connsiteY5" fmla="*/ 289361 h 408950"/>
                <a:gd name="connsiteX6" fmla="*/ 309931 w 595897"/>
                <a:gd name="connsiteY6" fmla="*/ 289361 h 408950"/>
                <a:gd name="connsiteX7" fmla="*/ 319978 w 595897"/>
                <a:gd name="connsiteY7" fmla="*/ 298684 h 408950"/>
                <a:gd name="connsiteX8" fmla="*/ 309931 w 595897"/>
                <a:gd name="connsiteY8" fmla="*/ 308007 h 408950"/>
                <a:gd name="connsiteX9" fmla="*/ 185777 w 595897"/>
                <a:gd name="connsiteY9" fmla="*/ 308007 h 408950"/>
                <a:gd name="connsiteX10" fmla="*/ 176448 w 595897"/>
                <a:gd name="connsiteY10" fmla="*/ 298684 h 408950"/>
                <a:gd name="connsiteX11" fmla="*/ 185777 w 595897"/>
                <a:gd name="connsiteY11" fmla="*/ 289361 h 408950"/>
                <a:gd name="connsiteX12" fmla="*/ 525771 w 595897"/>
                <a:gd name="connsiteY12" fmla="*/ 270005 h 408950"/>
                <a:gd name="connsiteX13" fmla="*/ 429639 w 595897"/>
                <a:gd name="connsiteY13" fmla="*/ 369558 h 408950"/>
                <a:gd name="connsiteX14" fmla="*/ 446856 w 595897"/>
                <a:gd name="connsiteY14" fmla="*/ 386031 h 408950"/>
                <a:gd name="connsiteX15" fmla="*/ 544423 w 595897"/>
                <a:gd name="connsiteY15" fmla="*/ 288626 h 408950"/>
                <a:gd name="connsiteX16" fmla="*/ 157838 w 595897"/>
                <a:gd name="connsiteY16" fmla="*/ 257836 h 408950"/>
                <a:gd name="connsiteX17" fmla="*/ 171478 w 595897"/>
                <a:gd name="connsiteY17" fmla="*/ 257836 h 408950"/>
                <a:gd name="connsiteX18" fmla="*/ 171478 w 595897"/>
                <a:gd name="connsiteY18" fmla="*/ 271441 h 408950"/>
                <a:gd name="connsiteX19" fmla="*/ 123379 w 595897"/>
                <a:gd name="connsiteY19" fmla="*/ 319416 h 408950"/>
                <a:gd name="connsiteX20" fmla="*/ 116201 w 595897"/>
                <a:gd name="connsiteY20" fmla="*/ 322280 h 408950"/>
                <a:gd name="connsiteX21" fmla="*/ 109740 w 595897"/>
                <a:gd name="connsiteY21" fmla="*/ 319416 h 408950"/>
                <a:gd name="connsiteX22" fmla="*/ 81742 w 595897"/>
                <a:gd name="connsiteY22" fmla="*/ 291490 h 408950"/>
                <a:gd name="connsiteX23" fmla="*/ 81742 w 595897"/>
                <a:gd name="connsiteY23" fmla="*/ 277885 h 408950"/>
                <a:gd name="connsiteX24" fmla="*/ 95382 w 595897"/>
                <a:gd name="connsiteY24" fmla="*/ 277885 h 408950"/>
                <a:gd name="connsiteX25" fmla="*/ 116201 w 595897"/>
                <a:gd name="connsiteY25" fmla="*/ 299367 h 408950"/>
                <a:gd name="connsiteX26" fmla="*/ 489183 w 595897"/>
                <a:gd name="connsiteY26" fmla="*/ 235627 h 408950"/>
                <a:gd name="connsiteX27" fmla="*/ 390899 w 595897"/>
                <a:gd name="connsiteY27" fmla="*/ 330883 h 408950"/>
                <a:gd name="connsiteX28" fmla="*/ 416008 w 595897"/>
                <a:gd name="connsiteY28" fmla="*/ 355950 h 408950"/>
                <a:gd name="connsiteX29" fmla="*/ 512140 w 595897"/>
                <a:gd name="connsiteY29" fmla="*/ 257113 h 408950"/>
                <a:gd name="connsiteX30" fmla="*/ 456900 w 595897"/>
                <a:gd name="connsiteY30" fmla="*/ 204113 h 408950"/>
                <a:gd name="connsiteX31" fmla="*/ 360050 w 595897"/>
                <a:gd name="connsiteY31" fmla="*/ 300802 h 408950"/>
                <a:gd name="connsiteX32" fmla="*/ 377268 w 595897"/>
                <a:gd name="connsiteY32" fmla="*/ 317991 h 408950"/>
                <a:gd name="connsiteX33" fmla="*/ 475553 w 595897"/>
                <a:gd name="connsiteY33" fmla="*/ 222019 h 408950"/>
                <a:gd name="connsiteX34" fmla="*/ 185777 w 595897"/>
                <a:gd name="connsiteY34" fmla="*/ 193368 h 408950"/>
                <a:gd name="connsiteX35" fmla="*/ 309931 w 595897"/>
                <a:gd name="connsiteY35" fmla="*/ 193368 h 408950"/>
                <a:gd name="connsiteX36" fmla="*/ 319978 w 595897"/>
                <a:gd name="connsiteY36" fmla="*/ 203395 h 408950"/>
                <a:gd name="connsiteX37" fmla="*/ 309931 w 595897"/>
                <a:gd name="connsiteY37" fmla="*/ 212705 h 408950"/>
                <a:gd name="connsiteX38" fmla="*/ 185777 w 595897"/>
                <a:gd name="connsiteY38" fmla="*/ 212705 h 408950"/>
                <a:gd name="connsiteX39" fmla="*/ 176448 w 595897"/>
                <a:gd name="connsiteY39" fmla="*/ 203395 h 408950"/>
                <a:gd name="connsiteX40" fmla="*/ 185777 w 595897"/>
                <a:gd name="connsiteY40" fmla="*/ 193368 h 408950"/>
                <a:gd name="connsiteX41" fmla="*/ 486314 w 595897"/>
                <a:gd name="connsiteY41" fmla="*/ 174033 h 408950"/>
                <a:gd name="connsiteX42" fmla="*/ 469813 w 595897"/>
                <a:gd name="connsiteY42" fmla="*/ 190505 h 408950"/>
                <a:gd name="connsiteX43" fmla="*/ 493488 w 595897"/>
                <a:gd name="connsiteY43" fmla="*/ 213424 h 408950"/>
                <a:gd name="connsiteX44" fmla="*/ 496357 w 595897"/>
                <a:gd name="connsiteY44" fmla="*/ 214857 h 408950"/>
                <a:gd name="connsiteX45" fmla="*/ 497792 w 595897"/>
                <a:gd name="connsiteY45" fmla="*/ 217005 h 408950"/>
                <a:gd name="connsiteX46" fmla="*/ 558054 w 595897"/>
                <a:gd name="connsiteY46" fmla="*/ 275018 h 408950"/>
                <a:gd name="connsiteX47" fmla="*/ 572402 w 595897"/>
                <a:gd name="connsiteY47" fmla="*/ 260694 h 408950"/>
                <a:gd name="connsiteX48" fmla="*/ 157838 w 595897"/>
                <a:gd name="connsiteY48" fmla="*/ 161842 h 408950"/>
                <a:gd name="connsiteX49" fmla="*/ 171478 w 595897"/>
                <a:gd name="connsiteY49" fmla="*/ 161842 h 408950"/>
                <a:gd name="connsiteX50" fmla="*/ 171478 w 595897"/>
                <a:gd name="connsiteY50" fmla="*/ 175447 h 408950"/>
                <a:gd name="connsiteX51" fmla="*/ 123379 w 595897"/>
                <a:gd name="connsiteY51" fmla="*/ 224138 h 408950"/>
                <a:gd name="connsiteX52" fmla="*/ 116201 w 595897"/>
                <a:gd name="connsiteY52" fmla="*/ 226286 h 408950"/>
                <a:gd name="connsiteX53" fmla="*/ 109740 w 595897"/>
                <a:gd name="connsiteY53" fmla="*/ 224138 h 408950"/>
                <a:gd name="connsiteX54" fmla="*/ 81742 w 595897"/>
                <a:gd name="connsiteY54" fmla="*/ 196212 h 408950"/>
                <a:gd name="connsiteX55" fmla="*/ 81742 w 595897"/>
                <a:gd name="connsiteY55" fmla="*/ 182607 h 408950"/>
                <a:gd name="connsiteX56" fmla="*/ 95382 w 595897"/>
                <a:gd name="connsiteY56" fmla="*/ 182607 h 408950"/>
                <a:gd name="connsiteX57" fmla="*/ 116201 w 595897"/>
                <a:gd name="connsiteY57" fmla="*/ 203373 h 408950"/>
                <a:gd name="connsiteX58" fmla="*/ 477705 w 595897"/>
                <a:gd name="connsiteY58" fmla="*/ 152546 h 408950"/>
                <a:gd name="connsiteX59" fmla="*/ 491335 w 595897"/>
                <a:gd name="connsiteY59" fmla="*/ 152546 h 408950"/>
                <a:gd name="connsiteX60" fmla="*/ 593207 w 595897"/>
                <a:gd name="connsiteY60" fmla="*/ 253532 h 408950"/>
                <a:gd name="connsiteX61" fmla="*/ 593207 w 595897"/>
                <a:gd name="connsiteY61" fmla="*/ 267140 h 408950"/>
                <a:gd name="connsiteX62" fmla="*/ 572402 w 595897"/>
                <a:gd name="connsiteY62" fmla="*/ 287910 h 408950"/>
                <a:gd name="connsiteX63" fmla="*/ 579576 w 595897"/>
                <a:gd name="connsiteY63" fmla="*/ 295072 h 408950"/>
                <a:gd name="connsiteX64" fmla="*/ 580294 w 595897"/>
                <a:gd name="connsiteY64" fmla="*/ 308680 h 408950"/>
                <a:gd name="connsiteX65" fmla="*/ 573120 w 595897"/>
                <a:gd name="connsiteY65" fmla="*/ 311545 h 408950"/>
                <a:gd name="connsiteX66" fmla="*/ 566663 w 595897"/>
                <a:gd name="connsiteY66" fmla="*/ 309397 h 408950"/>
                <a:gd name="connsiteX67" fmla="*/ 558772 w 595897"/>
                <a:gd name="connsiteY67" fmla="*/ 301518 h 408950"/>
                <a:gd name="connsiteX68" fmla="*/ 454030 w 595897"/>
                <a:gd name="connsiteY68" fmla="*/ 406085 h 408950"/>
                <a:gd name="connsiteX69" fmla="*/ 453313 w 595897"/>
                <a:gd name="connsiteY69" fmla="*/ 406801 h 408950"/>
                <a:gd name="connsiteX70" fmla="*/ 451161 w 595897"/>
                <a:gd name="connsiteY70" fmla="*/ 407518 h 408950"/>
                <a:gd name="connsiteX71" fmla="*/ 450443 w 595897"/>
                <a:gd name="connsiteY71" fmla="*/ 408234 h 408950"/>
                <a:gd name="connsiteX72" fmla="*/ 446856 w 595897"/>
                <a:gd name="connsiteY72" fmla="*/ 408950 h 408950"/>
                <a:gd name="connsiteX73" fmla="*/ 344267 w 595897"/>
                <a:gd name="connsiteY73" fmla="*/ 408950 h 408950"/>
                <a:gd name="connsiteX74" fmla="*/ 334941 w 595897"/>
                <a:gd name="connsiteY74" fmla="*/ 399639 h 408950"/>
                <a:gd name="connsiteX75" fmla="*/ 334941 w 595897"/>
                <a:gd name="connsiteY75" fmla="*/ 298653 h 408950"/>
                <a:gd name="connsiteX76" fmla="*/ 340680 w 595897"/>
                <a:gd name="connsiteY76" fmla="*/ 290059 h 408950"/>
                <a:gd name="connsiteX77" fmla="*/ 344267 w 595897"/>
                <a:gd name="connsiteY77" fmla="*/ 289343 h 408950"/>
                <a:gd name="connsiteX78" fmla="*/ 442552 w 595897"/>
                <a:gd name="connsiteY78" fmla="*/ 190505 h 408950"/>
                <a:gd name="connsiteX79" fmla="*/ 436095 w 595897"/>
                <a:gd name="connsiteY79" fmla="*/ 184776 h 408950"/>
                <a:gd name="connsiteX80" fmla="*/ 436095 w 595897"/>
                <a:gd name="connsiteY80" fmla="*/ 171168 h 408950"/>
                <a:gd name="connsiteX81" fmla="*/ 449726 w 595897"/>
                <a:gd name="connsiteY81" fmla="*/ 170452 h 408950"/>
                <a:gd name="connsiteX82" fmla="*/ 456183 w 595897"/>
                <a:gd name="connsiteY82" fmla="*/ 177614 h 408950"/>
                <a:gd name="connsiteX83" fmla="*/ 475553 w 595897"/>
                <a:gd name="connsiteY83" fmla="*/ 158276 h 408950"/>
                <a:gd name="connsiteX84" fmla="*/ 477705 w 595897"/>
                <a:gd name="connsiteY84" fmla="*/ 152546 h 408950"/>
                <a:gd name="connsiteX85" fmla="*/ 185777 w 595897"/>
                <a:gd name="connsiteY85" fmla="*/ 98180 h 408950"/>
                <a:gd name="connsiteX86" fmla="*/ 309931 w 595897"/>
                <a:gd name="connsiteY86" fmla="*/ 98180 h 408950"/>
                <a:gd name="connsiteX87" fmla="*/ 319978 w 595897"/>
                <a:gd name="connsiteY87" fmla="*/ 107490 h 408950"/>
                <a:gd name="connsiteX88" fmla="*/ 309931 w 595897"/>
                <a:gd name="connsiteY88" fmla="*/ 117517 h 408950"/>
                <a:gd name="connsiteX89" fmla="*/ 185777 w 595897"/>
                <a:gd name="connsiteY89" fmla="*/ 117517 h 408950"/>
                <a:gd name="connsiteX90" fmla="*/ 176448 w 595897"/>
                <a:gd name="connsiteY90" fmla="*/ 107490 h 408950"/>
                <a:gd name="connsiteX91" fmla="*/ 185777 w 595897"/>
                <a:gd name="connsiteY91" fmla="*/ 98180 h 408950"/>
                <a:gd name="connsiteX92" fmla="*/ 157838 w 595897"/>
                <a:gd name="connsiteY92" fmla="*/ 66655 h 408950"/>
                <a:gd name="connsiteX93" fmla="*/ 171478 w 595897"/>
                <a:gd name="connsiteY93" fmla="*/ 66655 h 408950"/>
                <a:gd name="connsiteX94" fmla="*/ 171478 w 595897"/>
                <a:gd name="connsiteY94" fmla="*/ 80260 h 408950"/>
                <a:gd name="connsiteX95" fmla="*/ 123379 w 595897"/>
                <a:gd name="connsiteY95" fmla="*/ 128235 h 408950"/>
                <a:gd name="connsiteX96" fmla="*/ 116201 w 595897"/>
                <a:gd name="connsiteY96" fmla="*/ 131099 h 408950"/>
                <a:gd name="connsiteX97" fmla="*/ 109740 w 595897"/>
                <a:gd name="connsiteY97" fmla="*/ 128235 h 408950"/>
                <a:gd name="connsiteX98" fmla="*/ 81742 w 595897"/>
                <a:gd name="connsiteY98" fmla="*/ 100309 h 408950"/>
                <a:gd name="connsiteX99" fmla="*/ 81742 w 595897"/>
                <a:gd name="connsiteY99" fmla="*/ 86704 h 408950"/>
                <a:gd name="connsiteX100" fmla="*/ 95382 w 595897"/>
                <a:gd name="connsiteY100" fmla="*/ 86704 h 408950"/>
                <a:gd name="connsiteX101" fmla="*/ 116201 w 595897"/>
                <a:gd name="connsiteY101" fmla="*/ 108186 h 408950"/>
                <a:gd name="connsiteX102" fmla="*/ 9326 w 595897"/>
                <a:gd name="connsiteY102" fmla="*/ 0 h 408950"/>
                <a:gd name="connsiteX103" fmla="*/ 385237 w 595897"/>
                <a:gd name="connsiteY103" fmla="*/ 0 h 408950"/>
                <a:gd name="connsiteX104" fmla="*/ 394563 w 595897"/>
                <a:gd name="connsiteY104" fmla="*/ 9311 h 408950"/>
                <a:gd name="connsiteX105" fmla="*/ 394563 w 595897"/>
                <a:gd name="connsiteY105" fmla="*/ 209847 h 408950"/>
                <a:gd name="connsiteX106" fmla="*/ 385237 w 595897"/>
                <a:gd name="connsiteY106" fmla="*/ 219157 h 408950"/>
                <a:gd name="connsiteX107" fmla="*/ 375194 w 595897"/>
                <a:gd name="connsiteY107" fmla="*/ 209847 h 408950"/>
                <a:gd name="connsiteX108" fmla="*/ 375194 w 595897"/>
                <a:gd name="connsiteY108" fmla="*/ 18621 h 408950"/>
                <a:gd name="connsiteX109" fmla="*/ 19369 w 595897"/>
                <a:gd name="connsiteY109" fmla="*/ 18621 h 408950"/>
                <a:gd name="connsiteX110" fmla="*/ 19369 w 595897"/>
                <a:gd name="connsiteY110" fmla="*/ 389613 h 408950"/>
                <a:gd name="connsiteX111" fmla="*/ 281216 w 595897"/>
                <a:gd name="connsiteY111" fmla="*/ 389613 h 408950"/>
                <a:gd name="connsiteX112" fmla="*/ 291259 w 595897"/>
                <a:gd name="connsiteY112" fmla="*/ 399639 h 408950"/>
                <a:gd name="connsiteX113" fmla="*/ 281216 w 595897"/>
                <a:gd name="connsiteY113" fmla="*/ 408950 h 408950"/>
                <a:gd name="connsiteX114" fmla="*/ 9326 w 595897"/>
                <a:gd name="connsiteY114" fmla="*/ 408950 h 408950"/>
                <a:gd name="connsiteX115" fmla="*/ 0 w 595897"/>
                <a:gd name="connsiteY115" fmla="*/ 399639 h 408950"/>
                <a:gd name="connsiteX116" fmla="*/ 0 w 595897"/>
                <a:gd name="connsiteY116" fmla="*/ 9311 h 408950"/>
                <a:gd name="connsiteX117" fmla="*/ 9326 w 595897"/>
                <a:gd name="connsiteY117" fmla="*/ 0 h 40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595897" h="408950">
                  <a:moveTo>
                    <a:pt x="353594" y="321572"/>
                  </a:moveTo>
                  <a:lnTo>
                    <a:pt x="353594" y="364545"/>
                  </a:lnTo>
                  <a:cubicBezTo>
                    <a:pt x="354311" y="364545"/>
                    <a:pt x="354311" y="365261"/>
                    <a:pt x="354311" y="365261"/>
                  </a:cubicBezTo>
                  <a:lnTo>
                    <a:pt x="382290" y="389612"/>
                  </a:lnTo>
                  <a:lnTo>
                    <a:pt x="423899" y="389612"/>
                  </a:lnTo>
                  <a:close/>
                  <a:moveTo>
                    <a:pt x="185777" y="289361"/>
                  </a:moveTo>
                  <a:lnTo>
                    <a:pt x="309931" y="289361"/>
                  </a:lnTo>
                  <a:cubicBezTo>
                    <a:pt x="315672" y="289361"/>
                    <a:pt x="319978" y="293664"/>
                    <a:pt x="319978" y="298684"/>
                  </a:cubicBezTo>
                  <a:cubicBezTo>
                    <a:pt x="319978" y="303704"/>
                    <a:pt x="315672" y="308007"/>
                    <a:pt x="309931" y="308007"/>
                  </a:cubicBezTo>
                  <a:lnTo>
                    <a:pt x="185777" y="308007"/>
                  </a:lnTo>
                  <a:cubicBezTo>
                    <a:pt x="180036" y="308007"/>
                    <a:pt x="176448" y="303704"/>
                    <a:pt x="176448" y="298684"/>
                  </a:cubicBezTo>
                  <a:cubicBezTo>
                    <a:pt x="176448" y="293664"/>
                    <a:pt x="180036" y="289361"/>
                    <a:pt x="185777" y="289361"/>
                  </a:cubicBezTo>
                  <a:close/>
                  <a:moveTo>
                    <a:pt x="525771" y="270005"/>
                  </a:moveTo>
                  <a:lnTo>
                    <a:pt x="429639" y="369558"/>
                  </a:lnTo>
                  <a:lnTo>
                    <a:pt x="446856" y="386031"/>
                  </a:lnTo>
                  <a:lnTo>
                    <a:pt x="544423" y="288626"/>
                  </a:lnTo>
                  <a:close/>
                  <a:moveTo>
                    <a:pt x="157838" y="257836"/>
                  </a:moveTo>
                  <a:cubicBezTo>
                    <a:pt x="161427" y="254256"/>
                    <a:pt x="167888" y="254256"/>
                    <a:pt x="171478" y="257836"/>
                  </a:cubicBezTo>
                  <a:cubicBezTo>
                    <a:pt x="175067" y="261416"/>
                    <a:pt x="175067" y="267145"/>
                    <a:pt x="171478" y="271441"/>
                  </a:cubicBezTo>
                  <a:lnTo>
                    <a:pt x="123379" y="319416"/>
                  </a:lnTo>
                  <a:cubicBezTo>
                    <a:pt x="121226" y="320848"/>
                    <a:pt x="119072" y="322280"/>
                    <a:pt x="116201" y="322280"/>
                  </a:cubicBezTo>
                  <a:cubicBezTo>
                    <a:pt x="114047" y="322280"/>
                    <a:pt x="111175" y="320848"/>
                    <a:pt x="109740" y="319416"/>
                  </a:cubicBezTo>
                  <a:lnTo>
                    <a:pt x="81742" y="291490"/>
                  </a:lnTo>
                  <a:cubicBezTo>
                    <a:pt x="78153" y="287910"/>
                    <a:pt x="78153" y="281466"/>
                    <a:pt x="81742" y="277885"/>
                  </a:cubicBezTo>
                  <a:cubicBezTo>
                    <a:pt x="85332" y="274305"/>
                    <a:pt x="91793" y="274305"/>
                    <a:pt x="95382" y="277885"/>
                  </a:cubicBezTo>
                  <a:lnTo>
                    <a:pt x="116201" y="299367"/>
                  </a:lnTo>
                  <a:close/>
                  <a:moveTo>
                    <a:pt x="489183" y="235627"/>
                  </a:moveTo>
                  <a:lnTo>
                    <a:pt x="390899" y="330883"/>
                  </a:lnTo>
                  <a:lnTo>
                    <a:pt x="416008" y="355950"/>
                  </a:lnTo>
                  <a:lnTo>
                    <a:pt x="512140" y="257113"/>
                  </a:lnTo>
                  <a:close/>
                  <a:moveTo>
                    <a:pt x="456900" y="204113"/>
                  </a:moveTo>
                  <a:lnTo>
                    <a:pt x="360050" y="300802"/>
                  </a:lnTo>
                  <a:lnTo>
                    <a:pt x="377268" y="317991"/>
                  </a:lnTo>
                  <a:lnTo>
                    <a:pt x="475553" y="222019"/>
                  </a:lnTo>
                  <a:close/>
                  <a:moveTo>
                    <a:pt x="185777" y="193368"/>
                  </a:moveTo>
                  <a:lnTo>
                    <a:pt x="309931" y="193368"/>
                  </a:lnTo>
                  <a:cubicBezTo>
                    <a:pt x="315672" y="193368"/>
                    <a:pt x="319978" y="197665"/>
                    <a:pt x="319978" y="203395"/>
                  </a:cubicBezTo>
                  <a:cubicBezTo>
                    <a:pt x="319978" y="208408"/>
                    <a:pt x="315672" y="212705"/>
                    <a:pt x="309931" y="212705"/>
                  </a:cubicBezTo>
                  <a:lnTo>
                    <a:pt x="185777" y="212705"/>
                  </a:lnTo>
                  <a:cubicBezTo>
                    <a:pt x="180036" y="212705"/>
                    <a:pt x="176448" y="208408"/>
                    <a:pt x="176448" y="203395"/>
                  </a:cubicBezTo>
                  <a:cubicBezTo>
                    <a:pt x="176448" y="197665"/>
                    <a:pt x="180036" y="193368"/>
                    <a:pt x="185777" y="193368"/>
                  </a:cubicBezTo>
                  <a:close/>
                  <a:moveTo>
                    <a:pt x="486314" y="174033"/>
                  </a:moveTo>
                  <a:lnTo>
                    <a:pt x="469813" y="190505"/>
                  </a:lnTo>
                  <a:lnTo>
                    <a:pt x="493488" y="213424"/>
                  </a:lnTo>
                  <a:cubicBezTo>
                    <a:pt x="494922" y="213424"/>
                    <a:pt x="495640" y="214140"/>
                    <a:pt x="496357" y="214857"/>
                  </a:cubicBezTo>
                  <a:cubicBezTo>
                    <a:pt x="497075" y="215573"/>
                    <a:pt x="497075" y="216289"/>
                    <a:pt x="497792" y="217005"/>
                  </a:cubicBezTo>
                  <a:lnTo>
                    <a:pt x="558054" y="275018"/>
                  </a:lnTo>
                  <a:lnTo>
                    <a:pt x="572402" y="260694"/>
                  </a:lnTo>
                  <a:close/>
                  <a:moveTo>
                    <a:pt x="157838" y="161842"/>
                  </a:moveTo>
                  <a:cubicBezTo>
                    <a:pt x="161427" y="158262"/>
                    <a:pt x="167888" y="158262"/>
                    <a:pt x="171478" y="161842"/>
                  </a:cubicBezTo>
                  <a:cubicBezTo>
                    <a:pt x="175067" y="166138"/>
                    <a:pt x="175067" y="171867"/>
                    <a:pt x="171478" y="175447"/>
                  </a:cubicBezTo>
                  <a:lnTo>
                    <a:pt x="123379" y="224138"/>
                  </a:lnTo>
                  <a:cubicBezTo>
                    <a:pt x="121226" y="225570"/>
                    <a:pt x="119072" y="226286"/>
                    <a:pt x="116201" y="226286"/>
                  </a:cubicBezTo>
                  <a:cubicBezTo>
                    <a:pt x="114047" y="226286"/>
                    <a:pt x="111175" y="225570"/>
                    <a:pt x="109740" y="224138"/>
                  </a:cubicBezTo>
                  <a:lnTo>
                    <a:pt x="81742" y="196212"/>
                  </a:lnTo>
                  <a:cubicBezTo>
                    <a:pt x="78153" y="191916"/>
                    <a:pt x="78153" y="186188"/>
                    <a:pt x="81742" y="182607"/>
                  </a:cubicBezTo>
                  <a:cubicBezTo>
                    <a:pt x="85332" y="179027"/>
                    <a:pt x="91793" y="179027"/>
                    <a:pt x="95382" y="182607"/>
                  </a:cubicBezTo>
                  <a:lnTo>
                    <a:pt x="116201" y="203373"/>
                  </a:lnTo>
                  <a:close/>
                  <a:moveTo>
                    <a:pt x="477705" y="152546"/>
                  </a:moveTo>
                  <a:cubicBezTo>
                    <a:pt x="482009" y="148249"/>
                    <a:pt x="487748" y="148249"/>
                    <a:pt x="491335" y="152546"/>
                  </a:cubicBezTo>
                  <a:lnTo>
                    <a:pt x="593207" y="253532"/>
                  </a:lnTo>
                  <a:cubicBezTo>
                    <a:pt x="596794" y="257113"/>
                    <a:pt x="596794" y="263559"/>
                    <a:pt x="593207" y="267140"/>
                  </a:cubicBezTo>
                  <a:lnTo>
                    <a:pt x="572402" y="287910"/>
                  </a:lnTo>
                  <a:lnTo>
                    <a:pt x="579576" y="295072"/>
                  </a:lnTo>
                  <a:cubicBezTo>
                    <a:pt x="583163" y="299370"/>
                    <a:pt x="583881" y="305099"/>
                    <a:pt x="580294" y="308680"/>
                  </a:cubicBezTo>
                  <a:cubicBezTo>
                    <a:pt x="578142" y="310829"/>
                    <a:pt x="575272" y="311545"/>
                    <a:pt x="573120" y="311545"/>
                  </a:cubicBezTo>
                  <a:cubicBezTo>
                    <a:pt x="570967" y="311545"/>
                    <a:pt x="568098" y="310829"/>
                    <a:pt x="566663" y="309397"/>
                  </a:cubicBezTo>
                  <a:lnTo>
                    <a:pt x="558772" y="301518"/>
                  </a:lnTo>
                  <a:lnTo>
                    <a:pt x="454030" y="406085"/>
                  </a:lnTo>
                  <a:cubicBezTo>
                    <a:pt x="454030" y="406085"/>
                    <a:pt x="453313" y="406085"/>
                    <a:pt x="453313" y="406801"/>
                  </a:cubicBezTo>
                  <a:cubicBezTo>
                    <a:pt x="452596" y="406801"/>
                    <a:pt x="451878" y="407518"/>
                    <a:pt x="451161" y="407518"/>
                  </a:cubicBezTo>
                  <a:cubicBezTo>
                    <a:pt x="451161" y="408234"/>
                    <a:pt x="450443" y="408234"/>
                    <a:pt x="450443" y="408234"/>
                  </a:cubicBezTo>
                  <a:cubicBezTo>
                    <a:pt x="449009" y="408950"/>
                    <a:pt x="448291" y="408950"/>
                    <a:pt x="446856" y="408950"/>
                  </a:cubicBezTo>
                  <a:lnTo>
                    <a:pt x="344267" y="408950"/>
                  </a:lnTo>
                  <a:cubicBezTo>
                    <a:pt x="339245" y="408950"/>
                    <a:pt x="334941" y="404653"/>
                    <a:pt x="334941" y="399639"/>
                  </a:cubicBezTo>
                  <a:lnTo>
                    <a:pt x="334941" y="298653"/>
                  </a:lnTo>
                  <a:cubicBezTo>
                    <a:pt x="334941" y="295072"/>
                    <a:pt x="337093" y="291491"/>
                    <a:pt x="340680" y="290059"/>
                  </a:cubicBezTo>
                  <a:cubicBezTo>
                    <a:pt x="341398" y="289343"/>
                    <a:pt x="342833" y="289343"/>
                    <a:pt x="344267" y="289343"/>
                  </a:cubicBezTo>
                  <a:lnTo>
                    <a:pt x="442552" y="190505"/>
                  </a:lnTo>
                  <a:lnTo>
                    <a:pt x="436095" y="184776"/>
                  </a:lnTo>
                  <a:cubicBezTo>
                    <a:pt x="432508" y="181195"/>
                    <a:pt x="432508" y="174749"/>
                    <a:pt x="436095" y="171168"/>
                  </a:cubicBezTo>
                  <a:cubicBezTo>
                    <a:pt x="439682" y="166871"/>
                    <a:pt x="445422" y="166871"/>
                    <a:pt x="449726" y="170452"/>
                  </a:cubicBezTo>
                  <a:lnTo>
                    <a:pt x="456183" y="177614"/>
                  </a:lnTo>
                  <a:lnTo>
                    <a:pt x="475553" y="158276"/>
                  </a:lnTo>
                  <a:cubicBezTo>
                    <a:pt x="475553" y="156127"/>
                    <a:pt x="476270" y="153979"/>
                    <a:pt x="477705" y="152546"/>
                  </a:cubicBezTo>
                  <a:close/>
                  <a:moveTo>
                    <a:pt x="185777" y="98180"/>
                  </a:moveTo>
                  <a:lnTo>
                    <a:pt x="309931" y="98180"/>
                  </a:lnTo>
                  <a:cubicBezTo>
                    <a:pt x="315672" y="98180"/>
                    <a:pt x="319978" y="102477"/>
                    <a:pt x="319978" y="107490"/>
                  </a:cubicBezTo>
                  <a:cubicBezTo>
                    <a:pt x="319978" y="113220"/>
                    <a:pt x="315672" y="117517"/>
                    <a:pt x="309931" y="117517"/>
                  </a:cubicBezTo>
                  <a:lnTo>
                    <a:pt x="185777" y="117517"/>
                  </a:lnTo>
                  <a:cubicBezTo>
                    <a:pt x="180036" y="117517"/>
                    <a:pt x="176448" y="113220"/>
                    <a:pt x="176448" y="107490"/>
                  </a:cubicBezTo>
                  <a:cubicBezTo>
                    <a:pt x="176448" y="102477"/>
                    <a:pt x="180036" y="98180"/>
                    <a:pt x="185777" y="98180"/>
                  </a:cubicBezTo>
                  <a:close/>
                  <a:moveTo>
                    <a:pt x="157838" y="66655"/>
                  </a:moveTo>
                  <a:cubicBezTo>
                    <a:pt x="161427" y="63075"/>
                    <a:pt x="167888" y="63075"/>
                    <a:pt x="171478" y="66655"/>
                  </a:cubicBezTo>
                  <a:cubicBezTo>
                    <a:pt x="175067" y="70235"/>
                    <a:pt x="175067" y="76680"/>
                    <a:pt x="171478" y="80260"/>
                  </a:cubicBezTo>
                  <a:lnTo>
                    <a:pt x="123379" y="128235"/>
                  </a:lnTo>
                  <a:cubicBezTo>
                    <a:pt x="121226" y="130383"/>
                    <a:pt x="119072" y="131099"/>
                    <a:pt x="116201" y="131099"/>
                  </a:cubicBezTo>
                  <a:cubicBezTo>
                    <a:pt x="114047" y="131099"/>
                    <a:pt x="111175" y="130383"/>
                    <a:pt x="109740" y="128235"/>
                  </a:cubicBezTo>
                  <a:lnTo>
                    <a:pt x="81742" y="100309"/>
                  </a:lnTo>
                  <a:cubicBezTo>
                    <a:pt x="78153" y="96729"/>
                    <a:pt x="78153" y="91001"/>
                    <a:pt x="81742" y="86704"/>
                  </a:cubicBezTo>
                  <a:cubicBezTo>
                    <a:pt x="85332" y="83124"/>
                    <a:pt x="91793" y="83124"/>
                    <a:pt x="95382" y="86704"/>
                  </a:cubicBezTo>
                  <a:lnTo>
                    <a:pt x="116201" y="108186"/>
                  </a:lnTo>
                  <a:close/>
                  <a:moveTo>
                    <a:pt x="9326" y="0"/>
                  </a:moveTo>
                  <a:lnTo>
                    <a:pt x="385237" y="0"/>
                  </a:lnTo>
                  <a:cubicBezTo>
                    <a:pt x="390259" y="0"/>
                    <a:pt x="394563" y="4297"/>
                    <a:pt x="394563" y="9311"/>
                  </a:cubicBezTo>
                  <a:lnTo>
                    <a:pt x="394563" y="209847"/>
                  </a:lnTo>
                  <a:cubicBezTo>
                    <a:pt x="394563" y="215576"/>
                    <a:pt x="390259" y="219157"/>
                    <a:pt x="385237" y="219157"/>
                  </a:cubicBezTo>
                  <a:cubicBezTo>
                    <a:pt x="379498" y="219157"/>
                    <a:pt x="375194" y="215576"/>
                    <a:pt x="375194" y="209847"/>
                  </a:cubicBezTo>
                  <a:lnTo>
                    <a:pt x="375194" y="18621"/>
                  </a:lnTo>
                  <a:lnTo>
                    <a:pt x="19369" y="18621"/>
                  </a:lnTo>
                  <a:lnTo>
                    <a:pt x="19369" y="389613"/>
                  </a:lnTo>
                  <a:lnTo>
                    <a:pt x="281216" y="389613"/>
                  </a:lnTo>
                  <a:cubicBezTo>
                    <a:pt x="286955" y="389613"/>
                    <a:pt x="291259" y="393910"/>
                    <a:pt x="291259" y="399639"/>
                  </a:cubicBezTo>
                  <a:cubicBezTo>
                    <a:pt x="291259" y="404653"/>
                    <a:pt x="286955" y="408950"/>
                    <a:pt x="281216" y="408950"/>
                  </a:cubicBezTo>
                  <a:lnTo>
                    <a:pt x="9326" y="408950"/>
                  </a:lnTo>
                  <a:cubicBezTo>
                    <a:pt x="4304" y="408950"/>
                    <a:pt x="0" y="404653"/>
                    <a:pt x="0" y="399639"/>
                  </a:cubicBezTo>
                  <a:lnTo>
                    <a:pt x="0" y="9311"/>
                  </a:lnTo>
                  <a:cubicBezTo>
                    <a:pt x="0" y="4297"/>
                    <a:pt x="4304" y="0"/>
                    <a:pt x="9326" y="0"/>
                  </a:cubicBezTo>
                  <a:close/>
                </a:path>
              </a:pathLst>
            </a:custGeom>
            <a:solidFill>
              <a:schemeClr val="tx2"/>
            </a:solidFill>
            <a:ln>
              <a:no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51" name="îślîḋè"/>
            <p:cNvSpPr txBox="1"/>
            <p:nvPr/>
          </p:nvSpPr>
          <p:spPr>
            <a:xfrm>
              <a:off x="3106887" y="2676540"/>
              <a:ext cx="1602330" cy="304533"/>
            </a:xfrm>
            <a:prstGeom prst="rect">
              <a:avLst/>
            </a:prstGeom>
            <a:noFill/>
            <a:ln>
              <a:noFill/>
            </a:ln>
          </p:spPr>
          <p:txBody>
            <a:bodyPr wrap="none" lIns="90000" tIns="46800" rIns="90000" bIns="46800" anchor="t"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lnSpc>
                  <a:spcPct val="110000"/>
                </a:lnSpc>
                <a:buSzPct val="25000"/>
                <a:buNone/>
              </a:pPr>
              <a:r>
                <a:rPr lang="zh-CN" altLang="en-US" sz="1600" b="1" i="0" u="none" strike="noStrike" cap="none" baseline="0" dirty="0" smtClean="0"/>
                <a:t>德尔菲法</a:t>
              </a:r>
              <a:endParaRPr lang="zh-CN" altLang="en-US" sz="1600" b="1" i="0" u="none" strike="noStrike" cap="none" baseline="0" dirty="0"/>
            </a:p>
          </p:txBody>
        </p:sp>
        <p:sp>
          <p:nvSpPr>
            <p:cNvPr id="152" name="îSľiḍé"/>
            <p:cNvSpPr/>
            <p:nvPr/>
          </p:nvSpPr>
          <p:spPr>
            <a:xfrm>
              <a:off x="2655426" y="2833361"/>
              <a:ext cx="2505254" cy="1252514"/>
            </a:xfrm>
            <a:custGeom>
              <a:avLst/>
              <a:gdLst/>
              <a:ahLst/>
              <a:cxnLst/>
              <a:rect l="0" t="0" r="0" b="0"/>
              <a:pathLst>
                <a:path w="120000" h="120000" extrusionOk="0">
                  <a:moveTo>
                    <a:pt x="60000" y="89416"/>
                  </a:moveTo>
                  <a:cubicBezTo>
                    <a:pt x="35311" y="89416"/>
                    <a:pt x="15294" y="49383"/>
                    <a:pt x="15294" y="0"/>
                  </a:cubicBezTo>
                  <a:lnTo>
                    <a:pt x="0" y="0"/>
                  </a:lnTo>
                  <a:cubicBezTo>
                    <a:pt x="0" y="66272"/>
                    <a:pt x="26861" y="120000"/>
                    <a:pt x="60000" y="120000"/>
                  </a:cubicBezTo>
                  <a:cubicBezTo>
                    <a:pt x="93138" y="120000"/>
                    <a:pt x="120000" y="66272"/>
                    <a:pt x="120000" y="0"/>
                  </a:cubicBezTo>
                  <a:lnTo>
                    <a:pt x="104705" y="0"/>
                  </a:lnTo>
                  <a:cubicBezTo>
                    <a:pt x="104705" y="49383"/>
                    <a:pt x="84688" y="89416"/>
                    <a:pt x="60000" y="89416"/>
                  </a:cubicBezTo>
                  <a:close/>
                </a:path>
              </a:pathLst>
            </a:custGeom>
            <a:solidFill>
              <a:schemeClr val="accent2"/>
            </a:solidFill>
            <a:ln>
              <a:no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53" name="íṧḷiḓê"/>
            <p:cNvSpPr/>
            <p:nvPr/>
          </p:nvSpPr>
          <p:spPr>
            <a:xfrm>
              <a:off x="3732010" y="2160496"/>
              <a:ext cx="352085" cy="351594"/>
            </a:xfrm>
            <a:custGeom>
              <a:avLst/>
              <a:gdLst>
                <a:gd name="connsiteX0" fmla="*/ 286001 w 607709"/>
                <a:gd name="connsiteY0" fmla="*/ 441740 h 606863"/>
                <a:gd name="connsiteX1" fmla="*/ 316203 w 607709"/>
                <a:gd name="connsiteY1" fmla="*/ 471872 h 606863"/>
                <a:gd name="connsiteX2" fmla="*/ 286001 w 607709"/>
                <a:gd name="connsiteY2" fmla="*/ 502004 h 606863"/>
                <a:gd name="connsiteX3" fmla="*/ 255799 w 607709"/>
                <a:gd name="connsiteY3" fmla="*/ 471872 h 606863"/>
                <a:gd name="connsiteX4" fmla="*/ 286001 w 607709"/>
                <a:gd name="connsiteY4" fmla="*/ 441740 h 606863"/>
                <a:gd name="connsiteX5" fmla="*/ 314452 w 607709"/>
                <a:gd name="connsiteY5" fmla="*/ 106977 h 606863"/>
                <a:gd name="connsiteX6" fmla="*/ 386133 w 607709"/>
                <a:gd name="connsiteY6" fmla="*/ 168085 h 606863"/>
                <a:gd name="connsiteX7" fmla="*/ 336233 w 607709"/>
                <a:gd name="connsiteY7" fmla="*/ 261069 h 606863"/>
                <a:gd name="connsiteX8" fmla="*/ 291172 w 607709"/>
                <a:gd name="connsiteY8" fmla="*/ 378796 h 606863"/>
                <a:gd name="connsiteX9" fmla="*/ 292094 w 607709"/>
                <a:gd name="connsiteY9" fmla="*/ 400086 h 606863"/>
                <a:gd name="connsiteX10" fmla="*/ 280109 w 607709"/>
                <a:gd name="connsiteY10" fmla="*/ 413090 h 606863"/>
                <a:gd name="connsiteX11" fmla="*/ 279533 w 607709"/>
                <a:gd name="connsiteY11" fmla="*/ 413090 h 606863"/>
                <a:gd name="connsiteX12" fmla="*/ 267087 w 607709"/>
                <a:gd name="connsiteY12" fmla="*/ 401122 h 606863"/>
                <a:gd name="connsiteX13" fmla="*/ 266280 w 607709"/>
                <a:gd name="connsiteY13" fmla="*/ 380062 h 606863"/>
                <a:gd name="connsiteX14" fmla="*/ 317102 w 607709"/>
                <a:gd name="connsiteY14" fmla="*/ 245073 h 606863"/>
                <a:gd name="connsiteX15" fmla="*/ 361125 w 607709"/>
                <a:gd name="connsiteY15" fmla="*/ 168085 h 606863"/>
                <a:gd name="connsiteX16" fmla="*/ 314221 w 607709"/>
                <a:gd name="connsiteY16" fmla="*/ 131949 h 606863"/>
                <a:gd name="connsiteX17" fmla="*/ 241157 w 607709"/>
                <a:gd name="connsiteY17" fmla="*/ 154045 h 606863"/>
                <a:gd name="connsiteX18" fmla="*/ 223870 w 607709"/>
                <a:gd name="connsiteY18" fmla="*/ 150823 h 606863"/>
                <a:gd name="connsiteX19" fmla="*/ 226982 w 607709"/>
                <a:gd name="connsiteY19" fmla="*/ 133560 h 606863"/>
                <a:gd name="connsiteX20" fmla="*/ 314452 w 607709"/>
                <a:gd name="connsiteY20" fmla="*/ 106977 h 606863"/>
                <a:gd name="connsiteX21" fmla="*/ 303854 w 607709"/>
                <a:gd name="connsiteY21" fmla="*/ 24970 h 606863"/>
                <a:gd name="connsiteX22" fmla="*/ 25004 w 607709"/>
                <a:gd name="connsiteY22" fmla="*/ 303431 h 606863"/>
                <a:gd name="connsiteX23" fmla="*/ 303854 w 607709"/>
                <a:gd name="connsiteY23" fmla="*/ 582009 h 606863"/>
                <a:gd name="connsiteX24" fmla="*/ 582820 w 607709"/>
                <a:gd name="connsiteY24" fmla="*/ 303431 h 606863"/>
                <a:gd name="connsiteX25" fmla="*/ 303854 w 607709"/>
                <a:gd name="connsiteY25" fmla="*/ 24970 h 606863"/>
                <a:gd name="connsiteX26" fmla="*/ 303854 w 607709"/>
                <a:gd name="connsiteY26" fmla="*/ 0 h 606863"/>
                <a:gd name="connsiteX27" fmla="*/ 607709 w 607709"/>
                <a:gd name="connsiteY27" fmla="*/ 303431 h 606863"/>
                <a:gd name="connsiteX28" fmla="*/ 303854 w 607709"/>
                <a:gd name="connsiteY28" fmla="*/ 606863 h 606863"/>
                <a:gd name="connsiteX29" fmla="*/ 0 w 607709"/>
                <a:gd name="connsiteY29" fmla="*/ 303431 h 606863"/>
                <a:gd name="connsiteX30" fmla="*/ 303854 w 607709"/>
                <a:gd name="connsiteY30" fmla="*/ 0 h 606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607709" h="606863">
                  <a:moveTo>
                    <a:pt x="286001" y="441740"/>
                  </a:moveTo>
                  <a:cubicBezTo>
                    <a:pt x="302681" y="441740"/>
                    <a:pt x="316203" y="455231"/>
                    <a:pt x="316203" y="471872"/>
                  </a:cubicBezTo>
                  <a:cubicBezTo>
                    <a:pt x="316203" y="488513"/>
                    <a:pt x="302681" y="502004"/>
                    <a:pt x="286001" y="502004"/>
                  </a:cubicBezTo>
                  <a:cubicBezTo>
                    <a:pt x="269321" y="502004"/>
                    <a:pt x="255799" y="488513"/>
                    <a:pt x="255799" y="471872"/>
                  </a:cubicBezTo>
                  <a:cubicBezTo>
                    <a:pt x="255799" y="455231"/>
                    <a:pt x="269321" y="441740"/>
                    <a:pt x="286001" y="441740"/>
                  </a:cubicBezTo>
                  <a:close/>
                  <a:moveTo>
                    <a:pt x="314452" y="106977"/>
                  </a:moveTo>
                  <a:cubicBezTo>
                    <a:pt x="359397" y="107898"/>
                    <a:pt x="386133" y="130683"/>
                    <a:pt x="386133" y="168085"/>
                  </a:cubicBezTo>
                  <a:cubicBezTo>
                    <a:pt x="386133" y="200307"/>
                    <a:pt x="360779" y="231148"/>
                    <a:pt x="336233" y="261069"/>
                  </a:cubicBezTo>
                  <a:cubicBezTo>
                    <a:pt x="303503" y="299621"/>
                    <a:pt x="288868" y="338058"/>
                    <a:pt x="291172" y="378796"/>
                  </a:cubicBezTo>
                  <a:lnTo>
                    <a:pt x="292094" y="400086"/>
                  </a:lnTo>
                  <a:cubicBezTo>
                    <a:pt x="292325" y="406991"/>
                    <a:pt x="286908" y="412745"/>
                    <a:pt x="280109" y="413090"/>
                  </a:cubicBezTo>
                  <a:cubicBezTo>
                    <a:pt x="279879" y="413090"/>
                    <a:pt x="279763" y="413090"/>
                    <a:pt x="279533" y="413090"/>
                  </a:cubicBezTo>
                  <a:cubicBezTo>
                    <a:pt x="272849" y="413090"/>
                    <a:pt x="267317" y="407796"/>
                    <a:pt x="267087" y="401122"/>
                  </a:cubicBezTo>
                  <a:lnTo>
                    <a:pt x="266280" y="380062"/>
                  </a:lnTo>
                  <a:cubicBezTo>
                    <a:pt x="263514" y="333455"/>
                    <a:pt x="280570" y="287998"/>
                    <a:pt x="317102" y="245073"/>
                  </a:cubicBezTo>
                  <a:cubicBezTo>
                    <a:pt x="342801" y="213656"/>
                    <a:pt x="361125" y="189720"/>
                    <a:pt x="361125" y="168085"/>
                  </a:cubicBezTo>
                  <a:cubicBezTo>
                    <a:pt x="361125" y="144723"/>
                    <a:pt x="345337" y="132525"/>
                    <a:pt x="314221" y="131949"/>
                  </a:cubicBezTo>
                  <a:cubicBezTo>
                    <a:pt x="290135" y="131949"/>
                    <a:pt x="260057" y="141041"/>
                    <a:pt x="241157" y="154045"/>
                  </a:cubicBezTo>
                  <a:cubicBezTo>
                    <a:pt x="235510" y="157957"/>
                    <a:pt x="227789" y="156461"/>
                    <a:pt x="223870" y="150823"/>
                  </a:cubicBezTo>
                  <a:cubicBezTo>
                    <a:pt x="219952" y="145184"/>
                    <a:pt x="221335" y="137473"/>
                    <a:pt x="226982" y="133560"/>
                  </a:cubicBezTo>
                  <a:cubicBezTo>
                    <a:pt x="249915" y="117679"/>
                    <a:pt x="285065" y="106977"/>
                    <a:pt x="314452" y="106977"/>
                  </a:cubicBezTo>
                  <a:close/>
                  <a:moveTo>
                    <a:pt x="303854" y="24970"/>
                  </a:moveTo>
                  <a:cubicBezTo>
                    <a:pt x="150141" y="24970"/>
                    <a:pt x="25004" y="149932"/>
                    <a:pt x="25004" y="303431"/>
                  </a:cubicBezTo>
                  <a:cubicBezTo>
                    <a:pt x="25004" y="457046"/>
                    <a:pt x="150141" y="582009"/>
                    <a:pt x="303854" y="582009"/>
                  </a:cubicBezTo>
                  <a:cubicBezTo>
                    <a:pt x="457683" y="582009"/>
                    <a:pt x="582820" y="457046"/>
                    <a:pt x="582820" y="303431"/>
                  </a:cubicBezTo>
                  <a:cubicBezTo>
                    <a:pt x="582820" y="149932"/>
                    <a:pt x="457683" y="24970"/>
                    <a:pt x="303854" y="24970"/>
                  </a:cubicBezTo>
                  <a:close/>
                  <a:moveTo>
                    <a:pt x="303854" y="0"/>
                  </a:moveTo>
                  <a:cubicBezTo>
                    <a:pt x="471395" y="0"/>
                    <a:pt x="607709" y="136124"/>
                    <a:pt x="607709" y="303431"/>
                  </a:cubicBezTo>
                  <a:cubicBezTo>
                    <a:pt x="607709" y="470739"/>
                    <a:pt x="471395" y="606863"/>
                    <a:pt x="303854" y="606863"/>
                  </a:cubicBezTo>
                  <a:cubicBezTo>
                    <a:pt x="136314" y="606863"/>
                    <a:pt x="0" y="470739"/>
                    <a:pt x="0" y="303431"/>
                  </a:cubicBezTo>
                  <a:cubicBezTo>
                    <a:pt x="0" y="136124"/>
                    <a:pt x="136314" y="0"/>
                    <a:pt x="303854" y="0"/>
                  </a:cubicBezTo>
                  <a:close/>
                </a:path>
              </a:pathLst>
            </a:custGeom>
            <a:solidFill>
              <a:schemeClr val="tx2"/>
            </a:solidFill>
            <a:ln>
              <a:no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54" name="iS1ïḍé"/>
            <p:cNvSpPr txBox="1"/>
            <p:nvPr/>
          </p:nvSpPr>
          <p:spPr>
            <a:xfrm>
              <a:off x="5294834" y="2676540"/>
              <a:ext cx="1602330" cy="304533"/>
            </a:xfrm>
            <a:prstGeom prst="rect">
              <a:avLst/>
            </a:prstGeom>
            <a:noFill/>
            <a:ln>
              <a:noFill/>
            </a:ln>
          </p:spPr>
          <p:txBody>
            <a:bodyPr wrap="none" lIns="90000" tIns="46800" rIns="90000" bIns="46800" anchor="t"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lnSpc>
                  <a:spcPct val="110000"/>
                </a:lnSpc>
                <a:buSzPct val="25000"/>
                <a:buNone/>
              </a:pPr>
              <a:r>
                <a:rPr lang="zh-CN" altLang="en-US" sz="1600" b="1" i="0" u="none" strike="noStrike" cap="none" baseline="0" dirty="0" smtClean="0"/>
                <a:t>头脑风暴</a:t>
              </a:r>
              <a:endParaRPr lang="zh-CN" altLang="en-US" sz="1600" b="1" i="0" u="none" strike="noStrike" cap="none" baseline="0" dirty="0"/>
            </a:p>
          </p:txBody>
        </p:sp>
        <p:sp>
          <p:nvSpPr>
            <p:cNvPr id="155" name="îSļíḍe"/>
            <p:cNvSpPr/>
            <p:nvPr/>
          </p:nvSpPr>
          <p:spPr>
            <a:xfrm>
              <a:off x="4843373" y="1584000"/>
              <a:ext cx="2505254" cy="1252515"/>
            </a:xfrm>
            <a:custGeom>
              <a:avLst/>
              <a:gdLst/>
              <a:ahLst/>
              <a:cxnLst/>
              <a:rect l="0" t="0" r="0" b="0"/>
              <a:pathLst>
                <a:path w="120000" h="120000" extrusionOk="0">
                  <a:moveTo>
                    <a:pt x="60000" y="30583"/>
                  </a:moveTo>
                  <a:cubicBezTo>
                    <a:pt x="84688" y="30583"/>
                    <a:pt x="104705" y="70616"/>
                    <a:pt x="104705" y="120000"/>
                  </a:cubicBezTo>
                  <a:lnTo>
                    <a:pt x="120000" y="120000"/>
                  </a:lnTo>
                  <a:cubicBezTo>
                    <a:pt x="120000" y="53727"/>
                    <a:pt x="93138" y="0"/>
                    <a:pt x="60000" y="0"/>
                  </a:cubicBezTo>
                  <a:cubicBezTo>
                    <a:pt x="26861" y="0"/>
                    <a:pt x="0" y="53727"/>
                    <a:pt x="0" y="120000"/>
                  </a:cubicBezTo>
                  <a:lnTo>
                    <a:pt x="15294" y="120000"/>
                  </a:lnTo>
                  <a:cubicBezTo>
                    <a:pt x="15294" y="70616"/>
                    <a:pt x="35311" y="30583"/>
                    <a:pt x="60000" y="30583"/>
                  </a:cubicBezTo>
                  <a:close/>
                </a:path>
              </a:pathLst>
            </a:custGeom>
            <a:solidFill>
              <a:schemeClr val="accent2"/>
            </a:solidFill>
            <a:ln>
              <a:no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56" name="íślíḍé"/>
            <p:cNvSpPr/>
            <p:nvPr/>
          </p:nvSpPr>
          <p:spPr>
            <a:xfrm>
              <a:off x="5935906" y="2158007"/>
              <a:ext cx="320187" cy="351057"/>
            </a:xfrm>
            <a:custGeom>
              <a:avLst/>
              <a:gdLst>
                <a:gd name="connsiteX0" fmla="*/ 349373 w 554867"/>
                <a:gd name="connsiteY0" fmla="*/ 215154 h 608363"/>
                <a:gd name="connsiteX1" fmla="*/ 370684 w 554867"/>
                <a:gd name="connsiteY1" fmla="*/ 236430 h 608363"/>
                <a:gd name="connsiteX2" fmla="*/ 349373 w 554867"/>
                <a:gd name="connsiteY2" fmla="*/ 257706 h 608363"/>
                <a:gd name="connsiteX3" fmla="*/ 328062 w 554867"/>
                <a:gd name="connsiteY3" fmla="*/ 236430 h 608363"/>
                <a:gd name="connsiteX4" fmla="*/ 349373 w 554867"/>
                <a:gd name="connsiteY4" fmla="*/ 215154 h 608363"/>
                <a:gd name="connsiteX5" fmla="*/ 283536 w 554867"/>
                <a:gd name="connsiteY5" fmla="*/ 215154 h 608363"/>
                <a:gd name="connsiteX6" fmla="*/ 304847 w 554867"/>
                <a:gd name="connsiteY6" fmla="*/ 236430 h 608363"/>
                <a:gd name="connsiteX7" fmla="*/ 283536 w 554867"/>
                <a:gd name="connsiteY7" fmla="*/ 257706 h 608363"/>
                <a:gd name="connsiteX8" fmla="*/ 262225 w 554867"/>
                <a:gd name="connsiteY8" fmla="*/ 236430 h 608363"/>
                <a:gd name="connsiteX9" fmla="*/ 283536 w 554867"/>
                <a:gd name="connsiteY9" fmla="*/ 215154 h 608363"/>
                <a:gd name="connsiteX10" fmla="*/ 217698 w 554867"/>
                <a:gd name="connsiteY10" fmla="*/ 215154 h 608363"/>
                <a:gd name="connsiteX11" fmla="*/ 239009 w 554867"/>
                <a:gd name="connsiteY11" fmla="*/ 236430 h 608363"/>
                <a:gd name="connsiteX12" fmla="*/ 217698 w 554867"/>
                <a:gd name="connsiteY12" fmla="*/ 257706 h 608363"/>
                <a:gd name="connsiteX13" fmla="*/ 196387 w 554867"/>
                <a:gd name="connsiteY13" fmla="*/ 236430 h 608363"/>
                <a:gd name="connsiteX14" fmla="*/ 217698 w 554867"/>
                <a:gd name="connsiteY14" fmla="*/ 215154 h 608363"/>
                <a:gd name="connsiteX15" fmla="*/ 283544 w 554867"/>
                <a:gd name="connsiteY15" fmla="*/ 106037 h 608363"/>
                <a:gd name="connsiteX16" fmla="*/ 191159 w 554867"/>
                <a:gd name="connsiteY16" fmla="*/ 144207 h 608363"/>
                <a:gd name="connsiteX17" fmla="*/ 191159 w 554867"/>
                <a:gd name="connsiteY17" fmla="*/ 328635 h 608363"/>
                <a:gd name="connsiteX18" fmla="*/ 375859 w 554867"/>
                <a:gd name="connsiteY18" fmla="*/ 328635 h 608363"/>
                <a:gd name="connsiteX19" fmla="*/ 375859 w 554867"/>
                <a:gd name="connsiteY19" fmla="*/ 144207 h 608363"/>
                <a:gd name="connsiteX20" fmla="*/ 283544 w 554867"/>
                <a:gd name="connsiteY20" fmla="*/ 106037 h 608363"/>
                <a:gd name="connsiteX21" fmla="*/ 283650 w 554867"/>
                <a:gd name="connsiteY21" fmla="*/ 66747 h 608363"/>
                <a:gd name="connsiteX22" fmla="*/ 403822 w 554867"/>
                <a:gd name="connsiteY22" fmla="*/ 116472 h 608363"/>
                <a:gd name="connsiteX23" fmla="*/ 419626 w 554867"/>
                <a:gd name="connsiteY23" fmla="*/ 338066 h 608363"/>
                <a:gd name="connsiteX24" fmla="*/ 425892 w 554867"/>
                <a:gd name="connsiteY24" fmla="*/ 344323 h 608363"/>
                <a:gd name="connsiteX25" fmla="*/ 431971 w 554867"/>
                <a:gd name="connsiteY25" fmla="*/ 338160 h 608363"/>
                <a:gd name="connsiteX26" fmla="*/ 545316 w 554867"/>
                <a:gd name="connsiteY26" fmla="*/ 451338 h 608363"/>
                <a:gd name="connsiteX27" fmla="*/ 545410 w 554867"/>
                <a:gd name="connsiteY27" fmla="*/ 497655 h 608363"/>
                <a:gd name="connsiteX28" fmla="*/ 498931 w 554867"/>
                <a:gd name="connsiteY28" fmla="*/ 497655 h 608363"/>
                <a:gd name="connsiteX29" fmla="*/ 385585 w 554867"/>
                <a:gd name="connsiteY29" fmla="*/ 384477 h 608363"/>
                <a:gd name="connsiteX30" fmla="*/ 391664 w 554867"/>
                <a:gd name="connsiteY30" fmla="*/ 378407 h 608363"/>
                <a:gd name="connsiteX31" fmla="*/ 385492 w 554867"/>
                <a:gd name="connsiteY31" fmla="*/ 372150 h 608363"/>
                <a:gd name="connsiteX32" fmla="*/ 163477 w 554867"/>
                <a:gd name="connsiteY32" fmla="*/ 356369 h 608363"/>
                <a:gd name="connsiteX33" fmla="*/ 163477 w 554867"/>
                <a:gd name="connsiteY33" fmla="*/ 116472 h 608363"/>
                <a:gd name="connsiteX34" fmla="*/ 283650 w 554867"/>
                <a:gd name="connsiteY34" fmla="*/ 66747 h 608363"/>
                <a:gd name="connsiteX35" fmla="*/ 286067 w 554867"/>
                <a:gd name="connsiteY35" fmla="*/ 0 h 608363"/>
                <a:gd name="connsiteX36" fmla="*/ 518730 w 554867"/>
                <a:gd name="connsiteY36" fmla="*/ 232332 h 608363"/>
                <a:gd name="connsiteX37" fmla="*/ 484597 w 554867"/>
                <a:gd name="connsiteY37" fmla="*/ 353448 h 608363"/>
                <a:gd name="connsiteX38" fmla="*/ 457759 w 554867"/>
                <a:gd name="connsiteY38" fmla="*/ 326741 h 608363"/>
                <a:gd name="connsiteX39" fmla="*/ 479361 w 554867"/>
                <a:gd name="connsiteY39" fmla="*/ 223274 h 608363"/>
                <a:gd name="connsiteX40" fmla="*/ 422317 w 554867"/>
                <a:gd name="connsiteY40" fmla="*/ 97863 h 608363"/>
                <a:gd name="connsiteX41" fmla="*/ 357418 w 554867"/>
                <a:gd name="connsiteY41" fmla="*/ 54814 h 608363"/>
                <a:gd name="connsiteX42" fmla="*/ 283542 w 554867"/>
                <a:gd name="connsiteY42" fmla="*/ 40434 h 608363"/>
                <a:gd name="connsiteX43" fmla="*/ 144767 w 554867"/>
                <a:gd name="connsiteY43" fmla="*/ 97770 h 608363"/>
                <a:gd name="connsiteX44" fmla="*/ 87349 w 554867"/>
                <a:gd name="connsiteY44" fmla="*/ 236348 h 608363"/>
                <a:gd name="connsiteX45" fmla="*/ 144767 w 554867"/>
                <a:gd name="connsiteY45" fmla="*/ 374925 h 608363"/>
                <a:gd name="connsiteX46" fmla="*/ 283542 w 554867"/>
                <a:gd name="connsiteY46" fmla="*/ 432261 h 608363"/>
                <a:gd name="connsiteX47" fmla="*/ 344887 w 554867"/>
                <a:gd name="connsiteY47" fmla="*/ 422550 h 608363"/>
                <a:gd name="connsiteX48" fmla="*/ 374251 w 554867"/>
                <a:gd name="connsiteY48" fmla="*/ 410410 h 608363"/>
                <a:gd name="connsiteX49" fmla="*/ 443451 w 554867"/>
                <a:gd name="connsiteY49" fmla="*/ 479512 h 608363"/>
                <a:gd name="connsiteX50" fmla="*/ 443451 w 554867"/>
                <a:gd name="connsiteY50" fmla="*/ 526576 h 608363"/>
                <a:gd name="connsiteX51" fmla="*/ 443451 w 554867"/>
                <a:gd name="connsiteY51" fmla="*/ 534980 h 608363"/>
                <a:gd name="connsiteX52" fmla="*/ 443451 w 554867"/>
                <a:gd name="connsiteY52" fmla="*/ 545626 h 608363"/>
                <a:gd name="connsiteX53" fmla="*/ 426806 w 554867"/>
                <a:gd name="connsiteY53" fmla="*/ 565423 h 608363"/>
                <a:gd name="connsiteX54" fmla="*/ 184978 w 554867"/>
                <a:gd name="connsiteY54" fmla="*/ 608098 h 608363"/>
                <a:gd name="connsiteX55" fmla="*/ 168332 w 554867"/>
                <a:gd name="connsiteY55" fmla="*/ 595398 h 608363"/>
                <a:gd name="connsiteX56" fmla="*/ 168332 w 554867"/>
                <a:gd name="connsiteY56" fmla="*/ 594931 h 608363"/>
                <a:gd name="connsiteX57" fmla="*/ 168239 w 554867"/>
                <a:gd name="connsiteY57" fmla="*/ 527883 h 608363"/>
                <a:gd name="connsiteX58" fmla="*/ 101189 w 554867"/>
                <a:gd name="connsiteY58" fmla="*/ 537875 h 608363"/>
                <a:gd name="connsiteX59" fmla="*/ 52281 w 554867"/>
                <a:gd name="connsiteY59" fmla="*/ 489037 h 608363"/>
                <a:gd name="connsiteX60" fmla="*/ 52281 w 554867"/>
                <a:gd name="connsiteY60" fmla="*/ 443000 h 608363"/>
                <a:gd name="connsiteX61" fmla="*/ 52281 w 554867"/>
                <a:gd name="connsiteY61" fmla="*/ 403687 h 608363"/>
                <a:gd name="connsiteX62" fmla="*/ 52281 w 554867"/>
                <a:gd name="connsiteY62" fmla="*/ 403126 h 608363"/>
                <a:gd name="connsiteX63" fmla="*/ 29931 w 554867"/>
                <a:gd name="connsiteY63" fmla="*/ 403126 h 608363"/>
                <a:gd name="connsiteX64" fmla="*/ 4776 w 554867"/>
                <a:gd name="connsiteY64" fmla="*/ 361665 h 608363"/>
                <a:gd name="connsiteX65" fmla="*/ 52188 w 554867"/>
                <a:gd name="connsiteY65" fmla="*/ 271272 h 608363"/>
                <a:gd name="connsiteX66" fmla="*/ 52188 w 554867"/>
                <a:gd name="connsiteY66" fmla="*/ 263802 h 608363"/>
                <a:gd name="connsiteX67" fmla="*/ 52188 w 554867"/>
                <a:gd name="connsiteY67" fmla="*/ 232706 h 608363"/>
                <a:gd name="connsiteX68" fmla="*/ 186661 w 554867"/>
                <a:gd name="connsiteY68" fmla="*/ 22318 h 608363"/>
                <a:gd name="connsiteX69" fmla="*/ 286067 w 554867"/>
                <a:gd name="connsiteY69" fmla="*/ 0 h 608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554867" h="608363">
                  <a:moveTo>
                    <a:pt x="349373" y="215154"/>
                  </a:moveTo>
                  <a:cubicBezTo>
                    <a:pt x="361143" y="215154"/>
                    <a:pt x="370684" y="224680"/>
                    <a:pt x="370684" y="236430"/>
                  </a:cubicBezTo>
                  <a:cubicBezTo>
                    <a:pt x="370684" y="248180"/>
                    <a:pt x="361143" y="257706"/>
                    <a:pt x="349373" y="257706"/>
                  </a:cubicBezTo>
                  <a:cubicBezTo>
                    <a:pt x="337603" y="257706"/>
                    <a:pt x="328062" y="248180"/>
                    <a:pt x="328062" y="236430"/>
                  </a:cubicBezTo>
                  <a:cubicBezTo>
                    <a:pt x="328062" y="224680"/>
                    <a:pt x="337603" y="215154"/>
                    <a:pt x="349373" y="215154"/>
                  </a:cubicBezTo>
                  <a:close/>
                  <a:moveTo>
                    <a:pt x="283536" y="215154"/>
                  </a:moveTo>
                  <a:cubicBezTo>
                    <a:pt x="295306" y="215154"/>
                    <a:pt x="304847" y="224680"/>
                    <a:pt x="304847" y="236430"/>
                  </a:cubicBezTo>
                  <a:cubicBezTo>
                    <a:pt x="304847" y="248180"/>
                    <a:pt x="295306" y="257706"/>
                    <a:pt x="283536" y="257706"/>
                  </a:cubicBezTo>
                  <a:cubicBezTo>
                    <a:pt x="271766" y="257706"/>
                    <a:pt x="262225" y="248180"/>
                    <a:pt x="262225" y="236430"/>
                  </a:cubicBezTo>
                  <a:cubicBezTo>
                    <a:pt x="262225" y="224680"/>
                    <a:pt x="271766" y="215154"/>
                    <a:pt x="283536" y="215154"/>
                  </a:cubicBezTo>
                  <a:close/>
                  <a:moveTo>
                    <a:pt x="217698" y="215154"/>
                  </a:moveTo>
                  <a:cubicBezTo>
                    <a:pt x="229468" y="215154"/>
                    <a:pt x="239009" y="224680"/>
                    <a:pt x="239009" y="236430"/>
                  </a:cubicBezTo>
                  <a:cubicBezTo>
                    <a:pt x="239009" y="248180"/>
                    <a:pt x="229468" y="257706"/>
                    <a:pt x="217698" y="257706"/>
                  </a:cubicBezTo>
                  <a:cubicBezTo>
                    <a:pt x="205928" y="257706"/>
                    <a:pt x="196387" y="248180"/>
                    <a:pt x="196387" y="236430"/>
                  </a:cubicBezTo>
                  <a:cubicBezTo>
                    <a:pt x="196387" y="224680"/>
                    <a:pt x="205928" y="215154"/>
                    <a:pt x="217698" y="215154"/>
                  </a:cubicBezTo>
                  <a:close/>
                  <a:moveTo>
                    <a:pt x="283544" y="106037"/>
                  </a:moveTo>
                  <a:cubicBezTo>
                    <a:pt x="250123" y="106037"/>
                    <a:pt x="216690" y="118760"/>
                    <a:pt x="191159" y="144207"/>
                  </a:cubicBezTo>
                  <a:cubicBezTo>
                    <a:pt x="140191" y="195099"/>
                    <a:pt x="140191" y="277649"/>
                    <a:pt x="191159" y="328635"/>
                  </a:cubicBezTo>
                  <a:cubicBezTo>
                    <a:pt x="242220" y="379528"/>
                    <a:pt x="324891" y="379528"/>
                    <a:pt x="375859" y="328635"/>
                  </a:cubicBezTo>
                  <a:cubicBezTo>
                    <a:pt x="426827" y="277835"/>
                    <a:pt x="426827" y="195286"/>
                    <a:pt x="375859" y="144207"/>
                  </a:cubicBezTo>
                  <a:cubicBezTo>
                    <a:pt x="350375" y="118760"/>
                    <a:pt x="316965" y="106037"/>
                    <a:pt x="283544" y="106037"/>
                  </a:cubicBezTo>
                  <a:close/>
                  <a:moveTo>
                    <a:pt x="283650" y="66747"/>
                  </a:moveTo>
                  <a:cubicBezTo>
                    <a:pt x="327136" y="66747"/>
                    <a:pt x="370622" y="83322"/>
                    <a:pt x="403822" y="116472"/>
                  </a:cubicBezTo>
                  <a:cubicBezTo>
                    <a:pt x="464235" y="176797"/>
                    <a:pt x="469659" y="271579"/>
                    <a:pt x="419626" y="338066"/>
                  </a:cubicBezTo>
                  <a:lnTo>
                    <a:pt x="425892" y="344323"/>
                  </a:lnTo>
                  <a:lnTo>
                    <a:pt x="431971" y="338160"/>
                  </a:lnTo>
                  <a:lnTo>
                    <a:pt x="545316" y="451338"/>
                  </a:lnTo>
                  <a:cubicBezTo>
                    <a:pt x="558035" y="464224"/>
                    <a:pt x="558035" y="484955"/>
                    <a:pt x="545410" y="497655"/>
                  </a:cubicBezTo>
                  <a:cubicBezTo>
                    <a:pt x="532598" y="510541"/>
                    <a:pt x="511743" y="510541"/>
                    <a:pt x="498931" y="497655"/>
                  </a:cubicBezTo>
                  <a:lnTo>
                    <a:pt x="385585" y="384477"/>
                  </a:lnTo>
                  <a:lnTo>
                    <a:pt x="391664" y="378407"/>
                  </a:lnTo>
                  <a:lnTo>
                    <a:pt x="385492" y="372150"/>
                  </a:lnTo>
                  <a:cubicBezTo>
                    <a:pt x="319000" y="422109"/>
                    <a:pt x="224078" y="416880"/>
                    <a:pt x="163477" y="356369"/>
                  </a:cubicBezTo>
                  <a:cubicBezTo>
                    <a:pt x="97172" y="290162"/>
                    <a:pt x="97172" y="182680"/>
                    <a:pt x="163477" y="116472"/>
                  </a:cubicBezTo>
                  <a:cubicBezTo>
                    <a:pt x="196677" y="83322"/>
                    <a:pt x="240163" y="66747"/>
                    <a:pt x="283650" y="66747"/>
                  </a:cubicBezTo>
                  <a:close/>
                  <a:moveTo>
                    <a:pt x="286067" y="0"/>
                  </a:moveTo>
                  <a:cubicBezTo>
                    <a:pt x="414649" y="0"/>
                    <a:pt x="518730" y="103933"/>
                    <a:pt x="518730" y="232332"/>
                  </a:cubicBezTo>
                  <a:cubicBezTo>
                    <a:pt x="518730" y="276688"/>
                    <a:pt x="506293" y="318243"/>
                    <a:pt x="484597" y="353448"/>
                  </a:cubicBezTo>
                  <a:lnTo>
                    <a:pt x="457759" y="326741"/>
                  </a:lnTo>
                  <a:cubicBezTo>
                    <a:pt x="474124" y="295084"/>
                    <a:pt x="481698" y="259319"/>
                    <a:pt x="479361" y="223274"/>
                  </a:cubicBezTo>
                  <a:cubicBezTo>
                    <a:pt x="476181" y="175930"/>
                    <a:pt x="455982" y="131480"/>
                    <a:pt x="422317" y="97863"/>
                  </a:cubicBezTo>
                  <a:cubicBezTo>
                    <a:pt x="403614" y="79187"/>
                    <a:pt x="381732" y="64619"/>
                    <a:pt x="357418" y="54814"/>
                  </a:cubicBezTo>
                  <a:cubicBezTo>
                    <a:pt x="333852" y="45290"/>
                    <a:pt x="308978" y="40434"/>
                    <a:pt x="283542" y="40434"/>
                  </a:cubicBezTo>
                  <a:cubicBezTo>
                    <a:pt x="231174" y="40434"/>
                    <a:pt x="181985" y="60884"/>
                    <a:pt x="144767" y="97770"/>
                  </a:cubicBezTo>
                  <a:cubicBezTo>
                    <a:pt x="107735" y="134749"/>
                    <a:pt x="87349" y="184054"/>
                    <a:pt x="87349" y="236348"/>
                  </a:cubicBezTo>
                  <a:cubicBezTo>
                    <a:pt x="87349" y="288734"/>
                    <a:pt x="107735" y="337946"/>
                    <a:pt x="144767" y="374925"/>
                  </a:cubicBezTo>
                  <a:cubicBezTo>
                    <a:pt x="181985" y="411904"/>
                    <a:pt x="231174" y="432261"/>
                    <a:pt x="283542" y="432261"/>
                  </a:cubicBezTo>
                  <a:cubicBezTo>
                    <a:pt x="304489" y="432261"/>
                    <a:pt x="325062" y="429086"/>
                    <a:pt x="344887" y="422550"/>
                  </a:cubicBezTo>
                  <a:cubicBezTo>
                    <a:pt x="354893" y="419375"/>
                    <a:pt x="364712" y="415266"/>
                    <a:pt x="374251" y="410410"/>
                  </a:cubicBezTo>
                  <a:lnTo>
                    <a:pt x="443451" y="479512"/>
                  </a:lnTo>
                  <a:lnTo>
                    <a:pt x="443451" y="526576"/>
                  </a:lnTo>
                  <a:lnTo>
                    <a:pt x="443451" y="534980"/>
                  </a:lnTo>
                  <a:lnTo>
                    <a:pt x="443451" y="545626"/>
                  </a:lnTo>
                  <a:cubicBezTo>
                    <a:pt x="443451" y="554964"/>
                    <a:pt x="435970" y="563742"/>
                    <a:pt x="426806" y="565423"/>
                  </a:cubicBezTo>
                  <a:lnTo>
                    <a:pt x="184978" y="608098"/>
                  </a:lnTo>
                  <a:cubicBezTo>
                    <a:pt x="176000" y="609685"/>
                    <a:pt x="168706" y="603989"/>
                    <a:pt x="168332" y="595398"/>
                  </a:cubicBezTo>
                  <a:lnTo>
                    <a:pt x="168332" y="594931"/>
                  </a:lnTo>
                  <a:lnTo>
                    <a:pt x="168239" y="527883"/>
                  </a:lnTo>
                  <a:lnTo>
                    <a:pt x="101189" y="537875"/>
                  </a:lnTo>
                  <a:cubicBezTo>
                    <a:pt x="74257" y="537875"/>
                    <a:pt x="52281" y="515931"/>
                    <a:pt x="52281" y="489037"/>
                  </a:cubicBezTo>
                  <a:lnTo>
                    <a:pt x="52281" y="443000"/>
                  </a:lnTo>
                  <a:lnTo>
                    <a:pt x="52281" y="403687"/>
                  </a:lnTo>
                  <a:lnTo>
                    <a:pt x="52281" y="403126"/>
                  </a:lnTo>
                  <a:lnTo>
                    <a:pt x="29931" y="403126"/>
                  </a:lnTo>
                  <a:cubicBezTo>
                    <a:pt x="4121" y="403126"/>
                    <a:pt x="-7194" y="384450"/>
                    <a:pt x="4776" y="361665"/>
                  </a:cubicBezTo>
                  <a:lnTo>
                    <a:pt x="52188" y="271272"/>
                  </a:lnTo>
                  <a:lnTo>
                    <a:pt x="52188" y="263802"/>
                  </a:lnTo>
                  <a:lnTo>
                    <a:pt x="52188" y="232706"/>
                  </a:lnTo>
                  <a:cubicBezTo>
                    <a:pt x="52188" y="139418"/>
                    <a:pt x="107267" y="59110"/>
                    <a:pt x="186661" y="22318"/>
                  </a:cubicBezTo>
                  <a:cubicBezTo>
                    <a:pt x="216773" y="7937"/>
                    <a:pt x="250531" y="0"/>
                    <a:pt x="286067" y="0"/>
                  </a:cubicBezTo>
                  <a:close/>
                </a:path>
              </a:pathLst>
            </a:custGeom>
            <a:solidFill>
              <a:schemeClr val="tx2"/>
            </a:solidFill>
            <a:ln>
              <a:no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57" name="îṧļïḑè"/>
            <p:cNvSpPr txBox="1"/>
            <p:nvPr/>
          </p:nvSpPr>
          <p:spPr>
            <a:xfrm>
              <a:off x="9670726" y="2676540"/>
              <a:ext cx="1602330" cy="304533"/>
            </a:xfrm>
            <a:prstGeom prst="rect">
              <a:avLst/>
            </a:prstGeom>
            <a:noFill/>
            <a:ln>
              <a:noFill/>
            </a:ln>
          </p:spPr>
          <p:txBody>
            <a:bodyPr wrap="none" lIns="90000" tIns="46800" rIns="90000" bIns="46800" anchor="t"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lnSpc>
                  <a:spcPct val="110000"/>
                </a:lnSpc>
                <a:buSzPct val="25000"/>
                <a:buNone/>
              </a:pPr>
              <a:r>
                <a:rPr lang="zh-CN" altLang="en-US" sz="1600" b="1" i="0" u="none" strike="noStrike" cap="none" baseline="0" dirty="0" smtClean="0"/>
                <a:t>风险评价表</a:t>
              </a:r>
              <a:endParaRPr lang="zh-CN" altLang="en-US" sz="1600" b="1" i="0" u="none" strike="noStrike" cap="none" baseline="0" dirty="0"/>
            </a:p>
          </p:txBody>
        </p:sp>
        <p:sp>
          <p:nvSpPr>
            <p:cNvPr id="158" name="íṡ1ïḑê"/>
            <p:cNvSpPr/>
            <p:nvPr/>
          </p:nvSpPr>
          <p:spPr>
            <a:xfrm>
              <a:off x="9219264" y="1584000"/>
              <a:ext cx="2505254" cy="1252515"/>
            </a:xfrm>
            <a:custGeom>
              <a:avLst/>
              <a:gdLst/>
              <a:ahLst/>
              <a:cxnLst/>
              <a:rect l="0" t="0" r="0" b="0"/>
              <a:pathLst>
                <a:path w="120000" h="120000" extrusionOk="0">
                  <a:moveTo>
                    <a:pt x="60000" y="30583"/>
                  </a:moveTo>
                  <a:cubicBezTo>
                    <a:pt x="84688" y="30583"/>
                    <a:pt x="104705" y="70616"/>
                    <a:pt x="104705" y="120000"/>
                  </a:cubicBezTo>
                  <a:lnTo>
                    <a:pt x="120000" y="120000"/>
                  </a:lnTo>
                  <a:cubicBezTo>
                    <a:pt x="120000" y="53727"/>
                    <a:pt x="93138" y="0"/>
                    <a:pt x="60000" y="0"/>
                  </a:cubicBezTo>
                  <a:cubicBezTo>
                    <a:pt x="26861" y="0"/>
                    <a:pt x="0" y="53727"/>
                    <a:pt x="0" y="120000"/>
                  </a:cubicBezTo>
                  <a:lnTo>
                    <a:pt x="15294" y="120000"/>
                  </a:lnTo>
                  <a:cubicBezTo>
                    <a:pt x="15294" y="70616"/>
                    <a:pt x="35311" y="30583"/>
                    <a:pt x="60000" y="30583"/>
                  </a:cubicBezTo>
                  <a:close/>
                </a:path>
              </a:pathLst>
            </a:custGeom>
            <a:solidFill>
              <a:schemeClr val="accent2">
                <a:lumMod val="100000"/>
              </a:schemeClr>
            </a:solidFill>
            <a:ln>
              <a:no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59" name="işḷiḑè"/>
            <p:cNvSpPr/>
            <p:nvPr/>
          </p:nvSpPr>
          <p:spPr>
            <a:xfrm>
              <a:off x="10326901" y="2158039"/>
              <a:ext cx="289980" cy="348269"/>
            </a:xfrm>
            <a:custGeom>
              <a:avLst/>
              <a:gdLst>
                <a:gd name="connsiteX0" fmla="*/ 429882 w 504825"/>
                <a:gd name="connsiteY0" fmla="*/ 569675 h 606298"/>
                <a:gd name="connsiteX1" fmla="*/ 445691 w 504825"/>
                <a:gd name="connsiteY1" fmla="*/ 586522 h 606298"/>
                <a:gd name="connsiteX2" fmla="*/ 445691 w 504825"/>
                <a:gd name="connsiteY2" fmla="*/ 606298 h 606298"/>
                <a:gd name="connsiteX3" fmla="*/ 414219 w 504825"/>
                <a:gd name="connsiteY3" fmla="*/ 606298 h 606298"/>
                <a:gd name="connsiteX4" fmla="*/ 414219 w 504825"/>
                <a:gd name="connsiteY4" fmla="*/ 586815 h 606298"/>
                <a:gd name="connsiteX5" fmla="*/ 432075 w 504825"/>
                <a:gd name="connsiteY5" fmla="*/ 512685 h 606298"/>
                <a:gd name="connsiteX6" fmla="*/ 432075 w 504825"/>
                <a:gd name="connsiteY6" fmla="*/ 551648 h 606298"/>
                <a:gd name="connsiteX7" fmla="*/ 492501 w 504825"/>
                <a:gd name="connsiteY7" fmla="*/ 551648 h 606298"/>
                <a:gd name="connsiteX8" fmla="*/ 492501 w 504825"/>
                <a:gd name="connsiteY8" fmla="*/ 512685 h 606298"/>
                <a:gd name="connsiteX9" fmla="*/ 0 w 504825"/>
                <a:gd name="connsiteY9" fmla="*/ 502285 h 606298"/>
                <a:gd name="connsiteX10" fmla="*/ 503061 w 504825"/>
                <a:gd name="connsiteY10" fmla="*/ 502285 h 606298"/>
                <a:gd name="connsiteX11" fmla="*/ 503061 w 504825"/>
                <a:gd name="connsiteY11" fmla="*/ 562195 h 606298"/>
                <a:gd name="connsiteX12" fmla="*/ 0 w 504825"/>
                <a:gd name="connsiteY12" fmla="*/ 562195 h 606298"/>
                <a:gd name="connsiteX13" fmla="*/ 439852 w 504825"/>
                <a:gd name="connsiteY13" fmla="*/ 426012 h 606298"/>
                <a:gd name="connsiteX14" fmla="*/ 439852 w 504825"/>
                <a:gd name="connsiteY14" fmla="*/ 475511 h 606298"/>
                <a:gd name="connsiteX15" fmla="*/ 494265 w 504825"/>
                <a:gd name="connsiteY15" fmla="*/ 475511 h 606298"/>
                <a:gd name="connsiteX16" fmla="*/ 494265 w 504825"/>
                <a:gd name="connsiteY16" fmla="*/ 426012 h 606298"/>
                <a:gd name="connsiteX17" fmla="*/ 377519 w 504825"/>
                <a:gd name="connsiteY17" fmla="*/ 426012 h 606298"/>
                <a:gd name="connsiteX18" fmla="*/ 377519 w 504825"/>
                <a:gd name="connsiteY18" fmla="*/ 475511 h 606298"/>
                <a:gd name="connsiteX19" fmla="*/ 437212 w 504825"/>
                <a:gd name="connsiteY19" fmla="*/ 475511 h 606298"/>
                <a:gd name="connsiteX20" fmla="*/ 437212 w 504825"/>
                <a:gd name="connsiteY20" fmla="*/ 426012 h 606298"/>
                <a:gd name="connsiteX21" fmla="*/ 315332 w 504825"/>
                <a:gd name="connsiteY21" fmla="*/ 426012 h 606298"/>
                <a:gd name="connsiteX22" fmla="*/ 315332 w 504825"/>
                <a:gd name="connsiteY22" fmla="*/ 475511 h 606298"/>
                <a:gd name="connsiteX23" fmla="*/ 374879 w 504825"/>
                <a:gd name="connsiteY23" fmla="*/ 475511 h 606298"/>
                <a:gd name="connsiteX24" fmla="*/ 374879 w 504825"/>
                <a:gd name="connsiteY24" fmla="*/ 426012 h 606298"/>
                <a:gd name="connsiteX25" fmla="*/ 253146 w 504825"/>
                <a:gd name="connsiteY25" fmla="*/ 426012 h 606298"/>
                <a:gd name="connsiteX26" fmla="*/ 253146 w 504825"/>
                <a:gd name="connsiteY26" fmla="*/ 475511 h 606298"/>
                <a:gd name="connsiteX27" fmla="*/ 312692 w 504825"/>
                <a:gd name="connsiteY27" fmla="*/ 475511 h 606298"/>
                <a:gd name="connsiteX28" fmla="*/ 312692 w 504825"/>
                <a:gd name="connsiteY28" fmla="*/ 426012 h 606298"/>
                <a:gd name="connsiteX29" fmla="*/ 190959 w 504825"/>
                <a:gd name="connsiteY29" fmla="*/ 426012 h 606298"/>
                <a:gd name="connsiteX30" fmla="*/ 190959 w 504825"/>
                <a:gd name="connsiteY30" fmla="*/ 475511 h 606298"/>
                <a:gd name="connsiteX31" fmla="*/ 250506 w 504825"/>
                <a:gd name="connsiteY31" fmla="*/ 475511 h 606298"/>
                <a:gd name="connsiteX32" fmla="*/ 250506 w 504825"/>
                <a:gd name="connsiteY32" fmla="*/ 426012 h 606298"/>
                <a:gd name="connsiteX33" fmla="*/ 128626 w 504825"/>
                <a:gd name="connsiteY33" fmla="*/ 426012 h 606298"/>
                <a:gd name="connsiteX34" fmla="*/ 128626 w 504825"/>
                <a:gd name="connsiteY34" fmla="*/ 475511 h 606298"/>
                <a:gd name="connsiteX35" fmla="*/ 188319 w 504825"/>
                <a:gd name="connsiteY35" fmla="*/ 475511 h 606298"/>
                <a:gd name="connsiteX36" fmla="*/ 188319 w 504825"/>
                <a:gd name="connsiteY36" fmla="*/ 426012 h 606298"/>
                <a:gd name="connsiteX37" fmla="*/ 66440 w 504825"/>
                <a:gd name="connsiteY37" fmla="*/ 426012 h 606298"/>
                <a:gd name="connsiteX38" fmla="*/ 66440 w 504825"/>
                <a:gd name="connsiteY38" fmla="*/ 475511 h 606298"/>
                <a:gd name="connsiteX39" fmla="*/ 125986 w 504825"/>
                <a:gd name="connsiteY39" fmla="*/ 475511 h 606298"/>
                <a:gd name="connsiteX40" fmla="*/ 125986 w 504825"/>
                <a:gd name="connsiteY40" fmla="*/ 426012 h 606298"/>
                <a:gd name="connsiteX41" fmla="*/ 47227 w 504825"/>
                <a:gd name="connsiteY41" fmla="*/ 426012 h 606298"/>
                <a:gd name="connsiteX42" fmla="*/ 26253 w 504825"/>
                <a:gd name="connsiteY42" fmla="*/ 463063 h 606298"/>
                <a:gd name="connsiteX43" fmla="*/ 28013 w 504825"/>
                <a:gd name="connsiteY43" fmla="*/ 468921 h 606298"/>
                <a:gd name="connsiteX44" fmla="*/ 25667 w 504825"/>
                <a:gd name="connsiteY44" fmla="*/ 475511 h 606298"/>
                <a:gd name="connsiteX45" fmla="*/ 63800 w 504825"/>
                <a:gd name="connsiteY45" fmla="*/ 475511 h 606298"/>
                <a:gd name="connsiteX46" fmla="*/ 63800 w 504825"/>
                <a:gd name="connsiteY46" fmla="*/ 426012 h 606298"/>
                <a:gd name="connsiteX47" fmla="*/ 10560 w 504825"/>
                <a:gd name="connsiteY47" fmla="*/ 426012 h 606298"/>
                <a:gd name="connsiteX48" fmla="*/ 10560 w 504825"/>
                <a:gd name="connsiteY48" fmla="*/ 458377 h 606298"/>
                <a:gd name="connsiteX49" fmla="*/ 15987 w 504825"/>
                <a:gd name="connsiteY49" fmla="*/ 456912 h 606298"/>
                <a:gd name="connsiteX50" fmla="*/ 17453 w 504825"/>
                <a:gd name="connsiteY50" fmla="*/ 457205 h 606298"/>
                <a:gd name="connsiteX51" fmla="*/ 35053 w 504825"/>
                <a:gd name="connsiteY51" fmla="*/ 426012 h 606298"/>
                <a:gd name="connsiteX52" fmla="*/ 63800 w 504825"/>
                <a:gd name="connsiteY52" fmla="*/ 397748 h 606298"/>
                <a:gd name="connsiteX53" fmla="*/ 48693 w 504825"/>
                <a:gd name="connsiteY53" fmla="*/ 423376 h 606298"/>
                <a:gd name="connsiteX54" fmla="*/ 63800 w 504825"/>
                <a:gd name="connsiteY54" fmla="*/ 423376 h 606298"/>
                <a:gd name="connsiteX55" fmla="*/ 439852 w 504825"/>
                <a:gd name="connsiteY55" fmla="*/ 366262 h 606298"/>
                <a:gd name="connsiteX56" fmla="*/ 439852 w 504825"/>
                <a:gd name="connsiteY56" fmla="*/ 423376 h 606298"/>
                <a:gd name="connsiteX57" fmla="*/ 494265 w 504825"/>
                <a:gd name="connsiteY57" fmla="*/ 423376 h 606298"/>
                <a:gd name="connsiteX58" fmla="*/ 494265 w 504825"/>
                <a:gd name="connsiteY58" fmla="*/ 366262 h 606298"/>
                <a:gd name="connsiteX59" fmla="*/ 377519 w 504825"/>
                <a:gd name="connsiteY59" fmla="*/ 366262 h 606298"/>
                <a:gd name="connsiteX60" fmla="*/ 377519 w 504825"/>
                <a:gd name="connsiteY60" fmla="*/ 423376 h 606298"/>
                <a:gd name="connsiteX61" fmla="*/ 437212 w 504825"/>
                <a:gd name="connsiteY61" fmla="*/ 423376 h 606298"/>
                <a:gd name="connsiteX62" fmla="*/ 437212 w 504825"/>
                <a:gd name="connsiteY62" fmla="*/ 366262 h 606298"/>
                <a:gd name="connsiteX63" fmla="*/ 315332 w 504825"/>
                <a:gd name="connsiteY63" fmla="*/ 366262 h 606298"/>
                <a:gd name="connsiteX64" fmla="*/ 315332 w 504825"/>
                <a:gd name="connsiteY64" fmla="*/ 423376 h 606298"/>
                <a:gd name="connsiteX65" fmla="*/ 374879 w 504825"/>
                <a:gd name="connsiteY65" fmla="*/ 423376 h 606298"/>
                <a:gd name="connsiteX66" fmla="*/ 374879 w 504825"/>
                <a:gd name="connsiteY66" fmla="*/ 366262 h 606298"/>
                <a:gd name="connsiteX67" fmla="*/ 253146 w 504825"/>
                <a:gd name="connsiteY67" fmla="*/ 366262 h 606298"/>
                <a:gd name="connsiteX68" fmla="*/ 253146 w 504825"/>
                <a:gd name="connsiteY68" fmla="*/ 423376 h 606298"/>
                <a:gd name="connsiteX69" fmla="*/ 312692 w 504825"/>
                <a:gd name="connsiteY69" fmla="*/ 423376 h 606298"/>
                <a:gd name="connsiteX70" fmla="*/ 312692 w 504825"/>
                <a:gd name="connsiteY70" fmla="*/ 366262 h 606298"/>
                <a:gd name="connsiteX71" fmla="*/ 190959 w 504825"/>
                <a:gd name="connsiteY71" fmla="*/ 366262 h 606298"/>
                <a:gd name="connsiteX72" fmla="*/ 190959 w 504825"/>
                <a:gd name="connsiteY72" fmla="*/ 423376 h 606298"/>
                <a:gd name="connsiteX73" fmla="*/ 250506 w 504825"/>
                <a:gd name="connsiteY73" fmla="*/ 423376 h 606298"/>
                <a:gd name="connsiteX74" fmla="*/ 250506 w 504825"/>
                <a:gd name="connsiteY74" fmla="*/ 366262 h 606298"/>
                <a:gd name="connsiteX75" fmla="*/ 128626 w 504825"/>
                <a:gd name="connsiteY75" fmla="*/ 366262 h 606298"/>
                <a:gd name="connsiteX76" fmla="*/ 128626 w 504825"/>
                <a:gd name="connsiteY76" fmla="*/ 423376 h 606298"/>
                <a:gd name="connsiteX77" fmla="*/ 188319 w 504825"/>
                <a:gd name="connsiteY77" fmla="*/ 423376 h 606298"/>
                <a:gd name="connsiteX78" fmla="*/ 188319 w 504825"/>
                <a:gd name="connsiteY78" fmla="*/ 366262 h 606298"/>
                <a:gd name="connsiteX79" fmla="*/ 83160 w 504825"/>
                <a:gd name="connsiteY79" fmla="*/ 366262 h 606298"/>
                <a:gd name="connsiteX80" fmla="*/ 66440 w 504825"/>
                <a:gd name="connsiteY80" fmla="*/ 393355 h 606298"/>
                <a:gd name="connsiteX81" fmla="*/ 66440 w 504825"/>
                <a:gd name="connsiteY81" fmla="*/ 423376 h 606298"/>
                <a:gd name="connsiteX82" fmla="*/ 125986 w 504825"/>
                <a:gd name="connsiteY82" fmla="*/ 423376 h 606298"/>
                <a:gd name="connsiteX83" fmla="*/ 125986 w 504825"/>
                <a:gd name="connsiteY83" fmla="*/ 366262 h 606298"/>
                <a:gd name="connsiteX84" fmla="*/ 66440 w 504825"/>
                <a:gd name="connsiteY84" fmla="*/ 366262 h 606298"/>
                <a:gd name="connsiteX85" fmla="*/ 66440 w 504825"/>
                <a:gd name="connsiteY85" fmla="*/ 373145 h 606298"/>
                <a:gd name="connsiteX86" fmla="*/ 70693 w 504825"/>
                <a:gd name="connsiteY86" fmla="*/ 366262 h 606298"/>
                <a:gd name="connsiteX87" fmla="*/ 10560 w 504825"/>
                <a:gd name="connsiteY87" fmla="*/ 366262 h 606298"/>
                <a:gd name="connsiteX88" fmla="*/ 10560 w 504825"/>
                <a:gd name="connsiteY88" fmla="*/ 423376 h 606298"/>
                <a:gd name="connsiteX89" fmla="*/ 36520 w 504825"/>
                <a:gd name="connsiteY89" fmla="*/ 423376 h 606298"/>
                <a:gd name="connsiteX90" fmla="*/ 63800 w 504825"/>
                <a:gd name="connsiteY90" fmla="*/ 377392 h 606298"/>
                <a:gd name="connsiteX91" fmla="*/ 63800 w 504825"/>
                <a:gd name="connsiteY91" fmla="*/ 366262 h 606298"/>
                <a:gd name="connsiteX92" fmla="*/ 439852 w 504825"/>
                <a:gd name="connsiteY92" fmla="*/ 306512 h 606298"/>
                <a:gd name="connsiteX93" fmla="*/ 439852 w 504825"/>
                <a:gd name="connsiteY93" fmla="*/ 363626 h 606298"/>
                <a:gd name="connsiteX94" fmla="*/ 494265 w 504825"/>
                <a:gd name="connsiteY94" fmla="*/ 363626 h 606298"/>
                <a:gd name="connsiteX95" fmla="*/ 494265 w 504825"/>
                <a:gd name="connsiteY95" fmla="*/ 306512 h 606298"/>
                <a:gd name="connsiteX96" fmla="*/ 377519 w 504825"/>
                <a:gd name="connsiteY96" fmla="*/ 306512 h 606298"/>
                <a:gd name="connsiteX97" fmla="*/ 377519 w 504825"/>
                <a:gd name="connsiteY97" fmla="*/ 363626 h 606298"/>
                <a:gd name="connsiteX98" fmla="*/ 437212 w 504825"/>
                <a:gd name="connsiteY98" fmla="*/ 363626 h 606298"/>
                <a:gd name="connsiteX99" fmla="*/ 437212 w 504825"/>
                <a:gd name="connsiteY99" fmla="*/ 306512 h 606298"/>
                <a:gd name="connsiteX100" fmla="*/ 315332 w 504825"/>
                <a:gd name="connsiteY100" fmla="*/ 306512 h 606298"/>
                <a:gd name="connsiteX101" fmla="*/ 315332 w 504825"/>
                <a:gd name="connsiteY101" fmla="*/ 363626 h 606298"/>
                <a:gd name="connsiteX102" fmla="*/ 374879 w 504825"/>
                <a:gd name="connsiteY102" fmla="*/ 363626 h 606298"/>
                <a:gd name="connsiteX103" fmla="*/ 374879 w 504825"/>
                <a:gd name="connsiteY103" fmla="*/ 306512 h 606298"/>
                <a:gd name="connsiteX104" fmla="*/ 253146 w 504825"/>
                <a:gd name="connsiteY104" fmla="*/ 306512 h 606298"/>
                <a:gd name="connsiteX105" fmla="*/ 253146 w 504825"/>
                <a:gd name="connsiteY105" fmla="*/ 363626 h 606298"/>
                <a:gd name="connsiteX106" fmla="*/ 312692 w 504825"/>
                <a:gd name="connsiteY106" fmla="*/ 363626 h 606298"/>
                <a:gd name="connsiteX107" fmla="*/ 312692 w 504825"/>
                <a:gd name="connsiteY107" fmla="*/ 306512 h 606298"/>
                <a:gd name="connsiteX108" fmla="*/ 190959 w 504825"/>
                <a:gd name="connsiteY108" fmla="*/ 306512 h 606298"/>
                <a:gd name="connsiteX109" fmla="*/ 190959 w 504825"/>
                <a:gd name="connsiteY109" fmla="*/ 363626 h 606298"/>
                <a:gd name="connsiteX110" fmla="*/ 250506 w 504825"/>
                <a:gd name="connsiteY110" fmla="*/ 363626 h 606298"/>
                <a:gd name="connsiteX111" fmla="*/ 250506 w 504825"/>
                <a:gd name="connsiteY111" fmla="*/ 306512 h 606298"/>
                <a:gd name="connsiteX112" fmla="*/ 128626 w 504825"/>
                <a:gd name="connsiteY112" fmla="*/ 306512 h 606298"/>
                <a:gd name="connsiteX113" fmla="*/ 128626 w 504825"/>
                <a:gd name="connsiteY113" fmla="*/ 363626 h 606298"/>
                <a:gd name="connsiteX114" fmla="*/ 188319 w 504825"/>
                <a:gd name="connsiteY114" fmla="*/ 363626 h 606298"/>
                <a:gd name="connsiteX115" fmla="*/ 188319 w 504825"/>
                <a:gd name="connsiteY115" fmla="*/ 306512 h 606298"/>
                <a:gd name="connsiteX116" fmla="*/ 121586 w 504825"/>
                <a:gd name="connsiteY116" fmla="*/ 306512 h 606298"/>
                <a:gd name="connsiteX117" fmla="*/ 84773 w 504825"/>
                <a:gd name="connsiteY117" fmla="*/ 363626 h 606298"/>
                <a:gd name="connsiteX118" fmla="*/ 125986 w 504825"/>
                <a:gd name="connsiteY118" fmla="*/ 363626 h 606298"/>
                <a:gd name="connsiteX119" fmla="*/ 125986 w 504825"/>
                <a:gd name="connsiteY119" fmla="*/ 306512 h 606298"/>
                <a:gd name="connsiteX120" fmla="*/ 66440 w 504825"/>
                <a:gd name="connsiteY120" fmla="*/ 306512 h 606298"/>
                <a:gd name="connsiteX121" fmla="*/ 66440 w 504825"/>
                <a:gd name="connsiteY121" fmla="*/ 363626 h 606298"/>
                <a:gd name="connsiteX122" fmla="*/ 72306 w 504825"/>
                <a:gd name="connsiteY122" fmla="*/ 363626 h 606298"/>
                <a:gd name="connsiteX123" fmla="*/ 108973 w 504825"/>
                <a:gd name="connsiteY123" fmla="*/ 306512 h 606298"/>
                <a:gd name="connsiteX124" fmla="*/ 10560 w 504825"/>
                <a:gd name="connsiteY124" fmla="*/ 306512 h 606298"/>
                <a:gd name="connsiteX125" fmla="*/ 10560 w 504825"/>
                <a:gd name="connsiteY125" fmla="*/ 363626 h 606298"/>
                <a:gd name="connsiteX126" fmla="*/ 63800 w 504825"/>
                <a:gd name="connsiteY126" fmla="*/ 363626 h 606298"/>
                <a:gd name="connsiteX127" fmla="*/ 63800 w 504825"/>
                <a:gd name="connsiteY127" fmla="*/ 306512 h 606298"/>
                <a:gd name="connsiteX128" fmla="*/ 125986 w 504825"/>
                <a:gd name="connsiteY128" fmla="*/ 299775 h 606298"/>
                <a:gd name="connsiteX129" fmla="*/ 123346 w 504825"/>
                <a:gd name="connsiteY129" fmla="*/ 303876 h 606298"/>
                <a:gd name="connsiteX130" fmla="*/ 125986 w 504825"/>
                <a:gd name="connsiteY130" fmla="*/ 303876 h 606298"/>
                <a:gd name="connsiteX131" fmla="*/ 439852 w 504825"/>
                <a:gd name="connsiteY131" fmla="*/ 246762 h 606298"/>
                <a:gd name="connsiteX132" fmla="*/ 439852 w 504825"/>
                <a:gd name="connsiteY132" fmla="*/ 303876 h 606298"/>
                <a:gd name="connsiteX133" fmla="*/ 494265 w 504825"/>
                <a:gd name="connsiteY133" fmla="*/ 303876 h 606298"/>
                <a:gd name="connsiteX134" fmla="*/ 494265 w 504825"/>
                <a:gd name="connsiteY134" fmla="*/ 246762 h 606298"/>
                <a:gd name="connsiteX135" fmla="*/ 377519 w 504825"/>
                <a:gd name="connsiteY135" fmla="*/ 246762 h 606298"/>
                <a:gd name="connsiteX136" fmla="*/ 377519 w 504825"/>
                <a:gd name="connsiteY136" fmla="*/ 303876 h 606298"/>
                <a:gd name="connsiteX137" fmla="*/ 437212 w 504825"/>
                <a:gd name="connsiteY137" fmla="*/ 303876 h 606298"/>
                <a:gd name="connsiteX138" fmla="*/ 437212 w 504825"/>
                <a:gd name="connsiteY138" fmla="*/ 246762 h 606298"/>
                <a:gd name="connsiteX139" fmla="*/ 315332 w 504825"/>
                <a:gd name="connsiteY139" fmla="*/ 246762 h 606298"/>
                <a:gd name="connsiteX140" fmla="*/ 315332 w 504825"/>
                <a:gd name="connsiteY140" fmla="*/ 303876 h 606298"/>
                <a:gd name="connsiteX141" fmla="*/ 374879 w 504825"/>
                <a:gd name="connsiteY141" fmla="*/ 303876 h 606298"/>
                <a:gd name="connsiteX142" fmla="*/ 374879 w 504825"/>
                <a:gd name="connsiteY142" fmla="*/ 246762 h 606298"/>
                <a:gd name="connsiteX143" fmla="*/ 253146 w 504825"/>
                <a:gd name="connsiteY143" fmla="*/ 246762 h 606298"/>
                <a:gd name="connsiteX144" fmla="*/ 253146 w 504825"/>
                <a:gd name="connsiteY144" fmla="*/ 303876 h 606298"/>
                <a:gd name="connsiteX145" fmla="*/ 312692 w 504825"/>
                <a:gd name="connsiteY145" fmla="*/ 303876 h 606298"/>
                <a:gd name="connsiteX146" fmla="*/ 312692 w 504825"/>
                <a:gd name="connsiteY146" fmla="*/ 246762 h 606298"/>
                <a:gd name="connsiteX147" fmla="*/ 190959 w 504825"/>
                <a:gd name="connsiteY147" fmla="*/ 246762 h 606298"/>
                <a:gd name="connsiteX148" fmla="*/ 190959 w 504825"/>
                <a:gd name="connsiteY148" fmla="*/ 303876 h 606298"/>
                <a:gd name="connsiteX149" fmla="*/ 250506 w 504825"/>
                <a:gd name="connsiteY149" fmla="*/ 303876 h 606298"/>
                <a:gd name="connsiteX150" fmla="*/ 250506 w 504825"/>
                <a:gd name="connsiteY150" fmla="*/ 246762 h 606298"/>
                <a:gd name="connsiteX151" fmla="*/ 163239 w 504825"/>
                <a:gd name="connsiteY151" fmla="*/ 246762 h 606298"/>
                <a:gd name="connsiteX152" fmla="*/ 128626 w 504825"/>
                <a:gd name="connsiteY152" fmla="*/ 295968 h 606298"/>
                <a:gd name="connsiteX153" fmla="*/ 128626 w 504825"/>
                <a:gd name="connsiteY153" fmla="*/ 303876 h 606298"/>
                <a:gd name="connsiteX154" fmla="*/ 188319 w 504825"/>
                <a:gd name="connsiteY154" fmla="*/ 303876 h 606298"/>
                <a:gd name="connsiteX155" fmla="*/ 188319 w 504825"/>
                <a:gd name="connsiteY155" fmla="*/ 246762 h 606298"/>
                <a:gd name="connsiteX156" fmla="*/ 128626 w 504825"/>
                <a:gd name="connsiteY156" fmla="*/ 246762 h 606298"/>
                <a:gd name="connsiteX157" fmla="*/ 128626 w 504825"/>
                <a:gd name="connsiteY157" fmla="*/ 277369 h 606298"/>
                <a:gd name="connsiteX158" fmla="*/ 150333 w 504825"/>
                <a:gd name="connsiteY158" fmla="*/ 246762 h 606298"/>
                <a:gd name="connsiteX159" fmla="*/ 66440 w 504825"/>
                <a:gd name="connsiteY159" fmla="*/ 246762 h 606298"/>
                <a:gd name="connsiteX160" fmla="*/ 66440 w 504825"/>
                <a:gd name="connsiteY160" fmla="*/ 303876 h 606298"/>
                <a:gd name="connsiteX161" fmla="*/ 110586 w 504825"/>
                <a:gd name="connsiteY161" fmla="*/ 303876 h 606298"/>
                <a:gd name="connsiteX162" fmla="*/ 125986 w 504825"/>
                <a:gd name="connsiteY162" fmla="*/ 281177 h 606298"/>
                <a:gd name="connsiteX163" fmla="*/ 125986 w 504825"/>
                <a:gd name="connsiteY163" fmla="*/ 246762 h 606298"/>
                <a:gd name="connsiteX164" fmla="*/ 10560 w 504825"/>
                <a:gd name="connsiteY164" fmla="*/ 246762 h 606298"/>
                <a:gd name="connsiteX165" fmla="*/ 10560 w 504825"/>
                <a:gd name="connsiteY165" fmla="*/ 303876 h 606298"/>
                <a:gd name="connsiteX166" fmla="*/ 63800 w 504825"/>
                <a:gd name="connsiteY166" fmla="*/ 303876 h 606298"/>
                <a:gd name="connsiteX167" fmla="*/ 63800 w 504825"/>
                <a:gd name="connsiteY167" fmla="*/ 246762 h 606298"/>
                <a:gd name="connsiteX168" fmla="*/ 188319 w 504825"/>
                <a:gd name="connsiteY168" fmla="*/ 213811 h 606298"/>
                <a:gd name="connsiteX169" fmla="*/ 165293 w 504825"/>
                <a:gd name="connsiteY169" fmla="*/ 244126 h 606298"/>
                <a:gd name="connsiteX170" fmla="*/ 188319 w 504825"/>
                <a:gd name="connsiteY170" fmla="*/ 244126 h 606298"/>
                <a:gd name="connsiteX171" fmla="*/ 439852 w 504825"/>
                <a:gd name="connsiteY171" fmla="*/ 187012 h 606298"/>
                <a:gd name="connsiteX172" fmla="*/ 439852 w 504825"/>
                <a:gd name="connsiteY172" fmla="*/ 244126 h 606298"/>
                <a:gd name="connsiteX173" fmla="*/ 494265 w 504825"/>
                <a:gd name="connsiteY173" fmla="*/ 244126 h 606298"/>
                <a:gd name="connsiteX174" fmla="*/ 494265 w 504825"/>
                <a:gd name="connsiteY174" fmla="*/ 187012 h 606298"/>
                <a:gd name="connsiteX175" fmla="*/ 377519 w 504825"/>
                <a:gd name="connsiteY175" fmla="*/ 187012 h 606298"/>
                <a:gd name="connsiteX176" fmla="*/ 377519 w 504825"/>
                <a:gd name="connsiteY176" fmla="*/ 244126 h 606298"/>
                <a:gd name="connsiteX177" fmla="*/ 437212 w 504825"/>
                <a:gd name="connsiteY177" fmla="*/ 244126 h 606298"/>
                <a:gd name="connsiteX178" fmla="*/ 437212 w 504825"/>
                <a:gd name="connsiteY178" fmla="*/ 187012 h 606298"/>
                <a:gd name="connsiteX179" fmla="*/ 315332 w 504825"/>
                <a:gd name="connsiteY179" fmla="*/ 187012 h 606298"/>
                <a:gd name="connsiteX180" fmla="*/ 315332 w 504825"/>
                <a:gd name="connsiteY180" fmla="*/ 244126 h 606298"/>
                <a:gd name="connsiteX181" fmla="*/ 374879 w 504825"/>
                <a:gd name="connsiteY181" fmla="*/ 244126 h 606298"/>
                <a:gd name="connsiteX182" fmla="*/ 374879 w 504825"/>
                <a:gd name="connsiteY182" fmla="*/ 187012 h 606298"/>
                <a:gd name="connsiteX183" fmla="*/ 253146 w 504825"/>
                <a:gd name="connsiteY183" fmla="*/ 187012 h 606298"/>
                <a:gd name="connsiteX184" fmla="*/ 253146 w 504825"/>
                <a:gd name="connsiteY184" fmla="*/ 244126 h 606298"/>
                <a:gd name="connsiteX185" fmla="*/ 312692 w 504825"/>
                <a:gd name="connsiteY185" fmla="*/ 244126 h 606298"/>
                <a:gd name="connsiteX186" fmla="*/ 312692 w 504825"/>
                <a:gd name="connsiteY186" fmla="*/ 187012 h 606298"/>
                <a:gd name="connsiteX187" fmla="*/ 210026 w 504825"/>
                <a:gd name="connsiteY187" fmla="*/ 187012 h 606298"/>
                <a:gd name="connsiteX188" fmla="*/ 190959 w 504825"/>
                <a:gd name="connsiteY188" fmla="*/ 210443 h 606298"/>
                <a:gd name="connsiteX189" fmla="*/ 190959 w 504825"/>
                <a:gd name="connsiteY189" fmla="*/ 244126 h 606298"/>
                <a:gd name="connsiteX190" fmla="*/ 250506 w 504825"/>
                <a:gd name="connsiteY190" fmla="*/ 244126 h 606298"/>
                <a:gd name="connsiteX191" fmla="*/ 250506 w 504825"/>
                <a:gd name="connsiteY191" fmla="*/ 187012 h 606298"/>
                <a:gd name="connsiteX192" fmla="*/ 190959 w 504825"/>
                <a:gd name="connsiteY192" fmla="*/ 187012 h 606298"/>
                <a:gd name="connsiteX193" fmla="*/ 190959 w 504825"/>
                <a:gd name="connsiteY193" fmla="*/ 193602 h 606298"/>
                <a:gd name="connsiteX194" fmla="*/ 196386 w 504825"/>
                <a:gd name="connsiteY194" fmla="*/ 187012 h 606298"/>
                <a:gd name="connsiteX195" fmla="*/ 128626 w 504825"/>
                <a:gd name="connsiteY195" fmla="*/ 187012 h 606298"/>
                <a:gd name="connsiteX196" fmla="*/ 128626 w 504825"/>
                <a:gd name="connsiteY196" fmla="*/ 244126 h 606298"/>
                <a:gd name="connsiteX197" fmla="*/ 152240 w 504825"/>
                <a:gd name="connsiteY197" fmla="*/ 244126 h 606298"/>
                <a:gd name="connsiteX198" fmla="*/ 188319 w 504825"/>
                <a:gd name="connsiteY198" fmla="*/ 196970 h 606298"/>
                <a:gd name="connsiteX199" fmla="*/ 188319 w 504825"/>
                <a:gd name="connsiteY199" fmla="*/ 187012 h 606298"/>
                <a:gd name="connsiteX200" fmla="*/ 66440 w 504825"/>
                <a:gd name="connsiteY200" fmla="*/ 187012 h 606298"/>
                <a:gd name="connsiteX201" fmla="*/ 66440 w 504825"/>
                <a:gd name="connsiteY201" fmla="*/ 244126 h 606298"/>
                <a:gd name="connsiteX202" fmla="*/ 125986 w 504825"/>
                <a:gd name="connsiteY202" fmla="*/ 244126 h 606298"/>
                <a:gd name="connsiteX203" fmla="*/ 125986 w 504825"/>
                <a:gd name="connsiteY203" fmla="*/ 187012 h 606298"/>
                <a:gd name="connsiteX204" fmla="*/ 10560 w 504825"/>
                <a:gd name="connsiteY204" fmla="*/ 187012 h 606298"/>
                <a:gd name="connsiteX205" fmla="*/ 10560 w 504825"/>
                <a:gd name="connsiteY205" fmla="*/ 244126 h 606298"/>
                <a:gd name="connsiteX206" fmla="*/ 63800 w 504825"/>
                <a:gd name="connsiteY206" fmla="*/ 244126 h 606298"/>
                <a:gd name="connsiteX207" fmla="*/ 63800 w 504825"/>
                <a:gd name="connsiteY207" fmla="*/ 187012 h 606298"/>
                <a:gd name="connsiteX208" fmla="*/ 250506 w 504825"/>
                <a:gd name="connsiteY208" fmla="*/ 142492 h 606298"/>
                <a:gd name="connsiteX209" fmla="*/ 212226 w 504825"/>
                <a:gd name="connsiteY209" fmla="*/ 184376 h 606298"/>
                <a:gd name="connsiteX210" fmla="*/ 250506 w 504825"/>
                <a:gd name="connsiteY210" fmla="*/ 184376 h 606298"/>
                <a:gd name="connsiteX211" fmla="*/ 439852 w 504825"/>
                <a:gd name="connsiteY211" fmla="*/ 127262 h 606298"/>
                <a:gd name="connsiteX212" fmla="*/ 439852 w 504825"/>
                <a:gd name="connsiteY212" fmla="*/ 184376 h 606298"/>
                <a:gd name="connsiteX213" fmla="*/ 494265 w 504825"/>
                <a:gd name="connsiteY213" fmla="*/ 184376 h 606298"/>
                <a:gd name="connsiteX214" fmla="*/ 494265 w 504825"/>
                <a:gd name="connsiteY214" fmla="*/ 127262 h 606298"/>
                <a:gd name="connsiteX215" fmla="*/ 377519 w 504825"/>
                <a:gd name="connsiteY215" fmla="*/ 127262 h 606298"/>
                <a:gd name="connsiteX216" fmla="*/ 377519 w 504825"/>
                <a:gd name="connsiteY216" fmla="*/ 184376 h 606298"/>
                <a:gd name="connsiteX217" fmla="*/ 437212 w 504825"/>
                <a:gd name="connsiteY217" fmla="*/ 184376 h 606298"/>
                <a:gd name="connsiteX218" fmla="*/ 437212 w 504825"/>
                <a:gd name="connsiteY218" fmla="*/ 127262 h 606298"/>
                <a:gd name="connsiteX219" fmla="*/ 315332 w 504825"/>
                <a:gd name="connsiteY219" fmla="*/ 127262 h 606298"/>
                <a:gd name="connsiteX220" fmla="*/ 315332 w 504825"/>
                <a:gd name="connsiteY220" fmla="*/ 184376 h 606298"/>
                <a:gd name="connsiteX221" fmla="*/ 374879 w 504825"/>
                <a:gd name="connsiteY221" fmla="*/ 184376 h 606298"/>
                <a:gd name="connsiteX222" fmla="*/ 374879 w 504825"/>
                <a:gd name="connsiteY222" fmla="*/ 127262 h 606298"/>
                <a:gd name="connsiteX223" fmla="*/ 266199 w 504825"/>
                <a:gd name="connsiteY223" fmla="*/ 127262 h 606298"/>
                <a:gd name="connsiteX224" fmla="*/ 253146 w 504825"/>
                <a:gd name="connsiteY224" fmla="*/ 139856 h 606298"/>
                <a:gd name="connsiteX225" fmla="*/ 253146 w 504825"/>
                <a:gd name="connsiteY225" fmla="*/ 184376 h 606298"/>
                <a:gd name="connsiteX226" fmla="*/ 312692 w 504825"/>
                <a:gd name="connsiteY226" fmla="*/ 184376 h 606298"/>
                <a:gd name="connsiteX227" fmla="*/ 312692 w 504825"/>
                <a:gd name="connsiteY227" fmla="*/ 127262 h 606298"/>
                <a:gd name="connsiteX228" fmla="*/ 190959 w 504825"/>
                <a:gd name="connsiteY228" fmla="*/ 127262 h 606298"/>
                <a:gd name="connsiteX229" fmla="*/ 190959 w 504825"/>
                <a:gd name="connsiteY229" fmla="*/ 184376 h 606298"/>
                <a:gd name="connsiteX230" fmla="*/ 198586 w 504825"/>
                <a:gd name="connsiteY230" fmla="*/ 184376 h 606298"/>
                <a:gd name="connsiteX231" fmla="*/ 250506 w 504825"/>
                <a:gd name="connsiteY231" fmla="*/ 127555 h 606298"/>
                <a:gd name="connsiteX232" fmla="*/ 250506 w 504825"/>
                <a:gd name="connsiteY232" fmla="*/ 127262 h 606298"/>
                <a:gd name="connsiteX233" fmla="*/ 128626 w 504825"/>
                <a:gd name="connsiteY233" fmla="*/ 127262 h 606298"/>
                <a:gd name="connsiteX234" fmla="*/ 128626 w 504825"/>
                <a:gd name="connsiteY234" fmla="*/ 184376 h 606298"/>
                <a:gd name="connsiteX235" fmla="*/ 188319 w 504825"/>
                <a:gd name="connsiteY235" fmla="*/ 184376 h 606298"/>
                <a:gd name="connsiteX236" fmla="*/ 188319 w 504825"/>
                <a:gd name="connsiteY236" fmla="*/ 127262 h 606298"/>
                <a:gd name="connsiteX237" fmla="*/ 66440 w 504825"/>
                <a:gd name="connsiteY237" fmla="*/ 127262 h 606298"/>
                <a:gd name="connsiteX238" fmla="*/ 66440 w 504825"/>
                <a:gd name="connsiteY238" fmla="*/ 184376 h 606298"/>
                <a:gd name="connsiteX239" fmla="*/ 125986 w 504825"/>
                <a:gd name="connsiteY239" fmla="*/ 184376 h 606298"/>
                <a:gd name="connsiteX240" fmla="*/ 125986 w 504825"/>
                <a:gd name="connsiteY240" fmla="*/ 127262 h 606298"/>
                <a:gd name="connsiteX241" fmla="*/ 10560 w 504825"/>
                <a:gd name="connsiteY241" fmla="*/ 127262 h 606298"/>
                <a:gd name="connsiteX242" fmla="*/ 10560 w 504825"/>
                <a:gd name="connsiteY242" fmla="*/ 184376 h 606298"/>
                <a:gd name="connsiteX243" fmla="*/ 63800 w 504825"/>
                <a:gd name="connsiteY243" fmla="*/ 184376 h 606298"/>
                <a:gd name="connsiteX244" fmla="*/ 63800 w 504825"/>
                <a:gd name="connsiteY244" fmla="*/ 127262 h 606298"/>
                <a:gd name="connsiteX245" fmla="*/ 312692 w 504825"/>
                <a:gd name="connsiteY245" fmla="*/ 90504 h 606298"/>
                <a:gd name="connsiteX246" fmla="*/ 298612 w 504825"/>
                <a:gd name="connsiteY246" fmla="*/ 100316 h 606298"/>
                <a:gd name="connsiteX247" fmla="*/ 299052 w 504825"/>
                <a:gd name="connsiteY247" fmla="*/ 102659 h 606298"/>
                <a:gd name="connsiteX248" fmla="*/ 287026 w 504825"/>
                <a:gd name="connsiteY248" fmla="*/ 114667 h 606298"/>
                <a:gd name="connsiteX249" fmla="*/ 282039 w 504825"/>
                <a:gd name="connsiteY249" fmla="*/ 113349 h 606298"/>
                <a:gd name="connsiteX250" fmla="*/ 269132 w 504825"/>
                <a:gd name="connsiteY250" fmla="*/ 124626 h 606298"/>
                <a:gd name="connsiteX251" fmla="*/ 312692 w 504825"/>
                <a:gd name="connsiteY251" fmla="*/ 124626 h 606298"/>
                <a:gd name="connsiteX252" fmla="*/ 439852 w 504825"/>
                <a:gd name="connsiteY252" fmla="*/ 67512 h 606298"/>
                <a:gd name="connsiteX253" fmla="*/ 439852 w 504825"/>
                <a:gd name="connsiteY253" fmla="*/ 124626 h 606298"/>
                <a:gd name="connsiteX254" fmla="*/ 494265 w 504825"/>
                <a:gd name="connsiteY254" fmla="*/ 124626 h 606298"/>
                <a:gd name="connsiteX255" fmla="*/ 494265 w 504825"/>
                <a:gd name="connsiteY255" fmla="*/ 67512 h 606298"/>
                <a:gd name="connsiteX256" fmla="*/ 377519 w 504825"/>
                <a:gd name="connsiteY256" fmla="*/ 67512 h 606298"/>
                <a:gd name="connsiteX257" fmla="*/ 377519 w 504825"/>
                <a:gd name="connsiteY257" fmla="*/ 124626 h 606298"/>
                <a:gd name="connsiteX258" fmla="*/ 437212 w 504825"/>
                <a:gd name="connsiteY258" fmla="*/ 124626 h 606298"/>
                <a:gd name="connsiteX259" fmla="*/ 437212 w 504825"/>
                <a:gd name="connsiteY259" fmla="*/ 67512 h 606298"/>
                <a:gd name="connsiteX260" fmla="*/ 355079 w 504825"/>
                <a:gd name="connsiteY260" fmla="*/ 67512 h 606298"/>
                <a:gd name="connsiteX261" fmla="*/ 315332 w 504825"/>
                <a:gd name="connsiteY261" fmla="*/ 88893 h 606298"/>
                <a:gd name="connsiteX262" fmla="*/ 315332 w 504825"/>
                <a:gd name="connsiteY262" fmla="*/ 124626 h 606298"/>
                <a:gd name="connsiteX263" fmla="*/ 374879 w 504825"/>
                <a:gd name="connsiteY263" fmla="*/ 124626 h 606298"/>
                <a:gd name="connsiteX264" fmla="*/ 374879 w 504825"/>
                <a:gd name="connsiteY264" fmla="*/ 67512 h 606298"/>
                <a:gd name="connsiteX265" fmla="*/ 315332 w 504825"/>
                <a:gd name="connsiteY265" fmla="*/ 67512 h 606298"/>
                <a:gd name="connsiteX266" fmla="*/ 315332 w 504825"/>
                <a:gd name="connsiteY266" fmla="*/ 76298 h 606298"/>
                <a:gd name="connsiteX267" fmla="*/ 330732 w 504825"/>
                <a:gd name="connsiteY267" fmla="*/ 67512 h 606298"/>
                <a:gd name="connsiteX268" fmla="*/ 253146 w 504825"/>
                <a:gd name="connsiteY268" fmla="*/ 67512 h 606298"/>
                <a:gd name="connsiteX269" fmla="*/ 253146 w 504825"/>
                <a:gd name="connsiteY269" fmla="*/ 124626 h 606298"/>
                <a:gd name="connsiteX270" fmla="*/ 253586 w 504825"/>
                <a:gd name="connsiteY270" fmla="*/ 124626 h 606298"/>
                <a:gd name="connsiteX271" fmla="*/ 275586 w 504825"/>
                <a:gd name="connsiteY271" fmla="*/ 105002 h 606298"/>
                <a:gd name="connsiteX272" fmla="*/ 275146 w 504825"/>
                <a:gd name="connsiteY272" fmla="*/ 102659 h 606298"/>
                <a:gd name="connsiteX273" fmla="*/ 287026 w 504825"/>
                <a:gd name="connsiteY273" fmla="*/ 90650 h 606298"/>
                <a:gd name="connsiteX274" fmla="*/ 292159 w 504825"/>
                <a:gd name="connsiteY274" fmla="*/ 91968 h 606298"/>
                <a:gd name="connsiteX275" fmla="*/ 312692 w 504825"/>
                <a:gd name="connsiteY275" fmla="*/ 77909 h 606298"/>
                <a:gd name="connsiteX276" fmla="*/ 312692 w 504825"/>
                <a:gd name="connsiteY276" fmla="*/ 67512 h 606298"/>
                <a:gd name="connsiteX277" fmla="*/ 190959 w 504825"/>
                <a:gd name="connsiteY277" fmla="*/ 67512 h 606298"/>
                <a:gd name="connsiteX278" fmla="*/ 190959 w 504825"/>
                <a:gd name="connsiteY278" fmla="*/ 124626 h 606298"/>
                <a:gd name="connsiteX279" fmla="*/ 250506 w 504825"/>
                <a:gd name="connsiteY279" fmla="*/ 124626 h 606298"/>
                <a:gd name="connsiteX280" fmla="*/ 250506 w 504825"/>
                <a:gd name="connsiteY280" fmla="*/ 67512 h 606298"/>
                <a:gd name="connsiteX281" fmla="*/ 128626 w 504825"/>
                <a:gd name="connsiteY281" fmla="*/ 67512 h 606298"/>
                <a:gd name="connsiteX282" fmla="*/ 128626 w 504825"/>
                <a:gd name="connsiteY282" fmla="*/ 124626 h 606298"/>
                <a:gd name="connsiteX283" fmla="*/ 188319 w 504825"/>
                <a:gd name="connsiteY283" fmla="*/ 124626 h 606298"/>
                <a:gd name="connsiteX284" fmla="*/ 188319 w 504825"/>
                <a:gd name="connsiteY284" fmla="*/ 67512 h 606298"/>
                <a:gd name="connsiteX285" fmla="*/ 66440 w 504825"/>
                <a:gd name="connsiteY285" fmla="*/ 67512 h 606298"/>
                <a:gd name="connsiteX286" fmla="*/ 66440 w 504825"/>
                <a:gd name="connsiteY286" fmla="*/ 124626 h 606298"/>
                <a:gd name="connsiteX287" fmla="*/ 125986 w 504825"/>
                <a:gd name="connsiteY287" fmla="*/ 124626 h 606298"/>
                <a:gd name="connsiteX288" fmla="*/ 125986 w 504825"/>
                <a:gd name="connsiteY288" fmla="*/ 67512 h 606298"/>
                <a:gd name="connsiteX289" fmla="*/ 10560 w 504825"/>
                <a:gd name="connsiteY289" fmla="*/ 67512 h 606298"/>
                <a:gd name="connsiteX290" fmla="*/ 10560 w 504825"/>
                <a:gd name="connsiteY290" fmla="*/ 124626 h 606298"/>
                <a:gd name="connsiteX291" fmla="*/ 63800 w 504825"/>
                <a:gd name="connsiteY291" fmla="*/ 124626 h 606298"/>
                <a:gd name="connsiteX292" fmla="*/ 63800 w 504825"/>
                <a:gd name="connsiteY292" fmla="*/ 67512 h 606298"/>
                <a:gd name="connsiteX293" fmla="*/ 374879 w 504825"/>
                <a:gd name="connsiteY293" fmla="*/ 60043 h 606298"/>
                <a:gd name="connsiteX294" fmla="*/ 361532 w 504825"/>
                <a:gd name="connsiteY294" fmla="*/ 64876 h 606298"/>
                <a:gd name="connsiteX295" fmla="*/ 374879 w 504825"/>
                <a:gd name="connsiteY295" fmla="*/ 64876 h 606298"/>
                <a:gd name="connsiteX296" fmla="*/ 437212 w 504825"/>
                <a:gd name="connsiteY296" fmla="*/ 47595 h 606298"/>
                <a:gd name="connsiteX297" fmla="*/ 410225 w 504825"/>
                <a:gd name="connsiteY297" fmla="*/ 52281 h 606298"/>
                <a:gd name="connsiteX298" fmla="*/ 377519 w 504825"/>
                <a:gd name="connsiteY298" fmla="*/ 59164 h 606298"/>
                <a:gd name="connsiteX299" fmla="*/ 377519 w 504825"/>
                <a:gd name="connsiteY299" fmla="*/ 64876 h 606298"/>
                <a:gd name="connsiteX300" fmla="*/ 437212 w 504825"/>
                <a:gd name="connsiteY300" fmla="*/ 64876 h 606298"/>
                <a:gd name="connsiteX301" fmla="*/ 494265 w 504825"/>
                <a:gd name="connsiteY301" fmla="*/ 25628 h 606298"/>
                <a:gd name="connsiteX302" fmla="*/ 485758 w 504825"/>
                <a:gd name="connsiteY302" fmla="*/ 29143 h 606298"/>
                <a:gd name="connsiteX303" fmla="*/ 481505 w 504825"/>
                <a:gd name="connsiteY303" fmla="*/ 28264 h 606298"/>
                <a:gd name="connsiteX304" fmla="*/ 439852 w 504825"/>
                <a:gd name="connsiteY304" fmla="*/ 47009 h 606298"/>
                <a:gd name="connsiteX305" fmla="*/ 439852 w 504825"/>
                <a:gd name="connsiteY305" fmla="*/ 64876 h 606298"/>
                <a:gd name="connsiteX306" fmla="*/ 494265 w 504825"/>
                <a:gd name="connsiteY306" fmla="*/ 64876 h 606298"/>
                <a:gd name="connsiteX307" fmla="*/ 439852 w 504825"/>
                <a:gd name="connsiteY307" fmla="*/ 10544 h 606298"/>
                <a:gd name="connsiteX308" fmla="*/ 439852 w 504825"/>
                <a:gd name="connsiteY308" fmla="*/ 36026 h 606298"/>
                <a:gd name="connsiteX309" fmla="*/ 474465 w 504825"/>
                <a:gd name="connsiteY309" fmla="*/ 20210 h 606298"/>
                <a:gd name="connsiteX310" fmla="*/ 473878 w 504825"/>
                <a:gd name="connsiteY310" fmla="*/ 17281 h 606298"/>
                <a:gd name="connsiteX311" fmla="*/ 476078 w 504825"/>
                <a:gd name="connsiteY311" fmla="*/ 10544 h 606298"/>
                <a:gd name="connsiteX312" fmla="*/ 377519 w 504825"/>
                <a:gd name="connsiteY312" fmla="*/ 10544 h 606298"/>
                <a:gd name="connsiteX313" fmla="*/ 377519 w 504825"/>
                <a:gd name="connsiteY313" fmla="*/ 48181 h 606298"/>
                <a:gd name="connsiteX314" fmla="*/ 409345 w 504825"/>
                <a:gd name="connsiteY314" fmla="*/ 41884 h 606298"/>
                <a:gd name="connsiteX315" fmla="*/ 437212 w 504825"/>
                <a:gd name="connsiteY315" fmla="*/ 36758 h 606298"/>
                <a:gd name="connsiteX316" fmla="*/ 437212 w 504825"/>
                <a:gd name="connsiteY316" fmla="*/ 10544 h 606298"/>
                <a:gd name="connsiteX317" fmla="*/ 315332 w 504825"/>
                <a:gd name="connsiteY317" fmla="*/ 10544 h 606298"/>
                <a:gd name="connsiteX318" fmla="*/ 315332 w 504825"/>
                <a:gd name="connsiteY318" fmla="*/ 64876 h 606298"/>
                <a:gd name="connsiteX319" fmla="*/ 335866 w 504825"/>
                <a:gd name="connsiteY319" fmla="*/ 64876 h 606298"/>
                <a:gd name="connsiteX320" fmla="*/ 374879 w 504825"/>
                <a:gd name="connsiteY320" fmla="*/ 48913 h 606298"/>
                <a:gd name="connsiteX321" fmla="*/ 375025 w 504825"/>
                <a:gd name="connsiteY321" fmla="*/ 48913 h 606298"/>
                <a:gd name="connsiteX322" fmla="*/ 375025 w 504825"/>
                <a:gd name="connsiteY322" fmla="*/ 10544 h 606298"/>
                <a:gd name="connsiteX323" fmla="*/ 253146 w 504825"/>
                <a:gd name="connsiteY323" fmla="*/ 10544 h 606298"/>
                <a:gd name="connsiteX324" fmla="*/ 253146 w 504825"/>
                <a:gd name="connsiteY324" fmla="*/ 64876 h 606298"/>
                <a:gd name="connsiteX325" fmla="*/ 312692 w 504825"/>
                <a:gd name="connsiteY325" fmla="*/ 64876 h 606298"/>
                <a:gd name="connsiteX326" fmla="*/ 312692 w 504825"/>
                <a:gd name="connsiteY326" fmla="*/ 10544 h 606298"/>
                <a:gd name="connsiteX327" fmla="*/ 190959 w 504825"/>
                <a:gd name="connsiteY327" fmla="*/ 10544 h 606298"/>
                <a:gd name="connsiteX328" fmla="*/ 190959 w 504825"/>
                <a:gd name="connsiteY328" fmla="*/ 64876 h 606298"/>
                <a:gd name="connsiteX329" fmla="*/ 250506 w 504825"/>
                <a:gd name="connsiteY329" fmla="*/ 64876 h 606298"/>
                <a:gd name="connsiteX330" fmla="*/ 250506 w 504825"/>
                <a:gd name="connsiteY330" fmla="*/ 10544 h 606298"/>
                <a:gd name="connsiteX331" fmla="*/ 128626 w 504825"/>
                <a:gd name="connsiteY331" fmla="*/ 10544 h 606298"/>
                <a:gd name="connsiteX332" fmla="*/ 128626 w 504825"/>
                <a:gd name="connsiteY332" fmla="*/ 64876 h 606298"/>
                <a:gd name="connsiteX333" fmla="*/ 188319 w 504825"/>
                <a:gd name="connsiteY333" fmla="*/ 64876 h 606298"/>
                <a:gd name="connsiteX334" fmla="*/ 188319 w 504825"/>
                <a:gd name="connsiteY334" fmla="*/ 10544 h 606298"/>
                <a:gd name="connsiteX335" fmla="*/ 66440 w 504825"/>
                <a:gd name="connsiteY335" fmla="*/ 10544 h 606298"/>
                <a:gd name="connsiteX336" fmla="*/ 66440 w 504825"/>
                <a:gd name="connsiteY336" fmla="*/ 64876 h 606298"/>
                <a:gd name="connsiteX337" fmla="*/ 125986 w 504825"/>
                <a:gd name="connsiteY337" fmla="*/ 64876 h 606298"/>
                <a:gd name="connsiteX338" fmla="*/ 125986 w 504825"/>
                <a:gd name="connsiteY338" fmla="*/ 10544 h 606298"/>
                <a:gd name="connsiteX339" fmla="*/ 10560 w 504825"/>
                <a:gd name="connsiteY339" fmla="*/ 10544 h 606298"/>
                <a:gd name="connsiteX340" fmla="*/ 10560 w 504825"/>
                <a:gd name="connsiteY340" fmla="*/ 64876 h 606298"/>
                <a:gd name="connsiteX341" fmla="*/ 63800 w 504825"/>
                <a:gd name="connsiteY341" fmla="*/ 64876 h 606298"/>
                <a:gd name="connsiteX342" fmla="*/ 63800 w 504825"/>
                <a:gd name="connsiteY342" fmla="*/ 10544 h 606298"/>
                <a:gd name="connsiteX343" fmla="*/ 0 w 504825"/>
                <a:gd name="connsiteY343" fmla="*/ 0 h 606298"/>
                <a:gd name="connsiteX344" fmla="*/ 504825 w 504825"/>
                <a:gd name="connsiteY344" fmla="*/ 0 h 606298"/>
                <a:gd name="connsiteX345" fmla="*/ 504825 w 504825"/>
                <a:gd name="connsiteY345" fmla="*/ 486055 h 606298"/>
                <a:gd name="connsiteX346" fmla="*/ 0 w 504825"/>
                <a:gd name="connsiteY346" fmla="*/ 486055 h 606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Lst>
              <a:rect l="l" t="t" r="r" b="b"/>
              <a:pathLst>
                <a:path w="504825" h="606298">
                  <a:moveTo>
                    <a:pt x="429882" y="569675"/>
                  </a:moveTo>
                  <a:lnTo>
                    <a:pt x="445691" y="586522"/>
                  </a:lnTo>
                  <a:lnTo>
                    <a:pt x="445691" y="606298"/>
                  </a:lnTo>
                  <a:lnTo>
                    <a:pt x="414219" y="606298"/>
                  </a:lnTo>
                  <a:lnTo>
                    <a:pt x="414219" y="586815"/>
                  </a:lnTo>
                  <a:close/>
                  <a:moveTo>
                    <a:pt x="432075" y="512685"/>
                  </a:moveTo>
                  <a:lnTo>
                    <a:pt x="432075" y="551648"/>
                  </a:lnTo>
                  <a:lnTo>
                    <a:pt x="492501" y="551648"/>
                  </a:lnTo>
                  <a:lnTo>
                    <a:pt x="492501" y="512685"/>
                  </a:lnTo>
                  <a:close/>
                  <a:moveTo>
                    <a:pt x="0" y="502285"/>
                  </a:moveTo>
                  <a:lnTo>
                    <a:pt x="503061" y="502285"/>
                  </a:lnTo>
                  <a:lnTo>
                    <a:pt x="503061" y="562195"/>
                  </a:lnTo>
                  <a:lnTo>
                    <a:pt x="0" y="562195"/>
                  </a:lnTo>
                  <a:close/>
                  <a:moveTo>
                    <a:pt x="439852" y="426012"/>
                  </a:moveTo>
                  <a:lnTo>
                    <a:pt x="439852" y="475511"/>
                  </a:lnTo>
                  <a:lnTo>
                    <a:pt x="494265" y="475511"/>
                  </a:lnTo>
                  <a:lnTo>
                    <a:pt x="494265" y="426012"/>
                  </a:lnTo>
                  <a:close/>
                  <a:moveTo>
                    <a:pt x="377519" y="426012"/>
                  </a:moveTo>
                  <a:lnTo>
                    <a:pt x="377519" y="475511"/>
                  </a:lnTo>
                  <a:lnTo>
                    <a:pt x="437212" y="475511"/>
                  </a:lnTo>
                  <a:lnTo>
                    <a:pt x="437212" y="426012"/>
                  </a:lnTo>
                  <a:close/>
                  <a:moveTo>
                    <a:pt x="315332" y="426012"/>
                  </a:moveTo>
                  <a:lnTo>
                    <a:pt x="315332" y="475511"/>
                  </a:lnTo>
                  <a:lnTo>
                    <a:pt x="374879" y="475511"/>
                  </a:lnTo>
                  <a:lnTo>
                    <a:pt x="374879" y="426012"/>
                  </a:lnTo>
                  <a:close/>
                  <a:moveTo>
                    <a:pt x="253146" y="426012"/>
                  </a:moveTo>
                  <a:lnTo>
                    <a:pt x="253146" y="475511"/>
                  </a:lnTo>
                  <a:lnTo>
                    <a:pt x="312692" y="475511"/>
                  </a:lnTo>
                  <a:lnTo>
                    <a:pt x="312692" y="426012"/>
                  </a:lnTo>
                  <a:close/>
                  <a:moveTo>
                    <a:pt x="190959" y="426012"/>
                  </a:moveTo>
                  <a:lnTo>
                    <a:pt x="190959" y="475511"/>
                  </a:lnTo>
                  <a:lnTo>
                    <a:pt x="250506" y="475511"/>
                  </a:lnTo>
                  <a:lnTo>
                    <a:pt x="250506" y="426012"/>
                  </a:lnTo>
                  <a:close/>
                  <a:moveTo>
                    <a:pt x="128626" y="426012"/>
                  </a:moveTo>
                  <a:lnTo>
                    <a:pt x="128626" y="475511"/>
                  </a:lnTo>
                  <a:lnTo>
                    <a:pt x="188319" y="475511"/>
                  </a:lnTo>
                  <a:lnTo>
                    <a:pt x="188319" y="426012"/>
                  </a:lnTo>
                  <a:close/>
                  <a:moveTo>
                    <a:pt x="66440" y="426012"/>
                  </a:moveTo>
                  <a:lnTo>
                    <a:pt x="66440" y="475511"/>
                  </a:lnTo>
                  <a:lnTo>
                    <a:pt x="125986" y="475511"/>
                  </a:lnTo>
                  <a:lnTo>
                    <a:pt x="125986" y="426012"/>
                  </a:lnTo>
                  <a:close/>
                  <a:moveTo>
                    <a:pt x="47227" y="426012"/>
                  </a:moveTo>
                  <a:cubicBezTo>
                    <a:pt x="36813" y="443878"/>
                    <a:pt x="29480" y="457059"/>
                    <a:pt x="26253" y="463063"/>
                  </a:cubicBezTo>
                  <a:cubicBezTo>
                    <a:pt x="27280" y="464820"/>
                    <a:pt x="28013" y="466724"/>
                    <a:pt x="28013" y="468921"/>
                  </a:cubicBezTo>
                  <a:cubicBezTo>
                    <a:pt x="28013" y="471410"/>
                    <a:pt x="26987" y="473607"/>
                    <a:pt x="25667" y="475511"/>
                  </a:cubicBezTo>
                  <a:lnTo>
                    <a:pt x="63800" y="475511"/>
                  </a:lnTo>
                  <a:lnTo>
                    <a:pt x="63800" y="426012"/>
                  </a:lnTo>
                  <a:close/>
                  <a:moveTo>
                    <a:pt x="10560" y="426012"/>
                  </a:moveTo>
                  <a:lnTo>
                    <a:pt x="10560" y="458377"/>
                  </a:lnTo>
                  <a:cubicBezTo>
                    <a:pt x="12320" y="457498"/>
                    <a:pt x="14080" y="456912"/>
                    <a:pt x="15987" y="456912"/>
                  </a:cubicBezTo>
                  <a:cubicBezTo>
                    <a:pt x="16573" y="456912"/>
                    <a:pt x="16867" y="457059"/>
                    <a:pt x="17453" y="457205"/>
                  </a:cubicBezTo>
                  <a:cubicBezTo>
                    <a:pt x="20533" y="451494"/>
                    <a:pt x="26547" y="440657"/>
                    <a:pt x="35053" y="426012"/>
                  </a:cubicBezTo>
                  <a:close/>
                  <a:moveTo>
                    <a:pt x="63800" y="397748"/>
                  </a:moveTo>
                  <a:cubicBezTo>
                    <a:pt x="58226" y="406974"/>
                    <a:pt x="53240" y="415614"/>
                    <a:pt x="48693" y="423376"/>
                  </a:cubicBezTo>
                  <a:lnTo>
                    <a:pt x="63800" y="423376"/>
                  </a:lnTo>
                  <a:close/>
                  <a:moveTo>
                    <a:pt x="439852" y="366262"/>
                  </a:moveTo>
                  <a:lnTo>
                    <a:pt x="439852" y="423376"/>
                  </a:lnTo>
                  <a:lnTo>
                    <a:pt x="494265" y="423376"/>
                  </a:lnTo>
                  <a:lnTo>
                    <a:pt x="494265" y="366262"/>
                  </a:lnTo>
                  <a:close/>
                  <a:moveTo>
                    <a:pt x="377519" y="366262"/>
                  </a:moveTo>
                  <a:lnTo>
                    <a:pt x="377519" y="423376"/>
                  </a:lnTo>
                  <a:lnTo>
                    <a:pt x="437212" y="423376"/>
                  </a:lnTo>
                  <a:lnTo>
                    <a:pt x="437212" y="366262"/>
                  </a:lnTo>
                  <a:close/>
                  <a:moveTo>
                    <a:pt x="315332" y="366262"/>
                  </a:moveTo>
                  <a:lnTo>
                    <a:pt x="315332" y="423376"/>
                  </a:lnTo>
                  <a:lnTo>
                    <a:pt x="374879" y="423376"/>
                  </a:lnTo>
                  <a:lnTo>
                    <a:pt x="374879" y="366262"/>
                  </a:lnTo>
                  <a:close/>
                  <a:moveTo>
                    <a:pt x="253146" y="366262"/>
                  </a:moveTo>
                  <a:lnTo>
                    <a:pt x="253146" y="423376"/>
                  </a:lnTo>
                  <a:lnTo>
                    <a:pt x="312692" y="423376"/>
                  </a:lnTo>
                  <a:lnTo>
                    <a:pt x="312692" y="366262"/>
                  </a:lnTo>
                  <a:close/>
                  <a:moveTo>
                    <a:pt x="190959" y="366262"/>
                  </a:moveTo>
                  <a:lnTo>
                    <a:pt x="190959" y="423376"/>
                  </a:lnTo>
                  <a:lnTo>
                    <a:pt x="250506" y="423376"/>
                  </a:lnTo>
                  <a:lnTo>
                    <a:pt x="250506" y="366262"/>
                  </a:lnTo>
                  <a:close/>
                  <a:moveTo>
                    <a:pt x="128626" y="366262"/>
                  </a:moveTo>
                  <a:lnTo>
                    <a:pt x="128626" y="423376"/>
                  </a:lnTo>
                  <a:lnTo>
                    <a:pt x="188319" y="423376"/>
                  </a:lnTo>
                  <a:lnTo>
                    <a:pt x="188319" y="366262"/>
                  </a:lnTo>
                  <a:close/>
                  <a:moveTo>
                    <a:pt x="83160" y="366262"/>
                  </a:moveTo>
                  <a:cubicBezTo>
                    <a:pt x="77146" y="375781"/>
                    <a:pt x="71573" y="384861"/>
                    <a:pt x="66440" y="393355"/>
                  </a:cubicBezTo>
                  <a:lnTo>
                    <a:pt x="66440" y="423376"/>
                  </a:lnTo>
                  <a:lnTo>
                    <a:pt x="125986" y="423376"/>
                  </a:lnTo>
                  <a:lnTo>
                    <a:pt x="125986" y="366262"/>
                  </a:lnTo>
                  <a:close/>
                  <a:moveTo>
                    <a:pt x="66440" y="366262"/>
                  </a:moveTo>
                  <a:lnTo>
                    <a:pt x="66440" y="373145"/>
                  </a:lnTo>
                  <a:cubicBezTo>
                    <a:pt x="67906" y="370802"/>
                    <a:pt x="69226" y="368605"/>
                    <a:pt x="70693" y="366262"/>
                  </a:cubicBezTo>
                  <a:close/>
                  <a:moveTo>
                    <a:pt x="10560" y="366262"/>
                  </a:moveTo>
                  <a:lnTo>
                    <a:pt x="10560" y="423376"/>
                  </a:lnTo>
                  <a:lnTo>
                    <a:pt x="36520" y="423376"/>
                  </a:lnTo>
                  <a:cubicBezTo>
                    <a:pt x="44000" y="410489"/>
                    <a:pt x="53240" y="394819"/>
                    <a:pt x="63800" y="377392"/>
                  </a:cubicBezTo>
                  <a:lnTo>
                    <a:pt x="63800" y="366262"/>
                  </a:lnTo>
                  <a:close/>
                  <a:moveTo>
                    <a:pt x="439852" y="306512"/>
                  </a:moveTo>
                  <a:lnTo>
                    <a:pt x="439852" y="363626"/>
                  </a:lnTo>
                  <a:lnTo>
                    <a:pt x="494265" y="363626"/>
                  </a:lnTo>
                  <a:lnTo>
                    <a:pt x="494265" y="306512"/>
                  </a:lnTo>
                  <a:close/>
                  <a:moveTo>
                    <a:pt x="377519" y="306512"/>
                  </a:moveTo>
                  <a:lnTo>
                    <a:pt x="377519" y="363626"/>
                  </a:lnTo>
                  <a:lnTo>
                    <a:pt x="437212" y="363626"/>
                  </a:lnTo>
                  <a:lnTo>
                    <a:pt x="437212" y="306512"/>
                  </a:lnTo>
                  <a:close/>
                  <a:moveTo>
                    <a:pt x="315332" y="306512"/>
                  </a:moveTo>
                  <a:lnTo>
                    <a:pt x="315332" y="363626"/>
                  </a:lnTo>
                  <a:lnTo>
                    <a:pt x="374879" y="363626"/>
                  </a:lnTo>
                  <a:lnTo>
                    <a:pt x="374879" y="306512"/>
                  </a:lnTo>
                  <a:close/>
                  <a:moveTo>
                    <a:pt x="253146" y="306512"/>
                  </a:moveTo>
                  <a:lnTo>
                    <a:pt x="253146" y="363626"/>
                  </a:lnTo>
                  <a:lnTo>
                    <a:pt x="312692" y="363626"/>
                  </a:lnTo>
                  <a:lnTo>
                    <a:pt x="312692" y="306512"/>
                  </a:lnTo>
                  <a:close/>
                  <a:moveTo>
                    <a:pt x="190959" y="306512"/>
                  </a:moveTo>
                  <a:lnTo>
                    <a:pt x="190959" y="363626"/>
                  </a:lnTo>
                  <a:lnTo>
                    <a:pt x="250506" y="363626"/>
                  </a:lnTo>
                  <a:lnTo>
                    <a:pt x="250506" y="306512"/>
                  </a:lnTo>
                  <a:close/>
                  <a:moveTo>
                    <a:pt x="128626" y="306512"/>
                  </a:moveTo>
                  <a:lnTo>
                    <a:pt x="128626" y="363626"/>
                  </a:lnTo>
                  <a:lnTo>
                    <a:pt x="188319" y="363626"/>
                  </a:lnTo>
                  <a:lnTo>
                    <a:pt x="188319" y="306512"/>
                  </a:lnTo>
                  <a:close/>
                  <a:moveTo>
                    <a:pt x="121586" y="306512"/>
                  </a:moveTo>
                  <a:cubicBezTo>
                    <a:pt x="108240" y="326282"/>
                    <a:pt x="95920" y="345613"/>
                    <a:pt x="84773" y="363626"/>
                  </a:cubicBezTo>
                  <a:lnTo>
                    <a:pt x="125986" y="363626"/>
                  </a:lnTo>
                  <a:lnTo>
                    <a:pt x="125986" y="306512"/>
                  </a:lnTo>
                  <a:close/>
                  <a:moveTo>
                    <a:pt x="66440" y="306512"/>
                  </a:moveTo>
                  <a:lnTo>
                    <a:pt x="66440" y="363626"/>
                  </a:lnTo>
                  <a:lnTo>
                    <a:pt x="72306" y="363626"/>
                  </a:lnTo>
                  <a:cubicBezTo>
                    <a:pt x="83453" y="345760"/>
                    <a:pt x="95626" y="326429"/>
                    <a:pt x="108973" y="306512"/>
                  </a:cubicBezTo>
                  <a:close/>
                  <a:moveTo>
                    <a:pt x="10560" y="306512"/>
                  </a:moveTo>
                  <a:lnTo>
                    <a:pt x="10560" y="363626"/>
                  </a:lnTo>
                  <a:lnTo>
                    <a:pt x="63800" y="363626"/>
                  </a:lnTo>
                  <a:lnTo>
                    <a:pt x="63800" y="306512"/>
                  </a:lnTo>
                  <a:close/>
                  <a:moveTo>
                    <a:pt x="125986" y="299775"/>
                  </a:moveTo>
                  <a:cubicBezTo>
                    <a:pt x="125106" y="301240"/>
                    <a:pt x="124226" y="302558"/>
                    <a:pt x="123346" y="303876"/>
                  </a:cubicBezTo>
                  <a:lnTo>
                    <a:pt x="125986" y="303876"/>
                  </a:lnTo>
                  <a:close/>
                  <a:moveTo>
                    <a:pt x="439852" y="246762"/>
                  </a:moveTo>
                  <a:lnTo>
                    <a:pt x="439852" y="303876"/>
                  </a:lnTo>
                  <a:lnTo>
                    <a:pt x="494265" y="303876"/>
                  </a:lnTo>
                  <a:lnTo>
                    <a:pt x="494265" y="246762"/>
                  </a:lnTo>
                  <a:close/>
                  <a:moveTo>
                    <a:pt x="377519" y="246762"/>
                  </a:moveTo>
                  <a:lnTo>
                    <a:pt x="377519" y="303876"/>
                  </a:lnTo>
                  <a:lnTo>
                    <a:pt x="437212" y="303876"/>
                  </a:lnTo>
                  <a:lnTo>
                    <a:pt x="437212" y="246762"/>
                  </a:lnTo>
                  <a:close/>
                  <a:moveTo>
                    <a:pt x="315332" y="246762"/>
                  </a:moveTo>
                  <a:lnTo>
                    <a:pt x="315332" y="303876"/>
                  </a:lnTo>
                  <a:lnTo>
                    <a:pt x="374879" y="303876"/>
                  </a:lnTo>
                  <a:lnTo>
                    <a:pt x="374879" y="246762"/>
                  </a:lnTo>
                  <a:close/>
                  <a:moveTo>
                    <a:pt x="253146" y="246762"/>
                  </a:moveTo>
                  <a:lnTo>
                    <a:pt x="253146" y="303876"/>
                  </a:lnTo>
                  <a:lnTo>
                    <a:pt x="312692" y="303876"/>
                  </a:lnTo>
                  <a:lnTo>
                    <a:pt x="312692" y="246762"/>
                  </a:lnTo>
                  <a:close/>
                  <a:moveTo>
                    <a:pt x="190959" y="246762"/>
                  </a:moveTo>
                  <a:lnTo>
                    <a:pt x="190959" y="303876"/>
                  </a:lnTo>
                  <a:lnTo>
                    <a:pt x="250506" y="303876"/>
                  </a:lnTo>
                  <a:lnTo>
                    <a:pt x="250506" y="246762"/>
                  </a:lnTo>
                  <a:close/>
                  <a:moveTo>
                    <a:pt x="163239" y="246762"/>
                  </a:moveTo>
                  <a:cubicBezTo>
                    <a:pt x="151360" y="263164"/>
                    <a:pt x="139773" y="279566"/>
                    <a:pt x="128626" y="295968"/>
                  </a:cubicBezTo>
                  <a:lnTo>
                    <a:pt x="128626" y="303876"/>
                  </a:lnTo>
                  <a:lnTo>
                    <a:pt x="188319" y="303876"/>
                  </a:lnTo>
                  <a:lnTo>
                    <a:pt x="188319" y="246762"/>
                  </a:lnTo>
                  <a:close/>
                  <a:moveTo>
                    <a:pt x="128626" y="246762"/>
                  </a:moveTo>
                  <a:lnTo>
                    <a:pt x="128626" y="277369"/>
                  </a:lnTo>
                  <a:cubicBezTo>
                    <a:pt x="135666" y="267118"/>
                    <a:pt x="143000" y="256867"/>
                    <a:pt x="150333" y="246762"/>
                  </a:cubicBezTo>
                  <a:close/>
                  <a:moveTo>
                    <a:pt x="66440" y="246762"/>
                  </a:moveTo>
                  <a:lnTo>
                    <a:pt x="66440" y="303876"/>
                  </a:lnTo>
                  <a:lnTo>
                    <a:pt x="110586" y="303876"/>
                  </a:lnTo>
                  <a:cubicBezTo>
                    <a:pt x="115720" y="296407"/>
                    <a:pt x="120853" y="288792"/>
                    <a:pt x="125986" y="281177"/>
                  </a:cubicBezTo>
                  <a:lnTo>
                    <a:pt x="125986" y="246762"/>
                  </a:lnTo>
                  <a:close/>
                  <a:moveTo>
                    <a:pt x="10560" y="246762"/>
                  </a:moveTo>
                  <a:lnTo>
                    <a:pt x="10560" y="303876"/>
                  </a:lnTo>
                  <a:lnTo>
                    <a:pt x="63800" y="303876"/>
                  </a:lnTo>
                  <a:lnTo>
                    <a:pt x="63800" y="246762"/>
                  </a:lnTo>
                  <a:close/>
                  <a:moveTo>
                    <a:pt x="188319" y="213811"/>
                  </a:moveTo>
                  <a:cubicBezTo>
                    <a:pt x="180546" y="223770"/>
                    <a:pt x="172773" y="233875"/>
                    <a:pt x="165293" y="244126"/>
                  </a:cubicBezTo>
                  <a:lnTo>
                    <a:pt x="188319" y="244126"/>
                  </a:lnTo>
                  <a:close/>
                  <a:moveTo>
                    <a:pt x="439852" y="187012"/>
                  </a:moveTo>
                  <a:lnTo>
                    <a:pt x="439852" y="244126"/>
                  </a:lnTo>
                  <a:lnTo>
                    <a:pt x="494265" y="244126"/>
                  </a:lnTo>
                  <a:lnTo>
                    <a:pt x="494265" y="187012"/>
                  </a:lnTo>
                  <a:close/>
                  <a:moveTo>
                    <a:pt x="377519" y="187012"/>
                  </a:moveTo>
                  <a:lnTo>
                    <a:pt x="377519" y="244126"/>
                  </a:lnTo>
                  <a:lnTo>
                    <a:pt x="437212" y="244126"/>
                  </a:lnTo>
                  <a:lnTo>
                    <a:pt x="437212" y="187012"/>
                  </a:lnTo>
                  <a:close/>
                  <a:moveTo>
                    <a:pt x="315332" y="187012"/>
                  </a:moveTo>
                  <a:lnTo>
                    <a:pt x="315332" y="244126"/>
                  </a:lnTo>
                  <a:lnTo>
                    <a:pt x="374879" y="244126"/>
                  </a:lnTo>
                  <a:lnTo>
                    <a:pt x="374879" y="187012"/>
                  </a:lnTo>
                  <a:close/>
                  <a:moveTo>
                    <a:pt x="253146" y="187012"/>
                  </a:moveTo>
                  <a:lnTo>
                    <a:pt x="253146" y="244126"/>
                  </a:lnTo>
                  <a:lnTo>
                    <a:pt x="312692" y="244126"/>
                  </a:lnTo>
                  <a:lnTo>
                    <a:pt x="312692" y="187012"/>
                  </a:lnTo>
                  <a:close/>
                  <a:moveTo>
                    <a:pt x="210026" y="187012"/>
                  </a:moveTo>
                  <a:cubicBezTo>
                    <a:pt x="203573" y="194627"/>
                    <a:pt x="197266" y="202535"/>
                    <a:pt x="190959" y="210443"/>
                  </a:cubicBezTo>
                  <a:lnTo>
                    <a:pt x="190959" y="244126"/>
                  </a:lnTo>
                  <a:lnTo>
                    <a:pt x="250506" y="244126"/>
                  </a:lnTo>
                  <a:lnTo>
                    <a:pt x="250506" y="187012"/>
                  </a:lnTo>
                  <a:close/>
                  <a:moveTo>
                    <a:pt x="190959" y="187012"/>
                  </a:moveTo>
                  <a:lnTo>
                    <a:pt x="190959" y="193602"/>
                  </a:lnTo>
                  <a:cubicBezTo>
                    <a:pt x="192719" y="191405"/>
                    <a:pt x="194626" y="189209"/>
                    <a:pt x="196386" y="187012"/>
                  </a:cubicBezTo>
                  <a:close/>
                  <a:moveTo>
                    <a:pt x="128626" y="187012"/>
                  </a:moveTo>
                  <a:lnTo>
                    <a:pt x="128626" y="244126"/>
                  </a:lnTo>
                  <a:lnTo>
                    <a:pt x="152240" y="244126"/>
                  </a:lnTo>
                  <a:cubicBezTo>
                    <a:pt x="163973" y="228017"/>
                    <a:pt x="175999" y="212201"/>
                    <a:pt x="188319" y="196970"/>
                  </a:cubicBezTo>
                  <a:lnTo>
                    <a:pt x="188319" y="187012"/>
                  </a:lnTo>
                  <a:close/>
                  <a:moveTo>
                    <a:pt x="66440" y="187012"/>
                  </a:moveTo>
                  <a:lnTo>
                    <a:pt x="66440" y="244126"/>
                  </a:lnTo>
                  <a:lnTo>
                    <a:pt x="125986" y="244126"/>
                  </a:lnTo>
                  <a:lnTo>
                    <a:pt x="125986" y="187012"/>
                  </a:lnTo>
                  <a:close/>
                  <a:moveTo>
                    <a:pt x="10560" y="187012"/>
                  </a:moveTo>
                  <a:lnTo>
                    <a:pt x="10560" y="244126"/>
                  </a:lnTo>
                  <a:lnTo>
                    <a:pt x="63800" y="244126"/>
                  </a:lnTo>
                  <a:lnTo>
                    <a:pt x="63800" y="187012"/>
                  </a:lnTo>
                  <a:close/>
                  <a:moveTo>
                    <a:pt x="250506" y="142492"/>
                  </a:moveTo>
                  <a:cubicBezTo>
                    <a:pt x="237746" y="155379"/>
                    <a:pt x="224986" y="169438"/>
                    <a:pt x="212226" y="184376"/>
                  </a:cubicBezTo>
                  <a:lnTo>
                    <a:pt x="250506" y="184376"/>
                  </a:lnTo>
                  <a:close/>
                  <a:moveTo>
                    <a:pt x="439852" y="127262"/>
                  </a:moveTo>
                  <a:lnTo>
                    <a:pt x="439852" y="184376"/>
                  </a:lnTo>
                  <a:lnTo>
                    <a:pt x="494265" y="184376"/>
                  </a:lnTo>
                  <a:lnTo>
                    <a:pt x="494265" y="127262"/>
                  </a:lnTo>
                  <a:close/>
                  <a:moveTo>
                    <a:pt x="377519" y="127262"/>
                  </a:moveTo>
                  <a:lnTo>
                    <a:pt x="377519" y="184376"/>
                  </a:lnTo>
                  <a:lnTo>
                    <a:pt x="437212" y="184376"/>
                  </a:lnTo>
                  <a:lnTo>
                    <a:pt x="437212" y="127262"/>
                  </a:lnTo>
                  <a:close/>
                  <a:moveTo>
                    <a:pt x="315332" y="127262"/>
                  </a:moveTo>
                  <a:lnTo>
                    <a:pt x="315332" y="184376"/>
                  </a:lnTo>
                  <a:lnTo>
                    <a:pt x="374879" y="184376"/>
                  </a:lnTo>
                  <a:lnTo>
                    <a:pt x="374879" y="127262"/>
                  </a:lnTo>
                  <a:close/>
                  <a:moveTo>
                    <a:pt x="266199" y="127262"/>
                  </a:moveTo>
                  <a:cubicBezTo>
                    <a:pt x="261799" y="131362"/>
                    <a:pt x="257546" y="135463"/>
                    <a:pt x="253146" y="139856"/>
                  </a:cubicBezTo>
                  <a:lnTo>
                    <a:pt x="253146" y="184376"/>
                  </a:lnTo>
                  <a:lnTo>
                    <a:pt x="312692" y="184376"/>
                  </a:lnTo>
                  <a:lnTo>
                    <a:pt x="312692" y="127262"/>
                  </a:lnTo>
                  <a:close/>
                  <a:moveTo>
                    <a:pt x="190959" y="127262"/>
                  </a:moveTo>
                  <a:lnTo>
                    <a:pt x="190959" y="184376"/>
                  </a:lnTo>
                  <a:lnTo>
                    <a:pt x="198586" y="184376"/>
                  </a:lnTo>
                  <a:cubicBezTo>
                    <a:pt x="215599" y="163727"/>
                    <a:pt x="233053" y="144542"/>
                    <a:pt x="250506" y="127555"/>
                  </a:cubicBezTo>
                  <a:lnTo>
                    <a:pt x="250506" y="127262"/>
                  </a:lnTo>
                  <a:close/>
                  <a:moveTo>
                    <a:pt x="128626" y="127262"/>
                  </a:moveTo>
                  <a:lnTo>
                    <a:pt x="128626" y="184376"/>
                  </a:lnTo>
                  <a:lnTo>
                    <a:pt x="188319" y="184376"/>
                  </a:lnTo>
                  <a:lnTo>
                    <a:pt x="188319" y="127262"/>
                  </a:lnTo>
                  <a:close/>
                  <a:moveTo>
                    <a:pt x="66440" y="127262"/>
                  </a:moveTo>
                  <a:lnTo>
                    <a:pt x="66440" y="184376"/>
                  </a:lnTo>
                  <a:lnTo>
                    <a:pt x="125986" y="184376"/>
                  </a:lnTo>
                  <a:lnTo>
                    <a:pt x="125986" y="127262"/>
                  </a:lnTo>
                  <a:close/>
                  <a:moveTo>
                    <a:pt x="10560" y="127262"/>
                  </a:moveTo>
                  <a:lnTo>
                    <a:pt x="10560" y="184376"/>
                  </a:lnTo>
                  <a:lnTo>
                    <a:pt x="63800" y="184376"/>
                  </a:lnTo>
                  <a:lnTo>
                    <a:pt x="63800" y="127262"/>
                  </a:lnTo>
                  <a:close/>
                  <a:moveTo>
                    <a:pt x="312692" y="90504"/>
                  </a:moveTo>
                  <a:cubicBezTo>
                    <a:pt x="306972" y="94311"/>
                    <a:pt x="302132" y="97680"/>
                    <a:pt x="298612" y="100316"/>
                  </a:cubicBezTo>
                  <a:cubicBezTo>
                    <a:pt x="298759" y="101048"/>
                    <a:pt x="299052" y="101780"/>
                    <a:pt x="299052" y="102659"/>
                  </a:cubicBezTo>
                  <a:cubicBezTo>
                    <a:pt x="299052" y="109249"/>
                    <a:pt x="293772" y="114667"/>
                    <a:pt x="287026" y="114667"/>
                  </a:cubicBezTo>
                  <a:cubicBezTo>
                    <a:pt x="285266" y="114667"/>
                    <a:pt x="283652" y="114082"/>
                    <a:pt x="282039" y="113349"/>
                  </a:cubicBezTo>
                  <a:cubicBezTo>
                    <a:pt x="277786" y="117011"/>
                    <a:pt x="273386" y="120672"/>
                    <a:pt x="269132" y="124626"/>
                  </a:cubicBezTo>
                  <a:lnTo>
                    <a:pt x="312692" y="124626"/>
                  </a:lnTo>
                  <a:close/>
                  <a:moveTo>
                    <a:pt x="439852" y="67512"/>
                  </a:moveTo>
                  <a:lnTo>
                    <a:pt x="439852" y="124626"/>
                  </a:lnTo>
                  <a:lnTo>
                    <a:pt x="494265" y="124626"/>
                  </a:lnTo>
                  <a:lnTo>
                    <a:pt x="494265" y="67512"/>
                  </a:lnTo>
                  <a:close/>
                  <a:moveTo>
                    <a:pt x="377519" y="67512"/>
                  </a:moveTo>
                  <a:lnTo>
                    <a:pt x="377519" y="124626"/>
                  </a:lnTo>
                  <a:lnTo>
                    <a:pt x="437212" y="124626"/>
                  </a:lnTo>
                  <a:lnTo>
                    <a:pt x="437212" y="67512"/>
                  </a:lnTo>
                  <a:close/>
                  <a:moveTo>
                    <a:pt x="355079" y="67512"/>
                  </a:moveTo>
                  <a:cubicBezTo>
                    <a:pt x="339679" y="74248"/>
                    <a:pt x="326039" y="82010"/>
                    <a:pt x="315332" y="88893"/>
                  </a:cubicBezTo>
                  <a:lnTo>
                    <a:pt x="315332" y="124626"/>
                  </a:lnTo>
                  <a:lnTo>
                    <a:pt x="374879" y="124626"/>
                  </a:lnTo>
                  <a:lnTo>
                    <a:pt x="374879" y="67512"/>
                  </a:lnTo>
                  <a:close/>
                  <a:moveTo>
                    <a:pt x="315332" y="67512"/>
                  </a:moveTo>
                  <a:lnTo>
                    <a:pt x="315332" y="76298"/>
                  </a:lnTo>
                  <a:cubicBezTo>
                    <a:pt x="320026" y="73370"/>
                    <a:pt x="325306" y="70441"/>
                    <a:pt x="330732" y="67512"/>
                  </a:cubicBezTo>
                  <a:close/>
                  <a:moveTo>
                    <a:pt x="253146" y="67512"/>
                  </a:moveTo>
                  <a:lnTo>
                    <a:pt x="253146" y="124626"/>
                  </a:lnTo>
                  <a:lnTo>
                    <a:pt x="253586" y="124626"/>
                  </a:lnTo>
                  <a:cubicBezTo>
                    <a:pt x="260919" y="117596"/>
                    <a:pt x="268252" y="111153"/>
                    <a:pt x="275586" y="105002"/>
                  </a:cubicBezTo>
                  <a:cubicBezTo>
                    <a:pt x="275439" y="104270"/>
                    <a:pt x="275146" y="103537"/>
                    <a:pt x="275146" y="102659"/>
                  </a:cubicBezTo>
                  <a:cubicBezTo>
                    <a:pt x="275146" y="96069"/>
                    <a:pt x="280426" y="90650"/>
                    <a:pt x="287026" y="90650"/>
                  </a:cubicBezTo>
                  <a:cubicBezTo>
                    <a:pt x="288932" y="90650"/>
                    <a:pt x="290546" y="91236"/>
                    <a:pt x="292159" y="91968"/>
                  </a:cubicBezTo>
                  <a:cubicBezTo>
                    <a:pt x="296999" y="88307"/>
                    <a:pt x="304039" y="83328"/>
                    <a:pt x="312692" y="77909"/>
                  </a:cubicBezTo>
                  <a:lnTo>
                    <a:pt x="312692" y="67512"/>
                  </a:lnTo>
                  <a:close/>
                  <a:moveTo>
                    <a:pt x="190959" y="67512"/>
                  </a:moveTo>
                  <a:lnTo>
                    <a:pt x="190959" y="124626"/>
                  </a:lnTo>
                  <a:lnTo>
                    <a:pt x="250506" y="124626"/>
                  </a:lnTo>
                  <a:lnTo>
                    <a:pt x="250506" y="67512"/>
                  </a:lnTo>
                  <a:close/>
                  <a:moveTo>
                    <a:pt x="128626" y="67512"/>
                  </a:moveTo>
                  <a:lnTo>
                    <a:pt x="128626" y="124626"/>
                  </a:lnTo>
                  <a:lnTo>
                    <a:pt x="188319" y="124626"/>
                  </a:lnTo>
                  <a:lnTo>
                    <a:pt x="188319" y="67512"/>
                  </a:lnTo>
                  <a:close/>
                  <a:moveTo>
                    <a:pt x="66440" y="67512"/>
                  </a:moveTo>
                  <a:lnTo>
                    <a:pt x="66440" y="124626"/>
                  </a:lnTo>
                  <a:lnTo>
                    <a:pt x="125986" y="124626"/>
                  </a:lnTo>
                  <a:lnTo>
                    <a:pt x="125986" y="67512"/>
                  </a:lnTo>
                  <a:close/>
                  <a:moveTo>
                    <a:pt x="10560" y="67512"/>
                  </a:moveTo>
                  <a:lnTo>
                    <a:pt x="10560" y="124626"/>
                  </a:lnTo>
                  <a:lnTo>
                    <a:pt x="63800" y="124626"/>
                  </a:lnTo>
                  <a:lnTo>
                    <a:pt x="63800" y="67512"/>
                  </a:lnTo>
                  <a:close/>
                  <a:moveTo>
                    <a:pt x="374879" y="60043"/>
                  </a:moveTo>
                  <a:cubicBezTo>
                    <a:pt x="370332" y="61507"/>
                    <a:pt x="365932" y="63118"/>
                    <a:pt x="361532" y="64876"/>
                  </a:cubicBezTo>
                  <a:lnTo>
                    <a:pt x="374879" y="64876"/>
                  </a:lnTo>
                  <a:close/>
                  <a:moveTo>
                    <a:pt x="437212" y="47595"/>
                  </a:moveTo>
                  <a:cubicBezTo>
                    <a:pt x="428999" y="49792"/>
                    <a:pt x="420199" y="51403"/>
                    <a:pt x="410225" y="52281"/>
                  </a:cubicBezTo>
                  <a:cubicBezTo>
                    <a:pt x="399225" y="53453"/>
                    <a:pt x="388079" y="55796"/>
                    <a:pt x="377519" y="59164"/>
                  </a:cubicBezTo>
                  <a:lnTo>
                    <a:pt x="377519" y="64876"/>
                  </a:lnTo>
                  <a:lnTo>
                    <a:pt x="437212" y="64876"/>
                  </a:lnTo>
                  <a:close/>
                  <a:moveTo>
                    <a:pt x="494265" y="25628"/>
                  </a:moveTo>
                  <a:cubicBezTo>
                    <a:pt x="492065" y="27825"/>
                    <a:pt x="489132" y="29143"/>
                    <a:pt x="485758" y="29143"/>
                  </a:cubicBezTo>
                  <a:cubicBezTo>
                    <a:pt x="484292" y="29143"/>
                    <a:pt x="482825" y="28850"/>
                    <a:pt x="481505" y="28264"/>
                  </a:cubicBezTo>
                  <a:cubicBezTo>
                    <a:pt x="471385" y="35001"/>
                    <a:pt x="457598" y="42030"/>
                    <a:pt x="439852" y="47009"/>
                  </a:cubicBezTo>
                  <a:lnTo>
                    <a:pt x="439852" y="64876"/>
                  </a:lnTo>
                  <a:lnTo>
                    <a:pt x="494265" y="64876"/>
                  </a:lnTo>
                  <a:close/>
                  <a:moveTo>
                    <a:pt x="439852" y="10544"/>
                  </a:moveTo>
                  <a:lnTo>
                    <a:pt x="439852" y="36026"/>
                  </a:lnTo>
                  <a:cubicBezTo>
                    <a:pt x="454372" y="31632"/>
                    <a:pt x="465812" y="25775"/>
                    <a:pt x="474465" y="20210"/>
                  </a:cubicBezTo>
                  <a:cubicBezTo>
                    <a:pt x="474172" y="19184"/>
                    <a:pt x="473878" y="18306"/>
                    <a:pt x="473878" y="17281"/>
                  </a:cubicBezTo>
                  <a:cubicBezTo>
                    <a:pt x="473878" y="14645"/>
                    <a:pt x="474758" y="12448"/>
                    <a:pt x="476078" y="10544"/>
                  </a:cubicBezTo>
                  <a:close/>
                  <a:moveTo>
                    <a:pt x="377519" y="10544"/>
                  </a:moveTo>
                  <a:lnTo>
                    <a:pt x="377519" y="48181"/>
                  </a:lnTo>
                  <a:cubicBezTo>
                    <a:pt x="387785" y="45105"/>
                    <a:pt x="398492" y="42909"/>
                    <a:pt x="409345" y="41884"/>
                  </a:cubicBezTo>
                  <a:cubicBezTo>
                    <a:pt x="419612" y="40859"/>
                    <a:pt x="428852" y="38955"/>
                    <a:pt x="437212" y="36758"/>
                  </a:cubicBezTo>
                  <a:lnTo>
                    <a:pt x="437212" y="10544"/>
                  </a:lnTo>
                  <a:close/>
                  <a:moveTo>
                    <a:pt x="315332" y="10544"/>
                  </a:moveTo>
                  <a:lnTo>
                    <a:pt x="315332" y="64876"/>
                  </a:lnTo>
                  <a:lnTo>
                    <a:pt x="335866" y="64876"/>
                  </a:lnTo>
                  <a:cubicBezTo>
                    <a:pt x="347599" y="58871"/>
                    <a:pt x="360799" y="53160"/>
                    <a:pt x="374879" y="48913"/>
                  </a:cubicBezTo>
                  <a:lnTo>
                    <a:pt x="375025" y="48913"/>
                  </a:lnTo>
                  <a:lnTo>
                    <a:pt x="375025" y="10544"/>
                  </a:lnTo>
                  <a:close/>
                  <a:moveTo>
                    <a:pt x="253146" y="10544"/>
                  </a:moveTo>
                  <a:lnTo>
                    <a:pt x="253146" y="64876"/>
                  </a:lnTo>
                  <a:lnTo>
                    <a:pt x="312692" y="64876"/>
                  </a:lnTo>
                  <a:lnTo>
                    <a:pt x="312692" y="10544"/>
                  </a:lnTo>
                  <a:close/>
                  <a:moveTo>
                    <a:pt x="190959" y="10544"/>
                  </a:moveTo>
                  <a:lnTo>
                    <a:pt x="190959" y="64876"/>
                  </a:lnTo>
                  <a:lnTo>
                    <a:pt x="250506" y="64876"/>
                  </a:lnTo>
                  <a:lnTo>
                    <a:pt x="250506" y="10544"/>
                  </a:lnTo>
                  <a:close/>
                  <a:moveTo>
                    <a:pt x="128626" y="10544"/>
                  </a:moveTo>
                  <a:lnTo>
                    <a:pt x="128626" y="64876"/>
                  </a:lnTo>
                  <a:lnTo>
                    <a:pt x="188319" y="64876"/>
                  </a:lnTo>
                  <a:lnTo>
                    <a:pt x="188319" y="10544"/>
                  </a:lnTo>
                  <a:close/>
                  <a:moveTo>
                    <a:pt x="66440" y="10544"/>
                  </a:moveTo>
                  <a:lnTo>
                    <a:pt x="66440" y="64876"/>
                  </a:lnTo>
                  <a:lnTo>
                    <a:pt x="125986" y="64876"/>
                  </a:lnTo>
                  <a:lnTo>
                    <a:pt x="125986" y="10544"/>
                  </a:lnTo>
                  <a:close/>
                  <a:moveTo>
                    <a:pt x="10560" y="10544"/>
                  </a:moveTo>
                  <a:lnTo>
                    <a:pt x="10560" y="64876"/>
                  </a:lnTo>
                  <a:lnTo>
                    <a:pt x="63800" y="64876"/>
                  </a:lnTo>
                  <a:lnTo>
                    <a:pt x="63800" y="10544"/>
                  </a:lnTo>
                  <a:close/>
                  <a:moveTo>
                    <a:pt x="0" y="0"/>
                  </a:moveTo>
                  <a:lnTo>
                    <a:pt x="504825" y="0"/>
                  </a:lnTo>
                  <a:lnTo>
                    <a:pt x="504825" y="486055"/>
                  </a:lnTo>
                  <a:lnTo>
                    <a:pt x="0" y="486055"/>
                  </a:lnTo>
                  <a:close/>
                </a:path>
              </a:pathLst>
            </a:custGeom>
            <a:solidFill>
              <a:schemeClr val="tx2"/>
            </a:solidFill>
            <a:ln>
              <a:no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sp>
        <p:nvSpPr>
          <p:cNvPr id="34" name="î$ḷîḓê">
            <a:extLst>
              <a:ext uri="{FF2B5EF4-FFF2-40B4-BE49-F238E27FC236}">
                <a16:creationId xmlns:a16="http://schemas.microsoft.com/office/drawing/2014/main" id="{0120662D-08EC-45F4-BE9C-84021ADB4C9A}"/>
              </a:ext>
            </a:extLst>
          </p:cNvPr>
          <p:cNvSpPr/>
          <p:nvPr/>
        </p:nvSpPr>
        <p:spPr bwMode="gray">
          <a:xfrm>
            <a:off x="8173525" y="198392"/>
            <a:ext cx="1506790" cy="480145"/>
          </a:xfrm>
          <a:prstGeom prst="rect">
            <a:avLst/>
          </a:prstGeom>
          <a:solidFill>
            <a:schemeClr val="accent1"/>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a:bodyPr>
          <a:lstStyle/>
          <a:p>
            <a:pPr algn="ctr"/>
            <a:r>
              <a:rPr lang="zh-CN" altLang="en-US" sz="2400" dirty="0" smtClean="0">
                <a:solidFill>
                  <a:schemeClr val="bg1"/>
                </a:solidFill>
              </a:rPr>
              <a:t>正向方法</a:t>
            </a:r>
            <a:endParaRPr lang="en-US" altLang="zh-CN" sz="2400" dirty="0">
              <a:solidFill>
                <a:schemeClr val="bg1"/>
              </a:solidFill>
            </a:endParaRPr>
          </a:p>
        </p:txBody>
      </p:sp>
      <p:sp>
        <p:nvSpPr>
          <p:cNvPr id="35" name="î$ḷîḓê">
            <a:extLst>
              <a:ext uri="{FF2B5EF4-FFF2-40B4-BE49-F238E27FC236}">
                <a16:creationId xmlns:a16="http://schemas.microsoft.com/office/drawing/2014/main" id="{0120662D-08EC-45F4-BE9C-84021ADB4C9A}"/>
              </a:ext>
            </a:extLst>
          </p:cNvPr>
          <p:cNvSpPr/>
          <p:nvPr/>
        </p:nvSpPr>
        <p:spPr bwMode="gray">
          <a:xfrm>
            <a:off x="9712399" y="199746"/>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a:bodyPr>
          <a:lstStyle/>
          <a:p>
            <a:pPr algn="ctr"/>
            <a:r>
              <a:rPr lang="zh-CN" altLang="en-US" sz="2400" dirty="0" smtClean="0">
                <a:solidFill>
                  <a:schemeClr val="bg1"/>
                </a:solidFill>
              </a:rPr>
              <a:t>逆向方法</a:t>
            </a:r>
            <a:endParaRPr lang="en-US" altLang="zh-CN" sz="2400" dirty="0">
              <a:solidFill>
                <a:schemeClr val="bg1"/>
              </a:solidFill>
            </a:endParaRPr>
          </a:p>
        </p:txBody>
      </p:sp>
    </p:spTree>
    <p:extLst>
      <p:ext uri="{BB962C8B-B14F-4D97-AF65-F5344CB8AC3E}">
        <p14:creationId xmlns:p14="http://schemas.microsoft.com/office/powerpoint/2010/main" val="168316532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0" name="组合 29">
            <a:extLst>
              <a:ext uri="{FF2B5EF4-FFF2-40B4-BE49-F238E27FC236}">
                <a16:creationId xmlns:a16="http://schemas.microsoft.com/office/drawing/2014/main" id="{0853A8D8-448C-4E50-AD38-219140CD6184}"/>
              </a:ext>
            </a:extLst>
          </p:cNvPr>
          <p:cNvGrpSpPr/>
          <p:nvPr/>
        </p:nvGrpSpPr>
        <p:grpSpPr>
          <a:xfrm>
            <a:off x="669925" y="210537"/>
            <a:ext cx="468000" cy="468000"/>
            <a:chOff x="669925" y="48611"/>
            <a:chExt cx="468000" cy="468000"/>
          </a:xfrm>
        </p:grpSpPr>
        <p:sp>
          <p:nvSpPr>
            <p:cNvPr id="31" name="椭圆 30">
              <a:extLst>
                <a:ext uri="{FF2B5EF4-FFF2-40B4-BE49-F238E27FC236}">
                  <a16:creationId xmlns:a16="http://schemas.microsoft.com/office/drawing/2014/main" id="{18765B3C-06BD-445D-B72B-512E55DEF34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32" name="椭圆 31">
              <a:extLst>
                <a:ext uri="{FF2B5EF4-FFF2-40B4-BE49-F238E27FC236}">
                  <a16:creationId xmlns:a16="http://schemas.microsoft.com/office/drawing/2014/main" id="{A6AA7771-0E3D-4241-9DE3-825324394A29}"/>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grpSp>
      <p:sp>
        <p:nvSpPr>
          <p:cNvPr id="36" name="标题 1">
            <a:extLst>
              <a:ext uri="{FF2B5EF4-FFF2-40B4-BE49-F238E27FC236}">
                <a16:creationId xmlns:a16="http://schemas.microsoft.com/office/drawing/2014/main" id="{62930304-3D14-4FEB-B45D-709CE5948953}"/>
              </a:ext>
            </a:extLst>
          </p:cNvPr>
          <p:cNvSpPr txBox="1">
            <a:spLocks/>
          </p:cNvSpPr>
          <p:nvPr/>
        </p:nvSpPr>
        <p:spPr>
          <a:xfrm>
            <a:off x="1149782" y="198392"/>
            <a:ext cx="7347103" cy="57784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en-US" altLang="zh-CN" sz="3200" b="0" dirty="0" smtClean="0">
                <a:latin typeface="Arial" panose="020B0604020202020204" pitchFamily="34" charset="0"/>
                <a:ea typeface="Microsoft YaHei" panose="020B0503020204020204" pitchFamily="34" charset="-122"/>
                <a:cs typeface="+mn-ea"/>
                <a:sym typeface="Arial" panose="020B0604020202020204" pitchFamily="34" charset="0"/>
              </a:rPr>
              <a:t>SFMEA——</a:t>
            </a:r>
            <a:r>
              <a:rPr lang="zh-CN" altLang="en-US" sz="3200" b="0" dirty="0" smtClean="0">
                <a:latin typeface="Arial" panose="020B0604020202020204" pitchFamily="34" charset="0"/>
                <a:ea typeface="Microsoft YaHei" panose="020B0503020204020204" pitchFamily="34" charset="-122"/>
                <a:cs typeface="+mn-ea"/>
                <a:sym typeface="Arial" panose="020B0604020202020204" pitchFamily="34" charset="0"/>
              </a:rPr>
              <a:t>软件失效模式和影响分析</a:t>
            </a:r>
            <a:endParaRPr lang="zh-CN" altLang="en-US" sz="3200" b="0" dirty="0">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20" name="î$ḷîḓê">
            <a:extLst>
              <a:ext uri="{FF2B5EF4-FFF2-40B4-BE49-F238E27FC236}">
                <a16:creationId xmlns:a16="http://schemas.microsoft.com/office/drawing/2014/main" id="{0120662D-08EC-45F4-BE9C-84021ADB4C9A}"/>
              </a:ext>
            </a:extLst>
          </p:cNvPr>
          <p:cNvSpPr/>
          <p:nvPr/>
        </p:nvSpPr>
        <p:spPr bwMode="gray">
          <a:xfrm>
            <a:off x="8173525" y="198392"/>
            <a:ext cx="1506790" cy="480145"/>
          </a:xfrm>
          <a:prstGeom prst="rect">
            <a:avLst/>
          </a:prstGeom>
          <a:solidFill>
            <a:schemeClr val="accent1"/>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a:bodyPr>
          <a:lstStyle/>
          <a:p>
            <a:pPr algn="ctr"/>
            <a:r>
              <a:rPr lang="zh-CN" altLang="en-US" sz="2400" dirty="0" smtClean="0">
                <a:solidFill>
                  <a:schemeClr val="bg1"/>
                </a:solidFill>
              </a:rPr>
              <a:t>正向方法</a:t>
            </a:r>
            <a:endParaRPr lang="en-US" altLang="zh-CN" sz="2400" dirty="0">
              <a:solidFill>
                <a:schemeClr val="bg1"/>
              </a:solidFill>
            </a:endParaRPr>
          </a:p>
        </p:txBody>
      </p:sp>
      <p:sp>
        <p:nvSpPr>
          <p:cNvPr id="21" name="î$ḷîḓê">
            <a:extLst>
              <a:ext uri="{FF2B5EF4-FFF2-40B4-BE49-F238E27FC236}">
                <a16:creationId xmlns:a16="http://schemas.microsoft.com/office/drawing/2014/main" id="{0120662D-08EC-45F4-BE9C-84021ADB4C9A}"/>
              </a:ext>
            </a:extLst>
          </p:cNvPr>
          <p:cNvSpPr/>
          <p:nvPr/>
        </p:nvSpPr>
        <p:spPr bwMode="gray">
          <a:xfrm>
            <a:off x="9712399" y="199746"/>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a:bodyPr>
          <a:lstStyle/>
          <a:p>
            <a:pPr algn="ctr"/>
            <a:r>
              <a:rPr lang="zh-CN" altLang="en-US" sz="2400" dirty="0" smtClean="0">
                <a:solidFill>
                  <a:schemeClr val="bg1"/>
                </a:solidFill>
              </a:rPr>
              <a:t>逆向方法</a:t>
            </a:r>
            <a:endParaRPr lang="en-US" altLang="zh-CN" sz="2400" dirty="0">
              <a:solidFill>
                <a:schemeClr val="bg1"/>
              </a:solidFill>
            </a:endParaRPr>
          </a:p>
        </p:txBody>
      </p:sp>
      <p:grpSp>
        <p:nvGrpSpPr>
          <p:cNvPr id="122" name="186609"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1317685" y="1435674"/>
            <a:ext cx="9581404" cy="4135233"/>
            <a:chOff x="1317685" y="1435674"/>
            <a:chExt cx="9581404" cy="4135233"/>
          </a:xfrm>
        </p:grpSpPr>
        <p:grpSp>
          <p:nvGrpSpPr>
            <p:cNvPr id="123" name="iSļide">
              <a:extLst>
                <a:ext uri="{FF2B5EF4-FFF2-40B4-BE49-F238E27FC236}">
                  <a16:creationId xmlns:a16="http://schemas.microsoft.com/office/drawing/2014/main" id="{B770A037-C926-40B8-94C6-DAAF7A7697E7}"/>
                </a:ext>
              </a:extLst>
            </p:cNvPr>
            <p:cNvGrpSpPr/>
            <p:nvPr/>
          </p:nvGrpSpPr>
          <p:grpSpPr>
            <a:xfrm>
              <a:off x="2409190" y="1435674"/>
              <a:ext cx="7373620" cy="1849310"/>
              <a:chOff x="2409190" y="1435674"/>
              <a:chExt cx="7373620" cy="1849310"/>
            </a:xfrm>
          </p:grpSpPr>
          <p:sp>
            <p:nvSpPr>
              <p:cNvPr id="135" name="iṥḷïḋé">
                <a:extLst>
                  <a:ext uri="{FF2B5EF4-FFF2-40B4-BE49-F238E27FC236}">
                    <a16:creationId xmlns:a16="http://schemas.microsoft.com/office/drawing/2014/main" id="{D058E7F7-C3E3-42E0-8FDD-8B7BC73C19D7}"/>
                  </a:ext>
                </a:extLst>
              </p:cNvPr>
              <p:cNvSpPr/>
              <p:nvPr/>
            </p:nvSpPr>
            <p:spPr>
              <a:xfrm>
                <a:off x="2409190" y="2132856"/>
                <a:ext cx="7373620" cy="1152128"/>
              </a:xfrm>
              <a:prstGeom prst="ellipse">
                <a:avLst/>
              </a:prstGeom>
              <a:solidFill>
                <a:schemeClr val="bg1">
                  <a:lumMod val="95000"/>
                </a:schemeClr>
              </a:solidFill>
              <a:ln>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36" name="íṥḻïḍé">
                <a:extLst>
                  <a:ext uri="{FF2B5EF4-FFF2-40B4-BE49-F238E27FC236}">
                    <a16:creationId xmlns:a16="http://schemas.microsoft.com/office/drawing/2014/main" id="{5C38814D-2E2C-4BDA-8944-2CE141E9CDC5}"/>
                  </a:ext>
                </a:extLst>
              </p:cNvPr>
              <p:cNvSpPr/>
              <p:nvPr/>
            </p:nvSpPr>
            <p:spPr>
              <a:xfrm>
                <a:off x="3804131" y="2348880"/>
                <a:ext cx="4608512" cy="720080"/>
              </a:xfrm>
              <a:prstGeom prst="ellipse">
                <a:avLst/>
              </a:prstGeom>
              <a:solidFill>
                <a:schemeClr val="bg1"/>
              </a:solidFill>
              <a:ln>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137" name="îṥḻïḑê">
                <a:extLst>
                  <a:ext uri="{FF2B5EF4-FFF2-40B4-BE49-F238E27FC236}">
                    <a16:creationId xmlns:a16="http://schemas.microsoft.com/office/drawing/2014/main" id="{3494A86A-CD04-496E-9B40-901CFC37B866}"/>
                  </a:ext>
                </a:extLst>
              </p:cNvPr>
              <p:cNvGrpSpPr/>
              <p:nvPr/>
            </p:nvGrpSpPr>
            <p:grpSpPr>
              <a:xfrm>
                <a:off x="3180524" y="2170825"/>
                <a:ext cx="577564" cy="577564"/>
                <a:chOff x="3742635" y="3644274"/>
                <a:chExt cx="577564" cy="577564"/>
              </a:xfrm>
            </p:grpSpPr>
            <p:sp>
              <p:nvSpPr>
                <p:cNvPr id="144" name="îṥḷiḋè">
                  <a:extLst>
                    <a:ext uri="{FF2B5EF4-FFF2-40B4-BE49-F238E27FC236}">
                      <a16:creationId xmlns:a16="http://schemas.microsoft.com/office/drawing/2014/main" id="{6CC958D2-2997-4904-86ED-C7738462BCF8}"/>
                    </a:ext>
                  </a:extLst>
                </p:cNvPr>
                <p:cNvSpPr/>
                <p:nvPr/>
              </p:nvSpPr>
              <p:spPr>
                <a:xfrm rot="8100000">
                  <a:off x="3742635" y="3644274"/>
                  <a:ext cx="577564" cy="577564"/>
                </a:xfrm>
                <a:prstGeom prst="teardrop">
                  <a:avLst>
                    <a:gd name="adj" fmla="val 13396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45" name="ïşḻîḑê">
                  <a:extLst>
                    <a:ext uri="{FF2B5EF4-FFF2-40B4-BE49-F238E27FC236}">
                      <a16:creationId xmlns:a16="http://schemas.microsoft.com/office/drawing/2014/main" id="{956DAFE2-32A0-4639-9CA1-C66FA9B165E3}"/>
                    </a:ext>
                  </a:extLst>
                </p:cNvPr>
                <p:cNvSpPr/>
                <p:nvPr/>
              </p:nvSpPr>
              <p:spPr bwMode="auto">
                <a:xfrm>
                  <a:off x="3870328" y="3760837"/>
                  <a:ext cx="322178" cy="380293"/>
                </a:xfrm>
                <a:custGeom>
                  <a:avLst/>
                  <a:gdLst>
                    <a:gd name="T0" fmla="*/ 484 w 538"/>
                    <a:gd name="T1" fmla="*/ 529 h 636"/>
                    <a:gd name="T2" fmla="*/ 453 w 538"/>
                    <a:gd name="T3" fmla="*/ 529 h 636"/>
                    <a:gd name="T4" fmla="*/ 369 w 538"/>
                    <a:gd name="T5" fmla="*/ 318 h 636"/>
                    <a:gd name="T6" fmla="*/ 453 w 538"/>
                    <a:gd name="T7" fmla="*/ 107 h 636"/>
                    <a:gd name="T8" fmla="*/ 484 w 538"/>
                    <a:gd name="T9" fmla="*/ 107 h 636"/>
                    <a:gd name="T10" fmla="*/ 538 w 538"/>
                    <a:gd name="T11" fmla="*/ 53 h 636"/>
                    <a:gd name="T12" fmla="*/ 484 w 538"/>
                    <a:gd name="T13" fmla="*/ 0 h 636"/>
                    <a:gd name="T14" fmla="*/ 53 w 538"/>
                    <a:gd name="T15" fmla="*/ 0 h 636"/>
                    <a:gd name="T16" fmla="*/ 0 w 538"/>
                    <a:gd name="T17" fmla="*/ 53 h 636"/>
                    <a:gd name="T18" fmla="*/ 53 w 538"/>
                    <a:gd name="T19" fmla="*/ 107 h 636"/>
                    <a:gd name="T20" fmla="*/ 84 w 538"/>
                    <a:gd name="T21" fmla="*/ 107 h 636"/>
                    <a:gd name="T22" fmla="*/ 168 w 538"/>
                    <a:gd name="T23" fmla="*/ 318 h 636"/>
                    <a:gd name="T24" fmla="*/ 84 w 538"/>
                    <a:gd name="T25" fmla="*/ 529 h 636"/>
                    <a:gd name="T26" fmla="*/ 53 w 538"/>
                    <a:gd name="T27" fmla="*/ 529 h 636"/>
                    <a:gd name="T28" fmla="*/ 0 w 538"/>
                    <a:gd name="T29" fmla="*/ 582 h 636"/>
                    <a:gd name="T30" fmla="*/ 53 w 538"/>
                    <a:gd name="T31" fmla="*/ 636 h 636"/>
                    <a:gd name="T32" fmla="*/ 484 w 538"/>
                    <a:gd name="T33" fmla="*/ 636 h 636"/>
                    <a:gd name="T34" fmla="*/ 538 w 538"/>
                    <a:gd name="T35" fmla="*/ 582 h 636"/>
                    <a:gd name="T36" fmla="*/ 484 w 538"/>
                    <a:gd name="T37" fmla="*/ 529 h 636"/>
                    <a:gd name="T38" fmla="*/ 346 w 538"/>
                    <a:gd name="T39" fmla="*/ 107 h 636"/>
                    <a:gd name="T40" fmla="*/ 269 w 538"/>
                    <a:gd name="T41" fmla="*/ 257 h 636"/>
                    <a:gd name="T42" fmla="*/ 192 w 538"/>
                    <a:gd name="T43" fmla="*/ 107 h 636"/>
                    <a:gd name="T44" fmla="*/ 346 w 538"/>
                    <a:gd name="T45" fmla="*/ 107 h 636"/>
                    <a:gd name="T46" fmla="*/ 269 w 538"/>
                    <a:gd name="T47" fmla="*/ 379 h 636"/>
                    <a:gd name="T48" fmla="*/ 346 w 538"/>
                    <a:gd name="T49" fmla="*/ 529 h 636"/>
                    <a:gd name="T50" fmla="*/ 192 w 538"/>
                    <a:gd name="T51" fmla="*/ 529 h 636"/>
                    <a:gd name="T52" fmla="*/ 269 w 538"/>
                    <a:gd name="T53" fmla="*/ 379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38" h="636">
                      <a:moveTo>
                        <a:pt x="484" y="529"/>
                      </a:moveTo>
                      <a:lnTo>
                        <a:pt x="453" y="529"/>
                      </a:lnTo>
                      <a:cubicBezTo>
                        <a:pt x="445" y="438"/>
                        <a:pt x="414" y="363"/>
                        <a:pt x="369" y="318"/>
                      </a:cubicBezTo>
                      <a:cubicBezTo>
                        <a:pt x="414" y="273"/>
                        <a:pt x="445" y="198"/>
                        <a:pt x="453" y="107"/>
                      </a:cubicBezTo>
                      <a:lnTo>
                        <a:pt x="484" y="107"/>
                      </a:lnTo>
                      <a:cubicBezTo>
                        <a:pt x="514" y="107"/>
                        <a:pt x="538" y="83"/>
                        <a:pt x="538" y="53"/>
                      </a:cubicBezTo>
                      <a:cubicBezTo>
                        <a:pt x="538" y="24"/>
                        <a:pt x="514" y="0"/>
                        <a:pt x="484" y="0"/>
                      </a:cubicBezTo>
                      <a:lnTo>
                        <a:pt x="53" y="0"/>
                      </a:lnTo>
                      <a:cubicBezTo>
                        <a:pt x="24" y="0"/>
                        <a:pt x="0" y="24"/>
                        <a:pt x="0" y="53"/>
                      </a:cubicBezTo>
                      <a:cubicBezTo>
                        <a:pt x="0" y="83"/>
                        <a:pt x="24" y="107"/>
                        <a:pt x="53" y="107"/>
                      </a:cubicBezTo>
                      <a:lnTo>
                        <a:pt x="84" y="107"/>
                      </a:lnTo>
                      <a:cubicBezTo>
                        <a:pt x="93" y="198"/>
                        <a:pt x="124" y="273"/>
                        <a:pt x="168" y="318"/>
                      </a:cubicBezTo>
                      <a:cubicBezTo>
                        <a:pt x="124" y="363"/>
                        <a:pt x="93" y="438"/>
                        <a:pt x="84" y="529"/>
                      </a:cubicBezTo>
                      <a:lnTo>
                        <a:pt x="53" y="529"/>
                      </a:lnTo>
                      <a:cubicBezTo>
                        <a:pt x="24" y="529"/>
                        <a:pt x="0" y="553"/>
                        <a:pt x="0" y="582"/>
                      </a:cubicBezTo>
                      <a:cubicBezTo>
                        <a:pt x="0" y="612"/>
                        <a:pt x="24" y="636"/>
                        <a:pt x="53" y="636"/>
                      </a:cubicBezTo>
                      <a:lnTo>
                        <a:pt x="484" y="636"/>
                      </a:lnTo>
                      <a:cubicBezTo>
                        <a:pt x="514" y="636"/>
                        <a:pt x="538" y="612"/>
                        <a:pt x="538" y="582"/>
                      </a:cubicBezTo>
                      <a:cubicBezTo>
                        <a:pt x="538" y="553"/>
                        <a:pt x="514" y="529"/>
                        <a:pt x="484" y="529"/>
                      </a:cubicBezTo>
                      <a:close/>
                      <a:moveTo>
                        <a:pt x="346" y="107"/>
                      </a:moveTo>
                      <a:cubicBezTo>
                        <a:pt x="335" y="198"/>
                        <a:pt x="296" y="257"/>
                        <a:pt x="269" y="257"/>
                      </a:cubicBezTo>
                      <a:cubicBezTo>
                        <a:pt x="242" y="257"/>
                        <a:pt x="203" y="198"/>
                        <a:pt x="192" y="107"/>
                      </a:cubicBezTo>
                      <a:lnTo>
                        <a:pt x="346" y="107"/>
                      </a:lnTo>
                      <a:close/>
                      <a:moveTo>
                        <a:pt x="269" y="379"/>
                      </a:moveTo>
                      <a:cubicBezTo>
                        <a:pt x="296" y="379"/>
                        <a:pt x="335" y="437"/>
                        <a:pt x="346" y="529"/>
                      </a:cubicBezTo>
                      <a:lnTo>
                        <a:pt x="192" y="529"/>
                      </a:lnTo>
                      <a:cubicBezTo>
                        <a:pt x="203" y="437"/>
                        <a:pt x="242" y="379"/>
                        <a:pt x="269" y="379"/>
                      </a:cubicBezTo>
                      <a:close/>
                    </a:path>
                  </a:pathLst>
                </a:custGeom>
                <a:solidFill>
                  <a:schemeClr val="bg1"/>
                </a:solidFill>
                <a:ln>
                  <a:noFill/>
                </a:ln>
              </p:spPr>
              <p:txBody>
                <a:bodyPr vert="horz" wrap="square" lIns="91440" tIns="45720" rIns="91440" bIns="45720" numCol="1" anchor="t" anchorCtr="0" compatLnSpc="1">
                  <a:prstTxWarp prst="textNoShape">
                    <a:avLst/>
                  </a:prstTxWarp>
                  <a:normAutofit fontScale="32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7198"/>
                </a:p>
              </p:txBody>
            </p:sp>
          </p:grpSp>
          <p:grpSp>
            <p:nvGrpSpPr>
              <p:cNvPr id="138" name="íşlíḍè">
                <a:extLst>
                  <a:ext uri="{FF2B5EF4-FFF2-40B4-BE49-F238E27FC236}">
                    <a16:creationId xmlns:a16="http://schemas.microsoft.com/office/drawing/2014/main" id="{89BDC40E-AB54-40F2-9452-55AB06A806E4}"/>
                  </a:ext>
                </a:extLst>
              </p:cNvPr>
              <p:cNvGrpSpPr/>
              <p:nvPr/>
            </p:nvGrpSpPr>
            <p:grpSpPr>
              <a:xfrm>
                <a:off x="8722321" y="1987680"/>
                <a:ext cx="577564" cy="577564"/>
                <a:chOff x="8351147" y="3211817"/>
                <a:chExt cx="577564" cy="577564"/>
              </a:xfrm>
            </p:grpSpPr>
            <p:sp>
              <p:nvSpPr>
                <p:cNvPr id="142" name="ïŝlíḋè">
                  <a:extLst>
                    <a:ext uri="{FF2B5EF4-FFF2-40B4-BE49-F238E27FC236}">
                      <a16:creationId xmlns:a16="http://schemas.microsoft.com/office/drawing/2014/main" id="{DBDB64F6-B0C3-4FCF-B8AD-8760E64EB21E}"/>
                    </a:ext>
                  </a:extLst>
                </p:cNvPr>
                <p:cNvSpPr/>
                <p:nvPr/>
              </p:nvSpPr>
              <p:spPr>
                <a:xfrm rot="8100000">
                  <a:off x="8351147" y="3211817"/>
                  <a:ext cx="577564" cy="577564"/>
                </a:xfrm>
                <a:prstGeom prst="teardrop">
                  <a:avLst>
                    <a:gd name="adj" fmla="val 133968"/>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143" name="í$ļíḓé">
                  <a:extLst>
                    <a:ext uri="{FF2B5EF4-FFF2-40B4-BE49-F238E27FC236}">
                      <a16:creationId xmlns:a16="http://schemas.microsoft.com/office/drawing/2014/main" id="{C6756089-1E0A-4C65-BD73-2D4947455061}"/>
                    </a:ext>
                  </a:extLst>
                </p:cNvPr>
                <p:cNvSpPr/>
                <p:nvPr/>
              </p:nvSpPr>
              <p:spPr bwMode="auto">
                <a:xfrm>
                  <a:off x="8449783" y="3340775"/>
                  <a:ext cx="380293" cy="319644"/>
                </a:xfrm>
                <a:custGeom>
                  <a:avLst/>
                  <a:gdLst>
                    <a:gd name="T0" fmla="*/ 645 w 1068"/>
                    <a:gd name="T1" fmla="*/ 154 h 899"/>
                    <a:gd name="T2" fmla="*/ 735 w 1068"/>
                    <a:gd name="T3" fmla="*/ 298 h 899"/>
                    <a:gd name="T4" fmla="*/ 801 w 1068"/>
                    <a:gd name="T5" fmla="*/ 313 h 899"/>
                    <a:gd name="T6" fmla="*/ 958 w 1068"/>
                    <a:gd name="T7" fmla="*/ 156 h 899"/>
                    <a:gd name="T8" fmla="*/ 801 w 1068"/>
                    <a:gd name="T9" fmla="*/ 0 h 899"/>
                    <a:gd name="T10" fmla="*/ 645 w 1068"/>
                    <a:gd name="T11" fmla="*/ 154 h 899"/>
                    <a:gd name="T12" fmla="*/ 542 w 1068"/>
                    <a:gd name="T13" fmla="*/ 475 h 899"/>
                    <a:gd name="T14" fmla="*/ 699 w 1068"/>
                    <a:gd name="T15" fmla="*/ 318 h 899"/>
                    <a:gd name="T16" fmla="*/ 542 w 1068"/>
                    <a:gd name="T17" fmla="*/ 161 h 899"/>
                    <a:gd name="T18" fmla="*/ 385 w 1068"/>
                    <a:gd name="T19" fmla="*/ 318 h 899"/>
                    <a:gd name="T20" fmla="*/ 542 w 1068"/>
                    <a:gd name="T21" fmla="*/ 475 h 899"/>
                    <a:gd name="T22" fmla="*/ 609 w 1068"/>
                    <a:gd name="T23" fmla="*/ 485 h 899"/>
                    <a:gd name="T24" fmla="*/ 476 w 1068"/>
                    <a:gd name="T25" fmla="*/ 485 h 899"/>
                    <a:gd name="T26" fmla="*/ 275 w 1068"/>
                    <a:gd name="T27" fmla="*/ 686 h 899"/>
                    <a:gd name="T28" fmla="*/ 275 w 1068"/>
                    <a:gd name="T29" fmla="*/ 849 h 899"/>
                    <a:gd name="T30" fmla="*/ 275 w 1068"/>
                    <a:gd name="T31" fmla="*/ 851 h 899"/>
                    <a:gd name="T32" fmla="*/ 287 w 1068"/>
                    <a:gd name="T33" fmla="*/ 855 h 899"/>
                    <a:gd name="T34" fmla="*/ 559 w 1068"/>
                    <a:gd name="T35" fmla="*/ 899 h 899"/>
                    <a:gd name="T36" fmla="*/ 798 w 1068"/>
                    <a:gd name="T37" fmla="*/ 854 h 899"/>
                    <a:gd name="T38" fmla="*/ 808 w 1068"/>
                    <a:gd name="T39" fmla="*/ 849 h 899"/>
                    <a:gd name="T40" fmla="*/ 809 w 1068"/>
                    <a:gd name="T41" fmla="*/ 849 h 899"/>
                    <a:gd name="T42" fmla="*/ 809 w 1068"/>
                    <a:gd name="T43" fmla="*/ 686 h 899"/>
                    <a:gd name="T44" fmla="*/ 609 w 1068"/>
                    <a:gd name="T45" fmla="*/ 485 h 899"/>
                    <a:gd name="T46" fmla="*/ 868 w 1068"/>
                    <a:gd name="T47" fmla="*/ 324 h 899"/>
                    <a:gd name="T48" fmla="*/ 736 w 1068"/>
                    <a:gd name="T49" fmla="*/ 324 h 899"/>
                    <a:gd name="T50" fmla="*/ 676 w 1068"/>
                    <a:gd name="T51" fmla="*/ 458 h 899"/>
                    <a:gd name="T52" fmla="*/ 847 w 1068"/>
                    <a:gd name="T53" fmla="*/ 686 h 899"/>
                    <a:gd name="T54" fmla="*/ 847 w 1068"/>
                    <a:gd name="T55" fmla="*/ 736 h 899"/>
                    <a:gd name="T56" fmla="*/ 1057 w 1068"/>
                    <a:gd name="T57" fmla="*/ 692 h 899"/>
                    <a:gd name="T58" fmla="*/ 1067 w 1068"/>
                    <a:gd name="T59" fmla="*/ 687 h 899"/>
                    <a:gd name="T60" fmla="*/ 1068 w 1068"/>
                    <a:gd name="T61" fmla="*/ 687 h 899"/>
                    <a:gd name="T62" fmla="*/ 1068 w 1068"/>
                    <a:gd name="T63" fmla="*/ 524 h 899"/>
                    <a:gd name="T64" fmla="*/ 868 w 1068"/>
                    <a:gd name="T65" fmla="*/ 324 h 899"/>
                    <a:gd name="T66" fmla="*/ 267 w 1068"/>
                    <a:gd name="T67" fmla="*/ 313 h 899"/>
                    <a:gd name="T68" fmla="*/ 350 w 1068"/>
                    <a:gd name="T69" fmla="*/ 289 h 899"/>
                    <a:gd name="T70" fmla="*/ 423 w 1068"/>
                    <a:gd name="T71" fmla="*/ 165 h 899"/>
                    <a:gd name="T72" fmla="*/ 424 w 1068"/>
                    <a:gd name="T73" fmla="*/ 156 h 899"/>
                    <a:gd name="T74" fmla="*/ 267 w 1068"/>
                    <a:gd name="T75" fmla="*/ 0 h 899"/>
                    <a:gd name="T76" fmla="*/ 110 w 1068"/>
                    <a:gd name="T77" fmla="*/ 156 h 899"/>
                    <a:gd name="T78" fmla="*/ 267 w 1068"/>
                    <a:gd name="T79" fmla="*/ 313 h 899"/>
                    <a:gd name="T80" fmla="*/ 408 w 1068"/>
                    <a:gd name="T81" fmla="*/ 458 h 899"/>
                    <a:gd name="T82" fmla="*/ 348 w 1068"/>
                    <a:gd name="T83" fmla="*/ 324 h 899"/>
                    <a:gd name="T84" fmla="*/ 334 w 1068"/>
                    <a:gd name="T85" fmla="*/ 324 h 899"/>
                    <a:gd name="T86" fmla="*/ 201 w 1068"/>
                    <a:gd name="T87" fmla="*/ 324 h 899"/>
                    <a:gd name="T88" fmla="*/ 0 w 1068"/>
                    <a:gd name="T89" fmla="*/ 524 h 899"/>
                    <a:gd name="T90" fmla="*/ 0 w 1068"/>
                    <a:gd name="T91" fmla="*/ 687 h 899"/>
                    <a:gd name="T92" fmla="*/ 0 w 1068"/>
                    <a:gd name="T93" fmla="*/ 689 h 899"/>
                    <a:gd name="T94" fmla="*/ 12 w 1068"/>
                    <a:gd name="T95" fmla="*/ 693 h 899"/>
                    <a:gd name="T96" fmla="*/ 238 w 1068"/>
                    <a:gd name="T97" fmla="*/ 735 h 899"/>
                    <a:gd name="T98" fmla="*/ 238 w 1068"/>
                    <a:gd name="T99" fmla="*/ 686 h 899"/>
                    <a:gd name="T100" fmla="*/ 408 w 1068"/>
                    <a:gd name="T101" fmla="*/ 458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68" h="899">
                      <a:moveTo>
                        <a:pt x="645" y="154"/>
                      </a:moveTo>
                      <a:cubicBezTo>
                        <a:pt x="694" y="185"/>
                        <a:pt x="729" y="237"/>
                        <a:pt x="735" y="298"/>
                      </a:cubicBezTo>
                      <a:cubicBezTo>
                        <a:pt x="755" y="308"/>
                        <a:pt x="778" y="313"/>
                        <a:pt x="801" y="313"/>
                      </a:cubicBezTo>
                      <a:cubicBezTo>
                        <a:pt x="888" y="313"/>
                        <a:pt x="958" y="243"/>
                        <a:pt x="958" y="156"/>
                      </a:cubicBezTo>
                      <a:cubicBezTo>
                        <a:pt x="958" y="70"/>
                        <a:pt x="888" y="0"/>
                        <a:pt x="801" y="0"/>
                      </a:cubicBezTo>
                      <a:cubicBezTo>
                        <a:pt x="716" y="0"/>
                        <a:pt x="646" y="69"/>
                        <a:pt x="645" y="154"/>
                      </a:cubicBezTo>
                      <a:close/>
                      <a:moveTo>
                        <a:pt x="542" y="475"/>
                      </a:moveTo>
                      <a:cubicBezTo>
                        <a:pt x="629" y="475"/>
                        <a:pt x="699" y="405"/>
                        <a:pt x="699" y="318"/>
                      </a:cubicBezTo>
                      <a:cubicBezTo>
                        <a:pt x="699" y="232"/>
                        <a:pt x="629" y="161"/>
                        <a:pt x="542" y="161"/>
                      </a:cubicBezTo>
                      <a:cubicBezTo>
                        <a:pt x="456" y="161"/>
                        <a:pt x="385" y="232"/>
                        <a:pt x="385" y="318"/>
                      </a:cubicBezTo>
                      <a:cubicBezTo>
                        <a:pt x="385" y="405"/>
                        <a:pt x="456" y="475"/>
                        <a:pt x="542" y="475"/>
                      </a:cubicBezTo>
                      <a:close/>
                      <a:moveTo>
                        <a:pt x="609" y="485"/>
                      </a:moveTo>
                      <a:lnTo>
                        <a:pt x="476" y="485"/>
                      </a:lnTo>
                      <a:cubicBezTo>
                        <a:pt x="365" y="485"/>
                        <a:pt x="275" y="575"/>
                        <a:pt x="275" y="686"/>
                      </a:cubicBezTo>
                      <a:lnTo>
                        <a:pt x="275" y="849"/>
                      </a:lnTo>
                      <a:lnTo>
                        <a:pt x="275" y="851"/>
                      </a:lnTo>
                      <a:lnTo>
                        <a:pt x="287" y="855"/>
                      </a:lnTo>
                      <a:cubicBezTo>
                        <a:pt x="392" y="888"/>
                        <a:pt x="484" y="899"/>
                        <a:pt x="559" y="899"/>
                      </a:cubicBezTo>
                      <a:cubicBezTo>
                        <a:pt x="707" y="899"/>
                        <a:pt x="792" y="857"/>
                        <a:pt x="798" y="854"/>
                      </a:cubicBezTo>
                      <a:lnTo>
                        <a:pt x="808" y="849"/>
                      </a:lnTo>
                      <a:lnTo>
                        <a:pt x="809" y="849"/>
                      </a:lnTo>
                      <a:lnTo>
                        <a:pt x="809" y="686"/>
                      </a:lnTo>
                      <a:cubicBezTo>
                        <a:pt x="809" y="575"/>
                        <a:pt x="719" y="485"/>
                        <a:pt x="609" y="485"/>
                      </a:cubicBezTo>
                      <a:close/>
                      <a:moveTo>
                        <a:pt x="868" y="324"/>
                      </a:moveTo>
                      <a:lnTo>
                        <a:pt x="736" y="324"/>
                      </a:lnTo>
                      <a:cubicBezTo>
                        <a:pt x="734" y="376"/>
                        <a:pt x="712" y="424"/>
                        <a:pt x="676" y="458"/>
                      </a:cubicBezTo>
                      <a:cubicBezTo>
                        <a:pt x="775" y="487"/>
                        <a:pt x="847" y="579"/>
                        <a:pt x="847" y="686"/>
                      </a:cubicBezTo>
                      <a:lnTo>
                        <a:pt x="847" y="736"/>
                      </a:lnTo>
                      <a:cubicBezTo>
                        <a:pt x="977" y="732"/>
                        <a:pt x="1052" y="695"/>
                        <a:pt x="1057" y="692"/>
                      </a:cubicBezTo>
                      <a:lnTo>
                        <a:pt x="1067" y="687"/>
                      </a:lnTo>
                      <a:lnTo>
                        <a:pt x="1068" y="687"/>
                      </a:lnTo>
                      <a:lnTo>
                        <a:pt x="1068" y="524"/>
                      </a:lnTo>
                      <a:cubicBezTo>
                        <a:pt x="1068" y="414"/>
                        <a:pt x="978" y="324"/>
                        <a:pt x="868" y="324"/>
                      </a:cubicBezTo>
                      <a:close/>
                      <a:moveTo>
                        <a:pt x="267" y="313"/>
                      </a:moveTo>
                      <a:cubicBezTo>
                        <a:pt x="298" y="313"/>
                        <a:pt x="326" y="304"/>
                        <a:pt x="350" y="289"/>
                      </a:cubicBezTo>
                      <a:cubicBezTo>
                        <a:pt x="358" y="239"/>
                        <a:pt x="385" y="195"/>
                        <a:pt x="423" y="165"/>
                      </a:cubicBezTo>
                      <a:cubicBezTo>
                        <a:pt x="424" y="162"/>
                        <a:pt x="424" y="159"/>
                        <a:pt x="424" y="156"/>
                      </a:cubicBezTo>
                      <a:cubicBezTo>
                        <a:pt x="424" y="70"/>
                        <a:pt x="354" y="0"/>
                        <a:pt x="267" y="0"/>
                      </a:cubicBezTo>
                      <a:cubicBezTo>
                        <a:pt x="181" y="0"/>
                        <a:pt x="110" y="70"/>
                        <a:pt x="110" y="156"/>
                      </a:cubicBezTo>
                      <a:cubicBezTo>
                        <a:pt x="110" y="243"/>
                        <a:pt x="181" y="313"/>
                        <a:pt x="267" y="313"/>
                      </a:cubicBezTo>
                      <a:close/>
                      <a:moveTo>
                        <a:pt x="408" y="458"/>
                      </a:moveTo>
                      <a:cubicBezTo>
                        <a:pt x="372" y="424"/>
                        <a:pt x="350" y="377"/>
                        <a:pt x="348" y="324"/>
                      </a:cubicBezTo>
                      <a:cubicBezTo>
                        <a:pt x="343" y="324"/>
                        <a:pt x="339" y="324"/>
                        <a:pt x="334" y="324"/>
                      </a:cubicBezTo>
                      <a:lnTo>
                        <a:pt x="201" y="324"/>
                      </a:lnTo>
                      <a:cubicBezTo>
                        <a:pt x="90" y="324"/>
                        <a:pt x="0" y="414"/>
                        <a:pt x="0" y="524"/>
                      </a:cubicBezTo>
                      <a:lnTo>
                        <a:pt x="0" y="687"/>
                      </a:lnTo>
                      <a:lnTo>
                        <a:pt x="0" y="689"/>
                      </a:lnTo>
                      <a:lnTo>
                        <a:pt x="12" y="693"/>
                      </a:lnTo>
                      <a:cubicBezTo>
                        <a:pt x="96" y="719"/>
                        <a:pt x="172" y="732"/>
                        <a:pt x="238" y="735"/>
                      </a:cubicBezTo>
                      <a:lnTo>
                        <a:pt x="238" y="686"/>
                      </a:lnTo>
                      <a:cubicBezTo>
                        <a:pt x="238" y="579"/>
                        <a:pt x="309" y="487"/>
                        <a:pt x="408" y="45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828343">
                    <a:lnSpc>
                      <a:spcPct val="150000"/>
                    </a:lnSpc>
                  </a:pPr>
                  <a:endParaRPr lang="en-GB" sz="3599" kern="0" dirty="0">
                    <a:solidFill>
                      <a:sysClr val="windowText" lastClr="000000"/>
                    </a:solidFill>
                  </a:endParaRPr>
                </a:p>
              </p:txBody>
            </p:sp>
          </p:grpSp>
          <p:grpSp>
            <p:nvGrpSpPr>
              <p:cNvPr id="139" name="išļîḍê">
                <a:extLst>
                  <a:ext uri="{FF2B5EF4-FFF2-40B4-BE49-F238E27FC236}">
                    <a16:creationId xmlns:a16="http://schemas.microsoft.com/office/drawing/2014/main" id="{ADFB5319-0F23-45EC-8ED0-487E70ABE8AF}"/>
                  </a:ext>
                </a:extLst>
              </p:cNvPr>
              <p:cNvGrpSpPr/>
              <p:nvPr/>
            </p:nvGrpSpPr>
            <p:grpSpPr>
              <a:xfrm>
                <a:off x="5891613" y="1435674"/>
                <a:ext cx="577564" cy="577564"/>
                <a:chOff x="5638492" y="2659810"/>
                <a:chExt cx="577564" cy="577564"/>
              </a:xfrm>
            </p:grpSpPr>
            <p:sp>
              <p:nvSpPr>
                <p:cNvPr id="140" name="íšľiďé">
                  <a:extLst>
                    <a:ext uri="{FF2B5EF4-FFF2-40B4-BE49-F238E27FC236}">
                      <a16:creationId xmlns:a16="http://schemas.microsoft.com/office/drawing/2014/main" id="{EA7696AF-70E6-4777-80C0-E31FE62E3E82}"/>
                    </a:ext>
                  </a:extLst>
                </p:cNvPr>
                <p:cNvSpPr/>
                <p:nvPr/>
              </p:nvSpPr>
              <p:spPr>
                <a:xfrm rot="8100000">
                  <a:off x="5638492" y="2659810"/>
                  <a:ext cx="577564" cy="577564"/>
                </a:xfrm>
                <a:prstGeom prst="teardrop">
                  <a:avLst>
                    <a:gd name="adj" fmla="val 133968"/>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41" name="îŝļíḑe">
                  <a:extLst>
                    <a:ext uri="{FF2B5EF4-FFF2-40B4-BE49-F238E27FC236}">
                      <a16:creationId xmlns:a16="http://schemas.microsoft.com/office/drawing/2014/main" id="{2ADB6B2A-3AAF-4BFD-8BBB-3E7B9E43174E}"/>
                    </a:ext>
                  </a:extLst>
                </p:cNvPr>
                <p:cNvSpPr/>
                <p:nvPr/>
              </p:nvSpPr>
              <p:spPr bwMode="auto">
                <a:xfrm>
                  <a:off x="5737128" y="2729029"/>
                  <a:ext cx="380293" cy="379719"/>
                </a:xfrm>
                <a:custGeom>
                  <a:avLst/>
                  <a:gdLst>
                    <a:gd name="connsiteX0" fmla="*/ 429252 w 607639"/>
                    <a:gd name="connsiteY0" fmla="*/ 488031 h 606722"/>
                    <a:gd name="connsiteX1" fmla="*/ 508562 w 607639"/>
                    <a:gd name="connsiteY1" fmla="*/ 488031 h 606722"/>
                    <a:gd name="connsiteX2" fmla="*/ 528323 w 607639"/>
                    <a:gd name="connsiteY2" fmla="*/ 507834 h 606722"/>
                    <a:gd name="connsiteX3" fmla="*/ 508562 w 607639"/>
                    <a:gd name="connsiteY3" fmla="*/ 527548 h 606722"/>
                    <a:gd name="connsiteX4" fmla="*/ 429252 w 607639"/>
                    <a:gd name="connsiteY4" fmla="*/ 527548 h 606722"/>
                    <a:gd name="connsiteX5" fmla="*/ 409491 w 607639"/>
                    <a:gd name="connsiteY5" fmla="*/ 507834 h 606722"/>
                    <a:gd name="connsiteX6" fmla="*/ 429252 w 607639"/>
                    <a:gd name="connsiteY6" fmla="*/ 488031 h 606722"/>
                    <a:gd name="connsiteX7" fmla="*/ 264145 w 607639"/>
                    <a:gd name="connsiteY7" fmla="*/ 488031 h 606722"/>
                    <a:gd name="connsiteX8" fmla="*/ 343354 w 607639"/>
                    <a:gd name="connsiteY8" fmla="*/ 488031 h 606722"/>
                    <a:gd name="connsiteX9" fmla="*/ 363201 w 607639"/>
                    <a:gd name="connsiteY9" fmla="*/ 507834 h 606722"/>
                    <a:gd name="connsiteX10" fmla="*/ 343354 w 607639"/>
                    <a:gd name="connsiteY10" fmla="*/ 527548 h 606722"/>
                    <a:gd name="connsiteX11" fmla="*/ 264145 w 607639"/>
                    <a:gd name="connsiteY11" fmla="*/ 527548 h 606722"/>
                    <a:gd name="connsiteX12" fmla="*/ 244298 w 607639"/>
                    <a:gd name="connsiteY12" fmla="*/ 507834 h 606722"/>
                    <a:gd name="connsiteX13" fmla="*/ 264145 w 607639"/>
                    <a:gd name="connsiteY13" fmla="*/ 488031 h 606722"/>
                    <a:gd name="connsiteX14" fmla="*/ 99092 w 607639"/>
                    <a:gd name="connsiteY14" fmla="*/ 488031 h 606722"/>
                    <a:gd name="connsiteX15" fmla="*/ 178301 w 607639"/>
                    <a:gd name="connsiteY15" fmla="*/ 488031 h 606722"/>
                    <a:gd name="connsiteX16" fmla="*/ 198148 w 607639"/>
                    <a:gd name="connsiteY16" fmla="*/ 507834 h 606722"/>
                    <a:gd name="connsiteX17" fmla="*/ 178301 w 607639"/>
                    <a:gd name="connsiteY17" fmla="*/ 527548 h 606722"/>
                    <a:gd name="connsiteX18" fmla="*/ 99092 w 607639"/>
                    <a:gd name="connsiteY18" fmla="*/ 527548 h 606722"/>
                    <a:gd name="connsiteX19" fmla="*/ 79245 w 607639"/>
                    <a:gd name="connsiteY19" fmla="*/ 507834 h 606722"/>
                    <a:gd name="connsiteX20" fmla="*/ 99092 w 607639"/>
                    <a:gd name="connsiteY20" fmla="*/ 488031 h 606722"/>
                    <a:gd name="connsiteX21" fmla="*/ 429252 w 607639"/>
                    <a:gd name="connsiteY21" fmla="*/ 408927 h 606722"/>
                    <a:gd name="connsiteX22" fmla="*/ 508562 w 607639"/>
                    <a:gd name="connsiteY22" fmla="*/ 408927 h 606722"/>
                    <a:gd name="connsiteX23" fmla="*/ 528323 w 607639"/>
                    <a:gd name="connsiteY23" fmla="*/ 428641 h 606722"/>
                    <a:gd name="connsiteX24" fmla="*/ 508562 w 607639"/>
                    <a:gd name="connsiteY24" fmla="*/ 448444 h 606722"/>
                    <a:gd name="connsiteX25" fmla="*/ 429252 w 607639"/>
                    <a:gd name="connsiteY25" fmla="*/ 448444 h 606722"/>
                    <a:gd name="connsiteX26" fmla="*/ 409491 w 607639"/>
                    <a:gd name="connsiteY26" fmla="*/ 428641 h 606722"/>
                    <a:gd name="connsiteX27" fmla="*/ 429252 w 607639"/>
                    <a:gd name="connsiteY27" fmla="*/ 408927 h 606722"/>
                    <a:gd name="connsiteX28" fmla="*/ 264145 w 607639"/>
                    <a:gd name="connsiteY28" fmla="*/ 408927 h 606722"/>
                    <a:gd name="connsiteX29" fmla="*/ 343354 w 607639"/>
                    <a:gd name="connsiteY29" fmla="*/ 408927 h 606722"/>
                    <a:gd name="connsiteX30" fmla="*/ 363201 w 607639"/>
                    <a:gd name="connsiteY30" fmla="*/ 428641 h 606722"/>
                    <a:gd name="connsiteX31" fmla="*/ 343354 w 607639"/>
                    <a:gd name="connsiteY31" fmla="*/ 448444 h 606722"/>
                    <a:gd name="connsiteX32" fmla="*/ 264145 w 607639"/>
                    <a:gd name="connsiteY32" fmla="*/ 448444 h 606722"/>
                    <a:gd name="connsiteX33" fmla="*/ 244298 w 607639"/>
                    <a:gd name="connsiteY33" fmla="*/ 428641 h 606722"/>
                    <a:gd name="connsiteX34" fmla="*/ 264145 w 607639"/>
                    <a:gd name="connsiteY34" fmla="*/ 408927 h 606722"/>
                    <a:gd name="connsiteX35" fmla="*/ 99092 w 607639"/>
                    <a:gd name="connsiteY35" fmla="*/ 408927 h 606722"/>
                    <a:gd name="connsiteX36" fmla="*/ 178301 w 607639"/>
                    <a:gd name="connsiteY36" fmla="*/ 408927 h 606722"/>
                    <a:gd name="connsiteX37" fmla="*/ 198148 w 607639"/>
                    <a:gd name="connsiteY37" fmla="*/ 428641 h 606722"/>
                    <a:gd name="connsiteX38" fmla="*/ 178301 w 607639"/>
                    <a:gd name="connsiteY38" fmla="*/ 448444 h 606722"/>
                    <a:gd name="connsiteX39" fmla="*/ 99092 w 607639"/>
                    <a:gd name="connsiteY39" fmla="*/ 448444 h 606722"/>
                    <a:gd name="connsiteX40" fmla="*/ 79245 w 607639"/>
                    <a:gd name="connsiteY40" fmla="*/ 428641 h 606722"/>
                    <a:gd name="connsiteX41" fmla="*/ 99092 w 607639"/>
                    <a:gd name="connsiteY41" fmla="*/ 408927 h 606722"/>
                    <a:gd name="connsiteX42" fmla="*/ 429252 w 607639"/>
                    <a:gd name="connsiteY42" fmla="*/ 329752 h 606722"/>
                    <a:gd name="connsiteX43" fmla="*/ 508562 w 607639"/>
                    <a:gd name="connsiteY43" fmla="*/ 329752 h 606722"/>
                    <a:gd name="connsiteX44" fmla="*/ 528323 w 607639"/>
                    <a:gd name="connsiteY44" fmla="*/ 349555 h 606722"/>
                    <a:gd name="connsiteX45" fmla="*/ 508562 w 607639"/>
                    <a:gd name="connsiteY45" fmla="*/ 369269 h 606722"/>
                    <a:gd name="connsiteX46" fmla="*/ 429252 w 607639"/>
                    <a:gd name="connsiteY46" fmla="*/ 369269 h 606722"/>
                    <a:gd name="connsiteX47" fmla="*/ 409491 w 607639"/>
                    <a:gd name="connsiteY47" fmla="*/ 349555 h 606722"/>
                    <a:gd name="connsiteX48" fmla="*/ 429252 w 607639"/>
                    <a:gd name="connsiteY48" fmla="*/ 329752 h 606722"/>
                    <a:gd name="connsiteX49" fmla="*/ 264145 w 607639"/>
                    <a:gd name="connsiteY49" fmla="*/ 329752 h 606722"/>
                    <a:gd name="connsiteX50" fmla="*/ 343354 w 607639"/>
                    <a:gd name="connsiteY50" fmla="*/ 329752 h 606722"/>
                    <a:gd name="connsiteX51" fmla="*/ 363201 w 607639"/>
                    <a:gd name="connsiteY51" fmla="*/ 349555 h 606722"/>
                    <a:gd name="connsiteX52" fmla="*/ 343354 w 607639"/>
                    <a:gd name="connsiteY52" fmla="*/ 369269 h 606722"/>
                    <a:gd name="connsiteX53" fmla="*/ 264145 w 607639"/>
                    <a:gd name="connsiteY53" fmla="*/ 369269 h 606722"/>
                    <a:gd name="connsiteX54" fmla="*/ 244298 w 607639"/>
                    <a:gd name="connsiteY54" fmla="*/ 349555 h 606722"/>
                    <a:gd name="connsiteX55" fmla="*/ 264145 w 607639"/>
                    <a:gd name="connsiteY55" fmla="*/ 329752 h 606722"/>
                    <a:gd name="connsiteX56" fmla="*/ 99092 w 607639"/>
                    <a:gd name="connsiteY56" fmla="*/ 329752 h 606722"/>
                    <a:gd name="connsiteX57" fmla="*/ 178301 w 607639"/>
                    <a:gd name="connsiteY57" fmla="*/ 329752 h 606722"/>
                    <a:gd name="connsiteX58" fmla="*/ 198148 w 607639"/>
                    <a:gd name="connsiteY58" fmla="*/ 349555 h 606722"/>
                    <a:gd name="connsiteX59" fmla="*/ 178301 w 607639"/>
                    <a:gd name="connsiteY59" fmla="*/ 369269 h 606722"/>
                    <a:gd name="connsiteX60" fmla="*/ 99092 w 607639"/>
                    <a:gd name="connsiteY60" fmla="*/ 369269 h 606722"/>
                    <a:gd name="connsiteX61" fmla="*/ 79245 w 607639"/>
                    <a:gd name="connsiteY61" fmla="*/ 349555 h 606722"/>
                    <a:gd name="connsiteX62" fmla="*/ 99092 w 607639"/>
                    <a:gd name="connsiteY62" fmla="*/ 329752 h 606722"/>
                    <a:gd name="connsiteX63" fmla="*/ 39607 w 607639"/>
                    <a:gd name="connsiteY63" fmla="*/ 290164 h 606722"/>
                    <a:gd name="connsiteX64" fmla="*/ 39607 w 607639"/>
                    <a:gd name="connsiteY64" fmla="*/ 547356 h 606722"/>
                    <a:gd name="connsiteX65" fmla="*/ 59456 w 607639"/>
                    <a:gd name="connsiteY65" fmla="*/ 567086 h 606722"/>
                    <a:gd name="connsiteX66" fmla="*/ 548184 w 607639"/>
                    <a:gd name="connsiteY66" fmla="*/ 567086 h 606722"/>
                    <a:gd name="connsiteX67" fmla="*/ 567943 w 607639"/>
                    <a:gd name="connsiteY67" fmla="*/ 547356 h 606722"/>
                    <a:gd name="connsiteX68" fmla="*/ 567943 w 607639"/>
                    <a:gd name="connsiteY68" fmla="*/ 290164 h 606722"/>
                    <a:gd name="connsiteX69" fmla="*/ 59456 w 607639"/>
                    <a:gd name="connsiteY69" fmla="*/ 118732 h 606722"/>
                    <a:gd name="connsiteX70" fmla="*/ 39607 w 607639"/>
                    <a:gd name="connsiteY70" fmla="*/ 138461 h 606722"/>
                    <a:gd name="connsiteX71" fmla="*/ 39607 w 607639"/>
                    <a:gd name="connsiteY71" fmla="*/ 250616 h 606722"/>
                    <a:gd name="connsiteX72" fmla="*/ 567943 w 607639"/>
                    <a:gd name="connsiteY72" fmla="*/ 250616 h 606722"/>
                    <a:gd name="connsiteX73" fmla="*/ 567943 w 607639"/>
                    <a:gd name="connsiteY73" fmla="*/ 138461 h 606722"/>
                    <a:gd name="connsiteX74" fmla="*/ 548184 w 607639"/>
                    <a:gd name="connsiteY74" fmla="*/ 118732 h 606722"/>
                    <a:gd name="connsiteX75" fmla="*/ 528335 w 607639"/>
                    <a:gd name="connsiteY75" fmla="*/ 118732 h 606722"/>
                    <a:gd name="connsiteX76" fmla="*/ 528335 w 607639"/>
                    <a:gd name="connsiteY76" fmla="*/ 138461 h 606722"/>
                    <a:gd name="connsiteX77" fmla="*/ 468880 w 607639"/>
                    <a:gd name="connsiteY77" fmla="*/ 197827 h 606722"/>
                    <a:gd name="connsiteX78" fmla="*/ 409513 w 607639"/>
                    <a:gd name="connsiteY78" fmla="*/ 138461 h 606722"/>
                    <a:gd name="connsiteX79" fmla="*/ 409513 w 607639"/>
                    <a:gd name="connsiteY79" fmla="*/ 118732 h 606722"/>
                    <a:gd name="connsiteX80" fmla="*/ 198126 w 607639"/>
                    <a:gd name="connsiteY80" fmla="*/ 118732 h 606722"/>
                    <a:gd name="connsiteX81" fmla="*/ 198126 w 607639"/>
                    <a:gd name="connsiteY81" fmla="*/ 138461 h 606722"/>
                    <a:gd name="connsiteX82" fmla="*/ 138670 w 607639"/>
                    <a:gd name="connsiteY82" fmla="*/ 197827 h 606722"/>
                    <a:gd name="connsiteX83" fmla="*/ 79215 w 607639"/>
                    <a:gd name="connsiteY83" fmla="*/ 138461 h 606722"/>
                    <a:gd name="connsiteX84" fmla="*/ 79215 w 607639"/>
                    <a:gd name="connsiteY84" fmla="*/ 118732 h 606722"/>
                    <a:gd name="connsiteX85" fmla="*/ 468880 w 607639"/>
                    <a:gd name="connsiteY85" fmla="*/ 39548 h 606722"/>
                    <a:gd name="connsiteX86" fmla="*/ 449121 w 607639"/>
                    <a:gd name="connsiteY86" fmla="*/ 59366 h 606722"/>
                    <a:gd name="connsiteX87" fmla="*/ 449121 w 607639"/>
                    <a:gd name="connsiteY87" fmla="*/ 138461 h 606722"/>
                    <a:gd name="connsiteX88" fmla="*/ 468880 w 607639"/>
                    <a:gd name="connsiteY88" fmla="*/ 158279 h 606722"/>
                    <a:gd name="connsiteX89" fmla="*/ 488728 w 607639"/>
                    <a:gd name="connsiteY89" fmla="*/ 138461 h 606722"/>
                    <a:gd name="connsiteX90" fmla="*/ 488728 w 607639"/>
                    <a:gd name="connsiteY90" fmla="*/ 59366 h 606722"/>
                    <a:gd name="connsiteX91" fmla="*/ 468880 w 607639"/>
                    <a:gd name="connsiteY91" fmla="*/ 39548 h 606722"/>
                    <a:gd name="connsiteX92" fmla="*/ 138670 w 607639"/>
                    <a:gd name="connsiteY92" fmla="*/ 39548 h 606722"/>
                    <a:gd name="connsiteX93" fmla="*/ 118911 w 607639"/>
                    <a:gd name="connsiteY93" fmla="*/ 59366 h 606722"/>
                    <a:gd name="connsiteX94" fmla="*/ 118911 w 607639"/>
                    <a:gd name="connsiteY94" fmla="*/ 138461 h 606722"/>
                    <a:gd name="connsiteX95" fmla="*/ 138670 w 607639"/>
                    <a:gd name="connsiteY95" fmla="*/ 158279 h 606722"/>
                    <a:gd name="connsiteX96" fmla="*/ 158518 w 607639"/>
                    <a:gd name="connsiteY96" fmla="*/ 138461 h 606722"/>
                    <a:gd name="connsiteX97" fmla="*/ 158518 w 607639"/>
                    <a:gd name="connsiteY97" fmla="*/ 59366 h 606722"/>
                    <a:gd name="connsiteX98" fmla="*/ 138670 w 607639"/>
                    <a:gd name="connsiteY98" fmla="*/ 39548 h 606722"/>
                    <a:gd name="connsiteX99" fmla="*/ 138670 w 607639"/>
                    <a:gd name="connsiteY99" fmla="*/ 0 h 606722"/>
                    <a:gd name="connsiteX100" fmla="*/ 198126 w 607639"/>
                    <a:gd name="connsiteY100" fmla="*/ 59366 h 606722"/>
                    <a:gd name="connsiteX101" fmla="*/ 198126 w 607639"/>
                    <a:gd name="connsiteY101" fmla="*/ 79095 h 606722"/>
                    <a:gd name="connsiteX102" fmla="*/ 409513 w 607639"/>
                    <a:gd name="connsiteY102" fmla="*/ 79095 h 606722"/>
                    <a:gd name="connsiteX103" fmla="*/ 409513 w 607639"/>
                    <a:gd name="connsiteY103" fmla="*/ 59366 h 606722"/>
                    <a:gd name="connsiteX104" fmla="*/ 468880 w 607639"/>
                    <a:gd name="connsiteY104" fmla="*/ 0 h 606722"/>
                    <a:gd name="connsiteX105" fmla="*/ 528335 w 607639"/>
                    <a:gd name="connsiteY105" fmla="*/ 59366 h 606722"/>
                    <a:gd name="connsiteX106" fmla="*/ 528335 w 607639"/>
                    <a:gd name="connsiteY106" fmla="*/ 79095 h 606722"/>
                    <a:gd name="connsiteX107" fmla="*/ 548184 w 607639"/>
                    <a:gd name="connsiteY107" fmla="*/ 79095 h 606722"/>
                    <a:gd name="connsiteX108" fmla="*/ 607639 w 607639"/>
                    <a:gd name="connsiteY108" fmla="*/ 138461 h 606722"/>
                    <a:gd name="connsiteX109" fmla="*/ 607639 w 607639"/>
                    <a:gd name="connsiteY109" fmla="*/ 547356 h 606722"/>
                    <a:gd name="connsiteX110" fmla="*/ 548184 w 607639"/>
                    <a:gd name="connsiteY110" fmla="*/ 606722 h 606722"/>
                    <a:gd name="connsiteX111" fmla="*/ 59456 w 607639"/>
                    <a:gd name="connsiteY111" fmla="*/ 606722 h 606722"/>
                    <a:gd name="connsiteX112" fmla="*/ 0 w 607639"/>
                    <a:gd name="connsiteY112" fmla="*/ 547356 h 606722"/>
                    <a:gd name="connsiteX113" fmla="*/ 0 w 607639"/>
                    <a:gd name="connsiteY113" fmla="*/ 138461 h 606722"/>
                    <a:gd name="connsiteX114" fmla="*/ 59456 w 607639"/>
                    <a:gd name="connsiteY114" fmla="*/ 79095 h 606722"/>
                    <a:gd name="connsiteX115" fmla="*/ 79215 w 607639"/>
                    <a:gd name="connsiteY115" fmla="*/ 79095 h 606722"/>
                    <a:gd name="connsiteX116" fmla="*/ 79215 w 607639"/>
                    <a:gd name="connsiteY116" fmla="*/ 59366 h 606722"/>
                    <a:gd name="connsiteX117" fmla="*/ 138670 w 607639"/>
                    <a:gd name="connsiteY117"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607639" h="606722">
                      <a:moveTo>
                        <a:pt x="429252" y="488031"/>
                      </a:moveTo>
                      <a:lnTo>
                        <a:pt x="508562" y="488031"/>
                      </a:lnTo>
                      <a:cubicBezTo>
                        <a:pt x="519511" y="488031"/>
                        <a:pt x="528323" y="496911"/>
                        <a:pt x="528323" y="507834"/>
                      </a:cubicBezTo>
                      <a:cubicBezTo>
                        <a:pt x="528323" y="518757"/>
                        <a:pt x="519422" y="527548"/>
                        <a:pt x="508562" y="527548"/>
                      </a:cubicBezTo>
                      <a:lnTo>
                        <a:pt x="429252" y="527548"/>
                      </a:lnTo>
                      <a:cubicBezTo>
                        <a:pt x="418303" y="527548"/>
                        <a:pt x="409491" y="518757"/>
                        <a:pt x="409491" y="507834"/>
                      </a:cubicBezTo>
                      <a:cubicBezTo>
                        <a:pt x="409491" y="496911"/>
                        <a:pt x="418303" y="488031"/>
                        <a:pt x="429252" y="488031"/>
                      </a:cubicBezTo>
                      <a:close/>
                      <a:moveTo>
                        <a:pt x="264145" y="488031"/>
                      </a:moveTo>
                      <a:lnTo>
                        <a:pt x="343354" y="488031"/>
                      </a:lnTo>
                      <a:cubicBezTo>
                        <a:pt x="354301" y="488031"/>
                        <a:pt x="363201" y="496911"/>
                        <a:pt x="363201" y="507834"/>
                      </a:cubicBezTo>
                      <a:cubicBezTo>
                        <a:pt x="363201" y="518757"/>
                        <a:pt x="354301" y="527548"/>
                        <a:pt x="343354" y="527548"/>
                      </a:cubicBezTo>
                      <a:lnTo>
                        <a:pt x="264145" y="527548"/>
                      </a:lnTo>
                      <a:cubicBezTo>
                        <a:pt x="253198" y="527548"/>
                        <a:pt x="244298" y="518757"/>
                        <a:pt x="244298" y="507834"/>
                      </a:cubicBezTo>
                      <a:cubicBezTo>
                        <a:pt x="244298" y="496911"/>
                        <a:pt x="253198" y="488031"/>
                        <a:pt x="264145" y="488031"/>
                      </a:cubicBezTo>
                      <a:close/>
                      <a:moveTo>
                        <a:pt x="99092" y="488031"/>
                      </a:moveTo>
                      <a:lnTo>
                        <a:pt x="178301" y="488031"/>
                      </a:lnTo>
                      <a:cubicBezTo>
                        <a:pt x="189248" y="488031"/>
                        <a:pt x="198148" y="496911"/>
                        <a:pt x="198148" y="507834"/>
                      </a:cubicBezTo>
                      <a:cubicBezTo>
                        <a:pt x="198148" y="518757"/>
                        <a:pt x="189248" y="527548"/>
                        <a:pt x="178301" y="527548"/>
                      </a:cubicBezTo>
                      <a:lnTo>
                        <a:pt x="99092" y="527548"/>
                      </a:lnTo>
                      <a:cubicBezTo>
                        <a:pt x="88145" y="527548"/>
                        <a:pt x="79245" y="518757"/>
                        <a:pt x="79245" y="507834"/>
                      </a:cubicBezTo>
                      <a:cubicBezTo>
                        <a:pt x="79245" y="496911"/>
                        <a:pt x="88145" y="488031"/>
                        <a:pt x="99092" y="488031"/>
                      </a:cubicBezTo>
                      <a:close/>
                      <a:moveTo>
                        <a:pt x="429252" y="408927"/>
                      </a:moveTo>
                      <a:lnTo>
                        <a:pt x="508562" y="408927"/>
                      </a:lnTo>
                      <a:cubicBezTo>
                        <a:pt x="519511" y="408927"/>
                        <a:pt x="528323" y="417718"/>
                        <a:pt x="528323" y="428641"/>
                      </a:cubicBezTo>
                      <a:cubicBezTo>
                        <a:pt x="528323" y="439564"/>
                        <a:pt x="519422" y="448444"/>
                        <a:pt x="508562" y="448444"/>
                      </a:cubicBezTo>
                      <a:lnTo>
                        <a:pt x="429252" y="448444"/>
                      </a:lnTo>
                      <a:cubicBezTo>
                        <a:pt x="418303" y="448444"/>
                        <a:pt x="409491" y="439564"/>
                        <a:pt x="409491" y="428641"/>
                      </a:cubicBezTo>
                      <a:cubicBezTo>
                        <a:pt x="409491" y="417718"/>
                        <a:pt x="418303" y="408927"/>
                        <a:pt x="429252" y="408927"/>
                      </a:cubicBezTo>
                      <a:close/>
                      <a:moveTo>
                        <a:pt x="264145" y="408927"/>
                      </a:moveTo>
                      <a:lnTo>
                        <a:pt x="343354" y="408927"/>
                      </a:lnTo>
                      <a:cubicBezTo>
                        <a:pt x="354301" y="408927"/>
                        <a:pt x="363201" y="417718"/>
                        <a:pt x="363201" y="428641"/>
                      </a:cubicBezTo>
                      <a:cubicBezTo>
                        <a:pt x="363201" y="439564"/>
                        <a:pt x="354301" y="448444"/>
                        <a:pt x="343354" y="448444"/>
                      </a:cubicBezTo>
                      <a:lnTo>
                        <a:pt x="264145" y="448444"/>
                      </a:lnTo>
                      <a:cubicBezTo>
                        <a:pt x="253198" y="448444"/>
                        <a:pt x="244298" y="439564"/>
                        <a:pt x="244298" y="428641"/>
                      </a:cubicBezTo>
                      <a:cubicBezTo>
                        <a:pt x="244298" y="417718"/>
                        <a:pt x="253198" y="408927"/>
                        <a:pt x="264145" y="408927"/>
                      </a:cubicBezTo>
                      <a:close/>
                      <a:moveTo>
                        <a:pt x="99092" y="408927"/>
                      </a:moveTo>
                      <a:lnTo>
                        <a:pt x="178301" y="408927"/>
                      </a:lnTo>
                      <a:cubicBezTo>
                        <a:pt x="189248" y="408927"/>
                        <a:pt x="198148" y="417718"/>
                        <a:pt x="198148" y="428641"/>
                      </a:cubicBezTo>
                      <a:cubicBezTo>
                        <a:pt x="198148" y="439564"/>
                        <a:pt x="189248" y="448444"/>
                        <a:pt x="178301" y="448444"/>
                      </a:cubicBezTo>
                      <a:lnTo>
                        <a:pt x="99092" y="448444"/>
                      </a:lnTo>
                      <a:cubicBezTo>
                        <a:pt x="88145" y="448444"/>
                        <a:pt x="79245" y="439564"/>
                        <a:pt x="79245" y="428641"/>
                      </a:cubicBezTo>
                      <a:cubicBezTo>
                        <a:pt x="79245" y="417718"/>
                        <a:pt x="88145" y="408927"/>
                        <a:pt x="99092" y="408927"/>
                      </a:cubicBezTo>
                      <a:close/>
                      <a:moveTo>
                        <a:pt x="429252" y="329752"/>
                      </a:moveTo>
                      <a:lnTo>
                        <a:pt x="508562" y="329752"/>
                      </a:lnTo>
                      <a:cubicBezTo>
                        <a:pt x="519511" y="329752"/>
                        <a:pt x="528323" y="338632"/>
                        <a:pt x="528323" y="349555"/>
                      </a:cubicBezTo>
                      <a:cubicBezTo>
                        <a:pt x="528323" y="360478"/>
                        <a:pt x="519422" y="369269"/>
                        <a:pt x="508562" y="369269"/>
                      </a:cubicBezTo>
                      <a:lnTo>
                        <a:pt x="429252" y="369269"/>
                      </a:lnTo>
                      <a:cubicBezTo>
                        <a:pt x="418303" y="369269"/>
                        <a:pt x="409491" y="360478"/>
                        <a:pt x="409491" y="349555"/>
                      </a:cubicBezTo>
                      <a:cubicBezTo>
                        <a:pt x="409491" y="338632"/>
                        <a:pt x="418303" y="329752"/>
                        <a:pt x="429252" y="329752"/>
                      </a:cubicBezTo>
                      <a:close/>
                      <a:moveTo>
                        <a:pt x="264145" y="329752"/>
                      </a:moveTo>
                      <a:lnTo>
                        <a:pt x="343354" y="329752"/>
                      </a:lnTo>
                      <a:cubicBezTo>
                        <a:pt x="354301" y="329752"/>
                        <a:pt x="363201" y="338632"/>
                        <a:pt x="363201" y="349555"/>
                      </a:cubicBezTo>
                      <a:cubicBezTo>
                        <a:pt x="363201" y="360478"/>
                        <a:pt x="354301" y="369269"/>
                        <a:pt x="343354" y="369269"/>
                      </a:cubicBezTo>
                      <a:lnTo>
                        <a:pt x="264145" y="369269"/>
                      </a:lnTo>
                      <a:cubicBezTo>
                        <a:pt x="253198" y="369269"/>
                        <a:pt x="244298" y="360478"/>
                        <a:pt x="244298" y="349555"/>
                      </a:cubicBezTo>
                      <a:cubicBezTo>
                        <a:pt x="244298" y="338632"/>
                        <a:pt x="253198" y="329752"/>
                        <a:pt x="264145" y="329752"/>
                      </a:cubicBezTo>
                      <a:close/>
                      <a:moveTo>
                        <a:pt x="99092" y="329752"/>
                      </a:moveTo>
                      <a:lnTo>
                        <a:pt x="178301" y="329752"/>
                      </a:lnTo>
                      <a:cubicBezTo>
                        <a:pt x="189248" y="329752"/>
                        <a:pt x="198148" y="338632"/>
                        <a:pt x="198148" y="349555"/>
                      </a:cubicBezTo>
                      <a:cubicBezTo>
                        <a:pt x="198148" y="360478"/>
                        <a:pt x="189248" y="369269"/>
                        <a:pt x="178301" y="369269"/>
                      </a:cubicBezTo>
                      <a:lnTo>
                        <a:pt x="99092" y="369269"/>
                      </a:lnTo>
                      <a:cubicBezTo>
                        <a:pt x="88145" y="369269"/>
                        <a:pt x="79245" y="360478"/>
                        <a:pt x="79245" y="349555"/>
                      </a:cubicBezTo>
                      <a:cubicBezTo>
                        <a:pt x="79245" y="338632"/>
                        <a:pt x="88145" y="329752"/>
                        <a:pt x="99092" y="329752"/>
                      </a:cubicBezTo>
                      <a:close/>
                      <a:moveTo>
                        <a:pt x="39607" y="290164"/>
                      </a:moveTo>
                      <a:lnTo>
                        <a:pt x="39607" y="547356"/>
                      </a:lnTo>
                      <a:cubicBezTo>
                        <a:pt x="39607" y="558287"/>
                        <a:pt x="48508" y="567086"/>
                        <a:pt x="59456" y="567086"/>
                      </a:cubicBezTo>
                      <a:lnTo>
                        <a:pt x="548184" y="567086"/>
                      </a:lnTo>
                      <a:cubicBezTo>
                        <a:pt x="559131" y="567086"/>
                        <a:pt x="567943" y="558287"/>
                        <a:pt x="567943" y="547356"/>
                      </a:cubicBezTo>
                      <a:lnTo>
                        <a:pt x="567943" y="290164"/>
                      </a:lnTo>
                      <a:close/>
                      <a:moveTo>
                        <a:pt x="59456" y="118732"/>
                      </a:moveTo>
                      <a:cubicBezTo>
                        <a:pt x="48508" y="118732"/>
                        <a:pt x="39607" y="127619"/>
                        <a:pt x="39607" y="138461"/>
                      </a:cubicBezTo>
                      <a:lnTo>
                        <a:pt x="39607" y="250616"/>
                      </a:lnTo>
                      <a:lnTo>
                        <a:pt x="567943" y="250616"/>
                      </a:lnTo>
                      <a:lnTo>
                        <a:pt x="567943" y="138461"/>
                      </a:lnTo>
                      <a:cubicBezTo>
                        <a:pt x="567943" y="127619"/>
                        <a:pt x="559131" y="118732"/>
                        <a:pt x="548184" y="118732"/>
                      </a:cubicBezTo>
                      <a:lnTo>
                        <a:pt x="528335" y="118732"/>
                      </a:lnTo>
                      <a:lnTo>
                        <a:pt x="528335" y="138461"/>
                      </a:lnTo>
                      <a:cubicBezTo>
                        <a:pt x="528335" y="171254"/>
                        <a:pt x="501723" y="197827"/>
                        <a:pt x="468880" y="197827"/>
                      </a:cubicBezTo>
                      <a:cubicBezTo>
                        <a:pt x="436126" y="197827"/>
                        <a:pt x="409513" y="171254"/>
                        <a:pt x="409513" y="138461"/>
                      </a:cubicBezTo>
                      <a:lnTo>
                        <a:pt x="409513" y="118732"/>
                      </a:lnTo>
                      <a:lnTo>
                        <a:pt x="198126" y="118732"/>
                      </a:lnTo>
                      <a:lnTo>
                        <a:pt x="198126" y="138461"/>
                      </a:lnTo>
                      <a:cubicBezTo>
                        <a:pt x="198126" y="171254"/>
                        <a:pt x="171513" y="197827"/>
                        <a:pt x="138670" y="197827"/>
                      </a:cubicBezTo>
                      <a:cubicBezTo>
                        <a:pt x="105916" y="197827"/>
                        <a:pt x="79215" y="171254"/>
                        <a:pt x="79215" y="138461"/>
                      </a:cubicBezTo>
                      <a:lnTo>
                        <a:pt x="79215" y="118732"/>
                      </a:lnTo>
                      <a:close/>
                      <a:moveTo>
                        <a:pt x="468880" y="39548"/>
                      </a:moveTo>
                      <a:cubicBezTo>
                        <a:pt x="458021" y="39548"/>
                        <a:pt x="449121" y="48435"/>
                        <a:pt x="449121" y="59366"/>
                      </a:cubicBezTo>
                      <a:lnTo>
                        <a:pt x="449121" y="138461"/>
                      </a:lnTo>
                      <a:cubicBezTo>
                        <a:pt x="449121" y="149392"/>
                        <a:pt x="458021" y="158279"/>
                        <a:pt x="468880" y="158279"/>
                      </a:cubicBezTo>
                      <a:cubicBezTo>
                        <a:pt x="479827" y="158279"/>
                        <a:pt x="488728" y="149392"/>
                        <a:pt x="488728" y="138461"/>
                      </a:cubicBezTo>
                      <a:lnTo>
                        <a:pt x="488728" y="59366"/>
                      </a:lnTo>
                      <a:cubicBezTo>
                        <a:pt x="488728" y="48435"/>
                        <a:pt x="479827" y="39548"/>
                        <a:pt x="468880" y="39548"/>
                      </a:cubicBezTo>
                      <a:close/>
                      <a:moveTo>
                        <a:pt x="138670" y="39548"/>
                      </a:moveTo>
                      <a:cubicBezTo>
                        <a:pt x="127812" y="39548"/>
                        <a:pt x="118911" y="48435"/>
                        <a:pt x="118911" y="59366"/>
                      </a:cubicBezTo>
                      <a:lnTo>
                        <a:pt x="118911" y="138461"/>
                      </a:lnTo>
                      <a:cubicBezTo>
                        <a:pt x="118911" y="149392"/>
                        <a:pt x="127812" y="158279"/>
                        <a:pt x="138670" y="158279"/>
                      </a:cubicBezTo>
                      <a:cubicBezTo>
                        <a:pt x="149618" y="158279"/>
                        <a:pt x="158518" y="149392"/>
                        <a:pt x="158518" y="138461"/>
                      </a:cubicBezTo>
                      <a:lnTo>
                        <a:pt x="158518" y="59366"/>
                      </a:lnTo>
                      <a:cubicBezTo>
                        <a:pt x="158518" y="48435"/>
                        <a:pt x="149618" y="39548"/>
                        <a:pt x="138670" y="39548"/>
                      </a:cubicBezTo>
                      <a:close/>
                      <a:moveTo>
                        <a:pt x="138670" y="0"/>
                      </a:moveTo>
                      <a:cubicBezTo>
                        <a:pt x="171513" y="0"/>
                        <a:pt x="198126" y="26661"/>
                        <a:pt x="198126" y="59366"/>
                      </a:cubicBezTo>
                      <a:lnTo>
                        <a:pt x="198126" y="79095"/>
                      </a:lnTo>
                      <a:lnTo>
                        <a:pt x="409513" y="79095"/>
                      </a:lnTo>
                      <a:lnTo>
                        <a:pt x="409513" y="59366"/>
                      </a:lnTo>
                      <a:cubicBezTo>
                        <a:pt x="409513" y="26661"/>
                        <a:pt x="436126" y="0"/>
                        <a:pt x="468880" y="0"/>
                      </a:cubicBezTo>
                      <a:cubicBezTo>
                        <a:pt x="501723" y="0"/>
                        <a:pt x="528335" y="26661"/>
                        <a:pt x="528335" y="59366"/>
                      </a:cubicBezTo>
                      <a:lnTo>
                        <a:pt x="528335" y="79095"/>
                      </a:lnTo>
                      <a:lnTo>
                        <a:pt x="548184" y="79095"/>
                      </a:lnTo>
                      <a:cubicBezTo>
                        <a:pt x="580937" y="79095"/>
                        <a:pt x="607639" y="105756"/>
                        <a:pt x="607639" y="138461"/>
                      </a:cubicBezTo>
                      <a:lnTo>
                        <a:pt x="607639" y="547356"/>
                      </a:lnTo>
                      <a:cubicBezTo>
                        <a:pt x="607639" y="580061"/>
                        <a:pt x="580937" y="606722"/>
                        <a:pt x="548184" y="606722"/>
                      </a:cubicBezTo>
                      <a:lnTo>
                        <a:pt x="59456" y="606722"/>
                      </a:lnTo>
                      <a:cubicBezTo>
                        <a:pt x="26702" y="606722"/>
                        <a:pt x="0" y="580061"/>
                        <a:pt x="0" y="547356"/>
                      </a:cubicBezTo>
                      <a:lnTo>
                        <a:pt x="0" y="138461"/>
                      </a:lnTo>
                      <a:cubicBezTo>
                        <a:pt x="0" y="105756"/>
                        <a:pt x="26702" y="79095"/>
                        <a:pt x="59456" y="79095"/>
                      </a:cubicBezTo>
                      <a:lnTo>
                        <a:pt x="79215" y="79095"/>
                      </a:lnTo>
                      <a:lnTo>
                        <a:pt x="79215" y="59366"/>
                      </a:lnTo>
                      <a:cubicBezTo>
                        <a:pt x="79215" y="26661"/>
                        <a:pt x="105916" y="0"/>
                        <a:pt x="138670"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p>
              </p:txBody>
            </p:sp>
          </p:grpSp>
        </p:grpSp>
        <p:cxnSp>
          <p:nvCxnSpPr>
            <p:cNvPr id="124" name="直接连接符 123">
              <a:extLst>
                <a:ext uri="{FF2B5EF4-FFF2-40B4-BE49-F238E27FC236}">
                  <a16:creationId xmlns:a16="http://schemas.microsoft.com/office/drawing/2014/main" id="{085AC8C6-3750-4CE1-9CF7-176E0E0CE92C}"/>
                </a:ext>
              </a:extLst>
            </p:cNvPr>
            <p:cNvCxnSpPr/>
            <p:nvPr/>
          </p:nvCxnSpPr>
          <p:spPr>
            <a:xfrm>
              <a:off x="4298478" y="3986731"/>
              <a:ext cx="0" cy="1584176"/>
            </a:xfrm>
            <a:prstGeom prst="line">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125" name="直接连接符 124">
              <a:extLst>
                <a:ext uri="{FF2B5EF4-FFF2-40B4-BE49-F238E27FC236}">
                  <a16:creationId xmlns:a16="http://schemas.microsoft.com/office/drawing/2014/main" id="{75CC53F7-C488-4698-8F9D-0C68123DEE36}"/>
                </a:ext>
              </a:extLst>
            </p:cNvPr>
            <p:cNvCxnSpPr/>
            <p:nvPr/>
          </p:nvCxnSpPr>
          <p:spPr>
            <a:xfrm>
              <a:off x="7918296" y="3986731"/>
              <a:ext cx="0" cy="1584176"/>
            </a:xfrm>
            <a:prstGeom prst="line">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nvGrpSpPr>
            <p:cNvPr id="126" name="îṧľiḍé">
              <a:extLst>
                <a:ext uri="{FF2B5EF4-FFF2-40B4-BE49-F238E27FC236}">
                  <a16:creationId xmlns:a16="http://schemas.microsoft.com/office/drawing/2014/main" id="{7FC04BC4-F5A1-425B-A953-0D3068CA81CD}"/>
                </a:ext>
              </a:extLst>
            </p:cNvPr>
            <p:cNvGrpSpPr/>
            <p:nvPr/>
          </p:nvGrpSpPr>
          <p:grpSpPr>
            <a:xfrm>
              <a:off x="1317685" y="4031968"/>
              <a:ext cx="2486446" cy="1270251"/>
              <a:chOff x="719137" y="756094"/>
              <a:chExt cx="5709037" cy="1270251"/>
            </a:xfrm>
          </p:grpSpPr>
          <p:sp>
            <p:nvSpPr>
              <p:cNvPr id="133" name="ï$1íḓé">
                <a:extLst>
                  <a:ext uri="{FF2B5EF4-FFF2-40B4-BE49-F238E27FC236}">
                    <a16:creationId xmlns:a16="http://schemas.microsoft.com/office/drawing/2014/main" id="{9AE840D4-ACB1-4DAC-9D86-4FC15C095D56}"/>
                  </a:ext>
                </a:extLst>
              </p:cNvPr>
              <p:cNvSpPr/>
              <p:nvPr/>
            </p:nvSpPr>
            <p:spPr bwMode="auto">
              <a:xfrm>
                <a:off x="719137" y="1421350"/>
                <a:ext cx="5376847" cy="60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r>
                  <a:rPr lang="zh-CN" altLang="en-US" sz="1600" dirty="0" smtClean="0"/>
                  <a:t>项目上线</a:t>
                </a:r>
                <a:r>
                  <a:rPr lang="en-US" altLang="zh-CN" sz="1600" dirty="0" smtClean="0"/>
                  <a:t>7</a:t>
                </a:r>
                <a:r>
                  <a:rPr lang="zh-CN" altLang="en-US" sz="1600" dirty="0" smtClean="0"/>
                  <a:t>天接到投诉</a:t>
                </a:r>
                <a:endParaRPr lang="en-US" altLang="zh-CN" sz="1600" dirty="0"/>
              </a:p>
            </p:txBody>
          </p:sp>
          <p:sp>
            <p:nvSpPr>
              <p:cNvPr id="134" name="iṩḻïdè">
                <a:extLst>
                  <a:ext uri="{FF2B5EF4-FFF2-40B4-BE49-F238E27FC236}">
                    <a16:creationId xmlns:a16="http://schemas.microsoft.com/office/drawing/2014/main" id="{9D167955-240C-4189-9B71-879456245C12}"/>
                  </a:ext>
                </a:extLst>
              </p:cNvPr>
              <p:cNvSpPr txBox="1"/>
              <p:nvPr/>
            </p:nvSpPr>
            <p:spPr bwMode="auto">
              <a:xfrm>
                <a:off x="1051327" y="756094"/>
                <a:ext cx="5376847"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lnSpc>
                    <a:spcPct val="100000"/>
                  </a:lnSpc>
                  <a:spcBef>
                    <a:spcPct val="0"/>
                  </a:spcBef>
                </a:pPr>
                <a:r>
                  <a:rPr lang="en-US" altLang="zh-CN" sz="3600" b="1" dirty="0" smtClean="0"/>
                  <a:t>7</a:t>
                </a:r>
                <a:r>
                  <a:rPr lang="zh-CN" altLang="en-US" sz="3600" b="1" dirty="0" smtClean="0"/>
                  <a:t>天</a:t>
                </a:r>
                <a:endParaRPr lang="en-US" altLang="zh-CN" sz="3600" b="1" dirty="0"/>
              </a:p>
            </p:txBody>
          </p:sp>
        </p:grpSp>
        <p:grpSp>
          <p:nvGrpSpPr>
            <p:cNvPr id="127" name="í$ḷiḍè">
              <a:extLst>
                <a:ext uri="{FF2B5EF4-FFF2-40B4-BE49-F238E27FC236}">
                  <a16:creationId xmlns:a16="http://schemas.microsoft.com/office/drawing/2014/main" id="{FC2A2F7C-1548-46F7-A424-0973DD6FD892}"/>
                </a:ext>
              </a:extLst>
            </p:cNvPr>
            <p:cNvGrpSpPr/>
            <p:nvPr/>
          </p:nvGrpSpPr>
          <p:grpSpPr>
            <a:xfrm>
              <a:off x="4937503" y="4101784"/>
              <a:ext cx="2413776" cy="1200435"/>
              <a:chOff x="719137" y="825910"/>
              <a:chExt cx="5542182" cy="1200435"/>
            </a:xfrm>
          </p:grpSpPr>
          <p:sp>
            <p:nvSpPr>
              <p:cNvPr id="131" name="íSlîḍe">
                <a:extLst>
                  <a:ext uri="{FF2B5EF4-FFF2-40B4-BE49-F238E27FC236}">
                    <a16:creationId xmlns:a16="http://schemas.microsoft.com/office/drawing/2014/main" id="{D71B226B-5DED-49EC-84A5-26F65BEDC272}"/>
                  </a:ext>
                </a:extLst>
              </p:cNvPr>
              <p:cNvSpPr/>
              <p:nvPr/>
            </p:nvSpPr>
            <p:spPr bwMode="auto">
              <a:xfrm>
                <a:off x="719137" y="1421350"/>
                <a:ext cx="5376847" cy="60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r>
                  <a:rPr lang="zh-CN" altLang="en-US" sz="1600" dirty="0" smtClean="0"/>
                  <a:t>问题闭环周期</a:t>
                </a:r>
                <a:endParaRPr lang="en-US" altLang="zh-CN" sz="1600" dirty="0"/>
              </a:p>
            </p:txBody>
          </p:sp>
          <p:sp>
            <p:nvSpPr>
              <p:cNvPr id="132" name="ï$ḻiḑè">
                <a:extLst>
                  <a:ext uri="{FF2B5EF4-FFF2-40B4-BE49-F238E27FC236}">
                    <a16:creationId xmlns:a16="http://schemas.microsoft.com/office/drawing/2014/main" id="{E0EB7C16-F3CC-4900-B4CC-17DB6B6925EF}"/>
                  </a:ext>
                </a:extLst>
              </p:cNvPr>
              <p:cNvSpPr txBox="1"/>
              <p:nvPr/>
            </p:nvSpPr>
            <p:spPr bwMode="auto">
              <a:xfrm>
                <a:off x="884472" y="825910"/>
                <a:ext cx="5376847"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lnSpc>
                    <a:spcPct val="100000"/>
                  </a:lnSpc>
                  <a:spcBef>
                    <a:spcPct val="0"/>
                  </a:spcBef>
                </a:pPr>
                <a:r>
                  <a:rPr lang="en-US" altLang="zh-CN" sz="3600" b="1" dirty="0" smtClean="0"/>
                  <a:t>3</a:t>
                </a:r>
                <a:r>
                  <a:rPr lang="zh-CN" altLang="en-US" sz="3600" b="1" dirty="0" smtClean="0"/>
                  <a:t>个月</a:t>
                </a:r>
                <a:endParaRPr lang="en-US" altLang="zh-CN" sz="3600" b="1" dirty="0"/>
              </a:p>
            </p:txBody>
          </p:sp>
        </p:grpSp>
        <p:grpSp>
          <p:nvGrpSpPr>
            <p:cNvPr id="128" name="îş1îḍe">
              <a:extLst>
                <a:ext uri="{FF2B5EF4-FFF2-40B4-BE49-F238E27FC236}">
                  <a16:creationId xmlns:a16="http://schemas.microsoft.com/office/drawing/2014/main" id="{EB0BCFC6-E873-45A7-BC28-29CFDCD53A67}"/>
                </a:ext>
              </a:extLst>
            </p:cNvPr>
            <p:cNvGrpSpPr/>
            <p:nvPr/>
          </p:nvGrpSpPr>
          <p:grpSpPr>
            <a:xfrm>
              <a:off x="8485314" y="4101784"/>
              <a:ext cx="2413775" cy="1200435"/>
              <a:chOff x="553804" y="825910"/>
              <a:chExt cx="5542180" cy="1200435"/>
            </a:xfrm>
          </p:grpSpPr>
          <p:sp>
            <p:nvSpPr>
              <p:cNvPr id="129" name="ïṧ1ídê">
                <a:extLst>
                  <a:ext uri="{FF2B5EF4-FFF2-40B4-BE49-F238E27FC236}">
                    <a16:creationId xmlns:a16="http://schemas.microsoft.com/office/drawing/2014/main" id="{2A0865E3-2159-4C6B-89FE-1FBF8581EE51}"/>
                  </a:ext>
                </a:extLst>
              </p:cNvPr>
              <p:cNvSpPr/>
              <p:nvPr/>
            </p:nvSpPr>
            <p:spPr bwMode="auto">
              <a:xfrm>
                <a:off x="719137" y="1421350"/>
                <a:ext cx="5376847" cy="60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r>
                  <a:rPr lang="zh-CN" altLang="en-US" sz="1600" dirty="0" smtClean="0"/>
                  <a:t>影响用户数量</a:t>
                </a:r>
                <a:endParaRPr lang="en-US" altLang="zh-CN" sz="1600" dirty="0"/>
              </a:p>
            </p:txBody>
          </p:sp>
          <p:sp>
            <p:nvSpPr>
              <p:cNvPr id="130" name="íṡliḍe">
                <a:extLst>
                  <a:ext uri="{FF2B5EF4-FFF2-40B4-BE49-F238E27FC236}">
                    <a16:creationId xmlns:a16="http://schemas.microsoft.com/office/drawing/2014/main" id="{C5FE6F0A-A8E3-49A3-BABD-93FE159C41FC}"/>
                  </a:ext>
                </a:extLst>
              </p:cNvPr>
              <p:cNvSpPr txBox="1"/>
              <p:nvPr/>
            </p:nvSpPr>
            <p:spPr bwMode="auto">
              <a:xfrm>
                <a:off x="553804" y="825910"/>
                <a:ext cx="5376847"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lnSpc>
                    <a:spcPct val="100000"/>
                  </a:lnSpc>
                  <a:spcBef>
                    <a:spcPct val="0"/>
                  </a:spcBef>
                </a:pPr>
                <a:r>
                  <a:rPr lang="en-US" altLang="zh-CN" sz="3600" b="1" dirty="0" smtClean="0"/>
                  <a:t>300</a:t>
                </a:r>
                <a:r>
                  <a:rPr lang="zh-CN" altLang="en-US" sz="3600" b="1" dirty="0" smtClean="0"/>
                  <a:t>万</a:t>
                </a:r>
                <a:endParaRPr lang="en-US" altLang="zh-CN" sz="3600" b="1" dirty="0"/>
              </a:p>
            </p:txBody>
          </p:sp>
        </p:grpSp>
      </p:grpSp>
    </p:spTree>
    <p:extLst>
      <p:ext uri="{BB962C8B-B14F-4D97-AF65-F5344CB8AC3E}">
        <p14:creationId xmlns:p14="http://schemas.microsoft.com/office/powerpoint/2010/main" val="7317905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4" name="3619317-1-80">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816372" y="941161"/>
            <a:ext cx="8202840" cy="5468560"/>
          </a:xfrm>
          <a:prstGeom prst="rect">
            <a:avLst/>
          </a:prstGeom>
        </p:spPr>
      </p:pic>
      <p:grpSp>
        <p:nvGrpSpPr>
          <p:cNvPr id="5" name="组合 4">
            <a:extLst>
              <a:ext uri="{FF2B5EF4-FFF2-40B4-BE49-F238E27FC236}">
                <a16:creationId xmlns:a16="http://schemas.microsoft.com/office/drawing/2014/main" id="{0853A8D8-448C-4E50-AD38-219140CD6184}"/>
              </a:ext>
            </a:extLst>
          </p:cNvPr>
          <p:cNvGrpSpPr/>
          <p:nvPr/>
        </p:nvGrpSpPr>
        <p:grpSpPr>
          <a:xfrm>
            <a:off x="669925" y="210537"/>
            <a:ext cx="468000" cy="468000"/>
            <a:chOff x="669925" y="48611"/>
            <a:chExt cx="468000" cy="468000"/>
          </a:xfrm>
        </p:grpSpPr>
        <p:sp>
          <p:nvSpPr>
            <p:cNvPr id="6" name="椭圆 5">
              <a:extLst>
                <a:ext uri="{FF2B5EF4-FFF2-40B4-BE49-F238E27FC236}">
                  <a16:creationId xmlns:a16="http://schemas.microsoft.com/office/drawing/2014/main" id="{18765B3C-06BD-445D-B72B-512E55DEF34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7" name="椭圆 6">
              <a:extLst>
                <a:ext uri="{FF2B5EF4-FFF2-40B4-BE49-F238E27FC236}">
                  <a16:creationId xmlns:a16="http://schemas.microsoft.com/office/drawing/2014/main" id="{A6AA7771-0E3D-4241-9DE3-825324394A29}"/>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grpSp>
      <p:sp>
        <p:nvSpPr>
          <p:cNvPr id="8" name="标题 1">
            <a:extLst>
              <a:ext uri="{FF2B5EF4-FFF2-40B4-BE49-F238E27FC236}">
                <a16:creationId xmlns:a16="http://schemas.microsoft.com/office/drawing/2014/main" id="{62930304-3D14-4FEB-B45D-709CE5948953}"/>
              </a:ext>
            </a:extLst>
          </p:cNvPr>
          <p:cNvSpPr txBox="1">
            <a:spLocks/>
          </p:cNvSpPr>
          <p:nvPr/>
        </p:nvSpPr>
        <p:spPr>
          <a:xfrm>
            <a:off x="1149782" y="198392"/>
            <a:ext cx="8203223" cy="57784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3200" b="0" dirty="0">
                <a:solidFill>
                  <a:schemeClr val="bg1"/>
                </a:solidFill>
                <a:latin typeface="Arial" panose="020B0604020202020204" pitchFamily="34" charset="0"/>
                <a:ea typeface="Microsoft YaHei" panose="020B0503020204020204" pitchFamily="34" charset="-122"/>
                <a:cs typeface="+mn-ea"/>
                <a:sym typeface="Arial" panose="020B0604020202020204" pitchFamily="34" charset="0"/>
              </a:rPr>
              <a:t>案例：阿丽亚娜</a:t>
            </a:r>
            <a:r>
              <a:rPr lang="en-US" altLang="zh-CN" sz="3200" b="0" dirty="0">
                <a:solidFill>
                  <a:schemeClr val="bg1"/>
                </a:solidFill>
                <a:latin typeface="Arial" panose="020B0604020202020204" pitchFamily="34" charset="0"/>
                <a:ea typeface="Microsoft YaHei" panose="020B0503020204020204" pitchFamily="34" charset="-122"/>
                <a:cs typeface="+mn-ea"/>
                <a:sym typeface="Arial" panose="020B0604020202020204" pitchFamily="34" charset="0"/>
              </a:rPr>
              <a:t>5</a:t>
            </a:r>
            <a:r>
              <a:rPr lang="zh-CN" altLang="en-US" sz="3200" b="0" dirty="0">
                <a:solidFill>
                  <a:schemeClr val="bg1"/>
                </a:solidFill>
                <a:latin typeface="Arial" panose="020B0604020202020204" pitchFamily="34" charset="0"/>
                <a:ea typeface="Microsoft YaHei" panose="020B0503020204020204" pitchFamily="34" charset="-122"/>
                <a:cs typeface="+mn-ea"/>
                <a:sym typeface="Arial" panose="020B0604020202020204" pitchFamily="34" charset="0"/>
              </a:rPr>
              <a:t>型火箭软件设计的反思</a:t>
            </a:r>
          </a:p>
        </p:txBody>
      </p:sp>
    </p:spTree>
    <p:extLst>
      <p:ext uri="{BB962C8B-B14F-4D97-AF65-F5344CB8AC3E}">
        <p14:creationId xmlns:p14="http://schemas.microsoft.com/office/powerpoint/2010/main" val="3226855168"/>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4"/>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4"/>
                                        </p:tgtEl>
                                      </p:cBhvr>
                                    </p:cmd>
                                  </p:childTnLst>
                                </p:cTn>
                              </p:par>
                            </p:childTnLst>
                          </p:cTn>
                        </p:par>
                      </p:childTnLst>
                    </p:cTn>
                  </p:par>
                </p:childTnLst>
              </p:cTn>
              <p:nextCondLst>
                <p:cond evt="onClick" delay="0">
                  <p:tgtEl>
                    <p:spTgt spid="4"/>
                  </p:tgtEl>
                </p:cond>
              </p:nextCondLst>
            </p:seq>
            <p:video>
              <p:cMediaNode vol="80000">
                <p:cTn id="7" fill="hold" display="0">
                  <p:stCondLst>
                    <p:cond delay="indefinite"/>
                  </p:stCondLst>
                </p:cTn>
                <p:tgtEl>
                  <p:spTgt spid="4"/>
                </p:tgtEl>
              </p:cMediaNode>
            </p:video>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内容占位符 2"/>
          <p:cNvSpPr txBox="1">
            <a:spLocks/>
          </p:cNvSpPr>
          <p:nvPr/>
        </p:nvSpPr>
        <p:spPr>
          <a:xfrm>
            <a:off x="631169" y="2969426"/>
            <a:ext cx="5035843" cy="1402915"/>
          </a:xfrm>
          <a:prstGeom prst="rect">
            <a:avLst/>
          </a:prstGeom>
        </p:spPr>
        <p:txBody>
          <a:bodyPr>
            <a:noAutofit/>
          </a:bodyPr>
          <a:lst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ltLang="zh-CN" sz="2400" dirty="0">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101" name="文本框 100"/>
          <p:cNvSpPr txBox="1"/>
          <p:nvPr/>
        </p:nvSpPr>
        <p:spPr>
          <a:xfrm>
            <a:off x="1062931" y="1646487"/>
            <a:ext cx="2167581" cy="580415"/>
          </a:xfrm>
          <a:prstGeom prst="rect">
            <a:avLst/>
          </a:prstGeom>
          <a:noFill/>
        </p:spPr>
        <p:txBody>
          <a:bodyPr wrap="none" rtlCol="0">
            <a:spAutoFit/>
          </a:bodyPr>
          <a:lstStyle/>
          <a:p>
            <a:pPr>
              <a:lnSpc>
                <a:spcPct val="150000"/>
              </a:lnSpc>
            </a:pPr>
            <a:r>
              <a:rPr lang="en-US" altLang="zh-CN" sz="2400" b="1" dirty="0" smtClean="0">
                <a:solidFill>
                  <a:srgbClr val="008CD7"/>
                </a:solidFill>
                <a:latin typeface="Arial" panose="020B0604020202020204" pitchFamily="34" charset="0"/>
                <a:ea typeface="Microsoft YaHei" panose="020B0503020204020204" pitchFamily="34" charset="-122"/>
                <a:cs typeface="+mn-ea"/>
                <a:sym typeface="Arial" panose="020B0604020202020204" pitchFamily="34" charset="0"/>
              </a:rPr>
              <a:t>SFMEA</a:t>
            </a:r>
            <a:r>
              <a:rPr lang="zh-CN" altLang="en-US" sz="2400" b="1" dirty="0" smtClean="0">
                <a:solidFill>
                  <a:srgbClr val="008CD7"/>
                </a:solidFill>
                <a:latin typeface="Arial" panose="020B0604020202020204" pitchFamily="34" charset="0"/>
                <a:ea typeface="Microsoft YaHei" panose="020B0503020204020204" pitchFamily="34" charset="-122"/>
                <a:cs typeface="+mn-ea"/>
                <a:sym typeface="Arial" panose="020B0604020202020204" pitchFamily="34" charset="0"/>
              </a:rPr>
              <a:t>的作用</a:t>
            </a:r>
            <a:endParaRPr lang="zh-CN" altLang="en-US" sz="2400" b="1" dirty="0">
              <a:solidFill>
                <a:srgbClr val="008CD7"/>
              </a:solidFill>
            </a:endParaRPr>
          </a:p>
        </p:txBody>
      </p:sp>
      <p:grpSp>
        <p:nvGrpSpPr>
          <p:cNvPr id="18" name="组合 17">
            <a:extLst>
              <a:ext uri="{FF2B5EF4-FFF2-40B4-BE49-F238E27FC236}">
                <a16:creationId xmlns:a16="http://schemas.microsoft.com/office/drawing/2014/main" id="{0853A8D8-448C-4E50-AD38-219140CD6184}"/>
              </a:ext>
            </a:extLst>
          </p:cNvPr>
          <p:cNvGrpSpPr/>
          <p:nvPr/>
        </p:nvGrpSpPr>
        <p:grpSpPr>
          <a:xfrm>
            <a:off x="669925" y="210537"/>
            <a:ext cx="468000" cy="468000"/>
            <a:chOff x="669925" y="48611"/>
            <a:chExt cx="468000" cy="468000"/>
          </a:xfrm>
        </p:grpSpPr>
        <p:sp>
          <p:nvSpPr>
            <p:cNvPr id="19" name="椭圆 18">
              <a:extLst>
                <a:ext uri="{FF2B5EF4-FFF2-40B4-BE49-F238E27FC236}">
                  <a16:creationId xmlns:a16="http://schemas.microsoft.com/office/drawing/2014/main" id="{18765B3C-06BD-445D-B72B-512E55DEF34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20" name="椭圆 19">
              <a:extLst>
                <a:ext uri="{FF2B5EF4-FFF2-40B4-BE49-F238E27FC236}">
                  <a16:creationId xmlns:a16="http://schemas.microsoft.com/office/drawing/2014/main" id="{A6AA7771-0E3D-4241-9DE3-825324394A29}"/>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grpSp>
      <p:sp>
        <p:nvSpPr>
          <p:cNvPr id="21" name="标题 1">
            <a:extLst>
              <a:ext uri="{FF2B5EF4-FFF2-40B4-BE49-F238E27FC236}">
                <a16:creationId xmlns:a16="http://schemas.microsoft.com/office/drawing/2014/main" id="{62930304-3D14-4FEB-B45D-709CE5948953}"/>
              </a:ext>
            </a:extLst>
          </p:cNvPr>
          <p:cNvSpPr txBox="1">
            <a:spLocks/>
          </p:cNvSpPr>
          <p:nvPr/>
        </p:nvSpPr>
        <p:spPr>
          <a:xfrm>
            <a:off x="1149782" y="198392"/>
            <a:ext cx="7347103" cy="57784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en-US" altLang="zh-CN" sz="3200" b="0" dirty="0" smtClean="0">
                <a:latin typeface="Arial" panose="020B0604020202020204" pitchFamily="34" charset="0"/>
                <a:ea typeface="Microsoft YaHei" panose="020B0503020204020204" pitchFamily="34" charset="-122"/>
                <a:cs typeface="+mn-ea"/>
                <a:sym typeface="Arial" panose="020B0604020202020204" pitchFamily="34" charset="0"/>
              </a:rPr>
              <a:t>SFMEA——</a:t>
            </a:r>
            <a:r>
              <a:rPr lang="zh-CN" altLang="en-US" sz="3200" b="0" dirty="0" smtClean="0">
                <a:latin typeface="Arial" panose="020B0604020202020204" pitchFamily="34" charset="0"/>
                <a:ea typeface="Microsoft YaHei" panose="020B0503020204020204" pitchFamily="34" charset="-122"/>
                <a:cs typeface="+mn-ea"/>
                <a:sym typeface="Arial" panose="020B0604020202020204" pitchFamily="34" charset="0"/>
              </a:rPr>
              <a:t>软件失效模式和影响分析</a:t>
            </a:r>
            <a:endParaRPr lang="zh-CN" altLang="en-US" sz="3200" b="0" dirty="0">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22" name="î$ḷîḓê">
            <a:extLst>
              <a:ext uri="{FF2B5EF4-FFF2-40B4-BE49-F238E27FC236}">
                <a16:creationId xmlns:a16="http://schemas.microsoft.com/office/drawing/2014/main" id="{0120662D-08EC-45F4-BE9C-84021ADB4C9A}"/>
              </a:ext>
            </a:extLst>
          </p:cNvPr>
          <p:cNvSpPr/>
          <p:nvPr/>
        </p:nvSpPr>
        <p:spPr bwMode="gray">
          <a:xfrm>
            <a:off x="8173525" y="198392"/>
            <a:ext cx="1506790" cy="480145"/>
          </a:xfrm>
          <a:prstGeom prst="rect">
            <a:avLst/>
          </a:prstGeom>
          <a:solidFill>
            <a:schemeClr val="accent1"/>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a:bodyPr>
          <a:lstStyle/>
          <a:p>
            <a:pPr algn="ctr"/>
            <a:r>
              <a:rPr lang="zh-CN" altLang="en-US" sz="2400" dirty="0" smtClean="0">
                <a:solidFill>
                  <a:schemeClr val="bg1"/>
                </a:solidFill>
              </a:rPr>
              <a:t>正向方法</a:t>
            </a:r>
            <a:endParaRPr lang="en-US" altLang="zh-CN" sz="2400" dirty="0">
              <a:solidFill>
                <a:schemeClr val="bg1"/>
              </a:solidFill>
            </a:endParaRPr>
          </a:p>
        </p:txBody>
      </p:sp>
      <p:sp>
        <p:nvSpPr>
          <p:cNvPr id="23" name="î$ḷîḓê">
            <a:extLst>
              <a:ext uri="{FF2B5EF4-FFF2-40B4-BE49-F238E27FC236}">
                <a16:creationId xmlns:a16="http://schemas.microsoft.com/office/drawing/2014/main" id="{0120662D-08EC-45F4-BE9C-84021ADB4C9A}"/>
              </a:ext>
            </a:extLst>
          </p:cNvPr>
          <p:cNvSpPr/>
          <p:nvPr/>
        </p:nvSpPr>
        <p:spPr bwMode="gray">
          <a:xfrm>
            <a:off x="9712399" y="199746"/>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a:bodyPr>
          <a:lstStyle/>
          <a:p>
            <a:pPr algn="ctr"/>
            <a:r>
              <a:rPr lang="zh-CN" altLang="en-US" sz="2400" dirty="0" smtClean="0">
                <a:solidFill>
                  <a:schemeClr val="bg1"/>
                </a:solidFill>
              </a:rPr>
              <a:t>逆向方法</a:t>
            </a:r>
            <a:endParaRPr lang="en-US" altLang="zh-CN" sz="2400" dirty="0">
              <a:solidFill>
                <a:schemeClr val="bg1"/>
              </a:solidFill>
            </a:endParaRPr>
          </a:p>
        </p:txBody>
      </p:sp>
      <p:grpSp>
        <p:nvGrpSpPr>
          <p:cNvPr id="14" name="组合 13"/>
          <p:cNvGrpSpPr/>
          <p:nvPr/>
        </p:nvGrpSpPr>
        <p:grpSpPr>
          <a:xfrm>
            <a:off x="1150448" y="2831238"/>
            <a:ext cx="7706866" cy="1195332"/>
            <a:chOff x="1038154" y="2879364"/>
            <a:chExt cx="7706866" cy="1195332"/>
          </a:xfrm>
        </p:grpSpPr>
        <p:sp>
          <p:nvSpPr>
            <p:cNvPr id="15" name="矩形 14"/>
            <p:cNvSpPr/>
            <p:nvPr/>
          </p:nvSpPr>
          <p:spPr>
            <a:xfrm>
              <a:off x="1038154" y="2879364"/>
              <a:ext cx="7706866" cy="875171"/>
            </a:xfrm>
            <a:prstGeom prst="rect">
              <a:avLst/>
            </a:prstGeom>
            <a:solidFill>
              <a:srgbClr val="008C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6" name="185936"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1324130" y="3329931"/>
              <a:ext cx="6724025" cy="744765"/>
              <a:chOff x="4051973" y="2575735"/>
              <a:chExt cx="6724025" cy="744765"/>
            </a:xfrm>
          </p:grpSpPr>
          <p:sp>
            <p:nvSpPr>
              <p:cNvPr id="17" name="îSḷiḑé">
                <a:extLst>
                  <a:ext uri="{FF2B5EF4-FFF2-40B4-BE49-F238E27FC236}">
                    <a16:creationId xmlns:a16="http://schemas.microsoft.com/office/drawing/2014/main" id="{D7F8A300-3FCA-4A2D-A9AF-A5BBE8653376}"/>
                  </a:ext>
                </a:extLst>
              </p:cNvPr>
              <p:cNvSpPr/>
              <p:nvPr/>
            </p:nvSpPr>
            <p:spPr bwMode="gray">
              <a:xfrm>
                <a:off x="4051973" y="2575735"/>
                <a:ext cx="3013580" cy="744764"/>
              </a:xfrm>
              <a:prstGeom prst="rect">
                <a:avLst/>
              </a:prstGeom>
              <a:solidFill>
                <a:schemeClr val="tx1">
                  <a:lumMod val="50000"/>
                  <a:lumOff val="50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a:bodyPr>
              <a:lstStyle/>
              <a:p>
                <a:pPr algn="ctr"/>
                <a:r>
                  <a:rPr lang="zh-CN" altLang="en-US" sz="2400" dirty="0" smtClean="0">
                    <a:solidFill>
                      <a:schemeClr val="bg1"/>
                    </a:solidFill>
                  </a:rPr>
                  <a:t>预防问题</a:t>
                </a:r>
                <a:endParaRPr lang="en-US" altLang="zh-CN" sz="2400" dirty="0">
                  <a:solidFill>
                    <a:schemeClr val="bg1"/>
                  </a:solidFill>
                </a:endParaRPr>
              </a:p>
            </p:txBody>
          </p:sp>
          <p:sp>
            <p:nvSpPr>
              <p:cNvPr id="24" name="î$ḷîḓê">
                <a:extLst>
                  <a:ext uri="{FF2B5EF4-FFF2-40B4-BE49-F238E27FC236}">
                    <a16:creationId xmlns:a16="http://schemas.microsoft.com/office/drawing/2014/main" id="{0120662D-08EC-45F4-BE9C-84021ADB4C9A}"/>
                  </a:ext>
                </a:extLst>
              </p:cNvPr>
              <p:cNvSpPr/>
              <p:nvPr/>
            </p:nvSpPr>
            <p:spPr bwMode="gray">
              <a:xfrm>
                <a:off x="7762418" y="2575736"/>
                <a:ext cx="3013580" cy="744764"/>
              </a:xfrm>
              <a:prstGeom prst="rect">
                <a:avLst/>
              </a:prstGeom>
              <a:solidFill>
                <a:schemeClr val="tx1">
                  <a:lumMod val="50000"/>
                  <a:lumOff val="50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a:bodyPr>
              <a:lstStyle/>
              <a:p>
                <a:pPr algn="ctr"/>
                <a:r>
                  <a:rPr lang="zh-CN" altLang="en-US" sz="2400" dirty="0" smtClean="0">
                    <a:solidFill>
                      <a:schemeClr val="bg1"/>
                    </a:solidFill>
                  </a:rPr>
                  <a:t>处理突发问题</a:t>
                </a:r>
                <a:endParaRPr lang="en-US" altLang="zh-CN" sz="2400" dirty="0">
                  <a:solidFill>
                    <a:schemeClr val="bg1"/>
                  </a:solidFill>
                </a:endParaRPr>
              </a:p>
            </p:txBody>
          </p:sp>
        </p:grpSp>
      </p:grpSp>
    </p:spTree>
    <p:extLst>
      <p:ext uri="{BB962C8B-B14F-4D97-AF65-F5344CB8AC3E}">
        <p14:creationId xmlns:p14="http://schemas.microsoft.com/office/powerpoint/2010/main" val="244805195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组合 29">
            <a:extLst>
              <a:ext uri="{FF2B5EF4-FFF2-40B4-BE49-F238E27FC236}">
                <a16:creationId xmlns:a16="http://schemas.microsoft.com/office/drawing/2014/main" id="{0853A8D8-448C-4E50-AD38-219140CD6184}"/>
              </a:ext>
            </a:extLst>
          </p:cNvPr>
          <p:cNvGrpSpPr/>
          <p:nvPr/>
        </p:nvGrpSpPr>
        <p:grpSpPr>
          <a:xfrm>
            <a:off x="669925" y="210537"/>
            <a:ext cx="468000" cy="468000"/>
            <a:chOff x="669925" y="48611"/>
            <a:chExt cx="468000" cy="468000"/>
          </a:xfrm>
        </p:grpSpPr>
        <p:sp>
          <p:nvSpPr>
            <p:cNvPr id="31" name="椭圆 30">
              <a:extLst>
                <a:ext uri="{FF2B5EF4-FFF2-40B4-BE49-F238E27FC236}">
                  <a16:creationId xmlns:a16="http://schemas.microsoft.com/office/drawing/2014/main" id="{18765B3C-06BD-445D-B72B-512E55DEF34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32" name="椭圆 31">
              <a:extLst>
                <a:ext uri="{FF2B5EF4-FFF2-40B4-BE49-F238E27FC236}">
                  <a16:creationId xmlns:a16="http://schemas.microsoft.com/office/drawing/2014/main" id="{A6AA7771-0E3D-4241-9DE3-825324394A29}"/>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grpSp>
      <p:sp>
        <p:nvSpPr>
          <p:cNvPr id="36" name="标题 1">
            <a:extLst>
              <a:ext uri="{FF2B5EF4-FFF2-40B4-BE49-F238E27FC236}">
                <a16:creationId xmlns:a16="http://schemas.microsoft.com/office/drawing/2014/main" id="{62930304-3D14-4FEB-B45D-709CE5948953}"/>
              </a:ext>
            </a:extLst>
          </p:cNvPr>
          <p:cNvSpPr txBox="1">
            <a:spLocks/>
          </p:cNvSpPr>
          <p:nvPr/>
        </p:nvSpPr>
        <p:spPr>
          <a:xfrm>
            <a:off x="1149782" y="198392"/>
            <a:ext cx="7347103" cy="57784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en-US" altLang="zh-CN" sz="3200" b="0" dirty="0" smtClean="0">
                <a:latin typeface="Arial" panose="020B0604020202020204" pitchFamily="34" charset="0"/>
                <a:ea typeface="Microsoft YaHei" panose="020B0503020204020204" pitchFamily="34" charset="-122"/>
                <a:cs typeface="+mn-ea"/>
                <a:sym typeface="Arial" panose="020B0604020202020204" pitchFamily="34" charset="0"/>
              </a:rPr>
              <a:t>SFMEA——</a:t>
            </a:r>
            <a:r>
              <a:rPr lang="zh-CN" altLang="en-US" sz="3200" b="0" dirty="0" smtClean="0">
                <a:latin typeface="Arial" panose="020B0604020202020204" pitchFamily="34" charset="0"/>
                <a:ea typeface="Microsoft YaHei" panose="020B0503020204020204" pitchFamily="34" charset="-122"/>
                <a:cs typeface="+mn-ea"/>
                <a:sym typeface="Arial" panose="020B0604020202020204" pitchFamily="34" charset="0"/>
              </a:rPr>
              <a:t>软件失效模式和影响分析</a:t>
            </a:r>
            <a:endParaRPr lang="zh-CN" altLang="en-US" sz="3200" b="0" dirty="0">
              <a:latin typeface="Arial" panose="020B0604020202020204" pitchFamily="34" charset="0"/>
              <a:ea typeface="Microsoft YaHei" panose="020B0503020204020204" pitchFamily="34" charset="-122"/>
              <a:cs typeface="+mn-ea"/>
              <a:sym typeface="Arial" panose="020B0604020202020204" pitchFamily="34" charset="0"/>
            </a:endParaRPr>
          </a:p>
        </p:txBody>
      </p:sp>
      <p:grpSp>
        <p:nvGrpSpPr>
          <p:cNvPr id="20" name="185936"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669925" y="1153887"/>
            <a:ext cx="10753725" cy="2281642"/>
            <a:chOff x="719138" y="2117526"/>
            <a:chExt cx="10753725" cy="1765629"/>
          </a:xfrm>
        </p:grpSpPr>
        <p:sp>
          <p:nvSpPr>
            <p:cNvPr id="21" name="ïSľîḑè">
              <a:extLst>
                <a:ext uri="{FF2B5EF4-FFF2-40B4-BE49-F238E27FC236}">
                  <a16:creationId xmlns:a16="http://schemas.microsoft.com/office/drawing/2014/main" id="{558775C2-F41F-4C94-9329-CFBC2BEBB30F}"/>
                </a:ext>
              </a:extLst>
            </p:cNvPr>
            <p:cNvSpPr/>
            <p:nvPr/>
          </p:nvSpPr>
          <p:spPr bwMode="auto">
            <a:xfrm>
              <a:off x="719138" y="2117526"/>
              <a:ext cx="10753725" cy="903968"/>
            </a:xfrm>
            <a:prstGeom prst="homePlate">
              <a:avLst>
                <a:gd name="adj" fmla="val 35856"/>
              </a:avLst>
            </a:prstGeom>
            <a:solidFill>
              <a:schemeClr val="tx1">
                <a:lumMod val="20000"/>
                <a:lumOff val="80000"/>
                <a:alpha val="48000"/>
              </a:schemeClr>
            </a:solidFill>
            <a:ln w="25400" algn="ctr">
              <a:noFill/>
              <a:miter lim="800000"/>
              <a:headEnd/>
              <a:tailEnd/>
            </a:ln>
            <a:effectLst/>
          </p:spPr>
          <p:txBody>
            <a:bodyPr wrap="square" lIns="91440" tIns="45720" rIns="91440" bIns="45720" anchor="ctr">
              <a:normAutofit/>
            </a:bodyPr>
            <a:lstStyle/>
            <a:p>
              <a:pPr algn="ctr"/>
              <a:endParaRPr/>
            </a:p>
          </p:txBody>
        </p:sp>
        <p:grpSp>
          <p:nvGrpSpPr>
            <p:cNvPr id="22" name="îš1íďê">
              <a:extLst>
                <a:ext uri="{FF2B5EF4-FFF2-40B4-BE49-F238E27FC236}">
                  <a16:creationId xmlns:a16="http://schemas.microsoft.com/office/drawing/2014/main" id="{6A314EFB-1A54-468F-B2DE-EAE2C4BCA343}"/>
                </a:ext>
              </a:extLst>
            </p:cNvPr>
            <p:cNvGrpSpPr/>
            <p:nvPr/>
          </p:nvGrpSpPr>
          <p:grpSpPr>
            <a:xfrm>
              <a:off x="876000" y="2704072"/>
              <a:ext cx="3013582" cy="1179083"/>
              <a:chOff x="1330886" y="2414349"/>
              <a:chExt cx="2875114" cy="1179083"/>
            </a:xfrm>
          </p:grpSpPr>
          <p:sp>
            <p:nvSpPr>
              <p:cNvPr id="29" name="îṣļîḍé">
                <a:extLst>
                  <a:ext uri="{FF2B5EF4-FFF2-40B4-BE49-F238E27FC236}">
                    <a16:creationId xmlns:a16="http://schemas.microsoft.com/office/drawing/2014/main" id="{65D33F67-31CB-4499-A178-EBC51978DB55}"/>
                  </a:ext>
                </a:extLst>
              </p:cNvPr>
              <p:cNvSpPr/>
              <p:nvPr/>
            </p:nvSpPr>
            <p:spPr bwMode="gray">
              <a:xfrm>
                <a:off x="1330888" y="3069000"/>
                <a:ext cx="2875112" cy="524432"/>
              </a:xfrm>
              <a:prstGeom prst="rect">
                <a:avLst/>
              </a:prstGeom>
              <a:noFill/>
              <a:ln w="19050">
                <a:solidFill>
                  <a:schemeClr val="bg1">
                    <a:lumMod val="9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t">
                <a:normAutofit fontScale="92500" lnSpcReduction="10000"/>
              </a:bodyPr>
              <a:lstStyle/>
              <a:p>
                <a:pPr marL="285750" indent="-285750">
                  <a:lnSpc>
                    <a:spcPct val="150000"/>
                  </a:lnSpc>
                  <a:buFont typeface="Arial" panose="020B0604020202020204" pitchFamily="34" charset="0"/>
                  <a:buChar char="•"/>
                  <a:tabLst>
                    <a:tab pos="228594" algn="l"/>
                  </a:tabLst>
                  <a:defRPr/>
                </a:pPr>
                <a:r>
                  <a:rPr lang="zh-CN" altLang="en-US" sz="1400" dirty="0" smtClean="0">
                    <a:solidFill>
                      <a:schemeClr val="tx1"/>
                    </a:solidFill>
                  </a:rPr>
                  <a:t>实际发生的</a:t>
                </a:r>
                <a:endParaRPr lang="en-US" altLang="zh-CN" sz="1400" dirty="0" smtClean="0">
                  <a:solidFill>
                    <a:schemeClr val="tx1"/>
                  </a:solidFill>
                </a:endParaRPr>
              </a:p>
              <a:p>
                <a:pPr marL="285750" indent="-285750">
                  <a:lnSpc>
                    <a:spcPct val="150000"/>
                  </a:lnSpc>
                  <a:buFont typeface="Arial" panose="020B0604020202020204" pitchFamily="34" charset="0"/>
                  <a:buChar char="•"/>
                  <a:tabLst>
                    <a:tab pos="228594" algn="l"/>
                  </a:tabLst>
                  <a:defRPr/>
                </a:pPr>
                <a:r>
                  <a:rPr lang="zh-CN" altLang="en-US" sz="1400" dirty="0" smtClean="0">
                    <a:solidFill>
                      <a:schemeClr val="tx1"/>
                    </a:solidFill>
                  </a:rPr>
                  <a:t>可能发生的</a:t>
                </a:r>
                <a:endParaRPr lang="en-US" altLang="zh-CN" sz="1400" dirty="0">
                  <a:solidFill>
                    <a:schemeClr val="tx1"/>
                  </a:solidFill>
                </a:endParaRPr>
              </a:p>
            </p:txBody>
          </p:sp>
          <p:sp>
            <p:nvSpPr>
              <p:cNvPr id="33" name="ïṥļîdé">
                <a:extLst>
                  <a:ext uri="{FF2B5EF4-FFF2-40B4-BE49-F238E27FC236}">
                    <a16:creationId xmlns:a16="http://schemas.microsoft.com/office/drawing/2014/main" id="{D7F8A300-3FCA-4A2D-A9AF-A5BBE8653376}"/>
                  </a:ext>
                </a:extLst>
              </p:cNvPr>
              <p:cNvSpPr/>
              <p:nvPr/>
            </p:nvSpPr>
            <p:spPr bwMode="gray">
              <a:xfrm>
                <a:off x="1330886" y="2414349"/>
                <a:ext cx="2875112" cy="592537"/>
              </a:xfrm>
              <a:prstGeom prst="rect">
                <a:avLst/>
              </a:prstGeom>
              <a:solidFill>
                <a:schemeClr val="tx1">
                  <a:lumMod val="50000"/>
                  <a:lumOff val="50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a:bodyPr>
              <a:lstStyle/>
              <a:p>
                <a:pPr algn="ctr"/>
                <a:r>
                  <a:rPr lang="zh-CN" altLang="en-US" dirty="0" smtClean="0">
                    <a:solidFill>
                      <a:schemeClr val="bg1"/>
                    </a:solidFill>
                  </a:rPr>
                  <a:t>确定问题</a:t>
                </a:r>
                <a:endParaRPr lang="en-US" altLang="zh-CN" dirty="0">
                  <a:solidFill>
                    <a:schemeClr val="bg1"/>
                  </a:solidFill>
                </a:endParaRPr>
              </a:p>
            </p:txBody>
          </p:sp>
        </p:grpSp>
        <p:grpSp>
          <p:nvGrpSpPr>
            <p:cNvPr id="23" name="iṩḻïḑe">
              <a:extLst>
                <a:ext uri="{FF2B5EF4-FFF2-40B4-BE49-F238E27FC236}">
                  <a16:creationId xmlns:a16="http://schemas.microsoft.com/office/drawing/2014/main" id="{2E480489-FCBD-4657-B8FB-7CF5DA5F17AD}"/>
                </a:ext>
              </a:extLst>
            </p:cNvPr>
            <p:cNvGrpSpPr/>
            <p:nvPr/>
          </p:nvGrpSpPr>
          <p:grpSpPr>
            <a:xfrm>
              <a:off x="4319209" y="2704072"/>
              <a:ext cx="3013582" cy="1179083"/>
              <a:chOff x="1330886" y="2414349"/>
              <a:chExt cx="2875114" cy="1179083"/>
            </a:xfrm>
          </p:grpSpPr>
          <p:sp>
            <p:nvSpPr>
              <p:cNvPr id="27" name="îṡļíďe">
                <a:extLst>
                  <a:ext uri="{FF2B5EF4-FFF2-40B4-BE49-F238E27FC236}">
                    <a16:creationId xmlns:a16="http://schemas.microsoft.com/office/drawing/2014/main" id="{6BF54FA9-8668-44A2-AE2D-1C21B5D4D4F7}"/>
                  </a:ext>
                </a:extLst>
              </p:cNvPr>
              <p:cNvSpPr/>
              <p:nvPr/>
            </p:nvSpPr>
            <p:spPr bwMode="gray">
              <a:xfrm>
                <a:off x="1330888" y="3069000"/>
                <a:ext cx="2875112" cy="524432"/>
              </a:xfrm>
              <a:prstGeom prst="rect">
                <a:avLst/>
              </a:prstGeom>
              <a:noFill/>
              <a:ln w="19050">
                <a:solidFill>
                  <a:schemeClr val="bg1">
                    <a:lumMod val="9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t">
                <a:normAutofit fontScale="92500" lnSpcReduction="10000"/>
              </a:bodyPr>
              <a:lstStyle/>
              <a:p>
                <a:pPr marL="285750" indent="-285750">
                  <a:lnSpc>
                    <a:spcPct val="150000"/>
                  </a:lnSpc>
                  <a:buFont typeface="Arial" panose="020B0604020202020204" pitchFamily="34" charset="0"/>
                  <a:buChar char="•"/>
                  <a:tabLst>
                    <a:tab pos="228594" algn="l"/>
                  </a:tabLst>
                  <a:defRPr/>
                </a:pPr>
                <a:r>
                  <a:rPr lang="zh-CN" altLang="en-US" sz="1400" dirty="0" smtClean="0">
                    <a:solidFill>
                      <a:schemeClr val="tx1"/>
                    </a:solidFill>
                  </a:rPr>
                  <a:t>严重程度</a:t>
                </a:r>
                <a:endParaRPr lang="en-US" altLang="zh-CN" sz="1400" dirty="0" smtClean="0">
                  <a:solidFill>
                    <a:schemeClr val="tx1"/>
                  </a:solidFill>
                </a:endParaRPr>
              </a:p>
              <a:p>
                <a:pPr marL="285750" indent="-285750">
                  <a:lnSpc>
                    <a:spcPct val="150000"/>
                  </a:lnSpc>
                  <a:buFont typeface="Arial" panose="020B0604020202020204" pitchFamily="34" charset="0"/>
                  <a:buChar char="•"/>
                  <a:tabLst>
                    <a:tab pos="228594" algn="l"/>
                  </a:tabLst>
                  <a:defRPr/>
                </a:pPr>
                <a:r>
                  <a:rPr lang="zh-CN" altLang="en-US" sz="1400" dirty="0" smtClean="0">
                    <a:solidFill>
                      <a:schemeClr val="tx1"/>
                    </a:solidFill>
                  </a:rPr>
                  <a:t>发生概率</a:t>
                </a:r>
                <a:endParaRPr lang="en-US" altLang="zh-CN" sz="1400" dirty="0">
                  <a:solidFill>
                    <a:schemeClr val="tx1"/>
                  </a:solidFill>
                </a:endParaRPr>
              </a:p>
            </p:txBody>
          </p:sp>
          <p:sp>
            <p:nvSpPr>
              <p:cNvPr id="28" name="iṣḷíḋè">
                <a:extLst>
                  <a:ext uri="{FF2B5EF4-FFF2-40B4-BE49-F238E27FC236}">
                    <a16:creationId xmlns:a16="http://schemas.microsoft.com/office/drawing/2014/main" id="{6B5D22F3-BDEB-4670-B986-013407C9AB3A}"/>
                  </a:ext>
                </a:extLst>
              </p:cNvPr>
              <p:cNvSpPr/>
              <p:nvPr/>
            </p:nvSpPr>
            <p:spPr bwMode="gray">
              <a:xfrm>
                <a:off x="1330886" y="2414349"/>
                <a:ext cx="2875112" cy="592537"/>
              </a:xfrm>
              <a:prstGeom prst="rect">
                <a:avLst/>
              </a:prstGeom>
              <a:solidFill>
                <a:schemeClr val="bg2">
                  <a:lumMod val="50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a:bodyPr>
              <a:lstStyle/>
              <a:p>
                <a:pPr algn="ctr"/>
                <a:r>
                  <a:rPr lang="zh-CN" altLang="en-US" dirty="0" smtClean="0">
                    <a:solidFill>
                      <a:schemeClr val="bg1"/>
                    </a:solidFill>
                  </a:rPr>
                  <a:t>分析问题</a:t>
                </a:r>
                <a:endParaRPr lang="en-US" altLang="zh-CN" dirty="0">
                  <a:solidFill>
                    <a:schemeClr val="bg1"/>
                  </a:solidFill>
                </a:endParaRPr>
              </a:p>
            </p:txBody>
          </p:sp>
        </p:grpSp>
        <p:grpSp>
          <p:nvGrpSpPr>
            <p:cNvPr id="24" name="ïṩ1íḓê">
              <a:extLst>
                <a:ext uri="{FF2B5EF4-FFF2-40B4-BE49-F238E27FC236}">
                  <a16:creationId xmlns:a16="http://schemas.microsoft.com/office/drawing/2014/main" id="{461E20E1-7BAD-4E18-B095-9CC9DB2BC8B4}"/>
                </a:ext>
              </a:extLst>
            </p:cNvPr>
            <p:cNvGrpSpPr/>
            <p:nvPr/>
          </p:nvGrpSpPr>
          <p:grpSpPr>
            <a:xfrm>
              <a:off x="7762418" y="2704072"/>
              <a:ext cx="3013582" cy="1179083"/>
              <a:chOff x="1330886" y="2414349"/>
              <a:chExt cx="2875114" cy="1179083"/>
            </a:xfrm>
          </p:grpSpPr>
          <p:sp>
            <p:nvSpPr>
              <p:cNvPr id="25" name="ïṡlidé">
                <a:extLst>
                  <a:ext uri="{FF2B5EF4-FFF2-40B4-BE49-F238E27FC236}">
                    <a16:creationId xmlns:a16="http://schemas.microsoft.com/office/drawing/2014/main" id="{016BE53C-7C97-4072-8215-1AA55D22BC5F}"/>
                  </a:ext>
                </a:extLst>
              </p:cNvPr>
              <p:cNvSpPr/>
              <p:nvPr/>
            </p:nvSpPr>
            <p:spPr bwMode="gray">
              <a:xfrm>
                <a:off x="1330888" y="3069000"/>
                <a:ext cx="2875112" cy="524432"/>
              </a:xfrm>
              <a:prstGeom prst="rect">
                <a:avLst/>
              </a:prstGeom>
              <a:noFill/>
              <a:ln w="19050">
                <a:solidFill>
                  <a:schemeClr val="bg1">
                    <a:lumMod val="9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t">
                <a:noAutofit/>
              </a:bodyPr>
              <a:lstStyle/>
              <a:p>
                <a:pPr marL="285750" indent="-285750">
                  <a:lnSpc>
                    <a:spcPct val="150000"/>
                  </a:lnSpc>
                  <a:buFont typeface="Arial" panose="020B0604020202020204" pitchFamily="34" charset="0"/>
                  <a:buChar char="•"/>
                  <a:tabLst>
                    <a:tab pos="228594" algn="l"/>
                  </a:tabLst>
                  <a:defRPr/>
                </a:pPr>
                <a:r>
                  <a:rPr lang="zh-CN" altLang="en-US" sz="1400" dirty="0" smtClean="0">
                    <a:solidFill>
                      <a:schemeClr val="tx1"/>
                    </a:solidFill>
                  </a:rPr>
                  <a:t>检测方法</a:t>
                </a:r>
                <a:endParaRPr lang="en-US" altLang="zh-CN" sz="1400" dirty="0" smtClean="0">
                  <a:solidFill>
                    <a:schemeClr val="tx1"/>
                  </a:solidFill>
                </a:endParaRPr>
              </a:p>
              <a:p>
                <a:pPr marL="285750" indent="-285750">
                  <a:lnSpc>
                    <a:spcPct val="150000"/>
                  </a:lnSpc>
                  <a:buFont typeface="Arial" panose="020B0604020202020204" pitchFamily="34" charset="0"/>
                  <a:buChar char="•"/>
                  <a:tabLst>
                    <a:tab pos="228594" algn="l"/>
                  </a:tabLst>
                  <a:defRPr/>
                </a:pPr>
                <a:r>
                  <a:rPr lang="zh-CN" altLang="en-US" sz="1400" dirty="0" smtClean="0">
                    <a:solidFill>
                      <a:schemeClr val="tx1"/>
                    </a:solidFill>
                  </a:rPr>
                  <a:t>修复措施</a:t>
                </a:r>
                <a:endParaRPr lang="en-US" altLang="zh-CN" sz="1400" dirty="0">
                  <a:solidFill>
                    <a:schemeClr val="tx1"/>
                  </a:solidFill>
                </a:endParaRPr>
              </a:p>
            </p:txBody>
          </p:sp>
          <p:sp>
            <p:nvSpPr>
              <p:cNvPr id="26" name="iš1iḑê">
                <a:extLst>
                  <a:ext uri="{FF2B5EF4-FFF2-40B4-BE49-F238E27FC236}">
                    <a16:creationId xmlns:a16="http://schemas.microsoft.com/office/drawing/2014/main" id="{0120662D-08EC-45F4-BE9C-84021ADB4C9A}"/>
                  </a:ext>
                </a:extLst>
              </p:cNvPr>
              <p:cNvSpPr/>
              <p:nvPr/>
            </p:nvSpPr>
            <p:spPr bwMode="gray">
              <a:xfrm>
                <a:off x="1330886" y="2414349"/>
                <a:ext cx="2875112" cy="592537"/>
              </a:xfrm>
              <a:prstGeom prst="rect">
                <a:avLst/>
              </a:prstGeom>
              <a:solidFill>
                <a:schemeClr val="tx1">
                  <a:lumMod val="50000"/>
                  <a:lumOff val="50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a:bodyPr>
              <a:lstStyle/>
              <a:p>
                <a:pPr algn="ctr"/>
                <a:r>
                  <a:rPr lang="zh-CN" altLang="en-US" dirty="0" smtClean="0">
                    <a:solidFill>
                      <a:schemeClr val="bg1"/>
                    </a:solidFill>
                  </a:rPr>
                  <a:t>评估故障</a:t>
                </a:r>
                <a:endParaRPr lang="en-US" altLang="zh-CN" dirty="0">
                  <a:solidFill>
                    <a:schemeClr val="bg1"/>
                  </a:solidFill>
                </a:endParaRPr>
              </a:p>
            </p:txBody>
          </p:sp>
        </p:grpSp>
      </p:grpSp>
      <p:sp>
        <p:nvSpPr>
          <p:cNvPr id="34" name="文本框 33"/>
          <p:cNvSpPr txBox="1"/>
          <p:nvPr/>
        </p:nvSpPr>
        <p:spPr>
          <a:xfrm>
            <a:off x="669925" y="3652111"/>
            <a:ext cx="1107996" cy="580415"/>
          </a:xfrm>
          <a:prstGeom prst="rect">
            <a:avLst/>
          </a:prstGeom>
          <a:noFill/>
        </p:spPr>
        <p:txBody>
          <a:bodyPr wrap="none" rtlCol="0">
            <a:spAutoFit/>
          </a:bodyPr>
          <a:lstStyle/>
          <a:p>
            <a:pPr>
              <a:lnSpc>
                <a:spcPct val="150000"/>
              </a:lnSpc>
            </a:pPr>
            <a:r>
              <a:rPr lang="zh-CN" altLang="en-US" sz="2400" dirty="0" smtClean="0"/>
              <a:t>点检表</a:t>
            </a:r>
            <a:endParaRPr lang="en-US" altLang="zh-CN" sz="2400" dirty="0" smtClean="0"/>
          </a:p>
        </p:txBody>
      </p:sp>
      <p:graphicFrame>
        <p:nvGraphicFramePr>
          <p:cNvPr id="3" name="表格 2"/>
          <p:cNvGraphicFramePr>
            <a:graphicFrameLocks noGrp="1"/>
          </p:cNvGraphicFramePr>
          <p:nvPr>
            <p:extLst>
              <p:ext uri="{D42A27DB-BD31-4B8C-83A1-F6EECF244321}">
                <p14:modId xmlns:p14="http://schemas.microsoft.com/office/powerpoint/2010/main" val="1429915353"/>
              </p:ext>
            </p:extLst>
          </p:nvPr>
        </p:nvGraphicFramePr>
        <p:xfrm>
          <a:off x="759333" y="4595779"/>
          <a:ext cx="8127999" cy="1483360"/>
        </p:xfrm>
        <a:graphic>
          <a:graphicData uri="http://schemas.openxmlformats.org/drawingml/2006/table">
            <a:tbl>
              <a:tblPr firstRow="1" bandRow="1">
                <a:tableStyleId>{5940675A-B579-460E-94D1-54222C63F5DA}</a:tableStyleId>
              </a:tblPr>
              <a:tblGrid>
                <a:gridCol w="2709333">
                  <a:extLst>
                    <a:ext uri="{9D8B030D-6E8A-4147-A177-3AD203B41FA5}">
                      <a16:colId xmlns:a16="http://schemas.microsoft.com/office/drawing/2014/main" val="968378723"/>
                    </a:ext>
                  </a:extLst>
                </a:gridCol>
                <a:gridCol w="2709333">
                  <a:extLst>
                    <a:ext uri="{9D8B030D-6E8A-4147-A177-3AD203B41FA5}">
                      <a16:colId xmlns:a16="http://schemas.microsoft.com/office/drawing/2014/main" val="3602365940"/>
                    </a:ext>
                  </a:extLst>
                </a:gridCol>
                <a:gridCol w="2709333">
                  <a:extLst>
                    <a:ext uri="{9D8B030D-6E8A-4147-A177-3AD203B41FA5}">
                      <a16:colId xmlns:a16="http://schemas.microsoft.com/office/drawing/2014/main" val="1515012783"/>
                    </a:ext>
                  </a:extLst>
                </a:gridCol>
              </a:tblGrid>
              <a:tr h="370840">
                <a:tc>
                  <a:txBody>
                    <a:bodyPr/>
                    <a:lstStyle/>
                    <a:p>
                      <a:r>
                        <a:rPr lang="zh-CN" altLang="en-US" dirty="0" smtClean="0"/>
                        <a:t>是否消耗流量</a:t>
                      </a:r>
                      <a:endParaRPr lang="zh-CN" altLang="en-US" dirty="0"/>
                    </a:p>
                  </a:txBody>
                  <a:tcPr/>
                </a:tc>
                <a:tc>
                  <a:txBody>
                    <a:bodyPr/>
                    <a:lstStyle/>
                    <a:p>
                      <a:r>
                        <a:rPr lang="zh-CN" altLang="en-US" dirty="0" smtClean="0"/>
                        <a:t>消耗流量</a:t>
                      </a:r>
                      <a:endParaRPr lang="zh-CN" altLang="en-US" dirty="0"/>
                    </a:p>
                  </a:txBody>
                  <a:tcPr/>
                </a:tc>
                <a:tc>
                  <a:txBody>
                    <a:bodyPr/>
                    <a:lstStyle/>
                    <a:p>
                      <a:r>
                        <a:rPr lang="zh-CN" altLang="en-US" dirty="0" smtClean="0"/>
                        <a:t>预案</a:t>
                      </a:r>
                      <a:endParaRPr lang="zh-CN" altLang="en-US" dirty="0"/>
                    </a:p>
                  </a:txBody>
                  <a:tcPr/>
                </a:tc>
                <a:extLst>
                  <a:ext uri="{0D108BD9-81ED-4DB2-BD59-A6C34878D82A}">
                    <a16:rowId xmlns:a16="http://schemas.microsoft.com/office/drawing/2014/main" val="1152046410"/>
                  </a:ext>
                </a:extLst>
              </a:tr>
              <a:tr h="370840">
                <a:tc>
                  <a:txBody>
                    <a:bodyPr/>
                    <a:lstStyle/>
                    <a:p>
                      <a:r>
                        <a:rPr lang="zh-CN" altLang="en-US" dirty="0" smtClean="0"/>
                        <a:t>是否长时</a:t>
                      </a:r>
                      <a:r>
                        <a:rPr lang="en-US" altLang="zh-CN" dirty="0" smtClean="0"/>
                        <a:t>CPU</a:t>
                      </a:r>
                      <a:r>
                        <a:rPr lang="zh-CN" altLang="en-US" dirty="0" smtClean="0"/>
                        <a:t>占用</a:t>
                      </a:r>
                      <a:endParaRPr lang="zh-CN" altLang="en-US" dirty="0"/>
                    </a:p>
                  </a:txBody>
                  <a:tcPr/>
                </a:tc>
                <a:tc>
                  <a:txBody>
                    <a:bodyPr/>
                    <a:lstStyle/>
                    <a:p>
                      <a:r>
                        <a:rPr lang="zh-CN" altLang="en-US" dirty="0" smtClean="0"/>
                        <a:t>异常耗电</a:t>
                      </a:r>
                      <a:endParaRPr lang="zh-CN" altLang="en-US" dirty="0"/>
                    </a:p>
                  </a:txBody>
                  <a:tcPr/>
                </a:tc>
                <a:tc>
                  <a:txBody>
                    <a:bodyPr/>
                    <a:lstStyle/>
                    <a:p>
                      <a:r>
                        <a:rPr lang="zh-CN" altLang="en-US" dirty="0" smtClean="0"/>
                        <a:t>预案</a:t>
                      </a:r>
                      <a:endParaRPr lang="zh-CN" altLang="en-US" dirty="0"/>
                    </a:p>
                  </a:txBody>
                  <a:tcPr/>
                </a:tc>
                <a:extLst>
                  <a:ext uri="{0D108BD9-81ED-4DB2-BD59-A6C34878D82A}">
                    <a16:rowId xmlns:a16="http://schemas.microsoft.com/office/drawing/2014/main" val="3743046257"/>
                  </a:ext>
                </a:extLst>
              </a:tr>
              <a:tr h="370840">
                <a:tc>
                  <a:txBody>
                    <a:bodyPr/>
                    <a:lstStyle/>
                    <a:p>
                      <a:r>
                        <a:rPr lang="zh-CN" altLang="en-US" dirty="0" smtClean="0"/>
                        <a:t>是否频繁启动</a:t>
                      </a:r>
                      <a:endParaRPr lang="zh-CN" altLang="en-US" dirty="0"/>
                    </a:p>
                  </a:txBody>
                  <a:tcPr/>
                </a:tc>
                <a:tc>
                  <a:txBody>
                    <a:bodyPr/>
                    <a:lstStyle/>
                    <a:p>
                      <a:r>
                        <a:rPr lang="zh-CN" altLang="en-US" dirty="0" smtClean="0"/>
                        <a:t>重复崩溃</a:t>
                      </a:r>
                      <a:endParaRPr lang="zh-CN" altLang="en-US" dirty="0"/>
                    </a:p>
                  </a:txBody>
                  <a:tcPr/>
                </a:tc>
                <a:tc>
                  <a:txBody>
                    <a:bodyPr/>
                    <a:lstStyle/>
                    <a:p>
                      <a:r>
                        <a:rPr lang="zh-CN" altLang="en-US" dirty="0" smtClean="0"/>
                        <a:t>预案</a:t>
                      </a:r>
                      <a:endParaRPr lang="zh-CN" altLang="en-US" dirty="0"/>
                    </a:p>
                  </a:txBody>
                  <a:tcPr/>
                </a:tc>
                <a:extLst>
                  <a:ext uri="{0D108BD9-81ED-4DB2-BD59-A6C34878D82A}">
                    <a16:rowId xmlns:a16="http://schemas.microsoft.com/office/drawing/2014/main" val="3658266886"/>
                  </a:ext>
                </a:extLst>
              </a:tr>
              <a:tr h="370840">
                <a:tc>
                  <a:txBody>
                    <a:bodyPr/>
                    <a:lstStyle/>
                    <a:p>
                      <a:r>
                        <a:rPr lang="en-US" altLang="zh-CN" dirty="0" smtClean="0"/>
                        <a:t>……</a:t>
                      </a:r>
                      <a:endParaRPr lang="zh-CN" altLang="en-US" dirty="0"/>
                    </a:p>
                  </a:txBody>
                  <a:tcPr/>
                </a:tc>
                <a:tc>
                  <a:txBody>
                    <a:bodyPr/>
                    <a:lstStyle/>
                    <a:p>
                      <a:r>
                        <a:rPr lang="en-US" altLang="zh-CN" dirty="0" smtClean="0"/>
                        <a:t>……</a:t>
                      </a:r>
                      <a:endParaRPr lang="zh-CN" altLang="en-US" dirty="0"/>
                    </a:p>
                  </a:txBody>
                  <a:tcPr/>
                </a:tc>
                <a:tc>
                  <a:txBody>
                    <a:bodyPr/>
                    <a:lstStyle/>
                    <a:p>
                      <a:r>
                        <a:rPr lang="zh-CN" altLang="en-US" dirty="0" smtClean="0"/>
                        <a:t>预案</a:t>
                      </a:r>
                      <a:endParaRPr lang="zh-CN" altLang="en-US" dirty="0"/>
                    </a:p>
                  </a:txBody>
                  <a:tcPr/>
                </a:tc>
                <a:extLst>
                  <a:ext uri="{0D108BD9-81ED-4DB2-BD59-A6C34878D82A}">
                    <a16:rowId xmlns:a16="http://schemas.microsoft.com/office/drawing/2014/main" val="3476991890"/>
                  </a:ext>
                </a:extLst>
              </a:tr>
            </a:tbl>
          </a:graphicData>
        </a:graphic>
      </p:graphicFrame>
      <p:sp>
        <p:nvSpPr>
          <p:cNvPr id="19" name="î$ḷîḓê">
            <a:extLst>
              <a:ext uri="{FF2B5EF4-FFF2-40B4-BE49-F238E27FC236}">
                <a16:creationId xmlns:a16="http://schemas.microsoft.com/office/drawing/2014/main" id="{0120662D-08EC-45F4-BE9C-84021ADB4C9A}"/>
              </a:ext>
            </a:extLst>
          </p:cNvPr>
          <p:cNvSpPr/>
          <p:nvPr/>
        </p:nvSpPr>
        <p:spPr bwMode="gray">
          <a:xfrm>
            <a:off x="8173525" y="198392"/>
            <a:ext cx="1506790" cy="480145"/>
          </a:xfrm>
          <a:prstGeom prst="rect">
            <a:avLst/>
          </a:prstGeom>
          <a:solidFill>
            <a:schemeClr val="accent1"/>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a:bodyPr>
          <a:lstStyle/>
          <a:p>
            <a:pPr algn="ctr"/>
            <a:r>
              <a:rPr lang="zh-CN" altLang="en-US" sz="2400" dirty="0" smtClean="0">
                <a:solidFill>
                  <a:schemeClr val="bg1"/>
                </a:solidFill>
              </a:rPr>
              <a:t>正向方法</a:t>
            </a:r>
            <a:endParaRPr lang="en-US" altLang="zh-CN" sz="2400" dirty="0">
              <a:solidFill>
                <a:schemeClr val="bg1"/>
              </a:solidFill>
            </a:endParaRPr>
          </a:p>
        </p:txBody>
      </p:sp>
      <p:sp>
        <p:nvSpPr>
          <p:cNvPr id="35" name="î$ḷîḓê">
            <a:extLst>
              <a:ext uri="{FF2B5EF4-FFF2-40B4-BE49-F238E27FC236}">
                <a16:creationId xmlns:a16="http://schemas.microsoft.com/office/drawing/2014/main" id="{0120662D-08EC-45F4-BE9C-84021ADB4C9A}"/>
              </a:ext>
            </a:extLst>
          </p:cNvPr>
          <p:cNvSpPr/>
          <p:nvPr/>
        </p:nvSpPr>
        <p:spPr bwMode="gray">
          <a:xfrm>
            <a:off x="9712399" y="199746"/>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a:bodyPr>
          <a:lstStyle/>
          <a:p>
            <a:pPr algn="ctr"/>
            <a:r>
              <a:rPr lang="zh-CN" altLang="en-US" sz="2400" dirty="0" smtClean="0">
                <a:solidFill>
                  <a:schemeClr val="bg1"/>
                </a:solidFill>
              </a:rPr>
              <a:t>逆向方法</a:t>
            </a:r>
            <a:endParaRPr lang="en-US" altLang="zh-CN" sz="2400" dirty="0">
              <a:solidFill>
                <a:schemeClr val="bg1"/>
              </a:solidFill>
            </a:endParaRPr>
          </a:p>
        </p:txBody>
      </p:sp>
    </p:spTree>
    <p:extLst>
      <p:ext uri="{BB962C8B-B14F-4D97-AF65-F5344CB8AC3E}">
        <p14:creationId xmlns:p14="http://schemas.microsoft.com/office/powerpoint/2010/main" val="65529937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accent6">
            <a:lumMod val="25000"/>
            <a:lumOff val="75000"/>
          </a:schemeClr>
        </a:solidFill>
        <a:effectLst/>
      </p:bgPr>
    </p:bg>
    <p:spTree>
      <p:nvGrpSpPr>
        <p:cNvPr id="1" name=""/>
        <p:cNvGrpSpPr/>
        <p:nvPr/>
      </p:nvGrpSpPr>
      <p:grpSpPr>
        <a:xfrm>
          <a:off x="0" y="0"/>
          <a:ext cx="0" cy="0"/>
          <a:chOff x="0" y="0"/>
          <a:chExt cx="0" cy="0"/>
        </a:xfrm>
      </p:grpSpPr>
      <p:sp>
        <p:nvSpPr>
          <p:cNvPr id="2" name="矩形 1"/>
          <p:cNvSpPr/>
          <p:nvPr/>
        </p:nvSpPr>
        <p:spPr>
          <a:xfrm>
            <a:off x="5311169" y="2967335"/>
            <a:ext cx="1569660" cy="923330"/>
          </a:xfrm>
          <a:prstGeom prst="rect">
            <a:avLst/>
          </a:prstGeom>
          <a:noFill/>
        </p:spPr>
        <p:txBody>
          <a:bodyPr wrap="none" lIns="91440" tIns="45720" rIns="91440" bIns="45720">
            <a:spAutoFit/>
          </a:bodyPr>
          <a:lstStyle/>
          <a:p>
            <a:pPr algn="ctr"/>
            <a:r>
              <a:rPr lang="zh-CN" altLang="en-US" sz="5400" b="0" cap="none" spc="0" dirty="0" smtClean="0">
                <a:ln w="0"/>
                <a:solidFill>
                  <a:schemeClr val="accent1"/>
                </a:solidFill>
                <a:effectLst>
                  <a:outerShdw blurRad="38100" dist="25400" dir="5400000" algn="ctr" rotWithShape="0">
                    <a:srgbClr val="6E747A">
                      <a:alpha val="43000"/>
                    </a:srgbClr>
                  </a:outerShdw>
                </a:effectLst>
              </a:rPr>
              <a:t>逆向</a:t>
            </a:r>
            <a:endParaRPr lang="zh-CN" altLang="en-US" sz="5400" b="0" cap="none" spc="0" dirty="0">
              <a:ln w="0"/>
              <a:solidFill>
                <a:schemeClr val="accent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19197255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accent6">
            <a:lumMod val="25000"/>
            <a:lumOff val="75000"/>
          </a:schemeClr>
        </a:solidFill>
        <a:effectLst/>
      </p:bgPr>
    </p:bg>
    <p:spTree>
      <p:nvGrpSpPr>
        <p:cNvPr id="1" name=""/>
        <p:cNvGrpSpPr/>
        <p:nvPr/>
      </p:nvGrpSpPr>
      <p:grpSpPr>
        <a:xfrm>
          <a:off x="0" y="0"/>
          <a:ext cx="0" cy="0"/>
          <a:chOff x="0" y="0"/>
          <a:chExt cx="0" cy="0"/>
        </a:xfrm>
      </p:grpSpPr>
      <p:grpSp>
        <p:nvGrpSpPr>
          <p:cNvPr id="30" name="组合 29">
            <a:extLst>
              <a:ext uri="{FF2B5EF4-FFF2-40B4-BE49-F238E27FC236}">
                <a16:creationId xmlns:a16="http://schemas.microsoft.com/office/drawing/2014/main" id="{0853A8D8-448C-4E50-AD38-219140CD6184}"/>
              </a:ext>
            </a:extLst>
          </p:cNvPr>
          <p:cNvGrpSpPr/>
          <p:nvPr/>
        </p:nvGrpSpPr>
        <p:grpSpPr>
          <a:xfrm>
            <a:off x="669925" y="210537"/>
            <a:ext cx="468000" cy="468000"/>
            <a:chOff x="669925" y="48611"/>
            <a:chExt cx="468000" cy="468000"/>
          </a:xfrm>
        </p:grpSpPr>
        <p:sp>
          <p:nvSpPr>
            <p:cNvPr id="31" name="椭圆 30">
              <a:extLst>
                <a:ext uri="{FF2B5EF4-FFF2-40B4-BE49-F238E27FC236}">
                  <a16:creationId xmlns:a16="http://schemas.microsoft.com/office/drawing/2014/main" id="{18765B3C-06BD-445D-B72B-512E55DEF34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32" name="椭圆 31">
              <a:extLst>
                <a:ext uri="{FF2B5EF4-FFF2-40B4-BE49-F238E27FC236}">
                  <a16:creationId xmlns:a16="http://schemas.microsoft.com/office/drawing/2014/main" id="{A6AA7771-0E3D-4241-9DE3-825324394A29}"/>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grpSp>
      <p:sp>
        <p:nvSpPr>
          <p:cNvPr id="36" name="标题 1">
            <a:extLst>
              <a:ext uri="{FF2B5EF4-FFF2-40B4-BE49-F238E27FC236}">
                <a16:creationId xmlns:a16="http://schemas.microsoft.com/office/drawing/2014/main" id="{62930304-3D14-4FEB-B45D-709CE5948953}"/>
              </a:ext>
            </a:extLst>
          </p:cNvPr>
          <p:cNvSpPr txBox="1">
            <a:spLocks/>
          </p:cNvSpPr>
          <p:nvPr/>
        </p:nvSpPr>
        <p:spPr>
          <a:xfrm>
            <a:off x="1149782" y="198392"/>
            <a:ext cx="7347103" cy="57784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en-US" altLang="zh-CN" sz="3200" b="0" dirty="0" smtClean="0">
                <a:latin typeface="Arial" panose="020B0604020202020204" pitchFamily="34" charset="0"/>
                <a:ea typeface="Microsoft YaHei" panose="020B0503020204020204" pitchFamily="34" charset="-122"/>
                <a:cs typeface="+mn-ea"/>
                <a:sym typeface="Arial" panose="020B0604020202020204" pitchFamily="34" charset="0"/>
              </a:rPr>
              <a:t>SFTA——</a:t>
            </a:r>
            <a:r>
              <a:rPr lang="zh-CN" altLang="en-US" sz="3200" b="0" dirty="0" smtClean="0">
                <a:latin typeface="Arial" panose="020B0604020202020204" pitchFamily="34" charset="0"/>
                <a:ea typeface="Microsoft YaHei" panose="020B0503020204020204" pitchFamily="34" charset="-122"/>
                <a:cs typeface="+mn-ea"/>
                <a:sym typeface="Arial" panose="020B0604020202020204" pitchFamily="34" charset="0"/>
              </a:rPr>
              <a:t>软件故障树分析</a:t>
            </a:r>
            <a:endParaRPr lang="zh-CN" altLang="en-US" sz="3200" b="0" dirty="0">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35" name="文本框 34"/>
          <p:cNvSpPr txBox="1"/>
          <p:nvPr/>
        </p:nvSpPr>
        <p:spPr>
          <a:xfrm>
            <a:off x="1149783" y="1140116"/>
            <a:ext cx="4400786" cy="580415"/>
          </a:xfrm>
          <a:prstGeom prst="rect">
            <a:avLst/>
          </a:prstGeom>
          <a:noFill/>
        </p:spPr>
        <p:txBody>
          <a:bodyPr wrap="square" rtlCol="0">
            <a:spAutoFit/>
          </a:bodyPr>
          <a:lstStyle/>
          <a:p>
            <a:pPr>
              <a:lnSpc>
                <a:spcPct val="150000"/>
              </a:lnSpc>
            </a:pPr>
            <a:r>
              <a:rPr lang="zh-CN" altLang="en-US" sz="2400" dirty="0" smtClean="0"/>
              <a:t>相机预览黑屏问题</a:t>
            </a:r>
            <a:endParaRPr lang="en-US" altLang="zh-CN" sz="2400" dirty="0" smtClean="0"/>
          </a:p>
        </p:txBody>
      </p:sp>
      <p:sp>
        <p:nvSpPr>
          <p:cNvPr id="8" name="î$ḷîḓê">
            <a:extLst>
              <a:ext uri="{FF2B5EF4-FFF2-40B4-BE49-F238E27FC236}">
                <a16:creationId xmlns:a16="http://schemas.microsoft.com/office/drawing/2014/main" id="{0120662D-08EC-45F4-BE9C-84021ADB4C9A}"/>
              </a:ext>
            </a:extLst>
          </p:cNvPr>
          <p:cNvSpPr/>
          <p:nvPr/>
        </p:nvSpPr>
        <p:spPr bwMode="gray">
          <a:xfrm>
            <a:off x="8173525" y="198392"/>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a:bodyPr>
          <a:lstStyle/>
          <a:p>
            <a:pPr algn="ctr"/>
            <a:r>
              <a:rPr lang="zh-CN" altLang="en-US" sz="2400" dirty="0" smtClean="0">
                <a:solidFill>
                  <a:schemeClr val="bg1"/>
                </a:solidFill>
              </a:rPr>
              <a:t>正向方法</a:t>
            </a:r>
            <a:endParaRPr lang="en-US" altLang="zh-CN" sz="2400" dirty="0">
              <a:solidFill>
                <a:schemeClr val="bg1"/>
              </a:solidFill>
            </a:endParaRPr>
          </a:p>
        </p:txBody>
      </p:sp>
      <p:sp>
        <p:nvSpPr>
          <p:cNvPr id="9" name="î$ḷîḓê">
            <a:extLst>
              <a:ext uri="{FF2B5EF4-FFF2-40B4-BE49-F238E27FC236}">
                <a16:creationId xmlns:a16="http://schemas.microsoft.com/office/drawing/2014/main" id="{0120662D-08EC-45F4-BE9C-84021ADB4C9A}"/>
              </a:ext>
            </a:extLst>
          </p:cNvPr>
          <p:cNvSpPr/>
          <p:nvPr/>
        </p:nvSpPr>
        <p:spPr bwMode="gray">
          <a:xfrm>
            <a:off x="9712399" y="199746"/>
            <a:ext cx="1506790" cy="480145"/>
          </a:xfrm>
          <a:prstGeom prst="rect">
            <a:avLst/>
          </a:prstGeom>
          <a:solidFill>
            <a:schemeClr val="accent1"/>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a:bodyPr>
          <a:lstStyle/>
          <a:p>
            <a:pPr algn="ctr"/>
            <a:r>
              <a:rPr lang="zh-CN" altLang="en-US" sz="2400" dirty="0" smtClean="0">
                <a:solidFill>
                  <a:schemeClr val="bg1"/>
                </a:solidFill>
              </a:rPr>
              <a:t>逆向方法</a:t>
            </a:r>
            <a:endParaRPr lang="en-US" altLang="zh-CN" sz="2400" dirty="0">
              <a:solidFill>
                <a:schemeClr val="bg1"/>
              </a:solidFill>
            </a:endParaRPr>
          </a:p>
        </p:txBody>
      </p:sp>
      <p:grpSp>
        <p:nvGrpSpPr>
          <p:cNvPr id="10" name="b3c88aeb-e610-49c8-a302-a1ffa75a9a25"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E66A2A97-7A65-462B-A426-8B20CBAAD74A}"/>
              </a:ext>
            </a:extLst>
          </p:cNvPr>
          <p:cNvGrpSpPr>
            <a:grpSpLocks noChangeAspect="1"/>
          </p:cNvGrpSpPr>
          <p:nvPr>
            <p:custDataLst>
              <p:tags r:id="rId1"/>
            </p:custDataLst>
          </p:nvPr>
        </p:nvGrpSpPr>
        <p:grpSpPr>
          <a:xfrm>
            <a:off x="1149782" y="2884466"/>
            <a:ext cx="3705504" cy="2568327"/>
            <a:chOff x="7302500" y="3197225"/>
            <a:chExt cx="1520825" cy="1054100"/>
          </a:xfrm>
        </p:grpSpPr>
        <p:sp>
          <p:nvSpPr>
            <p:cNvPr id="11" name="îş1ide">
              <a:extLst>
                <a:ext uri="{FF2B5EF4-FFF2-40B4-BE49-F238E27FC236}">
                  <a16:creationId xmlns:a16="http://schemas.microsoft.com/office/drawing/2014/main" id="{38D9A351-1F83-4600-B6BD-9EC1586EAFB4}"/>
                </a:ext>
              </a:extLst>
            </p:cNvPr>
            <p:cNvSpPr/>
            <p:nvPr/>
          </p:nvSpPr>
          <p:spPr bwMode="auto">
            <a:xfrm>
              <a:off x="7450138" y="3219450"/>
              <a:ext cx="136525" cy="106363"/>
            </a:xfrm>
            <a:prstGeom prst="rect">
              <a:avLst/>
            </a:prstGeom>
            <a:solidFill>
              <a:srgbClr val="83828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 name="îşḻïďè">
              <a:extLst>
                <a:ext uri="{FF2B5EF4-FFF2-40B4-BE49-F238E27FC236}">
                  <a16:creationId xmlns:a16="http://schemas.microsoft.com/office/drawing/2014/main" id="{C7FE224D-2700-4A12-A464-CD789F76D221}"/>
                </a:ext>
              </a:extLst>
            </p:cNvPr>
            <p:cNvSpPr/>
            <p:nvPr/>
          </p:nvSpPr>
          <p:spPr bwMode="auto">
            <a:xfrm>
              <a:off x="7413625" y="3197225"/>
              <a:ext cx="207963" cy="46038"/>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 name="íṥļîḑè">
              <a:extLst>
                <a:ext uri="{FF2B5EF4-FFF2-40B4-BE49-F238E27FC236}">
                  <a16:creationId xmlns:a16="http://schemas.microsoft.com/office/drawing/2014/main" id="{D6B9A9DB-C5E1-41AE-8F68-45F314E0734B}"/>
                </a:ext>
              </a:extLst>
            </p:cNvPr>
            <p:cNvSpPr/>
            <p:nvPr/>
          </p:nvSpPr>
          <p:spPr bwMode="auto">
            <a:xfrm>
              <a:off x="7302500" y="3289300"/>
              <a:ext cx="1517650" cy="217488"/>
            </a:xfrm>
            <a:custGeom>
              <a:avLst/>
              <a:gdLst>
                <a:gd name="T0" fmla="*/ 460 w 460"/>
                <a:gd name="T1" fmla="*/ 18 h 66"/>
                <a:gd name="T2" fmla="*/ 442 w 460"/>
                <a:gd name="T3" fmla="*/ 0 h 66"/>
                <a:gd name="T4" fmla="*/ 19 w 460"/>
                <a:gd name="T5" fmla="*/ 0 h 66"/>
                <a:gd name="T6" fmla="*/ 0 w 460"/>
                <a:gd name="T7" fmla="*/ 18 h 66"/>
                <a:gd name="T8" fmla="*/ 0 w 460"/>
                <a:gd name="T9" fmla="*/ 66 h 66"/>
                <a:gd name="T10" fmla="*/ 460 w 460"/>
                <a:gd name="T11" fmla="*/ 66 h 66"/>
                <a:gd name="T12" fmla="*/ 460 w 460"/>
                <a:gd name="T13" fmla="*/ 18 h 66"/>
              </a:gdLst>
              <a:ahLst/>
              <a:cxnLst>
                <a:cxn ang="0">
                  <a:pos x="T0" y="T1"/>
                </a:cxn>
                <a:cxn ang="0">
                  <a:pos x="T2" y="T3"/>
                </a:cxn>
                <a:cxn ang="0">
                  <a:pos x="T4" y="T5"/>
                </a:cxn>
                <a:cxn ang="0">
                  <a:pos x="T6" y="T7"/>
                </a:cxn>
                <a:cxn ang="0">
                  <a:pos x="T8" y="T9"/>
                </a:cxn>
                <a:cxn ang="0">
                  <a:pos x="T10" y="T11"/>
                </a:cxn>
                <a:cxn ang="0">
                  <a:pos x="T12" y="T13"/>
                </a:cxn>
              </a:cxnLst>
              <a:rect l="0" t="0" r="r" b="b"/>
              <a:pathLst>
                <a:path w="460" h="66">
                  <a:moveTo>
                    <a:pt x="460" y="18"/>
                  </a:moveTo>
                  <a:cubicBezTo>
                    <a:pt x="460" y="8"/>
                    <a:pt x="452" y="0"/>
                    <a:pt x="442" y="0"/>
                  </a:cubicBezTo>
                  <a:cubicBezTo>
                    <a:pt x="19" y="0"/>
                    <a:pt x="19" y="0"/>
                    <a:pt x="19" y="0"/>
                  </a:cubicBezTo>
                  <a:cubicBezTo>
                    <a:pt x="9" y="0"/>
                    <a:pt x="0" y="8"/>
                    <a:pt x="0" y="18"/>
                  </a:cubicBezTo>
                  <a:cubicBezTo>
                    <a:pt x="0" y="66"/>
                    <a:pt x="0" y="66"/>
                    <a:pt x="0" y="66"/>
                  </a:cubicBezTo>
                  <a:cubicBezTo>
                    <a:pt x="460" y="66"/>
                    <a:pt x="460" y="66"/>
                    <a:pt x="460" y="66"/>
                  </a:cubicBezTo>
                  <a:lnTo>
                    <a:pt x="460" y="18"/>
                  </a:lnTo>
                  <a:close/>
                </a:path>
              </a:pathLst>
            </a:custGeom>
            <a:solidFill>
              <a:srgbClr val="9DCB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 name="ïŝ1íḑè">
              <a:extLst>
                <a:ext uri="{FF2B5EF4-FFF2-40B4-BE49-F238E27FC236}">
                  <a16:creationId xmlns:a16="http://schemas.microsoft.com/office/drawing/2014/main" id="{0E1117BB-4CF7-496F-8A70-7493636A1A8C}"/>
                </a:ext>
              </a:extLst>
            </p:cNvPr>
            <p:cNvSpPr/>
            <p:nvPr/>
          </p:nvSpPr>
          <p:spPr bwMode="auto">
            <a:xfrm>
              <a:off x="7694613" y="3268663"/>
              <a:ext cx="736600" cy="57150"/>
            </a:xfrm>
            <a:custGeom>
              <a:avLst/>
              <a:gdLst>
                <a:gd name="T0" fmla="*/ 217 w 223"/>
                <a:gd name="T1" fmla="*/ 17 h 17"/>
                <a:gd name="T2" fmla="*/ 5 w 223"/>
                <a:gd name="T3" fmla="*/ 17 h 17"/>
                <a:gd name="T4" fmla="*/ 0 w 223"/>
                <a:gd name="T5" fmla="*/ 11 h 17"/>
                <a:gd name="T6" fmla="*/ 0 w 223"/>
                <a:gd name="T7" fmla="*/ 5 h 17"/>
                <a:gd name="T8" fmla="*/ 5 w 223"/>
                <a:gd name="T9" fmla="*/ 0 h 17"/>
                <a:gd name="T10" fmla="*/ 217 w 223"/>
                <a:gd name="T11" fmla="*/ 0 h 17"/>
                <a:gd name="T12" fmla="*/ 223 w 223"/>
                <a:gd name="T13" fmla="*/ 5 h 17"/>
                <a:gd name="T14" fmla="*/ 223 w 223"/>
                <a:gd name="T15" fmla="*/ 11 h 17"/>
                <a:gd name="T16" fmla="*/ 217 w 223"/>
                <a:gd name="T1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17">
                  <a:moveTo>
                    <a:pt x="217" y="17"/>
                  </a:moveTo>
                  <a:cubicBezTo>
                    <a:pt x="5" y="17"/>
                    <a:pt x="5" y="17"/>
                    <a:pt x="5" y="17"/>
                  </a:cubicBezTo>
                  <a:cubicBezTo>
                    <a:pt x="2" y="17"/>
                    <a:pt x="0" y="14"/>
                    <a:pt x="0" y="11"/>
                  </a:cubicBezTo>
                  <a:cubicBezTo>
                    <a:pt x="0" y="5"/>
                    <a:pt x="0" y="5"/>
                    <a:pt x="0" y="5"/>
                  </a:cubicBezTo>
                  <a:cubicBezTo>
                    <a:pt x="0" y="2"/>
                    <a:pt x="2" y="0"/>
                    <a:pt x="5" y="0"/>
                  </a:cubicBezTo>
                  <a:cubicBezTo>
                    <a:pt x="217" y="0"/>
                    <a:pt x="217" y="0"/>
                    <a:pt x="217" y="0"/>
                  </a:cubicBezTo>
                  <a:cubicBezTo>
                    <a:pt x="221" y="0"/>
                    <a:pt x="223" y="2"/>
                    <a:pt x="223" y="5"/>
                  </a:cubicBezTo>
                  <a:cubicBezTo>
                    <a:pt x="223" y="11"/>
                    <a:pt x="223" y="11"/>
                    <a:pt x="223" y="11"/>
                  </a:cubicBezTo>
                  <a:cubicBezTo>
                    <a:pt x="223" y="14"/>
                    <a:pt x="221" y="17"/>
                    <a:pt x="217" y="17"/>
                  </a:cubicBezTo>
                  <a:close/>
                </a:path>
              </a:pathLst>
            </a:custGeom>
            <a:solidFill>
              <a:srgbClr val="4E4F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 name="i$ļïḓè">
              <a:extLst>
                <a:ext uri="{FF2B5EF4-FFF2-40B4-BE49-F238E27FC236}">
                  <a16:creationId xmlns:a16="http://schemas.microsoft.com/office/drawing/2014/main" id="{20F55DE3-4000-4EA6-AB55-1569E307428C}"/>
                </a:ext>
              </a:extLst>
            </p:cNvPr>
            <p:cNvSpPr/>
            <p:nvPr/>
          </p:nvSpPr>
          <p:spPr bwMode="auto">
            <a:xfrm>
              <a:off x="7302500" y="4073525"/>
              <a:ext cx="1517650" cy="177800"/>
            </a:xfrm>
            <a:custGeom>
              <a:avLst/>
              <a:gdLst>
                <a:gd name="T0" fmla="*/ 0 w 460"/>
                <a:gd name="T1" fmla="*/ 36 h 54"/>
                <a:gd name="T2" fmla="*/ 19 w 460"/>
                <a:gd name="T3" fmla="*/ 54 h 54"/>
                <a:gd name="T4" fmla="*/ 442 w 460"/>
                <a:gd name="T5" fmla="*/ 54 h 54"/>
                <a:gd name="T6" fmla="*/ 460 w 460"/>
                <a:gd name="T7" fmla="*/ 36 h 54"/>
                <a:gd name="T8" fmla="*/ 460 w 460"/>
                <a:gd name="T9" fmla="*/ 0 h 54"/>
                <a:gd name="T10" fmla="*/ 0 w 460"/>
                <a:gd name="T11" fmla="*/ 0 h 54"/>
                <a:gd name="T12" fmla="*/ 0 w 460"/>
                <a:gd name="T13" fmla="*/ 36 h 54"/>
              </a:gdLst>
              <a:ahLst/>
              <a:cxnLst>
                <a:cxn ang="0">
                  <a:pos x="T0" y="T1"/>
                </a:cxn>
                <a:cxn ang="0">
                  <a:pos x="T2" y="T3"/>
                </a:cxn>
                <a:cxn ang="0">
                  <a:pos x="T4" y="T5"/>
                </a:cxn>
                <a:cxn ang="0">
                  <a:pos x="T6" y="T7"/>
                </a:cxn>
                <a:cxn ang="0">
                  <a:pos x="T8" y="T9"/>
                </a:cxn>
                <a:cxn ang="0">
                  <a:pos x="T10" y="T11"/>
                </a:cxn>
                <a:cxn ang="0">
                  <a:pos x="T12" y="T13"/>
                </a:cxn>
              </a:cxnLst>
              <a:rect l="0" t="0" r="r" b="b"/>
              <a:pathLst>
                <a:path w="460" h="54">
                  <a:moveTo>
                    <a:pt x="0" y="36"/>
                  </a:moveTo>
                  <a:cubicBezTo>
                    <a:pt x="0" y="46"/>
                    <a:pt x="9" y="54"/>
                    <a:pt x="19" y="54"/>
                  </a:cubicBezTo>
                  <a:cubicBezTo>
                    <a:pt x="442" y="54"/>
                    <a:pt x="442" y="54"/>
                    <a:pt x="442" y="54"/>
                  </a:cubicBezTo>
                  <a:cubicBezTo>
                    <a:pt x="452" y="54"/>
                    <a:pt x="460" y="46"/>
                    <a:pt x="460" y="36"/>
                  </a:cubicBezTo>
                  <a:cubicBezTo>
                    <a:pt x="460" y="0"/>
                    <a:pt x="460" y="0"/>
                    <a:pt x="460" y="0"/>
                  </a:cubicBezTo>
                  <a:cubicBezTo>
                    <a:pt x="0" y="0"/>
                    <a:pt x="0" y="0"/>
                    <a:pt x="0" y="0"/>
                  </a:cubicBezTo>
                  <a:lnTo>
                    <a:pt x="0" y="36"/>
                  </a:lnTo>
                  <a:close/>
                </a:path>
              </a:pathLst>
            </a:custGeom>
            <a:solidFill>
              <a:srgbClr val="9DCB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 name="iṣľîḋé">
              <a:extLst>
                <a:ext uri="{FF2B5EF4-FFF2-40B4-BE49-F238E27FC236}">
                  <a16:creationId xmlns:a16="http://schemas.microsoft.com/office/drawing/2014/main" id="{E6A6E09F-DA15-47F4-98C2-13559652E340}"/>
                </a:ext>
              </a:extLst>
            </p:cNvPr>
            <p:cNvSpPr/>
            <p:nvPr/>
          </p:nvSpPr>
          <p:spPr bwMode="auto">
            <a:xfrm>
              <a:off x="7302500" y="3506788"/>
              <a:ext cx="1517650" cy="125413"/>
            </a:xfrm>
            <a:prstGeom prst="rect">
              <a:avLst/>
            </a:prstGeom>
            <a:solidFill>
              <a:srgbClr val="EFC7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 name="îṡḷíḍè">
              <a:extLst>
                <a:ext uri="{FF2B5EF4-FFF2-40B4-BE49-F238E27FC236}">
                  <a16:creationId xmlns:a16="http://schemas.microsoft.com/office/drawing/2014/main" id="{6786BAA5-8F57-406E-B510-D7FFA6C4D232}"/>
                </a:ext>
              </a:extLst>
            </p:cNvPr>
            <p:cNvSpPr/>
            <p:nvPr/>
          </p:nvSpPr>
          <p:spPr bwMode="auto">
            <a:xfrm>
              <a:off x="7302500" y="3632200"/>
              <a:ext cx="1588" cy="441325"/>
            </a:xfrm>
            <a:prstGeom prst="rect">
              <a:avLst/>
            </a:prstGeom>
            <a:solidFill>
              <a:srgbClr val="E6B53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 name="îṩliḑê">
              <a:extLst>
                <a:ext uri="{FF2B5EF4-FFF2-40B4-BE49-F238E27FC236}">
                  <a16:creationId xmlns:a16="http://schemas.microsoft.com/office/drawing/2014/main" id="{1337DB47-4E68-469B-9C1C-6E43B676B383}"/>
                </a:ext>
              </a:extLst>
            </p:cNvPr>
            <p:cNvSpPr/>
            <p:nvPr/>
          </p:nvSpPr>
          <p:spPr bwMode="auto">
            <a:xfrm>
              <a:off x="8820150" y="3632200"/>
              <a:ext cx="3175" cy="441325"/>
            </a:xfrm>
            <a:prstGeom prst="rect">
              <a:avLst/>
            </a:prstGeom>
            <a:solidFill>
              <a:srgbClr val="E6B53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 name="ïšľïḓé">
              <a:extLst>
                <a:ext uri="{FF2B5EF4-FFF2-40B4-BE49-F238E27FC236}">
                  <a16:creationId xmlns:a16="http://schemas.microsoft.com/office/drawing/2014/main" id="{A3ECD9BE-5816-4CBF-B604-D2940AFD2E86}"/>
                </a:ext>
              </a:extLst>
            </p:cNvPr>
            <p:cNvSpPr/>
            <p:nvPr/>
          </p:nvSpPr>
          <p:spPr bwMode="auto">
            <a:xfrm>
              <a:off x="7302500" y="3632200"/>
              <a:ext cx="1517650" cy="441325"/>
            </a:xfrm>
            <a:prstGeom prst="rect">
              <a:avLst/>
            </a:prstGeom>
            <a:solidFill>
              <a:srgbClr val="DB9A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 name="ï$lîďê">
              <a:extLst>
                <a:ext uri="{FF2B5EF4-FFF2-40B4-BE49-F238E27FC236}">
                  <a16:creationId xmlns:a16="http://schemas.microsoft.com/office/drawing/2014/main" id="{508D7897-0056-4B0D-8993-83DF4C6B4B12}"/>
                </a:ext>
              </a:extLst>
            </p:cNvPr>
            <p:cNvSpPr/>
            <p:nvPr/>
          </p:nvSpPr>
          <p:spPr bwMode="auto">
            <a:xfrm>
              <a:off x="7731125" y="3473450"/>
              <a:ext cx="663575" cy="661988"/>
            </a:xfrm>
            <a:prstGeom prst="ellipse">
              <a:avLst/>
            </a:prstGeom>
            <a:solidFill>
              <a:srgbClr val="FCF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 name="íŝ1íḑè">
              <a:extLst>
                <a:ext uri="{FF2B5EF4-FFF2-40B4-BE49-F238E27FC236}">
                  <a16:creationId xmlns:a16="http://schemas.microsoft.com/office/drawing/2014/main" id="{9B887E1B-7F1D-486E-BE60-8D607DFD8861}"/>
                </a:ext>
              </a:extLst>
            </p:cNvPr>
            <p:cNvSpPr/>
            <p:nvPr/>
          </p:nvSpPr>
          <p:spPr bwMode="auto">
            <a:xfrm>
              <a:off x="7764463" y="3506788"/>
              <a:ext cx="596900" cy="596900"/>
            </a:xfrm>
            <a:prstGeom prst="ellipse">
              <a:avLst/>
            </a:prstGeom>
            <a:solidFill>
              <a:srgbClr val="3237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 name="ïşľiďe">
              <a:extLst>
                <a:ext uri="{FF2B5EF4-FFF2-40B4-BE49-F238E27FC236}">
                  <a16:creationId xmlns:a16="http://schemas.microsoft.com/office/drawing/2014/main" id="{1312F369-73CF-4650-A56E-A3B3A28A7641}"/>
                </a:ext>
              </a:extLst>
            </p:cNvPr>
            <p:cNvSpPr/>
            <p:nvPr/>
          </p:nvSpPr>
          <p:spPr bwMode="auto">
            <a:xfrm>
              <a:off x="7793038" y="3540125"/>
              <a:ext cx="534988" cy="533400"/>
            </a:xfrm>
            <a:prstGeom prst="ellipse">
              <a:avLst/>
            </a:prstGeom>
            <a:solidFill>
              <a:srgbClr val="4E4F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 name="îṡlîḑe">
              <a:extLst>
                <a:ext uri="{FF2B5EF4-FFF2-40B4-BE49-F238E27FC236}">
                  <a16:creationId xmlns:a16="http://schemas.microsoft.com/office/drawing/2014/main" id="{F3C112D5-3C52-457D-9340-7514578E7FF1}"/>
                </a:ext>
              </a:extLst>
            </p:cNvPr>
            <p:cNvSpPr/>
            <p:nvPr/>
          </p:nvSpPr>
          <p:spPr bwMode="auto">
            <a:xfrm>
              <a:off x="7847013" y="3592513"/>
              <a:ext cx="428625" cy="428625"/>
            </a:xfrm>
            <a:prstGeom prst="ellipse">
              <a:avLst/>
            </a:prstGeom>
            <a:solidFill>
              <a:srgbClr val="3237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 name="işļïdê">
              <a:extLst>
                <a:ext uri="{FF2B5EF4-FFF2-40B4-BE49-F238E27FC236}">
                  <a16:creationId xmlns:a16="http://schemas.microsoft.com/office/drawing/2014/main" id="{39F67533-29F6-4EBC-94A5-0EEECAECA394}"/>
                </a:ext>
              </a:extLst>
            </p:cNvPr>
            <p:cNvSpPr/>
            <p:nvPr/>
          </p:nvSpPr>
          <p:spPr bwMode="auto">
            <a:xfrm>
              <a:off x="7896225" y="3638550"/>
              <a:ext cx="333375" cy="333375"/>
            </a:xfrm>
            <a:prstGeom prst="ellipse">
              <a:avLst/>
            </a:prstGeom>
            <a:solidFill>
              <a:srgbClr val="4E4F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 name="iṡḷïḑê">
              <a:extLst>
                <a:ext uri="{FF2B5EF4-FFF2-40B4-BE49-F238E27FC236}">
                  <a16:creationId xmlns:a16="http://schemas.microsoft.com/office/drawing/2014/main" id="{0FDBA4A4-0D4B-48F9-90DE-583F3C916FCD}"/>
                </a:ext>
              </a:extLst>
            </p:cNvPr>
            <p:cNvSpPr/>
            <p:nvPr/>
          </p:nvSpPr>
          <p:spPr bwMode="auto">
            <a:xfrm>
              <a:off x="7966075" y="3706813"/>
              <a:ext cx="193675" cy="195263"/>
            </a:xfrm>
            <a:prstGeom prst="ellipse">
              <a:avLst/>
            </a:prstGeom>
            <a:solidFill>
              <a:srgbClr val="3237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 name="işļïdé">
              <a:extLst>
                <a:ext uri="{FF2B5EF4-FFF2-40B4-BE49-F238E27FC236}">
                  <a16:creationId xmlns:a16="http://schemas.microsoft.com/office/drawing/2014/main" id="{A291DE42-573A-47C6-9A5F-AEBF94BE4CD5}"/>
                </a:ext>
              </a:extLst>
            </p:cNvPr>
            <p:cNvSpPr/>
            <p:nvPr/>
          </p:nvSpPr>
          <p:spPr bwMode="auto">
            <a:xfrm>
              <a:off x="8104188" y="3617913"/>
              <a:ext cx="85725" cy="88900"/>
            </a:xfrm>
            <a:prstGeom prst="ellipse">
              <a:avLst/>
            </a:prstGeom>
            <a:solidFill>
              <a:srgbClr val="FCF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7" name="í$ḷïḋé">
              <a:extLst>
                <a:ext uri="{FF2B5EF4-FFF2-40B4-BE49-F238E27FC236}">
                  <a16:creationId xmlns:a16="http://schemas.microsoft.com/office/drawing/2014/main" id="{53425CE9-9F0C-4507-9B78-77CAD4D1A45E}"/>
                </a:ext>
              </a:extLst>
            </p:cNvPr>
            <p:cNvSpPr/>
            <p:nvPr/>
          </p:nvSpPr>
          <p:spPr bwMode="auto">
            <a:xfrm>
              <a:off x="7912100" y="3878263"/>
              <a:ext cx="42863" cy="42863"/>
            </a:xfrm>
            <a:prstGeom prst="ellipse">
              <a:avLst/>
            </a:prstGeom>
            <a:solidFill>
              <a:srgbClr val="FCF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8" name="íṧḻíḋè">
              <a:extLst>
                <a:ext uri="{FF2B5EF4-FFF2-40B4-BE49-F238E27FC236}">
                  <a16:creationId xmlns:a16="http://schemas.microsoft.com/office/drawing/2014/main" id="{4831F1FD-02F5-495A-B0E2-2D06DD1CF72A}"/>
                </a:ext>
              </a:extLst>
            </p:cNvPr>
            <p:cNvSpPr/>
            <p:nvPr/>
          </p:nvSpPr>
          <p:spPr bwMode="auto">
            <a:xfrm>
              <a:off x="7378700" y="3997325"/>
              <a:ext cx="250825" cy="128588"/>
            </a:xfrm>
            <a:custGeom>
              <a:avLst/>
              <a:gdLst>
                <a:gd name="T0" fmla="*/ 62 w 76"/>
                <a:gd name="T1" fmla="*/ 39 h 39"/>
                <a:gd name="T2" fmla="*/ 14 w 76"/>
                <a:gd name="T3" fmla="*/ 39 h 39"/>
                <a:gd name="T4" fmla="*/ 0 w 76"/>
                <a:gd name="T5" fmla="*/ 25 h 39"/>
                <a:gd name="T6" fmla="*/ 0 w 76"/>
                <a:gd name="T7" fmla="*/ 14 h 39"/>
                <a:gd name="T8" fmla="*/ 14 w 76"/>
                <a:gd name="T9" fmla="*/ 0 h 39"/>
                <a:gd name="T10" fmla="*/ 62 w 76"/>
                <a:gd name="T11" fmla="*/ 0 h 39"/>
                <a:gd name="T12" fmla="*/ 76 w 76"/>
                <a:gd name="T13" fmla="*/ 14 h 39"/>
                <a:gd name="T14" fmla="*/ 76 w 76"/>
                <a:gd name="T15" fmla="*/ 25 h 39"/>
                <a:gd name="T16" fmla="*/ 62 w 76"/>
                <a:gd name="T1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39">
                  <a:moveTo>
                    <a:pt x="62" y="39"/>
                  </a:moveTo>
                  <a:cubicBezTo>
                    <a:pt x="14" y="39"/>
                    <a:pt x="14" y="39"/>
                    <a:pt x="14" y="39"/>
                  </a:cubicBezTo>
                  <a:cubicBezTo>
                    <a:pt x="7" y="39"/>
                    <a:pt x="0" y="33"/>
                    <a:pt x="0" y="25"/>
                  </a:cubicBezTo>
                  <a:cubicBezTo>
                    <a:pt x="0" y="14"/>
                    <a:pt x="0" y="14"/>
                    <a:pt x="0" y="14"/>
                  </a:cubicBezTo>
                  <a:cubicBezTo>
                    <a:pt x="0" y="6"/>
                    <a:pt x="7" y="0"/>
                    <a:pt x="14" y="0"/>
                  </a:cubicBezTo>
                  <a:cubicBezTo>
                    <a:pt x="62" y="0"/>
                    <a:pt x="62" y="0"/>
                    <a:pt x="62" y="0"/>
                  </a:cubicBezTo>
                  <a:cubicBezTo>
                    <a:pt x="70" y="0"/>
                    <a:pt x="76" y="6"/>
                    <a:pt x="76" y="14"/>
                  </a:cubicBezTo>
                  <a:cubicBezTo>
                    <a:pt x="76" y="25"/>
                    <a:pt x="76" y="25"/>
                    <a:pt x="76" y="25"/>
                  </a:cubicBezTo>
                  <a:cubicBezTo>
                    <a:pt x="76" y="33"/>
                    <a:pt x="70" y="39"/>
                    <a:pt x="62" y="39"/>
                  </a:cubicBezTo>
                  <a:close/>
                </a:path>
              </a:pathLst>
            </a:custGeom>
            <a:solidFill>
              <a:srgbClr val="3237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 name="íśļiḑê">
              <a:extLst>
                <a:ext uri="{FF2B5EF4-FFF2-40B4-BE49-F238E27FC236}">
                  <a16:creationId xmlns:a16="http://schemas.microsoft.com/office/drawing/2014/main" id="{52F51C0A-4098-4AA9-B64D-AFD8D22E551E}"/>
                </a:ext>
              </a:extLst>
            </p:cNvPr>
            <p:cNvSpPr/>
            <p:nvPr/>
          </p:nvSpPr>
          <p:spPr bwMode="auto">
            <a:xfrm>
              <a:off x="8486775" y="3436938"/>
              <a:ext cx="217488" cy="138113"/>
            </a:xfrm>
            <a:custGeom>
              <a:avLst/>
              <a:gdLst>
                <a:gd name="T0" fmla="*/ 60 w 66"/>
                <a:gd name="T1" fmla="*/ 42 h 42"/>
                <a:gd name="T2" fmla="*/ 5 w 66"/>
                <a:gd name="T3" fmla="*/ 42 h 42"/>
                <a:gd name="T4" fmla="*/ 0 w 66"/>
                <a:gd name="T5" fmla="*/ 36 h 42"/>
                <a:gd name="T6" fmla="*/ 0 w 66"/>
                <a:gd name="T7" fmla="*/ 5 h 42"/>
                <a:gd name="T8" fmla="*/ 5 w 66"/>
                <a:gd name="T9" fmla="*/ 0 h 42"/>
                <a:gd name="T10" fmla="*/ 60 w 66"/>
                <a:gd name="T11" fmla="*/ 0 h 42"/>
                <a:gd name="T12" fmla="*/ 66 w 66"/>
                <a:gd name="T13" fmla="*/ 5 h 42"/>
                <a:gd name="T14" fmla="*/ 66 w 66"/>
                <a:gd name="T15" fmla="*/ 36 h 42"/>
                <a:gd name="T16" fmla="*/ 60 w 66"/>
                <a:gd name="T17"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42">
                  <a:moveTo>
                    <a:pt x="60" y="42"/>
                  </a:moveTo>
                  <a:cubicBezTo>
                    <a:pt x="5" y="42"/>
                    <a:pt x="5" y="42"/>
                    <a:pt x="5" y="42"/>
                  </a:cubicBezTo>
                  <a:cubicBezTo>
                    <a:pt x="2" y="42"/>
                    <a:pt x="0" y="39"/>
                    <a:pt x="0" y="36"/>
                  </a:cubicBezTo>
                  <a:cubicBezTo>
                    <a:pt x="0" y="5"/>
                    <a:pt x="0" y="5"/>
                    <a:pt x="0" y="5"/>
                  </a:cubicBezTo>
                  <a:cubicBezTo>
                    <a:pt x="0" y="2"/>
                    <a:pt x="2" y="0"/>
                    <a:pt x="5" y="0"/>
                  </a:cubicBezTo>
                  <a:cubicBezTo>
                    <a:pt x="60" y="0"/>
                    <a:pt x="60" y="0"/>
                    <a:pt x="60" y="0"/>
                  </a:cubicBezTo>
                  <a:cubicBezTo>
                    <a:pt x="63" y="0"/>
                    <a:pt x="66" y="2"/>
                    <a:pt x="66" y="5"/>
                  </a:cubicBezTo>
                  <a:cubicBezTo>
                    <a:pt x="66" y="36"/>
                    <a:pt x="66" y="36"/>
                    <a:pt x="66" y="36"/>
                  </a:cubicBezTo>
                  <a:cubicBezTo>
                    <a:pt x="66" y="39"/>
                    <a:pt x="63" y="42"/>
                    <a:pt x="60" y="42"/>
                  </a:cubicBezTo>
                  <a:close/>
                </a:path>
              </a:pathLst>
            </a:custGeom>
            <a:solidFill>
              <a:srgbClr val="CACA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 name="íṥļiḍè">
              <a:extLst>
                <a:ext uri="{FF2B5EF4-FFF2-40B4-BE49-F238E27FC236}">
                  <a16:creationId xmlns:a16="http://schemas.microsoft.com/office/drawing/2014/main" id="{79C6A60F-247E-4B47-9B50-B9706E5CBEBF}"/>
                </a:ext>
              </a:extLst>
            </p:cNvPr>
            <p:cNvSpPr/>
            <p:nvPr/>
          </p:nvSpPr>
          <p:spPr bwMode="auto">
            <a:xfrm>
              <a:off x="8499475" y="3446463"/>
              <a:ext cx="192088" cy="115888"/>
            </a:xfrm>
            <a:custGeom>
              <a:avLst/>
              <a:gdLst>
                <a:gd name="T0" fmla="*/ 52 w 58"/>
                <a:gd name="T1" fmla="*/ 35 h 35"/>
                <a:gd name="T2" fmla="*/ 5 w 58"/>
                <a:gd name="T3" fmla="*/ 35 h 35"/>
                <a:gd name="T4" fmla="*/ 0 w 58"/>
                <a:gd name="T5" fmla="*/ 29 h 35"/>
                <a:gd name="T6" fmla="*/ 0 w 58"/>
                <a:gd name="T7" fmla="*/ 6 h 35"/>
                <a:gd name="T8" fmla="*/ 5 w 58"/>
                <a:gd name="T9" fmla="*/ 0 h 35"/>
                <a:gd name="T10" fmla="*/ 52 w 58"/>
                <a:gd name="T11" fmla="*/ 0 h 35"/>
                <a:gd name="T12" fmla="*/ 58 w 58"/>
                <a:gd name="T13" fmla="*/ 6 h 35"/>
                <a:gd name="T14" fmla="*/ 58 w 58"/>
                <a:gd name="T15" fmla="*/ 29 h 35"/>
                <a:gd name="T16" fmla="*/ 52 w 58"/>
                <a:gd name="T1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35">
                  <a:moveTo>
                    <a:pt x="52" y="35"/>
                  </a:moveTo>
                  <a:cubicBezTo>
                    <a:pt x="5" y="35"/>
                    <a:pt x="5" y="35"/>
                    <a:pt x="5" y="35"/>
                  </a:cubicBezTo>
                  <a:cubicBezTo>
                    <a:pt x="2" y="35"/>
                    <a:pt x="0" y="32"/>
                    <a:pt x="0" y="29"/>
                  </a:cubicBezTo>
                  <a:cubicBezTo>
                    <a:pt x="0" y="6"/>
                    <a:pt x="0" y="6"/>
                    <a:pt x="0" y="6"/>
                  </a:cubicBezTo>
                  <a:cubicBezTo>
                    <a:pt x="0" y="3"/>
                    <a:pt x="2" y="0"/>
                    <a:pt x="5" y="0"/>
                  </a:cubicBezTo>
                  <a:cubicBezTo>
                    <a:pt x="52" y="0"/>
                    <a:pt x="52" y="0"/>
                    <a:pt x="52" y="0"/>
                  </a:cubicBezTo>
                  <a:cubicBezTo>
                    <a:pt x="55" y="0"/>
                    <a:pt x="58" y="3"/>
                    <a:pt x="58" y="6"/>
                  </a:cubicBezTo>
                  <a:cubicBezTo>
                    <a:pt x="58" y="29"/>
                    <a:pt x="58" y="29"/>
                    <a:pt x="58" y="29"/>
                  </a:cubicBezTo>
                  <a:cubicBezTo>
                    <a:pt x="58" y="32"/>
                    <a:pt x="55" y="35"/>
                    <a:pt x="52" y="35"/>
                  </a:cubicBezTo>
                  <a:close/>
                </a:path>
              </a:pathLst>
            </a:custGeom>
            <a:solidFill>
              <a:srgbClr val="3237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34" name="文本框 33"/>
          <p:cNvSpPr txBox="1"/>
          <p:nvPr/>
        </p:nvSpPr>
        <p:spPr>
          <a:xfrm>
            <a:off x="6032924" y="2126705"/>
            <a:ext cx="4400786" cy="2862322"/>
          </a:xfrm>
          <a:prstGeom prst="rect">
            <a:avLst/>
          </a:prstGeom>
          <a:noFill/>
        </p:spPr>
        <p:txBody>
          <a:bodyPr wrap="square" rtlCol="0">
            <a:spAutoFit/>
          </a:bodyPr>
          <a:lstStyle/>
          <a:p>
            <a:pPr>
              <a:lnSpc>
                <a:spcPct val="150000"/>
              </a:lnSpc>
            </a:pPr>
            <a:r>
              <a:rPr lang="zh-CN" altLang="en-US" sz="2400" dirty="0" smtClean="0"/>
              <a:t>显示？</a:t>
            </a:r>
            <a:endParaRPr lang="en-US" altLang="zh-CN" sz="2400" dirty="0" smtClean="0"/>
          </a:p>
          <a:p>
            <a:pPr>
              <a:lnSpc>
                <a:spcPct val="150000"/>
              </a:lnSpc>
            </a:pPr>
            <a:r>
              <a:rPr lang="zh-CN" altLang="en-US" sz="2400" dirty="0"/>
              <a:t>编</a:t>
            </a:r>
            <a:r>
              <a:rPr lang="zh-CN" altLang="en-US" sz="2400" dirty="0" smtClean="0"/>
              <a:t>解码？</a:t>
            </a:r>
            <a:endParaRPr lang="en-US" altLang="zh-CN" sz="2400" dirty="0" smtClean="0"/>
          </a:p>
          <a:p>
            <a:pPr>
              <a:lnSpc>
                <a:spcPct val="150000"/>
              </a:lnSpc>
            </a:pPr>
            <a:r>
              <a:rPr lang="zh-CN" altLang="en-US" sz="2400" dirty="0" smtClean="0"/>
              <a:t>框架？</a:t>
            </a:r>
            <a:endParaRPr lang="en-US" altLang="zh-CN" sz="2400" dirty="0" smtClean="0"/>
          </a:p>
          <a:p>
            <a:pPr>
              <a:lnSpc>
                <a:spcPct val="150000"/>
              </a:lnSpc>
            </a:pPr>
            <a:r>
              <a:rPr lang="zh-CN" altLang="en-US" sz="2400" dirty="0" smtClean="0"/>
              <a:t>摄像头？</a:t>
            </a:r>
            <a:endParaRPr lang="en-US" altLang="zh-CN" sz="2400" dirty="0" smtClean="0"/>
          </a:p>
          <a:p>
            <a:pPr>
              <a:lnSpc>
                <a:spcPct val="150000"/>
              </a:lnSpc>
            </a:pPr>
            <a:r>
              <a:rPr lang="en-US" altLang="zh-CN" sz="2400" dirty="0"/>
              <a:t>……</a:t>
            </a:r>
            <a:endParaRPr lang="en-US" altLang="zh-CN" sz="2400" dirty="0" smtClean="0"/>
          </a:p>
        </p:txBody>
      </p:sp>
    </p:spTree>
    <p:extLst>
      <p:ext uri="{BB962C8B-B14F-4D97-AF65-F5344CB8AC3E}">
        <p14:creationId xmlns:p14="http://schemas.microsoft.com/office/powerpoint/2010/main" val="20285351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accent6">
            <a:lumMod val="25000"/>
            <a:lumOff val="75000"/>
          </a:schemeClr>
        </a:solidFill>
        <a:effectLst/>
      </p:bgPr>
    </p:bg>
    <p:spTree>
      <p:nvGrpSpPr>
        <p:cNvPr id="1" name=""/>
        <p:cNvGrpSpPr/>
        <p:nvPr/>
      </p:nvGrpSpPr>
      <p:grpSpPr>
        <a:xfrm>
          <a:off x="0" y="0"/>
          <a:ext cx="0" cy="0"/>
          <a:chOff x="0" y="0"/>
          <a:chExt cx="0" cy="0"/>
        </a:xfrm>
      </p:grpSpPr>
      <p:grpSp>
        <p:nvGrpSpPr>
          <p:cNvPr id="30" name="组合 29">
            <a:extLst>
              <a:ext uri="{FF2B5EF4-FFF2-40B4-BE49-F238E27FC236}">
                <a16:creationId xmlns:a16="http://schemas.microsoft.com/office/drawing/2014/main" id="{0853A8D8-448C-4E50-AD38-219140CD6184}"/>
              </a:ext>
            </a:extLst>
          </p:cNvPr>
          <p:cNvGrpSpPr/>
          <p:nvPr/>
        </p:nvGrpSpPr>
        <p:grpSpPr>
          <a:xfrm>
            <a:off x="669925" y="210537"/>
            <a:ext cx="468000" cy="468000"/>
            <a:chOff x="669925" y="48611"/>
            <a:chExt cx="468000" cy="468000"/>
          </a:xfrm>
        </p:grpSpPr>
        <p:sp>
          <p:nvSpPr>
            <p:cNvPr id="31" name="椭圆 30">
              <a:extLst>
                <a:ext uri="{FF2B5EF4-FFF2-40B4-BE49-F238E27FC236}">
                  <a16:creationId xmlns:a16="http://schemas.microsoft.com/office/drawing/2014/main" id="{18765B3C-06BD-445D-B72B-512E55DEF34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32" name="椭圆 31">
              <a:extLst>
                <a:ext uri="{FF2B5EF4-FFF2-40B4-BE49-F238E27FC236}">
                  <a16:creationId xmlns:a16="http://schemas.microsoft.com/office/drawing/2014/main" id="{A6AA7771-0E3D-4241-9DE3-825324394A29}"/>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grpSp>
      <p:sp>
        <p:nvSpPr>
          <p:cNvPr id="36" name="标题 1">
            <a:extLst>
              <a:ext uri="{FF2B5EF4-FFF2-40B4-BE49-F238E27FC236}">
                <a16:creationId xmlns:a16="http://schemas.microsoft.com/office/drawing/2014/main" id="{62930304-3D14-4FEB-B45D-709CE5948953}"/>
              </a:ext>
            </a:extLst>
          </p:cNvPr>
          <p:cNvSpPr txBox="1">
            <a:spLocks/>
          </p:cNvSpPr>
          <p:nvPr/>
        </p:nvSpPr>
        <p:spPr>
          <a:xfrm>
            <a:off x="1149782" y="198392"/>
            <a:ext cx="7347103" cy="57784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en-US" altLang="zh-CN" sz="3200" b="0" dirty="0" smtClean="0">
                <a:latin typeface="Arial" panose="020B0604020202020204" pitchFamily="34" charset="0"/>
                <a:ea typeface="Microsoft YaHei" panose="020B0503020204020204" pitchFamily="34" charset="-122"/>
                <a:cs typeface="+mn-ea"/>
                <a:sym typeface="Arial" panose="020B0604020202020204" pitchFamily="34" charset="0"/>
              </a:rPr>
              <a:t>SFTA——</a:t>
            </a:r>
            <a:r>
              <a:rPr lang="zh-CN" altLang="en-US" sz="3200" b="0" dirty="0" smtClean="0">
                <a:latin typeface="Arial" panose="020B0604020202020204" pitchFamily="34" charset="0"/>
                <a:ea typeface="Microsoft YaHei" panose="020B0503020204020204" pitchFamily="34" charset="-122"/>
                <a:cs typeface="+mn-ea"/>
                <a:sym typeface="Arial" panose="020B0604020202020204" pitchFamily="34" charset="0"/>
              </a:rPr>
              <a:t>软件故障树分析</a:t>
            </a:r>
            <a:endParaRPr lang="zh-CN" altLang="en-US" sz="3200" b="0" dirty="0">
              <a:latin typeface="Arial" panose="020B0604020202020204" pitchFamily="34" charset="0"/>
              <a:ea typeface="Microsoft YaHei" panose="020B0503020204020204" pitchFamily="34" charset="-122"/>
              <a:cs typeface="+mn-ea"/>
              <a:sym typeface="Arial" panose="020B0604020202020204" pitchFamily="34" charset="0"/>
            </a:endParaRPr>
          </a:p>
        </p:txBody>
      </p:sp>
      <p:pic>
        <p:nvPicPr>
          <p:cNvPr id="2" name="图片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67858" y="1896196"/>
            <a:ext cx="5259978" cy="3944984"/>
          </a:xfrm>
          <a:prstGeom prst="rect">
            <a:avLst/>
          </a:prstGeom>
        </p:spPr>
      </p:pic>
      <p:sp>
        <p:nvSpPr>
          <p:cNvPr id="35" name="文本框 34"/>
          <p:cNvSpPr txBox="1"/>
          <p:nvPr/>
        </p:nvSpPr>
        <p:spPr>
          <a:xfrm>
            <a:off x="1137925" y="1589295"/>
            <a:ext cx="4400786" cy="1134413"/>
          </a:xfrm>
          <a:prstGeom prst="rect">
            <a:avLst/>
          </a:prstGeom>
          <a:noFill/>
        </p:spPr>
        <p:txBody>
          <a:bodyPr wrap="square" rtlCol="0">
            <a:spAutoFit/>
          </a:bodyPr>
          <a:lstStyle/>
          <a:p>
            <a:pPr>
              <a:lnSpc>
                <a:spcPct val="150000"/>
              </a:lnSpc>
            </a:pPr>
            <a:r>
              <a:rPr lang="zh-CN" altLang="en-US" sz="2400" dirty="0" smtClean="0"/>
              <a:t>在</a:t>
            </a:r>
            <a:r>
              <a:rPr lang="zh-CN" altLang="en-US" sz="2400" b="1" dirty="0" smtClean="0"/>
              <a:t>无法快速</a:t>
            </a:r>
            <a:r>
              <a:rPr lang="zh-CN" altLang="en-US" sz="2400" dirty="0" smtClean="0"/>
              <a:t>定位问题时，提供</a:t>
            </a:r>
            <a:r>
              <a:rPr lang="zh-CN" altLang="en-US" sz="2400" b="1" dirty="0" smtClean="0"/>
              <a:t>初步</a:t>
            </a:r>
            <a:r>
              <a:rPr lang="zh-CN" altLang="en-US" sz="2400" dirty="0" smtClean="0"/>
              <a:t>的诊断及问题出现的概率</a:t>
            </a:r>
            <a:endParaRPr lang="en-US" altLang="zh-CN" sz="2400" dirty="0" smtClean="0"/>
          </a:p>
        </p:txBody>
      </p:sp>
      <p:sp>
        <p:nvSpPr>
          <p:cNvPr id="8" name="î$ḷîḓê">
            <a:extLst>
              <a:ext uri="{FF2B5EF4-FFF2-40B4-BE49-F238E27FC236}">
                <a16:creationId xmlns:a16="http://schemas.microsoft.com/office/drawing/2014/main" id="{0120662D-08EC-45F4-BE9C-84021ADB4C9A}"/>
              </a:ext>
            </a:extLst>
          </p:cNvPr>
          <p:cNvSpPr/>
          <p:nvPr/>
        </p:nvSpPr>
        <p:spPr bwMode="gray">
          <a:xfrm>
            <a:off x="8173525" y="198392"/>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a:bodyPr>
          <a:lstStyle/>
          <a:p>
            <a:pPr algn="ctr"/>
            <a:r>
              <a:rPr lang="zh-CN" altLang="en-US" sz="2400" dirty="0" smtClean="0">
                <a:solidFill>
                  <a:schemeClr val="bg1"/>
                </a:solidFill>
              </a:rPr>
              <a:t>正向方法</a:t>
            </a:r>
            <a:endParaRPr lang="en-US" altLang="zh-CN" sz="2400" dirty="0">
              <a:solidFill>
                <a:schemeClr val="bg1"/>
              </a:solidFill>
            </a:endParaRPr>
          </a:p>
        </p:txBody>
      </p:sp>
      <p:sp>
        <p:nvSpPr>
          <p:cNvPr id="9" name="î$ḷîḓê">
            <a:extLst>
              <a:ext uri="{FF2B5EF4-FFF2-40B4-BE49-F238E27FC236}">
                <a16:creationId xmlns:a16="http://schemas.microsoft.com/office/drawing/2014/main" id="{0120662D-08EC-45F4-BE9C-84021ADB4C9A}"/>
              </a:ext>
            </a:extLst>
          </p:cNvPr>
          <p:cNvSpPr/>
          <p:nvPr/>
        </p:nvSpPr>
        <p:spPr bwMode="gray">
          <a:xfrm>
            <a:off x="9712399" y="199746"/>
            <a:ext cx="1506790" cy="480145"/>
          </a:xfrm>
          <a:prstGeom prst="rect">
            <a:avLst/>
          </a:prstGeom>
          <a:solidFill>
            <a:schemeClr val="accent1"/>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a:bodyPr>
          <a:lstStyle/>
          <a:p>
            <a:pPr algn="ctr"/>
            <a:r>
              <a:rPr lang="zh-CN" altLang="en-US" sz="2400" dirty="0" smtClean="0">
                <a:solidFill>
                  <a:schemeClr val="bg1"/>
                </a:solidFill>
              </a:rPr>
              <a:t>逆向方法</a:t>
            </a:r>
            <a:endParaRPr lang="en-US" altLang="zh-CN" sz="2400" dirty="0">
              <a:solidFill>
                <a:schemeClr val="bg1"/>
              </a:solidFill>
            </a:endParaRPr>
          </a:p>
        </p:txBody>
      </p:sp>
    </p:spTree>
    <p:extLst>
      <p:ext uri="{BB962C8B-B14F-4D97-AF65-F5344CB8AC3E}">
        <p14:creationId xmlns:p14="http://schemas.microsoft.com/office/powerpoint/2010/main" val="26595068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accent6">
            <a:lumMod val="25000"/>
            <a:lumOff val="75000"/>
          </a:schemeClr>
        </a:solidFill>
        <a:effectLst/>
      </p:bgPr>
    </p:bg>
    <p:spTree>
      <p:nvGrpSpPr>
        <p:cNvPr id="1" name=""/>
        <p:cNvGrpSpPr/>
        <p:nvPr/>
      </p:nvGrpSpPr>
      <p:grpSpPr>
        <a:xfrm>
          <a:off x="0" y="0"/>
          <a:ext cx="0" cy="0"/>
          <a:chOff x="0" y="0"/>
          <a:chExt cx="0" cy="0"/>
        </a:xfrm>
      </p:grpSpPr>
      <p:grpSp>
        <p:nvGrpSpPr>
          <p:cNvPr id="30" name="组合 29">
            <a:extLst>
              <a:ext uri="{FF2B5EF4-FFF2-40B4-BE49-F238E27FC236}">
                <a16:creationId xmlns:a16="http://schemas.microsoft.com/office/drawing/2014/main" id="{0853A8D8-448C-4E50-AD38-219140CD6184}"/>
              </a:ext>
            </a:extLst>
          </p:cNvPr>
          <p:cNvGrpSpPr/>
          <p:nvPr/>
        </p:nvGrpSpPr>
        <p:grpSpPr>
          <a:xfrm>
            <a:off x="669925" y="210537"/>
            <a:ext cx="468000" cy="468000"/>
            <a:chOff x="669925" y="48611"/>
            <a:chExt cx="468000" cy="468000"/>
          </a:xfrm>
        </p:grpSpPr>
        <p:sp>
          <p:nvSpPr>
            <p:cNvPr id="31" name="椭圆 30">
              <a:extLst>
                <a:ext uri="{FF2B5EF4-FFF2-40B4-BE49-F238E27FC236}">
                  <a16:creationId xmlns:a16="http://schemas.microsoft.com/office/drawing/2014/main" id="{18765B3C-06BD-445D-B72B-512E55DEF34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32" name="椭圆 31">
              <a:extLst>
                <a:ext uri="{FF2B5EF4-FFF2-40B4-BE49-F238E27FC236}">
                  <a16:creationId xmlns:a16="http://schemas.microsoft.com/office/drawing/2014/main" id="{A6AA7771-0E3D-4241-9DE3-825324394A29}"/>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grpSp>
      <p:sp>
        <p:nvSpPr>
          <p:cNvPr id="36" name="标题 1">
            <a:extLst>
              <a:ext uri="{FF2B5EF4-FFF2-40B4-BE49-F238E27FC236}">
                <a16:creationId xmlns:a16="http://schemas.microsoft.com/office/drawing/2014/main" id="{62930304-3D14-4FEB-B45D-709CE5948953}"/>
              </a:ext>
            </a:extLst>
          </p:cNvPr>
          <p:cNvSpPr txBox="1">
            <a:spLocks/>
          </p:cNvSpPr>
          <p:nvPr/>
        </p:nvSpPr>
        <p:spPr>
          <a:xfrm>
            <a:off x="1149782" y="198392"/>
            <a:ext cx="7347103" cy="57784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en-US" altLang="zh-CN" sz="3200" b="0" dirty="0" smtClean="0">
                <a:latin typeface="Arial" panose="020B0604020202020204" pitchFamily="34" charset="0"/>
                <a:ea typeface="Microsoft YaHei" panose="020B0503020204020204" pitchFamily="34" charset="-122"/>
                <a:cs typeface="+mn-ea"/>
                <a:sym typeface="Arial" panose="020B0604020202020204" pitchFamily="34" charset="0"/>
              </a:rPr>
              <a:t>SFTA——</a:t>
            </a:r>
            <a:r>
              <a:rPr lang="zh-CN" altLang="en-US" sz="3200" b="0" dirty="0" smtClean="0">
                <a:latin typeface="Arial" panose="020B0604020202020204" pitchFamily="34" charset="0"/>
                <a:ea typeface="Microsoft YaHei" panose="020B0503020204020204" pitchFamily="34" charset="-122"/>
                <a:cs typeface="+mn-ea"/>
                <a:sym typeface="Arial" panose="020B0604020202020204" pitchFamily="34" charset="0"/>
              </a:rPr>
              <a:t>软件故障树分析</a:t>
            </a:r>
            <a:endParaRPr lang="zh-CN" altLang="en-US" sz="3200" b="0" dirty="0">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9" name="文本框 8"/>
          <p:cNvSpPr txBox="1"/>
          <p:nvPr/>
        </p:nvSpPr>
        <p:spPr>
          <a:xfrm>
            <a:off x="1149782" y="1140116"/>
            <a:ext cx="2031325" cy="646331"/>
          </a:xfrm>
          <a:prstGeom prst="rect">
            <a:avLst/>
          </a:prstGeom>
          <a:noFill/>
        </p:spPr>
        <p:txBody>
          <a:bodyPr wrap="none" rtlCol="0">
            <a:spAutoFit/>
          </a:bodyPr>
          <a:lstStyle/>
          <a:p>
            <a:pPr>
              <a:lnSpc>
                <a:spcPct val="150000"/>
              </a:lnSpc>
            </a:pPr>
            <a:r>
              <a:rPr lang="zh-CN" altLang="en-US" sz="2400" dirty="0" smtClean="0"/>
              <a:t>相机黑屏问题</a:t>
            </a:r>
            <a:endParaRPr lang="en-US" altLang="zh-CN" sz="2400" dirty="0" smtClean="0"/>
          </a:p>
        </p:txBody>
      </p:sp>
      <p:sp>
        <p:nvSpPr>
          <p:cNvPr id="10" name="î$ḷîḓê">
            <a:extLst>
              <a:ext uri="{FF2B5EF4-FFF2-40B4-BE49-F238E27FC236}">
                <a16:creationId xmlns:a16="http://schemas.microsoft.com/office/drawing/2014/main" id="{0120662D-08EC-45F4-BE9C-84021ADB4C9A}"/>
              </a:ext>
            </a:extLst>
          </p:cNvPr>
          <p:cNvSpPr/>
          <p:nvPr/>
        </p:nvSpPr>
        <p:spPr bwMode="gray">
          <a:xfrm>
            <a:off x="8173525" y="198392"/>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a:bodyPr>
          <a:lstStyle/>
          <a:p>
            <a:pPr algn="ctr"/>
            <a:r>
              <a:rPr lang="zh-CN" altLang="en-US" sz="2400" dirty="0" smtClean="0">
                <a:solidFill>
                  <a:schemeClr val="bg1"/>
                </a:solidFill>
              </a:rPr>
              <a:t>正向方法</a:t>
            </a:r>
            <a:endParaRPr lang="en-US" altLang="zh-CN" sz="2400" dirty="0">
              <a:solidFill>
                <a:schemeClr val="bg1"/>
              </a:solidFill>
            </a:endParaRPr>
          </a:p>
        </p:txBody>
      </p:sp>
      <p:sp>
        <p:nvSpPr>
          <p:cNvPr id="11" name="î$ḷîḓê">
            <a:extLst>
              <a:ext uri="{FF2B5EF4-FFF2-40B4-BE49-F238E27FC236}">
                <a16:creationId xmlns:a16="http://schemas.microsoft.com/office/drawing/2014/main" id="{0120662D-08EC-45F4-BE9C-84021ADB4C9A}"/>
              </a:ext>
            </a:extLst>
          </p:cNvPr>
          <p:cNvSpPr/>
          <p:nvPr/>
        </p:nvSpPr>
        <p:spPr bwMode="gray">
          <a:xfrm>
            <a:off x="9712399" y="199746"/>
            <a:ext cx="1506790" cy="480145"/>
          </a:xfrm>
          <a:prstGeom prst="rect">
            <a:avLst/>
          </a:prstGeom>
          <a:solidFill>
            <a:schemeClr val="accent1"/>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a:bodyPr>
          <a:lstStyle/>
          <a:p>
            <a:pPr algn="ctr"/>
            <a:r>
              <a:rPr lang="zh-CN" altLang="en-US" sz="2400" dirty="0" smtClean="0">
                <a:solidFill>
                  <a:schemeClr val="bg1"/>
                </a:solidFill>
              </a:rPr>
              <a:t>逆向方法</a:t>
            </a:r>
            <a:endParaRPr lang="en-US" altLang="zh-CN" sz="2400" dirty="0">
              <a:solidFill>
                <a:schemeClr val="bg1"/>
              </a:solidFill>
            </a:endParaRPr>
          </a:p>
        </p:txBody>
      </p:sp>
      <p:pic>
        <p:nvPicPr>
          <p:cNvPr id="3" name="图片 2"/>
          <p:cNvPicPr>
            <a:picLocks noChangeAspect="1"/>
          </p:cNvPicPr>
          <p:nvPr/>
        </p:nvPicPr>
        <p:blipFill>
          <a:blip r:embed="rId3"/>
          <a:stretch>
            <a:fillRect/>
          </a:stretch>
        </p:blipFill>
        <p:spPr>
          <a:xfrm>
            <a:off x="1074818" y="1839890"/>
            <a:ext cx="10042364" cy="3178219"/>
          </a:xfrm>
          <a:prstGeom prst="rect">
            <a:avLst/>
          </a:prstGeom>
        </p:spPr>
      </p:pic>
    </p:spTree>
    <p:extLst>
      <p:ext uri="{BB962C8B-B14F-4D97-AF65-F5344CB8AC3E}">
        <p14:creationId xmlns:p14="http://schemas.microsoft.com/office/powerpoint/2010/main" val="21723585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accent6">
            <a:lumMod val="25000"/>
            <a:lumOff val="75000"/>
          </a:schemeClr>
        </a:solidFill>
        <a:effectLst/>
      </p:bgPr>
    </p:bg>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id="{0853A8D8-448C-4E50-AD38-219140CD6184}"/>
              </a:ext>
            </a:extLst>
          </p:cNvPr>
          <p:cNvGrpSpPr/>
          <p:nvPr/>
        </p:nvGrpSpPr>
        <p:grpSpPr>
          <a:xfrm>
            <a:off x="669925" y="210537"/>
            <a:ext cx="468000" cy="468000"/>
            <a:chOff x="669925" y="48611"/>
            <a:chExt cx="468000" cy="468000"/>
          </a:xfrm>
        </p:grpSpPr>
        <p:sp>
          <p:nvSpPr>
            <p:cNvPr id="3" name="椭圆 2">
              <a:extLst>
                <a:ext uri="{FF2B5EF4-FFF2-40B4-BE49-F238E27FC236}">
                  <a16:creationId xmlns:a16="http://schemas.microsoft.com/office/drawing/2014/main" id="{18765B3C-06BD-445D-B72B-512E55DEF34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4" name="椭圆 3">
              <a:extLst>
                <a:ext uri="{FF2B5EF4-FFF2-40B4-BE49-F238E27FC236}">
                  <a16:creationId xmlns:a16="http://schemas.microsoft.com/office/drawing/2014/main" id="{A6AA7771-0E3D-4241-9DE3-825324394A29}"/>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grpSp>
      <p:sp>
        <p:nvSpPr>
          <p:cNvPr id="5" name="标题 1">
            <a:extLst>
              <a:ext uri="{FF2B5EF4-FFF2-40B4-BE49-F238E27FC236}">
                <a16:creationId xmlns:a16="http://schemas.microsoft.com/office/drawing/2014/main" id="{62930304-3D14-4FEB-B45D-709CE5948953}"/>
              </a:ext>
            </a:extLst>
          </p:cNvPr>
          <p:cNvSpPr txBox="1">
            <a:spLocks/>
          </p:cNvSpPr>
          <p:nvPr/>
        </p:nvSpPr>
        <p:spPr>
          <a:xfrm>
            <a:off x="1149782" y="198392"/>
            <a:ext cx="7347103" cy="57784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en-US" altLang="zh-CN" sz="3200" b="0" dirty="0" smtClean="0">
                <a:latin typeface="Arial" panose="020B0604020202020204" pitchFamily="34" charset="0"/>
                <a:ea typeface="Microsoft YaHei" panose="020B0503020204020204" pitchFamily="34" charset="-122"/>
                <a:cs typeface="+mn-ea"/>
                <a:sym typeface="Arial" panose="020B0604020202020204" pitchFamily="34" charset="0"/>
              </a:rPr>
              <a:t>DFX——Design For X</a:t>
            </a:r>
            <a:endParaRPr lang="zh-CN" altLang="en-US" sz="3200" b="0" dirty="0">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294" name="文本框 293"/>
          <p:cNvSpPr txBox="1"/>
          <p:nvPr/>
        </p:nvSpPr>
        <p:spPr>
          <a:xfrm>
            <a:off x="1137925" y="1229226"/>
            <a:ext cx="5724644" cy="461665"/>
          </a:xfrm>
          <a:prstGeom prst="rect">
            <a:avLst/>
          </a:prstGeom>
          <a:noFill/>
        </p:spPr>
        <p:txBody>
          <a:bodyPr wrap="none" rtlCol="0">
            <a:spAutoFit/>
          </a:bodyPr>
          <a:lstStyle/>
          <a:p>
            <a:r>
              <a:rPr lang="zh-CN" altLang="en-US" sz="2400" dirty="0" smtClean="0"/>
              <a:t>我们平常在架构设计时会关注哪些</a:t>
            </a:r>
            <a:r>
              <a:rPr lang="zh-CN" altLang="en-US" sz="2400" dirty="0"/>
              <a:t>风险</a:t>
            </a:r>
            <a:r>
              <a:rPr lang="zh-CN" altLang="en-US" sz="2400" dirty="0" smtClean="0"/>
              <a:t>？</a:t>
            </a:r>
            <a:endParaRPr lang="zh-CN" altLang="en-US" sz="2400" dirty="0"/>
          </a:p>
        </p:txBody>
      </p:sp>
      <p:grpSp>
        <p:nvGrpSpPr>
          <p:cNvPr id="351" name="ebad2fad-4e2d-43d6-9957-8b5906b2485a"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7371640" y="3124199"/>
            <a:ext cx="3490036" cy="2978151"/>
            <a:chOff x="3306763" y="1014413"/>
            <a:chExt cx="5649913" cy="4821238"/>
          </a:xfrm>
        </p:grpSpPr>
        <p:sp>
          <p:nvSpPr>
            <p:cNvPr id="352" name="íŝľíḓè">
              <a:extLst>
                <a:ext uri="{FF2B5EF4-FFF2-40B4-BE49-F238E27FC236}">
                  <a16:creationId xmlns:a16="http://schemas.microsoft.com/office/drawing/2014/main" id="{AAAB2368-B424-447E-B470-2BEA344D6B01}"/>
                </a:ext>
              </a:extLst>
            </p:cNvPr>
            <p:cNvSpPr/>
            <p:nvPr/>
          </p:nvSpPr>
          <p:spPr bwMode="auto">
            <a:xfrm>
              <a:off x="7094538" y="5337175"/>
              <a:ext cx="1398588" cy="239713"/>
            </a:xfrm>
            <a:prstGeom prst="ellipse">
              <a:avLst/>
            </a:prstGeom>
            <a:solidFill>
              <a:srgbClr val="536DFE">
                <a:alpha val="12000"/>
              </a:srgbClr>
            </a:solidFill>
            <a:ln>
              <a:noFill/>
            </a:ln>
          </p:spPr>
          <p:txBody>
            <a:bodyPr anchor="ctr"/>
            <a:lstStyle/>
            <a:p>
              <a:pPr algn="ctr"/>
              <a:endParaRPr/>
            </a:p>
          </p:txBody>
        </p:sp>
        <p:sp>
          <p:nvSpPr>
            <p:cNvPr id="353" name="îṥľiḓe">
              <a:extLst>
                <a:ext uri="{FF2B5EF4-FFF2-40B4-BE49-F238E27FC236}">
                  <a16:creationId xmlns:a16="http://schemas.microsoft.com/office/drawing/2014/main" id="{585AE980-FE08-417A-B41E-AA77DD23A3C9}"/>
                </a:ext>
              </a:extLst>
            </p:cNvPr>
            <p:cNvSpPr/>
            <p:nvPr/>
          </p:nvSpPr>
          <p:spPr bwMode="auto">
            <a:xfrm>
              <a:off x="4641851" y="5267325"/>
              <a:ext cx="2070100" cy="146050"/>
            </a:xfrm>
            <a:prstGeom prst="ellipse">
              <a:avLst/>
            </a:prstGeom>
            <a:solidFill>
              <a:srgbClr val="536DFE">
                <a:alpha val="12000"/>
              </a:srgbClr>
            </a:solidFill>
            <a:ln>
              <a:noFill/>
            </a:ln>
          </p:spPr>
          <p:txBody>
            <a:bodyPr anchor="ctr"/>
            <a:lstStyle/>
            <a:p>
              <a:pPr algn="ctr"/>
              <a:endParaRPr/>
            </a:p>
          </p:txBody>
        </p:sp>
        <p:sp>
          <p:nvSpPr>
            <p:cNvPr id="354" name="íṧlîďe">
              <a:extLst>
                <a:ext uri="{FF2B5EF4-FFF2-40B4-BE49-F238E27FC236}">
                  <a16:creationId xmlns:a16="http://schemas.microsoft.com/office/drawing/2014/main" id="{873A0633-1E3D-4EF9-BD2B-35CED8017A2D}"/>
                </a:ext>
              </a:extLst>
            </p:cNvPr>
            <p:cNvSpPr/>
            <p:nvPr/>
          </p:nvSpPr>
          <p:spPr bwMode="auto">
            <a:xfrm>
              <a:off x="3306763" y="1014413"/>
              <a:ext cx="5649913" cy="3613150"/>
            </a:xfrm>
            <a:custGeom>
              <a:avLst/>
              <a:gdLst>
                <a:gd name="T0" fmla="*/ 1188 w 3842"/>
                <a:gd name="T1" fmla="*/ 135 h 2460"/>
                <a:gd name="T2" fmla="*/ 1692 w 3842"/>
                <a:gd name="T3" fmla="*/ 9 h 2460"/>
                <a:gd name="T4" fmla="*/ 3210 w 3842"/>
                <a:gd name="T5" fmla="*/ 619 h 2460"/>
                <a:gd name="T6" fmla="*/ 3631 w 3842"/>
                <a:gd name="T7" fmla="*/ 1006 h 2460"/>
                <a:gd name="T8" fmla="*/ 3486 w 3842"/>
                <a:gd name="T9" fmla="*/ 2012 h 2460"/>
                <a:gd name="T10" fmla="*/ 3140 w 3842"/>
                <a:gd name="T11" fmla="*/ 2227 h 2460"/>
                <a:gd name="T12" fmla="*/ 2429 w 3842"/>
                <a:gd name="T13" fmla="*/ 2442 h 2460"/>
                <a:gd name="T14" fmla="*/ 1891 w 3842"/>
                <a:gd name="T15" fmla="*/ 2421 h 2460"/>
                <a:gd name="T16" fmla="*/ 496 w 3842"/>
                <a:gd name="T17" fmla="*/ 1950 h 2460"/>
                <a:gd name="T18" fmla="*/ 74 w 3842"/>
                <a:gd name="T19" fmla="*/ 1518 h 2460"/>
                <a:gd name="T20" fmla="*/ 230 w 3842"/>
                <a:gd name="T21" fmla="*/ 1000 h 2460"/>
                <a:gd name="T22" fmla="*/ 486 w 3842"/>
                <a:gd name="T23" fmla="*/ 917 h 2460"/>
                <a:gd name="T24" fmla="*/ 867 w 3842"/>
                <a:gd name="T25" fmla="*/ 806 h 2460"/>
                <a:gd name="T26" fmla="*/ 1108 w 3842"/>
                <a:gd name="T27" fmla="*/ 507 h 2460"/>
                <a:gd name="T28" fmla="*/ 1188 w 3842"/>
                <a:gd name="T29" fmla="*/ 135 h 2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42" h="2460">
                  <a:moveTo>
                    <a:pt x="1188" y="135"/>
                  </a:moveTo>
                  <a:cubicBezTo>
                    <a:pt x="1314" y="23"/>
                    <a:pt x="1512" y="0"/>
                    <a:pt x="1692" y="9"/>
                  </a:cubicBezTo>
                  <a:cubicBezTo>
                    <a:pt x="2257" y="37"/>
                    <a:pt x="2768" y="310"/>
                    <a:pt x="3210" y="619"/>
                  </a:cubicBezTo>
                  <a:cubicBezTo>
                    <a:pt x="3370" y="731"/>
                    <a:pt x="3527" y="852"/>
                    <a:pt x="3631" y="1006"/>
                  </a:cubicBezTo>
                  <a:cubicBezTo>
                    <a:pt x="3842" y="1319"/>
                    <a:pt x="3780" y="1754"/>
                    <a:pt x="3486" y="2012"/>
                  </a:cubicBezTo>
                  <a:cubicBezTo>
                    <a:pt x="3386" y="2100"/>
                    <a:pt x="3265" y="2167"/>
                    <a:pt x="3140" y="2227"/>
                  </a:cubicBezTo>
                  <a:cubicBezTo>
                    <a:pt x="2919" y="2333"/>
                    <a:pt x="2680" y="2418"/>
                    <a:pt x="2429" y="2442"/>
                  </a:cubicBezTo>
                  <a:cubicBezTo>
                    <a:pt x="2250" y="2460"/>
                    <a:pt x="2069" y="2446"/>
                    <a:pt x="1891" y="2421"/>
                  </a:cubicBezTo>
                  <a:cubicBezTo>
                    <a:pt x="1394" y="2354"/>
                    <a:pt x="905" y="2205"/>
                    <a:pt x="496" y="1950"/>
                  </a:cubicBezTo>
                  <a:cubicBezTo>
                    <a:pt x="317" y="1838"/>
                    <a:pt x="148" y="1699"/>
                    <a:pt x="74" y="1518"/>
                  </a:cubicBezTo>
                  <a:cubicBezTo>
                    <a:pt x="0" y="1337"/>
                    <a:pt x="47" y="1107"/>
                    <a:pt x="230" y="1000"/>
                  </a:cubicBezTo>
                  <a:cubicBezTo>
                    <a:pt x="306" y="956"/>
                    <a:pt x="397" y="936"/>
                    <a:pt x="486" y="917"/>
                  </a:cubicBezTo>
                  <a:cubicBezTo>
                    <a:pt x="616" y="889"/>
                    <a:pt x="749" y="862"/>
                    <a:pt x="867" y="806"/>
                  </a:cubicBezTo>
                  <a:cubicBezTo>
                    <a:pt x="988" y="748"/>
                    <a:pt x="1132" y="635"/>
                    <a:pt x="1108" y="507"/>
                  </a:cubicBezTo>
                  <a:cubicBezTo>
                    <a:pt x="1082" y="369"/>
                    <a:pt x="1062" y="248"/>
                    <a:pt x="1188" y="135"/>
                  </a:cubicBezTo>
                </a:path>
              </a:pathLst>
            </a:custGeom>
            <a:solidFill>
              <a:srgbClr val="536DFE">
                <a:alpha val="12000"/>
              </a:srgbClr>
            </a:solidFill>
            <a:ln>
              <a:noFill/>
            </a:ln>
          </p:spPr>
          <p:txBody>
            <a:bodyPr anchor="ctr"/>
            <a:lstStyle/>
            <a:p>
              <a:pPr algn="ctr"/>
              <a:endParaRPr/>
            </a:p>
          </p:txBody>
        </p:sp>
        <p:sp>
          <p:nvSpPr>
            <p:cNvPr id="355" name="işḻíde">
              <a:extLst>
                <a:ext uri="{FF2B5EF4-FFF2-40B4-BE49-F238E27FC236}">
                  <a16:creationId xmlns:a16="http://schemas.microsoft.com/office/drawing/2014/main" id="{185AC537-5946-4F65-A5C3-6371F6A8881B}"/>
                </a:ext>
              </a:extLst>
            </p:cNvPr>
            <p:cNvSpPr/>
            <p:nvPr/>
          </p:nvSpPr>
          <p:spPr bwMode="auto">
            <a:xfrm>
              <a:off x="4786313" y="4248150"/>
              <a:ext cx="1187450" cy="1044575"/>
            </a:xfrm>
            <a:custGeom>
              <a:avLst/>
              <a:gdLst>
                <a:gd name="T0" fmla="*/ 0 w 808"/>
                <a:gd name="T1" fmla="*/ 0 h 711"/>
                <a:gd name="T2" fmla="*/ 0 w 808"/>
                <a:gd name="T3" fmla="*/ 575 h 711"/>
                <a:gd name="T4" fmla="*/ 79 w 808"/>
                <a:gd name="T5" fmla="*/ 711 h 711"/>
                <a:gd name="T6" fmla="*/ 606 w 808"/>
                <a:gd name="T7" fmla="*/ 694 h 711"/>
                <a:gd name="T8" fmla="*/ 610 w 808"/>
                <a:gd name="T9" fmla="*/ 694 h 711"/>
                <a:gd name="T10" fmla="*/ 610 w 808"/>
                <a:gd name="T11" fmla="*/ 382 h 711"/>
                <a:gd name="T12" fmla="*/ 629 w 808"/>
                <a:gd name="T13" fmla="*/ 375 h 711"/>
                <a:gd name="T14" fmla="*/ 639 w 808"/>
                <a:gd name="T15" fmla="*/ 376 h 711"/>
                <a:gd name="T16" fmla="*/ 658 w 808"/>
                <a:gd name="T17" fmla="*/ 392 h 711"/>
                <a:gd name="T18" fmla="*/ 724 w 808"/>
                <a:gd name="T19" fmla="*/ 435 h 711"/>
                <a:gd name="T20" fmla="*/ 808 w 808"/>
                <a:gd name="T21" fmla="*/ 325 h 711"/>
                <a:gd name="T22" fmla="*/ 724 w 808"/>
                <a:gd name="T23" fmla="*/ 216 h 711"/>
                <a:gd name="T24" fmla="*/ 668 w 808"/>
                <a:gd name="T25" fmla="*/ 244 h 711"/>
                <a:gd name="T26" fmla="*/ 653 w 808"/>
                <a:gd name="T27" fmla="*/ 267 h 711"/>
                <a:gd name="T28" fmla="*/ 652 w 808"/>
                <a:gd name="T29" fmla="*/ 272 h 711"/>
                <a:gd name="T30" fmla="*/ 631 w 808"/>
                <a:gd name="T31" fmla="*/ 279 h 711"/>
                <a:gd name="T32" fmla="*/ 610 w 808"/>
                <a:gd name="T33" fmla="*/ 273 h 711"/>
                <a:gd name="T34" fmla="*/ 610 w 808"/>
                <a:gd name="T35" fmla="*/ 175 h 711"/>
                <a:gd name="T36" fmla="*/ 0 w 808"/>
                <a:gd name="T37" fmla="*/ 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8" h="711">
                  <a:moveTo>
                    <a:pt x="0" y="0"/>
                  </a:moveTo>
                  <a:cubicBezTo>
                    <a:pt x="0" y="575"/>
                    <a:pt x="0" y="575"/>
                    <a:pt x="0" y="575"/>
                  </a:cubicBezTo>
                  <a:cubicBezTo>
                    <a:pt x="0" y="633"/>
                    <a:pt x="32" y="684"/>
                    <a:pt x="79" y="711"/>
                  </a:cubicBezTo>
                  <a:cubicBezTo>
                    <a:pt x="208" y="700"/>
                    <a:pt x="396" y="694"/>
                    <a:pt x="606" y="694"/>
                  </a:cubicBezTo>
                  <a:cubicBezTo>
                    <a:pt x="607" y="694"/>
                    <a:pt x="609" y="694"/>
                    <a:pt x="610" y="694"/>
                  </a:cubicBezTo>
                  <a:cubicBezTo>
                    <a:pt x="610" y="382"/>
                    <a:pt x="610" y="382"/>
                    <a:pt x="610" y="382"/>
                  </a:cubicBezTo>
                  <a:cubicBezTo>
                    <a:pt x="616" y="377"/>
                    <a:pt x="622" y="375"/>
                    <a:pt x="629" y="375"/>
                  </a:cubicBezTo>
                  <a:cubicBezTo>
                    <a:pt x="632" y="375"/>
                    <a:pt x="636" y="375"/>
                    <a:pt x="639" y="376"/>
                  </a:cubicBezTo>
                  <a:cubicBezTo>
                    <a:pt x="647" y="379"/>
                    <a:pt x="653" y="384"/>
                    <a:pt x="658" y="392"/>
                  </a:cubicBezTo>
                  <a:cubicBezTo>
                    <a:pt x="673" y="418"/>
                    <a:pt x="697" y="435"/>
                    <a:pt x="724" y="435"/>
                  </a:cubicBezTo>
                  <a:cubicBezTo>
                    <a:pt x="770" y="435"/>
                    <a:pt x="808" y="386"/>
                    <a:pt x="808" y="325"/>
                  </a:cubicBezTo>
                  <a:cubicBezTo>
                    <a:pt x="808" y="264"/>
                    <a:pt x="770" y="216"/>
                    <a:pt x="724" y="216"/>
                  </a:cubicBezTo>
                  <a:cubicBezTo>
                    <a:pt x="702" y="216"/>
                    <a:pt x="682" y="227"/>
                    <a:pt x="668" y="244"/>
                  </a:cubicBezTo>
                  <a:cubicBezTo>
                    <a:pt x="662" y="251"/>
                    <a:pt x="657" y="259"/>
                    <a:pt x="653" y="267"/>
                  </a:cubicBezTo>
                  <a:cubicBezTo>
                    <a:pt x="652" y="272"/>
                    <a:pt x="652" y="272"/>
                    <a:pt x="652" y="272"/>
                  </a:cubicBezTo>
                  <a:cubicBezTo>
                    <a:pt x="652" y="272"/>
                    <a:pt x="644" y="279"/>
                    <a:pt x="631" y="279"/>
                  </a:cubicBezTo>
                  <a:cubicBezTo>
                    <a:pt x="625" y="279"/>
                    <a:pt x="618" y="277"/>
                    <a:pt x="610" y="273"/>
                  </a:cubicBezTo>
                  <a:cubicBezTo>
                    <a:pt x="610" y="175"/>
                    <a:pt x="610" y="175"/>
                    <a:pt x="610" y="175"/>
                  </a:cubicBezTo>
                  <a:cubicBezTo>
                    <a:pt x="401" y="133"/>
                    <a:pt x="196" y="75"/>
                    <a:pt x="0"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6" name="islïḍè">
              <a:extLst>
                <a:ext uri="{FF2B5EF4-FFF2-40B4-BE49-F238E27FC236}">
                  <a16:creationId xmlns:a16="http://schemas.microsoft.com/office/drawing/2014/main" id="{C44C6BA9-3EBF-4D11-9424-0E4D961C221C}"/>
                </a:ext>
              </a:extLst>
            </p:cNvPr>
            <p:cNvSpPr/>
            <p:nvPr/>
          </p:nvSpPr>
          <p:spPr bwMode="auto">
            <a:xfrm>
              <a:off x="4902201" y="5267325"/>
              <a:ext cx="781050" cy="53975"/>
            </a:xfrm>
            <a:custGeom>
              <a:avLst/>
              <a:gdLst>
                <a:gd name="T0" fmla="*/ 527 w 531"/>
                <a:gd name="T1" fmla="*/ 0 h 37"/>
                <a:gd name="T2" fmla="*/ 0 w 531"/>
                <a:gd name="T3" fmla="*/ 17 h 37"/>
                <a:gd name="T4" fmla="*/ 77 w 531"/>
                <a:gd name="T5" fmla="*/ 37 h 37"/>
                <a:gd name="T6" fmla="*/ 531 w 531"/>
                <a:gd name="T7" fmla="*/ 37 h 37"/>
                <a:gd name="T8" fmla="*/ 531 w 531"/>
                <a:gd name="T9" fmla="*/ 0 h 37"/>
                <a:gd name="T10" fmla="*/ 527 w 531"/>
                <a:gd name="T11" fmla="*/ 0 h 37"/>
              </a:gdLst>
              <a:ahLst/>
              <a:cxnLst>
                <a:cxn ang="0">
                  <a:pos x="T0" y="T1"/>
                </a:cxn>
                <a:cxn ang="0">
                  <a:pos x="T2" y="T3"/>
                </a:cxn>
                <a:cxn ang="0">
                  <a:pos x="T4" y="T5"/>
                </a:cxn>
                <a:cxn ang="0">
                  <a:pos x="T6" y="T7"/>
                </a:cxn>
                <a:cxn ang="0">
                  <a:pos x="T8" y="T9"/>
                </a:cxn>
                <a:cxn ang="0">
                  <a:pos x="T10" y="T11"/>
                </a:cxn>
              </a:cxnLst>
              <a:rect l="0" t="0" r="r" b="b"/>
              <a:pathLst>
                <a:path w="531" h="37">
                  <a:moveTo>
                    <a:pt x="527" y="0"/>
                  </a:moveTo>
                  <a:cubicBezTo>
                    <a:pt x="317" y="0"/>
                    <a:pt x="129" y="6"/>
                    <a:pt x="0" y="17"/>
                  </a:cubicBezTo>
                  <a:cubicBezTo>
                    <a:pt x="22" y="30"/>
                    <a:pt x="49" y="37"/>
                    <a:pt x="77" y="37"/>
                  </a:cubicBezTo>
                  <a:cubicBezTo>
                    <a:pt x="531" y="37"/>
                    <a:pt x="531" y="37"/>
                    <a:pt x="531" y="37"/>
                  </a:cubicBezTo>
                  <a:cubicBezTo>
                    <a:pt x="531" y="0"/>
                    <a:pt x="531" y="0"/>
                    <a:pt x="531" y="0"/>
                  </a:cubicBezTo>
                  <a:cubicBezTo>
                    <a:pt x="530" y="0"/>
                    <a:pt x="528" y="0"/>
                    <a:pt x="527" y="0"/>
                  </a:cubicBezTo>
                </a:path>
              </a:pathLst>
            </a:custGeom>
            <a:solidFill>
              <a:srgbClr val="4B62E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7" name="ïṣļiďé">
              <a:extLst>
                <a:ext uri="{FF2B5EF4-FFF2-40B4-BE49-F238E27FC236}">
                  <a16:creationId xmlns:a16="http://schemas.microsoft.com/office/drawing/2014/main" id="{F85C556A-C1B2-49CA-B5B9-A5B1FCF67678}"/>
                </a:ext>
              </a:extLst>
            </p:cNvPr>
            <p:cNvSpPr/>
            <p:nvPr/>
          </p:nvSpPr>
          <p:spPr bwMode="auto">
            <a:xfrm>
              <a:off x="4786313" y="3838575"/>
              <a:ext cx="896938" cy="666750"/>
            </a:xfrm>
            <a:custGeom>
              <a:avLst/>
              <a:gdLst>
                <a:gd name="T0" fmla="*/ 208 w 610"/>
                <a:gd name="T1" fmla="*/ 0 h 453"/>
                <a:gd name="T2" fmla="*/ 98 w 610"/>
                <a:gd name="T3" fmla="*/ 84 h 453"/>
                <a:gd name="T4" fmla="*/ 127 w 610"/>
                <a:gd name="T5" fmla="*/ 140 h 453"/>
                <a:gd name="T6" fmla="*/ 150 w 610"/>
                <a:gd name="T7" fmla="*/ 155 h 453"/>
                <a:gd name="T8" fmla="*/ 150 w 610"/>
                <a:gd name="T9" fmla="*/ 155 h 453"/>
                <a:gd name="T10" fmla="*/ 157 w 610"/>
                <a:gd name="T11" fmla="*/ 195 h 453"/>
                <a:gd name="T12" fmla="*/ 0 w 610"/>
                <a:gd name="T13" fmla="*/ 195 h 453"/>
                <a:gd name="T14" fmla="*/ 0 w 610"/>
                <a:gd name="T15" fmla="*/ 278 h 453"/>
                <a:gd name="T16" fmla="*/ 610 w 610"/>
                <a:gd name="T17" fmla="*/ 453 h 453"/>
                <a:gd name="T18" fmla="*/ 610 w 610"/>
                <a:gd name="T19" fmla="*/ 195 h 453"/>
                <a:gd name="T20" fmla="*/ 263 w 610"/>
                <a:gd name="T21" fmla="*/ 195 h 453"/>
                <a:gd name="T22" fmla="*/ 259 w 610"/>
                <a:gd name="T23" fmla="*/ 169 h 453"/>
                <a:gd name="T24" fmla="*/ 275 w 610"/>
                <a:gd name="T25" fmla="*/ 150 h 453"/>
                <a:gd name="T26" fmla="*/ 318 w 610"/>
                <a:gd name="T27" fmla="*/ 84 h 453"/>
                <a:gd name="T28" fmla="*/ 208 w 610"/>
                <a:gd name="T29" fmla="*/ 0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10" h="453">
                  <a:moveTo>
                    <a:pt x="208" y="0"/>
                  </a:moveTo>
                  <a:cubicBezTo>
                    <a:pt x="148" y="0"/>
                    <a:pt x="98" y="37"/>
                    <a:pt x="98" y="84"/>
                  </a:cubicBezTo>
                  <a:cubicBezTo>
                    <a:pt x="98" y="105"/>
                    <a:pt x="109" y="125"/>
                    <a:pt x="127" y="140"/>
                  </a:cubicBezTo>
                  <a:cubicBezTo>
                    <a:pt x="134" y="146"/>
                    <a:pt x="142" y="151"/>
                    <a:pt x="150" y="155"/>
                  </a:cubicBezTo>
                  <a:cubicBezTo>
                    <a:pt x="150" y="155"/>
                    <a:pt x="150" y="155"/>
                    <a:pt x="150" y="155"/>
                  </a:cubicBezTo>
                  <a:cubicBezTo>
                    <a:pt x="161" y="166"/>
                    <a:pt x="164" y="182"/>
                    <a:pt x="157" y="195"/>
                  </a:cubicBezTo>
                  <a:cubicBezTo>
                    <a:pt x="0" y="195"/>
                    <a:pt x="0" y="195"/>
                    <a:pt x="0" y="195"/>
                  </a:cubicBezTo>
                  <a:cubicBezTo>
                    <a:pt x="0" y="278"/>
                    <a:pt x="0" y="278"/>
                    <a:pt x="0" y="278"/>
                  </a:cubicBezTo>
                  <a:cubicBezTo>
                    <a:pt x="196" y="353"/>
                    <a:pt x="401" y="411"/>
                    <a:pt x="610" y="453"/>
                  </a:cubicBezTo>
                  <a:cubicBezTo>
                    <a:pt x="610" y="195"/>
                    <a:pt x="610" y="195"/>
                    <a:pt x="610" y="195"/>
                  </a:cubicBezTo>
                  <a:cubicBezTo>
                    <a:pt x="263" y="195"/>
                    <a:pt x="263" y="195"/>
                    <a:pt x="263" y="195"/>
                  </a:cubicBezTo>
                  <a:cubicBezTo>
                    <a:pt x="258" y="188"/>
                    <a:pt x="256" y="178"/>
                    <a:pt x="259" y="169"/>
                  </a:cubicBezTo>
                  <a:cubicBezTo>
                    <a:pt x="262" y="161"/>
                    <a:pt x="267" y="154"/>
                    <a:pt x="275" y="150"/>
                  </a:cubicBezTo>
                  <a:cubicBezTo>
                    <a:pt x="301" y="135"/>
                    <a:pt x="318" y="111"/>
                    <a:pt x="318" y="84"/>
                  </a:cubicBezTo>
                  <a:cubicBezTo>
                    <a:pt x="318" y="37"/>
                    <a:pt x="269" y="0"/>
                    <a:pt x="208" y="0"/>
                  </a:cubicBezTo>
                </a:path>
              </a:pathLst>
            </a:custGeom>
            <a:solidFill>
              <a:srgbClr val="4B62E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8" name="iṩľïḍé">
              <a:extLst>
                <a:ext uri="{FF2B5EF4-FFF2-40B4-BE49-F238E27FC236}">
                  <a16:creationId xmlns:a16="http://schemas.microsoft.com/office/drawing/2014/main" id="{67A655FB-A836-45C8-97F2-4FAE50D12681}"/>
                </a:ext>
              </a:extLst>
            </p:cNvPr>
            <p:cNvSpPr/>
            <p:nvPr/>
          </p:nvSpPr>
          <p:spPr bwMode="auto">
            <a:xfrm>
              <a:off x="4787901" y="1728788"/>
              <a:ext cx="169863" cy="336550"/>
            </a:xfrm>
            <a:custGeom>
              <a:avLst/>
              <a:gdLst>
                <a:gd name="T0" fmla="*/ 98 w 116"/>
                <a:gd name="T1" fmla="*/ 0 h 229"/>
                <a:gd name="T2" fmla="*/ 0 w 116"/>
                <a:gd name="T3" fmla="*/ 145 h 229"/>
                <a:gd name="T4" fmla="*/ 0 w 116"/>
                <a:gd name="T5" fmla="*/ 229 h 229"/>
                <a:gd name="T6" fmla="*/ 101 w 116"/>
                <a:gd name="T7" fmla="*/ 20 h 229"/>
                <a:gd name="T8" fmla="*/ 98 w 116"/>
                <a:gd name="T9" fmla="*/ 0 h 229"/>
              </a:gdLst>
              <a:ahLst/>
              <a:cxnLst>
                <a:cxn ang="0">
                  <a:pos x="T0" y="T1"/>
                </a:cxn>
                <a:cxn ang="0">
                  <a:pos x="T2" y="T3"/>
                </a:cxn>
                <a:cxn ang="0">
                  <a:pos x="T4" y="T5"/>
                </a:cxn>
                <a:cxn ang="0">
                  <a:pos x="T6" y="T7"/>
                </a:cxn>
                <a:cxn ang="0">
                  <a:pos x="T8" y="T9"/>
                </a:cxn>
              </a:cxnLst>
              <a:rect l="0" t="0" r="r" b="b"/>
              <a:pathLst>
                <a:path w="116" h="229">
                  <a:moveTo>
                    <a:pt x="98" y="0"/>
                  </a:moveTo>
                  <a:cubicBezTo>
                    <a:pt x="40" y="23"/>
                    <a:pt x="0" y="80"/>
                    <a:pt x="0" y="145"/>
                  </a:cubicBezTo>
                  <a:cubicBezTo>
                    <a:pt x="0" y="229"/>
                    <a:pt x="0" y="229"/>
                    <a:pt x="0" y="229"/>
                  </a:cubicBezTo>
                  <a:cubicBezTo>
                    <a:pt x="68" y="171"/>
                    <a:pt x="116" y="99"/>
                    <a:pt x="101" y="20"/>
                  </a:cubicBezTo>
                  <a:cubicBezTo>
                    <a:pt x="100" y="13"/>
                    <a:pt x="99" y="7"/>
                    <a:pt x="98"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9" name="iṩľîďè">
              <a:extLst>
                <a:ext uri="{FF2B5EF4-FFF2-40B4-BE49-F238E27FC236}">
                  <a16:creationId xmlns:a16="http://schemas.microsoft.com/office/drawing/2014/main" id="{8DA1325C-391D-46DE-AB15-03437C15FADB}"/>
                </a:ext>
              </a:extLst>
            </p:cNvPr>
            <p:cNvSpPr/>
            <p:nvPr/>
          </p:nvSpPr>
          <p:spPr bwMode="auto">
            <a:xfrm>
              <a:off x="4767263" y="1712913"/>
              <a:ext cx="1208088" cy="2393950"/>
            </a:xfrm>
            <a:custGeom>
              <a:avLst/>
              <a:gdLst>
                <a:gd name="T0" fmla="*/ 170 w 822"/>
                <a:gd name="T1" fmla="*/ 0 h 1629"/>
                <a:gd name="T2" fmla="*/ 115 w 822"/>
                <a:gd name="T3" fmla="*/ 31 h 1629"/>
                <a:gd name="T4" fmla="*/ 14 w 822"/>
                <a:gd name="T5" fmla="*/ 325 h 1629"/>
                <a:gd name="T6" fmla="*/ 2 w 822"/>
                <a:gd name="T7" fmla="*/ 334 h 1629"/>
                <a:gd name="T8" fmla="*/ 12 w 822"/>
                <a:gd name="T9" fmla="*/ 423 h 1629"/>
                <a:gd name="T10" fmla="*/ 14 w 822"/>
                <a:gd name="T11" fmla="*/ 505 h 1629"/>
                <a:gd name="T12" fmla="*/ 2 w 822"/>
                <a:gd name="T13" fmla="*/ 514 h 1629"/>
                <a:gd name="T14" fmla="*/ 11 w 822"/>
                <a:gd name="T15" fmla="*/ 676 h 1629"/>
                <a:gd name="T16" fmla="*/ 14 w 822"/>
                <a:gd name="T17" fmla="*/ 736 h 1629"/>
                <a:gd name="T18" fmla="*/ 2 w 822"/>
                <a:gd name="T19" fmla="*/ 745 h 1629"/>
                <a:gd name="T20" fmla="*/ 0 w 822"/>
                <a:gd name="T21" fmla="*/ 794 h 1629"/>
                <a:gd name="T22" fmla="*/ 9 w 822"/>
                <a:gd name="T23" fmla="*/ 907 h 1629"/>
                <a:gd name="T24" fmla="*/ 12 w 822"/>
                <a:gd name="T25" fmla="*/ 907 h 1629"/>
                <a:gd name="T26" fmla="*/ 87 w 822"/>
                <a:gd name="T27" fmla="*/ 1629 h 1629"/>
                <a:gd name="T28" fmla="*/ 98 w 822"/>
                <a:gd name="T29" fmla="*/ 1543 h 1629"/>
                <a:gd name="T30" fmla="*/ 341 w 822"/>
                <a:gd name="T31" fmla="*/ 1543 h 1629"/>
                <a:gd name="T32" fmla="*/ 624 w 822"/>
                <a:gd name="T33" fmla="*/ 1629 h 1629"/>
                <a:gd name="T34" fmla="*/ 643 w 822"/>
                <a:gd name="T35" fmla="*/ 1271 h 1629"/>
                <a:gd name="T36" fmla="*/ 671 w 822"/>
                <a:gd name="T37" fmla="*/ 1288 h 1629"/>
                <a:gd name="T38" fmla="*/ 822 w 822"/>
                <a:gd name="T39" fmla="*/ 1221 h 1629"/>
                <a:gd name="T40" fmla="*/ 681 w 822"/>
                <a:gd name="T41" fmla="*/ 1140 h 1629"/>
                <a:gd name="T42" fmla="*/ 666 w 822"/>
                <a:gd name="T43" fmla="*/ 1163 h 1629"/>
                <a:gd name="T44" fmla="*/ 624 w 822"/>
                <a:gd name="T45" fmla="*/ 1169 h 1629"/>
                <a:gd name="T46" fmla="*/ 290 w 822"/>
                <a:gd name="T47" fmla="*/ 813 h 1629"/>
                <a:gd name="T48" fmla="*/ 302 w 822"/>
                <a:gd name="T49" fmla="*/ 768 h 1629"/>
                <a:gd name="T50" fmla="*/ 235 w 822"/>
                <a:gd name="T51" fmla="*/ 618 h 1629"/>
                <a:gd name="T52" fmla="*/ 154 w 822"/>
                <a:gd name="T53" fmla="*/ 758 h 1629"/>
                <a:gd name="T54" fmla="*/ 177 w 822"/>
                <a:gd name="T55" fmla="*/ 773 h 1629"/>
                <a:gd name="T56" fmla="*/ 87 w 822"/>
                <a:gd name="T57" fmla="*/ 813 h 1629"/>
                <a:gd name="T58" fmla="*/ 158 w 822"/>
                <a:gd name="T59" fmla="*/ 795 h 1629"/>
                <a:gd name="T60" fmla="*/ 237 w 822"/>
                <a:gd name="T61" fmla="*/ 597 h 1629"/>
                <a:gd name="T62" fmla="*/ 315 w 822"/>
                <a:gd name="T63" fmla="*/ 795 h 1629"/>
                <a:gd name="T64" fmla="*/ 624 w 822"/>
                <a:gd name="T65" fmla="*/ 441 h 1629"/>
                <a:gd name="T66" fmla="*/ 652 w 822"/>
                <a:gd name="T67" fmla="*/ 435 h 1629"/>
                <a:gd name="T68" fmla="*/ 738 w 822"/>
                <a:gd name="T69" fmla="*/ 493 h 1629"/>
                <a:gd name="T70" fmla="*/ 738 w 822"/>
                <a:gd name="T71" fmla="*/ 274 h 1629"/>
                <a:gd name="T72" fmla="*/ 667 w 822"/>
                <a:gd name="T73" fmla="*/ 325 h 1629"/>
                <a:gd name="T74" fmla="*/ 645 w 822"/>
                <a:gd name="T75" fmla="*/ 337 h 1629"/>
                <a:gd name="T76" fmla="*/ 624 w 822"/>
                <a:gd name="T77" fmla="*/ 0 h 1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22" h="1629">
                  <a:moveTo>
                    <a:pt x="624" y="0"/>
                  </a:moveTo>
                  <a:cubicBezTo>
                    <a:pt x="170" y="0"/>
                    <a:pt x="170" y="0"/>
                    <a:pt x="170" y="0"/>
                  </a:cubicBezTo>
                  <a:cubicBezTo>
                    <a:pt x="149" y="0"/>
                    <a:pt x="130" y="4"/>
                    <a:pt x="112" y="11"/>
                  </a:cubicBezTo>
                  <a:cubicBezTo>
                    <a:pt x="113" y="18"/>
                    <a:pt x="114" y="24"/>
                    <a:pt x="115" y="31"/>
                  </a:cubicBezTo>
                  <a:cubicBezTo>
                    <a:pt x="130" y="110"/>
                    <a:pt x="82" y="182"/>
                    <a:pt x="14" y="240"/>
                  </a:cubicBezTo>
                  <a:cubicBezTo>
                    <a:pt x="14" y="325"/>
                    <a:pt x="14" y="325"/>
                    <a:pt x="14" y="325"/>
                  </a:cubicBezTo>
                  <a:cubicBezTo>
                    <a:pt x="12" y="325"/>
                    <a:pt x="12" y="325"/>
                    <a:pt x="12" y="325"/>
                  </a:cubicBezTo>
                  <a:cubicBezTo>
                    <a:pt x="6" y="325"/>
                    <a:pt x="2" y="329"/>
                    <a:pt x="2" y="334"/>
                  </a:cubicBezTo>
                  <a:cubicBezTo>
                    <a:pt x="2" y="414"/>
                    <a:pt x="2" y="414"/>
                    <a:pt x="2" y="414"/>
                  </a:cubicBezTo>
                  <a:cubicBezTo>
                    <a:pt x="2" y="419"/>
                    <a:pt x="6" y="423"/>
                    <a:pt x="12" y="423"/>
                  </a:cubicBezTo>
                  <a:cubicBezTo>
                    <a:pt x="14" y="423"/>
                    <a:pt x="14" y="423"/>
                    <a:pt x="14" y="423"/>
                  </a:cubicBezTo>
                  <a:cubicBezTo>
                    <a:pt x="14" y="505"/>
                    <a:pt x="14" y="505"/>
                    <a:pt x="14" y="505"/>
                  </a:cubicBezTo>
                  <a:cubicBezTo>
                    <a:pt x="11" y="505"/>
                    <a:pt x="11" y="505"/>
                    <a:pt x="11" y="505"/>
                  </a:cubicBezTo>
                  <a:cubicBezTo>
                    <a:pt x="6" y="505"/>
                    <a:pt x="2" y="509"/>
                    <a:pt x="2" y="514"/>
                  </a:cubicBezTo>
                  <a:cubicBezTo>
                    <a:pt x="2" y="667"/>
                    <a:pt x="2" y="667"/>
                    <a:pt x="2" y="667"/>
                  </a:cubicBezTo>
                  <a:cubicBezTo>
                    <a:pt x="2" y="672"/>
                    <a:pt x="6" y="676"/>
                    <a:pt x="11" y="676"/>
                  </a:cubicBezTo>
                  <a:cubicBezTo>
                    <a:pt x="14" y="676"/>
                    <a:pt x="14" y="676"/>
                    <a:pt x="14" y="676"/>
                  </a:cubicBezTo>
                  <a:cubicBezTo>
                    <a:pt x="14" y="736"/>
                    <a:pt x="14" y="736"/>
                    <a:pt x="14" y="736"/>
                  </a:cubicBezTo>
                  <a:cubicBezTo>
                    <a:pt x="11" y="736"/>
                    <a:pt x="11" y="736"/>
                    <a:pt x="11" y="736"/>
                  </a:cubicBezTo>
                  <a:cubicBezTo>
                    <a:pt x="6" y="736"/>
                    <a:pt x="2" y="740"/>
                    <a:pt x="2" y="745"/>
                  </a:cubicBezTo>
                  <a:cubicBezTo>
                    <a:pt x="2" y="794"/>
                    <a:pt x="2" y="794"/>
                    <a:pt x="2" y="794"/>
                  </a:cubicBezTo>
                  <a:cubicBezTo>
                    <a:pt x="0" y="794"/>
                    <a:pt x="0" y="794"/>
                    <a:pt x="0" y="794"/>
                  </a:cubicBezTo>
                  <a:cubicBezTo>
                    <a:pt x="0" y="898"/>
                    <a:pt x="0" y="898"/>
                    <a:pt x="0" y="898"/>
                  </a:cubicBezTo>
                  <a:cubicBezTo>
                    <a:pt x="0" y="903"/>
                    <a:pt x="4" y="907"/>
                    <a:pt x="9" y="907"/>
                  </a:cubicBezTo>
                  <a:cubicBezTo>
                    <a:pt x="9" y="907"/>
                    <a:pt x="9" y="907"/>
                    <a:pt x="9" y="907"/>
                  </a:cubicBezTo>
                  <a:cubicBezTo>
                    <a:pt x="12" y="907"/>
                    <a:pt x="12" y="907"/>
                    <a:pt x="12" y="907"/>
                  </a:cubicBezTo>
                  <a:cubicBezTo>
                    <a:pt x="12" y="1629"/>
                    <a:pt x="12" y="1629"/>
                    <a:pt x="12" y="1629"/>
                  </a:cubicBezTo>
                  <a:cubicBezTo>
                    <a:pt x="87" y="1629"/>
                    <a:pt x="87" y="1629"/>
                    <a:pt x="87" y="1629"/>
                  </a:cubicBezTo>
                  <a:cubicBezTo>
                    <a:pt x="141" y="1629"/>
                    <a:pt x="141" y="1629"/>
                    <a:pt x="141" y="1629"/>
                  </a:cubicBezTo>
                  <a:cubicBezTo>
                    <a:pt x="114" y="1608"/>
                    <a:pt x="99" y="1576"/>
                    <a:pt x="98" y="1543"/>
                  </a:cubicBezTo>
                  <a:cubicBezTo>
                    <a:pt x="98" y="1480"/>
                    <a:pt x="153" y="1430"/>
                    <a:pt x="220" y="1430"/>
                  </a:cubicBezTo>
                  <a:cubicBezTo>
                    <a:pt x="287" y="1430"/>
                    <a:pt x="341" y="1480"/>
                    <a:pt x="341" y="1543"/>
                  </a:cubicBezTo>
                  <a:cubicBezTo>
                    <a:pt x="341" y="1576"/>
                    <a:pt x="325" y="1608"/>
                    <a:pt x="298" y="1629"/>
                  </a:cubicBezTo>
                  <a:cubicBezTo>
                    <a:pt x="624" y="1629"/>
                    <a:pt x="624" y="1629"/>
                    <a:pt x="624" y="1629"/>
                  </a:cubicBezTo>
                  <a:cubicBezTo>
                    <a:pt x="624" y="1278"/>
                    <a:pt x="624" y="1278"/>
                    <a:pt x="624" y="1278"/>
                  </a:cubicBezTo>
                  <a:cubicBezTo>
                    <a:pt x="629" y="1273"/>
                    <a:pt x="636" y="1271"/>
                    <a:pt x="643" y="1271"/>
                  </a:cubicBezTo>
                  <a:cubicBezTo>
                    <a:pt x="646" y="1271"/>
                    <a:pt x="649" y="1271"/>
                    <a:pt x="652" y="1272"/>
                  </a:cubicBezTo>
                  <a:cubicBezTo>
                    <a:pt x="660" y="1275"/>
                    <a:pt x="667" y="1280"/>
                    <a:pt x="671" y="1288"/>
                  </a:cubicBezTo>
                  <a:cubicBezTo>
                    <a:pt x="687" y="1314"/>
                    <a:pt x="711" y="1331"/>
                    <a:pt x="738" y="1331"/>
                  </a:cubicBezTo>
                  <a:cubicBezTo>
                    <a:pt x="784" y="1331"/>
                    <a:pt x="822" y="1282"/>
                    <a:pt x="822" y="1221"/>
                  </a:cubicBezTo>
                  <a:cubicBezTo>
                    <a:pt x="822" y="1161"/>
                    <a:pt x="784" y="1111"/>
                    <a:pt x="738" y="1111"/>
                  </a:cubicBezTo>
                  <a:cubicBezTo>
                    <a:pt x="716" y="1111"/>
                    <a:pt x="696" y="1122"/>
                    <a:pt x="681" y="1140"/>
                  </a:cubicBezTo>
                  <a:cubicBezTo>
                    <a:pt x="676" y="1147"/>
                    <a:pt x="671" y="1155"/>
                    <a:pt x="667" y="1163"/>
                  </a:cubicBezTo>
                  <a:cubicBezTo>
                    <a:pt x="666" y="1163"/>
                    <a:pt x="666" y="1163"/>
                    <a:pt x="666" y="1163"/>
                  </a:cubicBezTo>
                  <a:cubicBezTo>
                    <a:pt x="660" y="1170"/>
                    <a:pt x="651" y="1174"/>
                    <a:pt x="642" y="1174"/>
                  </a:cubicBezTo>
                  <a:cubicBezTo>
                    <a:pt x="636" y="1174"/>
                    <a:pt x="630" y="1172"/>
                    <a:pt x="624" y="1169"/>
                  </a:cubicBezTo>
                  <a:cubicBezTo>
                    <a:pt x="624" y="813"/>
                    <a:pt x="624" y="813"/>
                    <a:pt x="624" y="813"/>
                  </a:cubicBezTo>
                  <a:cubicBezTo>
                    <a:pt x="290" y="813"/>
                    <a:pt x="290" y="813"/>
                    <a:pt x="290" y="813"/>
                  </a:cubicBezTo>
                  <a:cubicBezTo>
                    <a:pt x="284" y="806"/>
                    <a:pt x="283" y="796"/>
                    <a:pt x="286" y="787"/>
                  </a:cubicBezTo>
                  <a:cubicBezTo>
                    <a:pt x="288" y="779"/>
                    <a:pt x="294" y="772"/>
                    <a:pt x="302" y="768"/>
                  </a:cubicBezTo>
                  <a:cubicBezTo>
                    <a:pt x="328" y="753"/>
                    <a:pt x="344" y="729"/>
                    <a:pt x="344" y="702"/>
                  </a:cubicBezTo>
                  <a:cubicBezTo>
                    <a:pt x="344" y="655"/>
                    <a:pt x="295" y="618"/>
                    <a:pt x="235" y="618"/>
                  </a:cubicBezTo>
                  <a:cubicBezTo>
                    <a:pt x="174" y="618"/>
                    <a:pt x="125" y="655"/>
                    <a:pt x="125" y="702"/>
                  </a:cubicBezTo>
                  <a:cubicBezTo>
                    <a:pt x="125" y="723"/>
                    <a:pt x="136" y="743"/>
                    <a:pt x="154" y="758"/>
                  </a:cubicBezTo>
                  <a:cubicBezTo>
                    <a:pt x="161" y="764"/>
                    <a:pt x="168" y="769"/>
                    <a:pt x="176" y="773"/>
                  </a:cubicBezTo>
                  <a:cubicBezTo>
                    <a:pt x="177" y="773"/>
                    <a:pt x="177" y="773"/>
                    <a:pt x="177" y="773"/>
                  </a:cubicBezTo>
                  <a:cubicBezTo>
                    <a:pt x="188" y="784"/>
                    <a:pt x="190" y="800"/>
                    <a:pt x="183" y="813"/>
                  </a:cubicBezTo>
                  <a:cubicBezTo>
                    <a:pt x="87" y="813"/>
                    <a:pt x="87" y="813"/>
                    <a:pt x="87" y="813"/>
                  </a:cubicBezTo>
                  <a:cubicBezTo>
                    <a:pt x="87" y="795"/>
                    <a:pt x="87" y="795"/>
                    <a:pt x="87" y="795"/>
                  </a:cubicBezTo>
                  <a:cubicBezTo>
                    <a:pt x="158" y="795"/>
                    <a:pt x="158" y="795"/>
                    <a:pt x="158" y="795"/>
                  </a:cubicBezTo>
                  <a:cubicBezTo>
                    <a:pt x="131" y="775"/>
                    <a:pt x="116" y="743"/>
                    <a:pt x="115" y="709"/>
                  </a:cubicBezTo>
                  <a:cubicBezTo>
                    <a:pt x="115" y="647"/>
                    <a:pt x="170" y="597"/>
                    <a:pt x="237" y="597"/>
                  </a:cubicBezTo>
                  <a:cubicBezTo>
                    <a:pt x="304" y="597"/>
                    <a:pt x="358" y="647"/>
                    <a:pt x="358" y="709"/>
                  </a:cubicBezTo>
                  <a:cubicBezTo>
                    <a:pt x="358" y="743"/>
                    <a:pt x="342" y="775"/>
                    <a:pt x="315" y="795"/>
                  </a:cubicBezTo>
                  <a:cubicBezTo>
                    <a:pt x="624" y="795"/>
                    <a:pt x="624" y="795"/>
                    <a:pt x="624" y="795"/>
                  </a:cubicBezTo>
                  <a:cubicBezTo>
                    <a:pt x="624" y="441"/>
                    <a:pt x="624" y="441"/>
                    <a:pt x="624" y="441"/>
                  </a:cubicBezTo>
                  <a:cubicBezTo>
                    <a:pt x="629" y="436"/>
                    <a:pt x="636" y="433"/>
                    <a:pt x="643" y="433"/>
                  </a:cubicBezTo>
                  <a:cubicBezTo>
                    <a:pt x="646" y="433"/>
                    <a:pt x="649" y="434"/>
                    <a:pt x="652" y="435"/>
                  </a:cubicBezTo>
                  <a:cubicBezTo>
                    <a:pt x="660" y="437"/>
                    <a:pt x="667" y="443"/>
                    <a:pt x="671" y="450"/>
                  </a:cubicBezTo>
                  <a:cubicBezTo>
                    <a:pt x="686" y="476"/>
                    <a:pt x="711" y="493"/>
                    <a:pt x="738" y="493"/>
                  </a:cubicBezTo>
                  <a:cubicBezTo>
                    <a:pt x="784" y="493"/>
                    <a:pt x="822" y="444"/>
                    <a:pt x="822" y="384"/>
                  </a:cubicBezTo>
                  <a:cubicBezTo>
                    <a:pt x="822" y="323"/>
                    <a:pt x="784" y="274"/>
                    <a:pt x="738" y="274"/>
                  </a:cubicBezTo>
                  <a:cubicBezTo>
                    <a:pt x="716" y="274"/>
                    <a:pt x="696" y="285"/>
                    <a:pt x="681" y="303"/>
                  </a:cubicBezTo>
                  <a:cubicBezTo>
                    <a:pt x="675" y="310"/>
                    <a:pt x="671" y="317"/>
                    <a:pt x="667" y="325"/>
                  </a:cubicBezTo>
                  <a:cubicBezTo>
                    <a:pt x="666" y="330"/>
                    <a:pt x="666" y="330"/>
                    <a:pt x="666" y="330"/>
                  </a:cubicBezTo>
                  <a:cubicBezTo>
                    <a:pt x="666" y="330"/>
                    <a:pt x="658" y="337"/>
                    <a:pt x="645" y="337"/>
                  </a:cubicBezTo>
                  <a:cubicBezTo>
                    <a:pt x="638" y="337"/>
                    <a:pt x="631" y="335"/>
                    <a:pt x="624" y="331"/>
                  </a:cubicBezTo>
                  <a:cubicBezTo>
                    <a:pt x="624" y="0"/>
                    <a:pt x="624" y="0"/>
                    <a:pt x="624" y="0"/>
                  </a:cubicBezTo>
                </a:path>
              </a:pathLst>
            </a:custGeom>
            <a:solidFill>
              <a:srgbClr val="4B62E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0" name="ïṥ1ídé">
              <a:extLst>
                <a:ext uri="{FF2B5EF4-FFF2-40B4-BE49-F238E27FC236}">
                  <a16:creationId xmlns:a16="http://schemas.microsoft.com/office/drawing/2014/main" id="{14BD713B-E061-4ACF-ACB8-FEEC37001E02}"/>
                </a:ext>
              </a:extLst>
            </p:cNvPr>
            <p:cNvSpPr/>
            <p:nvPr/>
          </p:nvSpPr>
          <p:spPr bwMode="auto">
            <a:xfrm>
              <a:off x="5730876" y="1709738"/>
              <a:ext cx="909638" cy="1169988"/>
            </a:xfrm>
            <a:custGeom>
              <a:avLst/>
              <a:gdLst>
                <a:gd name="T0" fmla="*/ 450 w 618"/>
                <a:gd name="T1" fmla="*/ 0 h 796"/>
                <a:gd name="T2" fmla="*/ 450 w 618"/>
                <a:gd name="T3" fmla="*/ 0 h 796"/>
                <a:gd name="T4" fmla="*/ 0 w 618"/>
                <a:gd name="T5" fmla="*/ 0 h 796"/>
                <a:gd name="T6" fmla="*/ 0 w 618"/>
                <a:gd name="T7" fmla="*/ 304 h 796"/>
                <a:gd name="T8" fmla="*/ 88 w 618"/>
                <a:gd name="T9" fmla="*/ 260 h 796"/>
                <a:gd name="T10" fmla="*/ 202 w 618"/>
                <a:gd name="T11" fmla="*/ 382 h 796"/>
                <a:gd name="T12" fmla="*/ 88 w 618"/>
                <a:gd name="T13" fmla="*/ 503 h 796"/>
                <a:gd name="T14" fmla="*/ 0 w 618"/>
                <a:gd name="T15" fmla="*/ 459 h 796"/>
                <a:gd name="T16" fmla="*/ 0 w 618"/>
                <a:gd name="T17" fmla="*/ 796 h 796"/>
                <a:gd name="T18" fmla="*/ 364 w 618"/>
                <a:gd name="T19" fmla="*/ 796 h 796"/>
                <a:gd name="T20" fmla="*/ 321 w 618"/>
                <a:gd name="T21" fmla="*/ 710 h 796"/>
                <a:gd name="T22" fmla="*/ 443 w 618"/>
                <a:gd name="T23" fmla="*/ 597 h 796"/>
                <a:gd name="T24" fmla="*/ 443 w 618"/>
                <a:gd name="T25" fmla="*/ 597 h 796"/>
                <a:gd name="T26" fmla="*/ 524 w 618"/>
                <a:gd name="T27" fmla="*/ 627 h 796"/>
                <a:gd name="T28" fmla="*/ 541 w 618"/>
                <a:gd name="T29" fmla="*/ 777 h 796"/>
                <a:gd name="T30" fmla="*/ 524 w 618"/>
                <a:gd name="T31" fmla="*/ 794 h 796"/>
                <a:gd name="T32" fmla="*/ 524 w 618"/>
                <a:gd name="T33" fmla="*/ 796 h 796"/>
                <a:gd name="T34" fmla="*/ 603 w 618"/>
                <a:gd name="T35" fmla="*/ 796 h 796"/>
                <a:gd name="T36" fmla="*/ 603 w 618"/>
                <a:gd name="T37" fmla="*/ 796 h 796"/>
                <a:gd name="T38" fmla="*/ 618 w 618"/>
                <a:gd name="T39" fmla="*/ 796 h 796"/>
                <a:gd name="T40" fmla="*/ 618 w 618"/>
                <a:gd name="T41" fmla="*/ 569 h 796"/>
                <a:gd name="T42" fmla="*/ 609 w 618"/>
                <a:gd name="T43" fmla="*/ 559 h 796"/>
                <a:gd name="T44" fmla="*/ 603 w 618"/>
                <a:gd name="T45" fmla="*/ 559 h 796"/>
                <a:gd name="T46" fmla="*/ 603 w 618"/>
                <a:gd name="T47" fmla="*/ 549 h 796"/>
                <a:gd name="T48" fmla="*/ 600 w 618"/>
                <a:gd name="T49" fmla="*/ 549 h 796"/>
                <a:gd name="T50" fmla="*/ 600 w 618"/>
                <a:gd name="T51" fmla="*/ 150 h 796"/>
                <a:gd name="T52" fmla="*/ 450 w 618"/>
                <a:gd name="T53" fmla="*/ 0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8" h="796">
                  <a:moveTo>
                    <a:pt x="450" y="0"/>
                  </a:moveTo>
                  <a:cubicBezTo>
                    <a:pt x="450" y="0"/>
                    <a:pt x="450" y="0"/>
                    <a:pt x="450" y="0"/>
                  </a:cubicBezTo>
                  <a:cubicBezTo>
                    <a:pt x="0" y="0"/>
                    <a:pt x="0" y="0"/>
                    <a:pt x="0" y="0"/>
                  </a:cubicBezTo>
                  <a:cubicBezTo>
                    <a:pt x="0" y="304"/>
                    <a:pt x="0" y="304"/>
                    <a:pt x="0" y="304"/>
                  </a:cubicBezTo>
                  <a:cubicBezTo>
                    <a:pt x="21" y="277"/>
                    <a:pt x="53" y="260"/>
                    <a:pt x="88" y="260"/>
                  </a:cubicBezTo>
                  <a:cubicBezTo>
                    <a:pt x="151" y="260"/>
                    <a:pt x="202" y="315"/>
                    <a:pt x="202" y="382"/>
                  </a:cubicBezTo>
                  <a:cubicBezTo>
                    <a:pt x="202" y="449"/>
                    <a:pt x="151" y="503"/>
                    <a:pt x="88" y="503"/>
                  </a:cubicBezTo>
                  <a:cubicBezTo>
                    <a:pt x="53" y="503"/>
                    <a:pt x="21" y="487"/>
                    <a:pt x="0" y="459"/>
                  </a:cubicBezTo>
                  <a:cubicBezTo>
                    <a:pt x="0" y="796"/>
                    <a:pt x="0" y="796"/>
                    <a:pt x="0" y="796"/>
                  </a:cubicBezTo>
                  <a:cubicBezTo>
                    <a:pt x="364" y="796"/>
                    <a:pt x="364" y="796"/>
                    <a:pt x="364" y="796"/>
                  </a:cubicBezTo>
                  <a:cubicBezTo>
                    <a:pt x="337" y="776"/>
                    <a:pt x="322" y="744"/>
                    <a:pt x="321" y="710"/>
                  </a:cubicBezTo>
                  <a:cubicBezTo>
                    <a:pt x="321" y="648"/>
                    <a:pt x="376" y="597"/>
                    <a:pt x="443" y="597"/>
                  </a:cubicBezTo>
                  <a:cubicBezTo>
                    <a:pt x="443" y="597"/>
                    <a:pt x="443" y="597"/>
                    <a:pt x="443" y="597"/>
                  </a:cubicBezTo>
                  <a:cubicBezTo>
                    <a:pt x="473" y="597"/>
                    <a:pt x="501" y="608"/>
                    <a:pt x="524" y="627"/>
                  </a:cubicBezTo>
                  <a:cubicBezTo>
                    <a:pt x="570" y="663"/>
                    <a:pt x="578" y="731"/>
                    <a:pt x="541" y="777"/>
                  </a:cubicBezTo>
                  <a:cubicBezTo>
                    <a:pt x="536" y="783"/>
                    <a:pt x="530" y="789"/>
                    <a:pt x="524" y="794"/>
                  </a:cubicBezTo>
                  <a:cubicBezTo>
                    <a:pt x="524" y="796"/>
                    <a:pt x="524" y="796"/>
                    <a:pt x="524" y="796"/>
                  </a:cubicBezTo>
                  <a:cubicBezTo>
                    <a:pt x="603" y="796"/>
                    <a:pt x="603" y="796"/>
                    <a:pt x="603" y="796"/>
                  </a:cubicBezTo>
                  <a:cubicBezTo>
                    <a:pt x="603" y="796"/>
                    <a:pt x="603" y="796"/>
                    <a:pt x="603" y="796"/>
                  </a:cubicBezTo>
                  <a:cubicBezTo>
                    <a:pt x="618" y="796"/>
                    <a:pt x="618" y="796"/>
                    <a:pt x="618" y="796"/>
                  </a:cubicBezTo>
                  <a:cubicBezTo>
                    <a:pt x="618" y="569"/>
                    <a:pt x="618" y="569"/>
                    <a:pt x="618" y="569"/>
                  </a:cubicBezTo>
                  <a:cubicBezTo>
                    <a:pt x="618" y="564"/>
                    <a:pt x="614" y="559"/>
                    <a:pt x="609" y="559"/>
                  </a:cubicBezTo>
                  <a:cubicBezTo>
                    <a:pt x="603" y="559"/>
                    <a:pt x="603" y="559"/>
                    <a:pt x="603" y="559"/>
                  </a:cubicBezTo>
                  <a:cubicBezTo>
                    <a:pt x="603" y="549"/>
                    <a:pt x="603" y="549"/>
                    <a:pt x="603" y="549"/>
                  </a:cubicBezTo>
                  <a:cubicBezTo>
                    <a:pt x="600" y="549"/>
                    <a:pt x="600" y="549"/>
                    <a:pt x="600" y="549"/>
                  </a:cubicBezTo>
                  <a:cubicBezTo>
                    <a:pt x="600" y="150"/>
                    <a:pt x="600" y="150"/>
                    <a:pt x="600" y="150"/>
                  </a:cubicBezTo>
                  <a:cubicBezTo>
                    <a:pt x="600" y="68"/>
                    <a:pt x="533" y="0"/>
                    <a:pt x="450" y="0"/>
                  </a:cubicBezTo>
                </a:path>
              </a:pathLst>
            </a:custGeom>
            <a:solidFill>
              <a:srgbClr val="4B62E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1" name="işļíḋé">
              <a:extLst>
                <a:ext uri="{FF2B5EF4-FFF2-40B4-BE49-F238E27FC236}">
                  <a16:creationId xmlns:a16="http://schemas.microsoft.com/office/drawing/2014/main" id="{AD8627A4-ED80-49B6-B3D1-023D65008A0A}"/>
                </a:ext>
              </a:extLst>
            </p:cNvPr>
            <p:cNvSpPr/>
            <p:nvPr/>
          </p:nvSpPr>
          <p:spPr bwMode="auto">
            <a:xfrm>
              <a:off x="5726113" y="4511675"/>
              <a:ext cx="846138" cy="781050"/>
            </a:xfrm>
            <a:custGeom>
              <a:avLst/>
              <a:gdLst>
                <a:gd name="T0" fmla="*/ 0 w 576"/>
                <a:gd name="T1" fmla="*/ 0 h 531"/>
                <a:gd name="T2" fmla="*/ 0 w 576"/>
                <a:gd name="T3" fmla="*/ 66 h 531"/>
                <a:gd name="T4" fmla="*/ 87 w 576"/>
                <a:gd name="T5" fmla="*/ 22 h 531"/>
                <a:gd name="T6" fmla="*/ 200 w 576"/>
                <a:gd name="T7" fmla="*/ 144 h 531"/>
                <a:gd name="T8" fmla="*/ 87 w 576"/>
                <a:gd name="T9" fmla="*/ 265 h 531"/>
                <a:gd name="T10" fmla="*/ 0 w 576"/>
                <a:gd name="T11" fmla="*/ 221 h 531"/>
                <a:gd name="T12" fmla="*/ 0 w 576"/>
                <a:gd name="T13" fmla="*/ 486 h 531"/>
                <a:gd name="T14" fmla="*/ 0 w 576"/>
                <a:gd name="T15" fmla="*/ 514 h 531"/>
                <a:gd name="T16" fmla="*/ 495 w 576"/>
                <a:gd name="T17" fmla="*/ 531 h 531"/>
                <a:gd name="T18" fmla="*/ 576 w 576"/>
                <a:gd name="T19" fmla="*/ 394 h 531"/>
                <a:gd name="T20" fmla="*/ 576 w 576"/>
                <a:gd name="T21" fmla="*/ 69 h 531"/>
                <a:gd name="T22" fmla="*/ 501 w 576"/>
                <a:gd name="T23" fmla="*/ 66 h 531"/>
                <a:gd name="T24" fmla="*/ 501 w 576"/>
                <a:gd name="T25" fmla="*/ 390 h 531"/>
                <a:gd name="T26" fmla="*/ 501 w 576"/>
                <a:gd name="T27" fmla="*/ 390 h 531"/>
                <a:gd name="T28" fmla="*/ 501 w 576"/>
                <a:gd name="T29" fmla="*/ 66 h 531"/>
                <a:gd name="T30" fmla="*/ 246 w 576"/>
                <a:gd name="T31" fmla="*/ 40 h 531"/>
                <a:gd name="T32" fmla="*/ 0 w 576"/>
                <a:gd name="T33"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6" h="531">
                  <a:moveTo>
                    <a:pt x="0" y="0"/>
                  </a:moveTo>
                  <a:cubicBezTo>
                    <a:pt x="0" y="66"/>
                    <a:pt x="0" y="66"/>
                    <a:pt x="0" y="66"/>
                  </a:cubicBezTo>
                  <a:cubicBezTo>
                    <a:pt x="20" y="39"/>
                    <a:pt x="52" y="22"/>
                    <a:pt x="87" y="22"/>
                  </a:cubicBezTo>
                  <a:cubicBezTo>
                    <a:pt x="149" y="22"/>
                    <a:pt x="200" y="77"/>
                    <a:pt x="200" y="144"/>
                  </a:cubicBezTo>
                  <a:cubicBezTo>
                    <a:pt x="200" y="211"/>
                    <a:pt x="149" y="265"/>
                    <a:pt x="87" y="265"/>
                  </a:cubicBezTo>
                  <a:cubicBezTo>
                    <a:pt x="52" y="265"/>
                    <a:pt x="20" y="249"/>
                    <a:pt x="0" y="221"/>
                  </a:cubicBezTo>
                  <a:cubicBezTo>
                    <a:pt x="0" y="486"/>
                    <a:pt x="0" y="486"/>
                    <a:pt x="0" y="486"/>
                  </a:cubicBezTo>
                  <a:cubicBezTo>
                    <a:pt x="0" y="514"/>
                    <a:pt x="0" y="514"/>
                    <a:pt x="0" y="514"/>
                  </a:cubicBezTo>
                  <a:cubicBezTo>
                    <a:pt x="197" y="514"/>
                    <a:pt x="372" y="521"/>
                    <a:pt x="495" y="531"/>
                  </a:cubicBezTo>
                  <a:cubicBezTo>
                    <a:pt x="543" y="504"/>
                    <a:pt x="576" y="453"/>
                    <a:pt x="576" y="394"/>
                  </a:cubicBezTo>
                  <a:cubicBezTo>
                    <a:pt x="576" y="69"/>
                    <a:pt x="576" y="69"/>
                    <a:pt x="576" y="69"/>
                  </a:cubicBezTo>
                  <a:cubicBezTo>
                    <a:pt x="551" y="68"/>
                    <a:pt x="526" y="67"/>
                    <a:pt x="501" y="66"/>
                  </a:cubicBezTo>
                  <a:cubicBezTo>
                    <a:pt x="501" y="390"/>
                    <a:pt x="501" y="390"/>
                    <a:pt x="501" y="390"/>
                  </a:cubicBezTo>
                  <a:cubicBezTo>
                    <a:pt x="501" y="390"/>
                    <a:pt x="501" y="390"/>
                    <a:pt x="501" y="390"/>
                  </a:cubicBezTo>
                  <a:cubicBezTo>
                    <a:pt x="501" y="66"/>
                    <a:pt x="501" y="66"/>
                    <a:pt x="501" y="66"/>
                  </a:cubicBezTo>
                  <a:cubicBezTo>
                    <a:pt x="415" y="61"/>
                    <a:pt x="330" y="52"/>
                    <a:pt x="246" y="40"/>
                  </a:cubicBezTo>
                  <a:cubicBezTo>
                    <a:pt x="163" y="29"/>
                    <a:pt x="81" y="16"/>
                    <a:pt x="0"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2" name="ïṧ1ïḋe">
              <a:extLst>
                <a:ext uri="{FF2B5EF4-FFF2-40B4-BE49-F238E27FC236}">
                  <a16:creationId xmlns:a16="http://schemas.microsoft.com/office/drawing/2014/main" id="{BE26EFCB-C874-44BF-BF99-0B7E2153C36F}"/>
                </a:ext>
              </a:extLst>
            </p:cNvPr>
            <p:cNvSpPr/>
            <p:nvPr/>
          </p:nvSpPr>
          <p:spPr bwMode="auto">
            <a:xfrm>
              <a:off x="5726113" y="5267325"/>
              <a:ext cx="727075" cy="52388"/>
            </a:xfrm>
            <a:custGeom>
              <a:avLst/>
              <a:gdLst>
                <a:gd name="T0" fmla="*/ 0 w 495"/>
                <a:gd name="T1" fmla="*/ 0 h 36"/>
                <a:gd name="T2" fmla="*/ 0 w 495"/>
                <a:gd name="T3" fmla="*/ 36 h 36"/>
                <a:gd name="T4" fmla="*/ 420 w 495"/>
                <a:gd name="T5" fmla="*/ 36 h 36"/>
                <a:gd name="T6" fmla="*/ 495 w 495"/>
                <a:gd name="T7" fmla="*/ 17 h 36"/>
                <a:gd name="T8" fmla="*/ 0 w 495"/>
                <a:gd name="T9" fmla="*/ 0 h 36"/>
              </a:gdLst>
              <a:ahLst/>
              <a:cxnLst>
                <a:cxn ang="0">
                  <a:pos x="T0" y="T1"/>
                </a:cxn>
                <a:cxn ang="0">
                  <a:pos x="T2" y="T3"/>
                </a:cxn>
                <a:cxn ang="0">
                  <a:pos x="T4" y="T5"/>
                </a:cxn>
                <a:cxn ang="0">
                  <a:pos x="T6" y="T7"/>
                </a:cxn>
                <a:cxn ang="0">
                  <a:pos x="T8" y="T9"/>
                </a:cxn>
              </a:cxnLst>
              <a:rect l="0" t="0" r="r" b="b"/>
              <a:pathLst>
                <a:path w="495" h="36">
                  <a:moveTo>
                    <a:pt x="0" y="0"/>
                  </a:moveTo>
                  <a:cubicBezTo>
                    <a:pt x="0" y="36"/>
                    <a:pt x="0" y="36"/>
                    <a:pt x="0" y="36"/>
                  </a:cubicBezTo>
                  <a:cubicBezTo>
                    <a:pt x="420" y="36"/>
                    <a:pt x="420" y="36"/>
                    <a:pt x="420" y="36"/>
                  </a:cubicBezTo>
                  <a:cubicBezTo>
                    <a:pt x="447" y="36"/>
                    <a:pt x="472" y="29"/>
                    <a:pt x="495" y="17"/>
                  </a:cubicBezTo>
                  <a:cubicBezTo>
                    <a:pt x="372" y="7"/>
                    <a:pt x="197" y="0"/>
                    <a:pt x="0" y="0"/>
                  </a:cubicBezTo>
                </a:path>
              </a:pathLst>
            </a:custGeom>
            <a:solidFill>
              <a:srgbClr val="4B62E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3" name="îsḷîḓè">
              <a:extLst>
                <a:ext uri="{FF2B5EF4-FFF2-40B4-BE49-F238E27FC236}">
                  <a16:creationId xmlns:a16="http://schemas.microsoft.com/office/drawing/2014/main" id="{537A060A-111E-43EB-BA0D-6F4C42019C31}"/>
                </a:ext>
              </a:extLst>
            </p:cNvPr>
            <p:cNvSpPr/>
            <p:nvPr/>
          </p:nvSpPr>
          <p:spPr bwMode="auto">
            <a:xfrm>
              <a:off x="5726113" y="3840163"/>
              <a:ext cx="846138" cy="773113"/>
            </a:xfrm>
            <a:custGeom>
              <a:avLst/>
              <a:gdLst>
                <a:gd name="T0" fmla="*/ 404 w 576"/>
                <a:gd name="T1" fmla="*/ 0 h 526"/>
                <a:gd name="T2" fmla="*/ 294 w 576"/>
                <a:gd name="T3" fmla="*/ 84 h 526"/>
                <a:gd name="T4" fmla="*/ 323 w 576"/>
                <a:gd name="T5" fmla="*/ 140 h 526"/>
                <a:gd name="T6" fmla="*/ 345 w 576"/>
                <a:gd name="T7" fmla="*/ 154 h 526"/>
                <a:gd name="T8" fmla="*/ 346 w 576"/>
                <a:gd name="T9" fmla="*/ 155 h 526"/>
                <a:gd name="T10" fmla="*/ 353 w 576"/>
                <a:gd name="T11" fmla="*/ 195 h 526"/>
                <a:gd name="T12" fmla="*/ 0 w 576"/>
                <a:gd name="T13" fmla="*/ 195 h 526"/>
                <a:gd name="T14" fmla="*/ 0 w 576"/>
                <a:gd name="T15" fmla="*/ 457 h 526"/>
                <a:gd name="T16" fmla="*/ 246 w 576"/>
                <a:gd name="T17" fmla="*/ 497 h 526"/>
                <a:gd name="T18" fmla="*/ 501 w 576"/>
                <a:gd name="T19" fmla="*/ 523 h 526"/>
                <a:gd name="T20" fmla="*/ 501 w 576"/>
                <a:gd name="T21" fmla="*/ 195 h 526"/>
                <a:gd name="T22" fmla="*/ 501 w 576"/>
                <a:gd name="T23" fmla="*/ 523 h 526"/>
                <a:gd name="T24" fmla="*/ 576 w 576"/>
                <a:gd name="T25" fmla="*/ 526 h 526"/>
                <a:gd name="T26" fmla="*/ 576 w 576"/>
                <a:gd name="T27" fmla="*/ 195 h 526"/>
                <a:gd name="T28" fmla="*/ 576 w 576"/>
                <a:gd name="T29" fmla="*/ 178 h 526"/>
                <a:gd name="T30" fmla="*/ 501 w 576"/>
                <a:gd name="T31" fmla="*/ 178 h 526"/>
                <a:gd name="T32" fmla="*/ 501 w 576"/>
                <a:gd name="T33" fmla="*/ 163 h 526"/>
                <a:gd name="T34" fmla="*/ 501 w 576"/>
                <a:gd name="T35" fmla="*/ 123 h 526"/>
                <a:gd name="T36" fmla="*/ 505 w 576"/>
                <a:gd name="T37" fmla="*/ 115 h 526"/>
                <a:gd name="T38" fmla="*/ 514 w 576"/>
                <a:gd name="T39" fmla="*/ 83 h 526"/>
                <a:gd name="T40" fmla="*/ 510 w 576"/>
                <a:gd name="T41" fmla="*/ 62 h 526"/>
                <a:gd name="T42" fmla="*/ 501 w 576"/>
                <a:gd name="T43" fmla="*/ 44 h 526"/>
                <a:gd name="T44" fmla="*/ 404 w 576"/>
                <a:gd name="T45" fmla="*/ 0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76" h="526">
                  <a:moveTo>
                    <a:pt x="404" y="0"/>
                  </a:moveTo>
                  <a:cubicBezTo>
                    <a:pt x="343" y="0"/>
                    <a:pt x="294" y="37"/>
                    <a:pt x="294" y="84"/>
                  </a:cubicBezTo>
                  <a:cubicBezTo>
                    <a:pt x="294" y="105"/>
                    <a:pt x="305" y="125"/>
                    <a:pt x="323" y="140"/>
                  </a:cubicBezTo>
                  <a:cubicBezTo>
                    <a:pt x="330" y="146"/>
                    <a:pt x="337" y="151"/>
                    <a:pt x="345" y="154"/>
                  </a:cubicBezTo>
                  <a:cubicBezTo>
                    <a:pt x="346" y="155"/>
                    <a:pt x="346" y="155"/>
                    <a:pt x="346" y="155"/>
                  </a:cubicBezTo>
                  <a:cubicBezTo>
                    <a:pt x="357" y="166"/>
                    <a:pt x="359" y="182"/>
                    <a:pt x="353" y="195"/>
                  </a:cubicBezTo>
                  <a:cubicBezTo>
                    <a:pt x="0" y="195"/>
                    <a:pt x="0" y="195"/>
                    <a:pt x="0" y="195"/>
                  </a:cubicBezTo>
                  <a:cubicBezTo>
                    <a:pt x="0" y="457"/>
                    <a:pt x="0" y="457"/>
                    <a:pt x="0" y="457"/>
                  </a:cubicBezTo>
                  <a:cubicBezTo>
                    <a:pt x="81" y="473"/>
                    <a:pt x="163" y="486"/>
                    <a:pt x="246" y="497"/>
                  </a:cubicBezTo>
                  <a:cubicBezTo>
                    <a:pt x="330" y="509"/>
                    <a:pt x="415" y="518"/>
                    <a:pt x="501" y="523"/>
                  </a:cubicBezTo>
                  <a:cubicBezTo>
                    <a:pt x="501" y="195"/>
                    <a:pt x="501" y="195"/>
                    <a:pt x="501" y="195"/>
                  </a:cubicBezTo>
                  <a:cubicBezTo>
                    <a:pt x="501" y="523"/>
                    <a:pt x="501" y="523"/>
                    <a:pt x="501" y="523"/>
                  </a:cubicBezTo>
                  <a:cubicBezTo>
                    <a:pt x="526" y="524"/>
                    <a:pt x="551" y="525"/>
                    <a:pt x="576" y="526"/>
                  </a:cubicBezTo>
                  <a:cubicBezTo>
                    <a:pt x="576" y="195"/>
                    <a:pt x="576" y="195"/>
                    <a:pt x="576" y="195"/>
                  </a:cubicBezTo>
                  <a:cubicBezTo>
                    <a:pt x="576" y="178"/>
                    <a:pt x="576" y="178"/>
                    <a:pt x="576" y="178"/>
                  </a:cubicBezTo>
                  <a:cubicBezTo>
                    <a:pt x="501" y="178"/>
                    <a:pt x="501" y="178"/>
                    <a:pt x="501" y="178"/>
                  </a:cubicBezTo>
                  <a:cubicBezTo>
                    <a:pt x="501" y="163"/>
                    <a:pt x="501" y="163"/>
                    <a:pt x="501" y="163"/>
                  </a:cubicBezTo>
                  <a:cubicBezTo>
                    <a:pt x="501" y="123"/>
                    <a:pt x="501" y="123"/>
                    <a:pt x="501" y="123"/>
                  </a:cubicBezTo>
                  <a:cubicBezTo>
                    <a:pt x="503" y="120"/>
                    <a:pt x="504" y="118"/>
                    <a:pt x="505" y="115"/>
                  </a:cubicBezTo>
                  <a:cubicBezTo>
                    <a:pt x="511" y="105"/>
                    <a:pt x="514" y="95"/>
                    <a:pt x="514" y="83"/>
                  </a:cubicBezTo>
                  <a:cubicBezTo>
                    <a:pt x="514" y="76"/>
                    <a:pt x="512" y="69"/>
                    <a:pt x="510" y="62"/>
                  </a:cubicBezTo>
                  <a:cubicBezTo>
                    <a:pt x="508" y="55"/>
                    <a:pt x="505" y="50"/>
                    <a:pt x="501" y="44"/>
                  </a:cubicBezTo>
                  <a:cubicBezTo>
                    <a:pt x="482" y="18"/>
                    <a:pt x="446" y="0"/>
                    <a:pt x="404" y="0"/>
                  </a:cubicBezTo>
                </a:path>
              </a:pathLst>
            </a:custGeom>
            <a:solidFill>
              <a:srgbClr val="4B62E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4" name="îsļídé">
              <a:extLst>
                <a:ext uri="{FF2B5EF4-FFF2-40B4-BE49-F238E27FC236}">
                  <a16:creationId xmlns:a16="http://schemas.microsoft.com/office/drawing/2014/main" id="{C042D316-B966-469A-B981-7BA2A068BA30}"/>
                </a:ext>
              </a:extLst>
            </p:cNvPr>
            <p:cNvSpPr/>
            <p:nvPr/>
          </p:nvSpPr>
          <p:spPr bwMode="auto">
            <a:xfrm>
              <a:off x="4791076" y="4102100"/>
              <a:ext cx="896938" cy="1195388"/>
            </a:xfrm>
            <a:custGeom>
              <a:avLst/>
              <a:gdLst>
                <a:gd name="T0" fmla="*/ 171 w 610"/>
                <a:gd name="T1" fmla="*/ 750 h 814"/>
                <a:gd name="T2" fmla="*/ 75 w 610"/>
                <a:gd name="T3" fmla="*/ 654 h 814"/>
                <a:gd name="T4" fmla="*/ 75 w 610"/>
                <a:gd name="T5" fmla="*/ 0 h 814"/>
                <a:gd name="T6" fmla="*/ 0 w 610"/>
                <a:gd name="T7" fmla="*/ 0 h 814"/>
                <a:gd name="T8" fmla="*/ 0 w 610"/>
                <a:gd name="T9" fmla="*/ 658 h 814"/>
                <a:gd name="T10" fmla="*/ 156 w 610"/>
                <a:gd name="T11" fmla="*/ 814 h 814"/>
                <a:gd name="T12" fmla="*/ 610 w 610"/>
                <a:gd name="T13" fmla="*/ 814 h 814"/>
                <a:gd name="T14" fmla="*/ 610 w 610"/>
                <a:gd name="T15" fmla="*/ 750 h 814"/>
                <a:gd name="T16" fmla="*/ 171 w 610"/>
                <a:gd name="T17" fmla="*/ 75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0" h="814">
                  <a:moveTo>
                    <a:pt x="171" y="750"/>
                  </a:moveTo>
                  <a:cubicBezTo>
                    <a:pt x="118" y="750"/>
                    <a:pt x="75" y="707"/>
                    <a:pt x="75" y="654"/>
                  </a:cubicBezTo>
                  <a:cubicBezTo>
                    <a:pt x="75" y="0"/>
                    <a:pt x="75" y="0"/>
                    <a:pt x="75" y="0"/>
                  </a:cubicBezTo>
                  <a:cubicBezTo>
                    <a:pt x="0" y="0"/>
                    <a:pt x="0" y="0"/>
                    <a:pt x="0" y="0"/>
                  </a:cubicBezTo>
                  <a:cubicBezTo>
                    <a:pt x="0" y="658"/>
                    <a:pt x="0" y="658"/>
                    <a:pt x="0" y="658"/>
                  </a:cubicBezTo>
                  <a:cubicBezTo>
                    <a:pt x="0" y="744"/>
                    <a:pt x="70" y="814"/>
                    <a:pt x="156" y="814"/>
                  </a:cubicBezTo>
                  <a:cubicBezTo>
                    <a:pt x="610" y="814"/>
                    <a:pt x="610" y="814"/>
                    <a:pt x="610" y="814"/>
                  </a:cubicBezTo>
                  <a:cubicBezTo>
                    <a:pt x="610" y="750"/>
                    <a:pt x="610" y="750"/>
                    <a:pt x="610" y="750"/>
                  </a:cubicBezTo>
                  <a:lnTo>
                    <a:pt x="171" y="750"/>
                  </a:lnTo>
                  <a:close/>
                </a:path>
              </a:pathLst>
            </a:custGeom>
            <a:solidFill>
              <a:srgbClr val="3A376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5" name="îślïďê">
              <a:extLst>
                <a:ext uri="{FF2B5EF4-FFF2-40B4-BE49-F238E27FC236}">
                  <a16:creationId xmlns:a16="http://schemas.microsoft.com/office/drawing/2014/main" id="{A8B1C4B6-1B07-4364-BDD3-FDD816F1B47D}"/>
                </a:ext>
              </a:extLst>
            </p:cNvPr>
            <p:cNvSpPr/>
            <p:nvPr/>
          </p:nvSpPr>
          <p:spPr bwMode="auto">
            <a:xfrm>
              <a:off x="4902201" y="3814763"/>
              <a:ext cx="1077913" cy="1389063"/>
            </a:xfrm>
            <a:custGeom>
              <a:avLst/>
              <a:gdLst>
                <a:gd name="T0" fmla="*/ 563 w 733"/>
                <a:gd name="T1" fmla="*/ 654 h 945"/>
                <a:gd name="T2" fmla="*/ 582 w 733"/>
                <a:gd name="T3" fmla="*/ 670 h 945"/>
                <a:gd name="T4" fmla="*/ 649 w 733"/>
                <a:gd name="T5" fmla="*/ 713 h 945"/>
                <a:gd name="T6" fmla="*/ 733 w 733"/>
                <a:gd name="T7" fmla="*/ 603 h 945"/>
                <a:gd name="T8" fmla="*/ 649 w 733"/>
                <a:gd name="T9" fmla="*/ 494 h 945"/>
                <a:gd name="T10" fmla="*/ 593 w 733"/>
                <a:gd name="T11" fmla="*/ 522 h 945"/>
                <a:gd name="T12" fmla="*/ 578 w 733"/>
                <a:gd name="T13" fmla="*/ 545 h 945"/>
                <a:gd name="T14" fmla="*/ 577 w 733"/>
                <a:gd name="T15" fmla="*/ 550 h 945"/>
                <a:gd name="T16" fmla="*/ 535 w 733"/>
                <a:gd name="T17" fmla="*/ 551 h 945"/>
                <a:gd name="T18" fmla="*/ 535 w 733"/>
                <a:gd name="T19" fmla="*/ 195 h 945"/>
                <a:gd name="T20" fmla="*/ 188 w 733"/>
                <a:gd name="T21" fmla="*/ 195 h 945"/>
                <a:gd name="T22" fmla="*/ 184 w 733"/>
                <a:gd name="T23" fmla="*/ 169 h 945"/>
                <a:gd name="T24" fmla="*/ 200 w 733"/>
                <a:gd name="T25" fmla="*/ 150 h 945"/>
                <a:gd name="T26" fmla="*/ 243 w 733"/>
                <a:gd name="T27" fmla="*/ 84 h 945"/>
                <a:gd name="T28" fmla="*/ 133 w 733"/>
                <a:gd name="T29" fmla="*/ 0 h 945"/>
                <a:gd name="T30" fmla="*/ 23 w 733"/>
                <a:gd name="T31" fmla="*/ 84 h 945"/>
                <a:gd name="T32" fmla="*/ 52 w 733"/>
                <a:gd name="T33" fmla="*/ 140 h 945"/>
                <a:gd name="T34" fmla="*/ 75 w 733"/>
                <a:gd name="T35" fmla="*/ 155 h 945"/>
                <a:gd name="T36" fmla="*/ 75 w 733"/>
                <a:gd name="T37" fmla="*/ 155 h 945"/>
                <a:gd name="T38" fmla="*/ 82 w 733"/>
                <a:gd name="T39" fmla="*/ 195 h 945"/>
                <a:gd name="T40" fmla="*/ 0 w 733"/>
                <a:gd name="T41" fmla="*/ 195 h 945"/>
                <a:gd name="T42" fmla="*/ 0 w 733"/>
                <a:gd name="T43" fmla="*/ 849 h 945"/>
                <a:gd name="T44" fmla="*/ 96 w 733"/>
                <a:gd name="T45" fmla="*/ 945 h 945"/>
                <a:gd name="T46" fmla="*/ 535 w 733"/>
                <a:gd name="T47" fmla="*/ 945 h 945"/>
                <a:gd name="T48" fmla="*/ 535 w 733"/>
                <a:gd name="T49" fmla="*/ 660 h 945"/>
                <a:gd name="T50" fmla="*/ 563 w 733"/>
                <a:gd name="T51" fmla="*/ 654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3" h="945">
                  <a:moveTo>
                    <a:pt x="563" y="654"/>
                  </a:moveTo>
                  <a:cubicBezTo>
                    <a:pt x="571" y="657"/>
                    <a:pt x="578" y="662"/>
                    <a:pt x="582" y="670"/>
                  </a:cubicBezTo>
                  <a:cubicBezTo>
                    <a:pt x="598" y="696"/>
                    <a:pt x="622" y="713"/>
                    <a:pt x="649" y="713"/>
                  </a:cubicBezTo>
                  <a:cubicBezTo>
                    <a:pt x="695" y="713"/>
                    <a:pt x="733" y="664"/>
                    <a:pt x="733" y="603"/>
                  </a:cubicBezTo>
                  <a:cubicBezTo>
                    <a:pt x="733" y="542"/>
                    <a:pt x="695" y="494"/>
                    <a:pt x="649" y="494"/>
                  </a:cubicBezTo>
                  <a:cubicBezTo>
                    <a:pt x="627" y="494"/>
                    <a:pt x="607" y="505"/>
                    <a:pt x="593" y="522"/>
                  </a:cubicBezTo>
                  <a:cubicBezTo>
                    <a:pt x="587" y="529"/>
                    <a:pt x="582" y="537"/>
                    <a:pt x="578" y="545"/>
                  </a:cubicBezTo>
                  <a:cubicBezTo>
                    <a:pt x="577" y="550"/>
                    <a:pt x="577" y="550"/>
                    <a:pt x="577" y="550"/>
                  </a:cubicBezTo>
                  <a:cubicBezTo>
                    <a:pt x="577" y="550"/>
                    <a:pt x="560" y="565"/>
                    <a:pt x="535" y="551"/>
                  </a:cubicBezTo>
                  <a:cubicBezTo>
                    <a:pt x="535" y="195"/>
                    <a:pt x="535" y="195"/>
                    <a:pt x="535" y="195"/>
                  </a:cubicBezTo>
                  <a:cubicBezTo>
                    <a:pt x="188" y="195"/>
                    <a:pt x="188" y="195"/>
                    <a:pt x="188" y="195"/>
                  </a:cubicBezTo>
                  <a:cubicBezTo>
                    <a:pt x="183" y="188"/>
                    <a:pt x="181" y="178"/>
                    <a:pt x="184" y="169"/>
                  </a:cubicBezTo>
                  <a:cubicBezTo>
                    <a:pt x="187" y="161"/>
                    <a:pt x="192" y="154"/>
                    <a:pt x="200" y="150"/>
                  </a:cubicBezTo>
                  <a:cubicBezTo>
                    <a:pt x="226" y="135"/>
                    <a:pt x="243" y="111"/>
                    <a:pt x="243" y="84"/>
                  </a:cubicBezTo>
                  <a:cubicBezTo>
                    <a:pt x="243" y="37"/>
                    <a:pt x="194" y="0"/>
                    <a:pt x="133" y="0"/>
                  </a:cubicBezTo>
                  <a:cubicBezTo>
                    <a:pt x="73" y="0"/>
                    <a:pt x="23" y="37"/>
                    <a:pt x="23" y="84"/>
                  </a:cubicBezTo>
                  <a:cubicBezTo>
                    <a:pt x="23" y="105"/>
                    <a:pt x="34" y="125"/>
                    <a:pt x="52" y="140"/>
                  </a:cubicBezTo>
                  <a:cubicBezTo>
                    <a:pt x="59" y="146"/>
                    <a:pt x="67" y="151"/>
                    <a:pt x="75" y="155"/>
                  </a:cubicBezTo>
                  <a:cubicBezTo>
                    <a:pt x="75" y="155"/>
                    <a:pt x="75" y="155"/>
                    <a:pt x="75" y="155"/>
                  </a:cubicBezTo>
                  <a:cubicBezTo>
                    <a:pt x="86" y="166"/>
                    <a:pt x="89" y="182"/>
                    <a:pt x="82" y="195"/>
                  </a:cubicBezTo>
                  <a:cubicBezTo>
                    <a:pt x="0" y="195"/>
                    <a:pt x="0" y="195"/>
                    <a:pt x="0" y="195"/>
                  </a:cubicBezTo>
                  <a:cubicBezTo>
                    <a:pt x="0" y="849"/>
                    <a:pt x="0" y="849"/>
                    <a:pt x="0" y="849"/>
                  </a:cubicBezTo>
                  <a:cubicBezTo>
                    <a:pt x="0" y="902"/>
                    <a:pt x="43" y="945"/>
                    <a:pt x="96" y="945"/>
                  </a:cubicBezTo>
                  <a:cubicBezTo>
                    <a:pt x="535" y="945"/>
                    <a:pt x="535" y="945"/>
                    <a:pt x="535" y="945"/>
                  </a:cubicBezTo>
                  <a:cubicBezTo>
                    <a:pt x="535" y="660"/>
                    <a:pt x="535" y="660"/>
                    <a:pt x="535" y="660"/>
                  </a:cubicBezTo>
                  <a:cubicBezTo>
                    <a:pt x="543" y="653"/>
                    <a:pt x="554" y="651"/>
                    <a:pt x="563" y="654"/>
                  </a:cubicBezTo>
                  <a:close/>
                </a:path>
              </a:pathLst>
            </a:custGeom>
            <a:solidFill>
              <a:srgbClr val="536DF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6" name="íṡļïde">
              <a:extLst>
                <a:ext uri="{FF2B5EF4-FFF2-40B4-BE49-F238E27FC236}">
                  <a16:creationId xmlns:a16="http://schemas.microsoft.com/office/drawing/2014/main" id="{A4BC27FC-437E-418A-97BF-423E7BA458A6}"/>
                </a:ext>
              </a:extLst>
            </p:cNvPr>
            <p:cNvSpPr/>
            <p:nvPr/>
          </p:nvSpPr>
          <p:spPr bwMode="auto">
            <a:xfrm>
              <a:off x="4772026" y="2855913"/>
              <a:ext cx="17463" cy="28575"/>
            </a:xfrm>
            <a:prstGeom prst="rect">
              <a:avLst/>
            </a:prstGeom>
            <a:solidFill>
              <a:srgbClr val="3A376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67" name="ïṣlïďé">
              <a:extLst>
                <a:ext uri="{FF2B5EF4-FFF2-40B4-BE49-F238E27FC236}">
                  <a16:creationId xmlns:a16="http://schemas.microsoft.com/office/drawing/2014/main" id="{C6AA6C54-7F89-4E85-9ECF-D013BAA45A9F}"/>
                </a:ext>
              </a:extLst>
            </p:cNvPr>
            <p:cNvSpPr/>
            <p:nvPr/>
          </p:nvSpPr>
          <p:spPr bwMode="auto">
            <a:xfrm>
              <a:off x="4805363" y="2855913"/>
              <a:ext cx="95250" cy="28575"/>
            </a:xfrm>
            <a:prstGeom prst="rect">
              <a:avLst/>
            </a:prstGeom>
            <a:solidFill>
              <a:srgbClr val="3A376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68" name="î$lídê">
              <a:extLst>
                <a:ext uri="{FF2B5EF4-FFF2-40B4-BE49-F238E27FC236}">
                  <a16:creationId xmlns:a16="http://schemas.microsoft.com/office/drawing/2014/main" id="{2F554023-655B-4941-A72D-FEE17DB9067E}"/>
                </a:ext>
              </a:extLst>
            </p:cNvPr>
            <p:cNvSpPr/>
            <p:nvPr/>
          </p:nvSpPr>
          <p:spPr bwMode="auto">
            <a:xfrm>
              <a:off x="4789488" y="2855913"/>
              <a:ext cx="15875" cy="28575"/>
            </a:xfrm>
            <a:prstGeom prst="rect">
              <a:avLst/>
            </a:prstGeom>
            <a:solidFill>
              <a:srgbClr val="3A376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69" name="íSḻîḓê">
              <a:extLst>
                <a:ext uri="{FF2B5EF4-FFF2-40B4-BE49-F238E27FC236}">
                  <a16:creationId xmlns:a16="http://schemas.microsoft.com/office/drawing/2014/main" id="{875A1A45-A165-4705-85BB-0A5E3921960F}"/>
                </a:ext>
              </a:extLst>
            </p:cNvPr>
            <p:cNvSpPr/>
            <p:nvPr/>
          </p:nvSpPr>
          <p:spPr bwMode="auto">
            <a:xfrm>
              <a:off x="4772026" y="2884488"/>
              <a:ext cx="17463" cy="138113"/>
            </a:xfrm>
            <a:custGeom>
              <a:avLst/>
              <a:gdLst>
                <a:gd name="T0" fmla="*/ 9 w 12"/>
                <a:gd name="T1" fmla="*/ 94 h 94"/>
                <a:gd name="T2" fmla="*/ 12 w 12"/>
                <a:gd name="T3" fmla="*/ 94 h 94"/>
                <a:gd name="T4" fmla="*/ 12 w 12"/>
                <a:gd name="T5" fmla="*/ 0 h 94"/>
                <a:gd name="T6" fmla="*/ 0 w 12"/>
                <a:gd name="T7" fmla="*/ 0 h 94"/>
                <a:gd name="T8" fmla="*/ 0 w 12"/>
                <a:gd name="T9" fmla="*/ 85 h 94"/>
                <a:gd name="T10" fmla="*/ 9 w 12"/>
                <a:gd name="T11" fmla="*/ 94 h 94"/>
              </a:gdLst>
              <a:ahLst/>
              <a:cxnLst>
                <a:cxn ang="0">
                  <a:pos x="T0" y="T1"/>
                </a:cxn>
                <a:cxn ang="0">
                  <a:pos x="T2" y="T3"/>
                </a:cxn>
                <a:cxn ang="0">
                  <a:pos x="T4" y="T5"/>
                </a:cxn>
                <a:cxn ang="0">
                  <a:pos x="T6" y="T7"/>
                </a:cxn>
                <a:cxn ang="0">
                  <a:pos x="T8" y="T9"/>
                </a:cxn>
                <a:cxn ang="0">
                  <a:pos x="T10" y="T11"/>
                </a:cxn>
              </a:cxnLst>
              <a:rect l="0" t="0" r="r" b="b"/>
              <a:pathLst>
                <a:path w="12" h="94">
                  <a:moveTo>
                    <a:pt x="9" y="94"/>
                  </a:moveTo>
                  <a:cubicBezTo>
                    <a:pt x="12" y="94"/>
                    <a:pt x="12" y="94"/>
                    <a:pt x="12" y="94"/>
                  </a:cubicBezTo>
                  <a:cubicBezTo>
                    <a:pt x="12" y="0"/>
                    <a:pt x="12" y="0"/>
                    <a:pt x="12" y="0"/>
                  </a:cubicBezTo>
                  <a:cubicBezTo>
                    <a:pt x="0" y="0"/>
                    <a:pt x="0" y="0"/>
                    <a:pt x="0" y="0"/>
                  </a:cubicBezTo>
                  <a:cubicBezTo>
                    <a:pt x="0" y="85"/>
                    <a:pt x="0" y="85"/>
                    <a:pt x="0" y="85"/>
                  </a:cubicBezTo>
                  <a:cubicBezTo>
                    <a:pt x="0" y="90"/>
                    <a:pt x="4" y="94"/>
                    <a:pt x="9" y="94"/>
                  </a:cubicBezTo>
                  <a:close/>
                </a:path>
              </a:pathLst>
            </a:custGeom>
            <a:solidFill>
              <a:srgbClr val="3A376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0" name="iŝḻïḓê">
              <a:extLst>
                <a:ext uri="{FF2B5EF4-FFF2-40B4-BE49-F238E27FC236}">
                  <a16:creationId xmlns:a16="http://schemas.microsoft.com/office/drawing/2014/main" id="{5E864569-04DB-4A41-AD54-7E1D9B63153D}"/>
                </a:ext>
              </a:extLst>
            </p:cNvPr>
            <p:cNvSpPr/>
            <p:nvPr/>
          </p:nvSpPr>
          <p:spPr bwMode="auto">
            <a:xfrm>
              <a:off x="4789488" y="2884488"/>
              <a:ext cx="111125" cy="1198563"/>
            </a:xfrm>
            <a:custGeom>
              <a:avLst/>
              <a:gdLst>
                <a:gd name="T0" fmla="*/ 75 w 75"/>
                <a:gd name="T1" fmla="*/ 0 h 816"/>
                <a:gd name="T2" fmla="*/ 10 w 75"/>
                <a:gd name="T3" fmla="*/ 0 h 816"/>
                <a:gd name="T4" fmla="*/ 10 w 75"/>
                <a:gd name="T5" fmla="*/ 85 h 816"/>
                <a:gd name="T6" fmla="*/ 1 w 75"/>
                <a:gd name="T7" fmla="*/ 94 h 816"/>
                <a:gd name="T8" fmla="*/ 1 w 75"/>
                <a:gd name="T9" fmla="*/ 94 h 816"/>
                <a:gd name="T10" fmla="*/ 0 w 75"/>
                <a:gd name="T11" fmla="*/ 94 h 816"/>
                <a:gd name="T12" fmla="*/ 0 w 75"/>
                <a:gd name="T13" fmla="*/ 816 h 816"/>
                <a:gd name="T14" fmla="*/ 75 w 75"/>
                <a:gd name="T15" fmla="*/ 816 h 816"/>
                <a:gd name="T16" fmla="*/ 75 w 75"/>
                <a:gd name="T17" fmla="*/ 0 h 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16">
                  <a:moveTo>
                    <a:pt x="75" y="0"/>
                  </a:moveTo>
                  <a:cubicBezTo>
                    <a:pt x="10" y="0"/>
                    <a:pt x="10" y="0"/>
                    <a:pt x="10" y="0"/>
                  </a:cubicBezTo>
                  <a:cubicBezTo>
                    <a:pt x="10" y="85"/>
                    <a:pt x="10" y="85"/>
                    <a:pt x="10" y="85"/>
                  </a:cubicBezTo>
                  <a:cubicBezTo>
                    <a:pt x="10" y="90"/>
                    <a:pt x="6" y="94"/>
                    <a:pt x="1" y="94"/>
                  </a:cubicBezTo>
                  <a:cubicBezTo>
                    <a:pt x="1" y="94"/>
                    <a:pt x="1" y="94"/>
                    <a:pt x="1" y="94"/>
                  </a:cubicBezTo>
                  <a:cubicBezTo>
                    <a:pt x="0" y="94"/>
                    <a:pt x="0" y="94"/>
                    <a:pt x="0" y="94"/>
                  </a:cubicBezTo>
                  <a:cubicBezTo>
                    <a:pt x="0" y="816"/>
                    <a:pt x="0" y="816"/>
                    <a:pt x="0" y="816"/>
                  </a:cubicBezTo>
                  <a:cubicBezTo>
                    <a:pt x="75" y="816"/>
                    <a:pt x="75" y="816"/>
                    <a:pt x="75" y="816"/>
                  </a:cubicBezTo>
                  <a:lnTo>
                    <a:pt x="75" y="0"/>
                  </a:lnTo>
                  <a:close/>
                </a:path>
              </a:pathLst>
            </a:custGeom>
            <a:solidFill>
              <a:srgbClr val="3A376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1" name="íşḷiḑê">
              <a:extLst>
                <a:ext uri="{FF2B5EF4-FFF2-40B4-BE49-F238E27FC236}">
                  <a16:creationId xmlns:a16="http://schemas.microsoft.com/office/drawing/2014/main" id="{3EFC7050-79B0-4AC9-85F3-CF3AD1166AB8}"/>
                </a:ext>
              </a:extLst>
            </p:cNvPr>
            <p:cNvSpPr/>
            <p:nvPr/>
          </p:nvSpPr>
          <p:spPr bwMode="auto">
            <a:xfrm>
              <a:off x="4789488" y="2884488"/>
              <a:ext cx="15875" cy="138113"/>
            </a:xfrm>
            <a:custGeom>
              <a:avLst/>
              <a:gdLst>
                <a:gd name="T0" fmla="*/ 0 w 10"/>
                <a:gd name="T1" fmla="*/ 94 h 94"/>
                <a:gd name="T2" fmla="*/ 1 w 10"/>
                <a:gd name="T3" fmla="*/ 94 h 94"/>
                <a:gd name="T4" fmla="*/ 10 w 10"/>
                <a:gd name="T5" fmla="*/ 85 h 94"/>
                <a:gd name="T6" fmla="*/ 10 w 10"/>
                <a:gd name="T7" fmla="*/ 85 h 94"/>
                <a:gd name="T8" fmla="*/ 10 w 10"/>
                <a:gd name="T9" fmla="*/ 0 h 94"/>
                <a:gd name="T10" fmla="*/ 0 w 10"/>
                <a:gd name="T11" fmla="*/ 0 h 94"/>
                <a:gd name="T12" fmla="*/ 0 w 10"/>
                <a:gd name="T13" fmla="*/ 94 h 94"/>
              </a:gdLst>
              <a:ahLst/>
              <a:cxnLst>
                <a:cxn ang="0">
                  <a:pos x="T0" y="T1"/>
                </a:cxn>
                <a:cxn ang="0">
                  <a:pos x="T2" y="T3"/>
                </a:cxn>
                <a:cxn ang="0">
                  <a:pos x="T4" y="T5"/>
                </a:cxn>
                <a:cxn ang="0">
                  <a:pos x="T6" y="T7"/>
                </a:cxn>
                <a:cxn ang="0">
                  <a:pos x="T8" y="T9"/>
                </a:cxn>
                <a:cxn ang="0">
                  <a:pos x="T10" y="T11"/>
                </a:cxn>
                <a:cxn ang="0">
                  <a:pos x="T12" y="T13"/>
                </a:cxn>
              </a:cxnLst>
              <a:rect l="0" t="0" r="r" b="b"/>
              <a:pathLst>
                <a:path w="10" h="94">
                  <a:moveTo>
                    <a:pt x="0" y="94"/>
                  </a:moveTo>
                  <a:cubicBezTo>
                    <a:pt x="1" y="94"/>
                    <a:pt x="1" y="94"/>
                    <a:pt x="1" y="94"/>
                  </a:cubicBezTo>
                  <a:cubicBezTo>
                    <a:pt x="6" y="94"/>
                    <a:pt x="10" y="90"/>
                    <a:pt x="10" y="85"/>
                  </a:cubicBezTo>
                  <a:cubicBezTo>
                    <a:pt x="10" y="85"/>
                    <a:pt x="10" y="85"/>
                    <a:pt x="10" y="85"/>
                  </a:cubicBezTo>
                  <a:cubicBezTo>
                    <a:pt x="10" y="0"/>
                    <a:pt x="10" y="0"/>
                    <a:pt x="10" y="0"/>
                  </a:cubicBezTo>
                  <a:cubicBezTo>
                    <a:pt x="0" y="0"/>
                    <a:pt x="0" y="0"/>
                    <a:pt x="0" y="0"/>
                  </a:cubicBezTo>
                  <a:lnTo>
                    <a:pt x="0" y="94"/>
                  </a:lnTo>
                  <a:close/>
                </a:path>
              </a:pathLst>
            </a:custGeom>
            <a:solidFill>
              <a:srgbClr val="3A376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2" name="îŝ1ïḓe">
              <a:extLst>
                <a:ext uri="{FF2B5EF4-FFF2-40B4-BE49-F238E27FC236}">
                  <a16:creationId xmlns:a16="http://schemas.microsoft.com/office/drawing/2014/main" id="{46B77F31-56EE-4BDB-AC67-DCB72B2122B5}"/>
                </a:ext>
              </a:extLst>
            </p:cNvPr>
            <p:cNvSpPr/>
            <p:nvPr/>
          </p:nvSpPr>
          <p:spPr bwMode="auto">
            <a:xfrm>
              <a:off x="4900613" y="2597150"/>
              <a:ext cx="1081088" cy="1485900"/>
            </a:xfrm>
            <a:custGeom>
              <a:avLst/>
              <a:gdLst>
                <a:gd name="T0" fmla="*/ 11 w 735"/>
                <a:gd name="T1" fmla="*/ 924 h 1011"/>
                <a:gd name="T2" fmla="*/ 133 w 735"/>
                <a:gd name="T3" fmla="*/ 812 h 1011"/>
                <a:gd name="T4" fmla="*/ 254 w 735"/>
                <a:gd name="T5" fmla="*/ 924 h 1011"/>
                <a:gd name="T6" fmla="*/ 211 w 735"/>
                <a:gd name="T7" fmla="*/ 1011 h 1011"/>
                <a:gd name="T8" fmla="*/ 537 w 735"/>
                <a:gd name="T9" fmla="*/ 1011 h 1011"/>
                <a:gd name="T10" fmla="*/ 537 w 735"/>
                <a:gd name="T11" fmla="*/ 660 h 1011"/>
                <a:gd name="T12" fmla="*/ 565 w 735"/>
                <a:gd name="T13" fmla="*/ 654 h 1011"/>
                <a:gd name="T14" fmla="*/ 584 w 735"/>
                <a:gd name="T15" fmla="*/ 670 h 1011"/>
                <a:gd name="T16" fmla="*/ 651 w 735"/>
                <a:gd name="T17" fmla="*/ 713 h 1011"/>
                <a:gd name="T18" fmla="*/ 735 w 735"/>
                <a:gd name="T19" fmla="*/ 603 h 1011"/>
                <a:gd name="T20" fmla="*/ 651 w 735"/>
                <a:gd name="T21" fmla="*/ 493 h 1011"/>
                <a:gd name="T22" fmla="*/ 594 w 735"/>
                <a:gd name="T23" fmla="*/ 522 h 1011"/>
                <a:gd name="T24" fmla="*/ 580 w 735"/>
                <a:gd name="T25" fmla="*/ 545 h 1011"/>
                <a:gd name="T26" fmla="*/ 579 w 735"/>
                <a:gd name="T27" fmla="*/ 545 h 1011"/>
                <a:gd name="T28" fmla="*/ 537 w 735"/>
                <a:gd name="T29" fmla="*/ 551 h 1011"/>
                <a:gd name="T30" fmla="*/ 537 w 735"/>
                <a:gd name="T31" fmla="*/ 195 h 1011"/>
                <a:gd name="T32" fmla="*/ 203 w 735"/>
                <a:gd name="T33" fmla="*/ 195 h 1011"/>
                <a:gd name="T34" fmla="*/ 199 w 735"/>
                <a:gd name="T35" fmla="*/ 169 h 1011"/>
                <a:gd name="T36" fmla="*/ 215 w 735"/>
                <a:gd name="T37" fmla="*/ 150 h 1011"/>
                <a:gd name="T38" fmla="*/ 257 w 735"/>
                <a:gd name="T39" fmla="*/ 84 h 1011"/>
                <a:gd name="T40" fmla="*/ 148 w 735"/>
                <a:gd name="T41" fmla="*/ 0 h 1011"/>
                <a:gd name="T42" fmla="*/ 38 w 735"/>
                <a:gd name="T43" fmla="*/ 84 h 1011"/>
                <a:gd name="T44" fmla="*/ 67 w 735"/>
                <a:gd name="T45" fmla="*/ 140 h 1011"/>
                <a:gd name="T46" fmla="*/ 89 w 735"/>
                <a:gd name="T47" fmla="*/ 155 h 1011"/>
                <a:gd name="T48" fmla="*/ 90 w 735"/>
                <a:gd name="T49" fmla="*/ 155 h 1011"/>
                <a:gd name="T50" fmla="*/ 96 w 735"/>
                <a:gd name="T51" fmla="*/ 195 h 1011"/>
                <a:gd name="T52" fmla="*/ 0 w 735"/>
                <a:gd name="T53" fmla="*/ 195 h 1011"/>
                <a:gd name="T54" fmla="*/ 0 w 735"/>
                <a:gd name="T55" fmla="*/ 1011 h 1011"/>
                <a:gd name="T56" fmla="*/ 54 w 735"/>
                <a:gd name="T57" fmla="*/ 1011 h 1011"/>
                <a:gd name="T58" fmla="*/ 11 w 735"/>
                <a:gd name="T59" fmla="*/ 924 h 1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35" h="1011">
                  <a:moveTo>
                    <a:pt x="11" y="924"/>
                  </a:moveTo>
                  <a:cubicBezTo>
                    <a:pt x="11" y="862"/>
                    <a:pt x="66" y="812"/>
                    <a:pt x="133" y="812"/>
                  </a:cubicBezTo>
                  <a:cubicBezTo>
                    <a:pt x="200" y="812"/>
                    <a:pt x="254" y="862"/>
                    <a:pt x="254" y="924"/>
                  </a:cubicBezTo>
                  <a:cubicBezTo>
                    <a:pt x="254" y="958"/>
                    <a:pt x="238" y="990"/>
                    <a:pt x="211" y="1011"/>
                  </a:cubicBezTo>
                  <a:cubicBezTo>
                    <a:pt x="537" y="1011"/>
                    <a:pt x="537" y="1011"/>
                    <a:pt x="537" y="1011"/>
                  </a:cubicBezTo>
                  <a:cubicBezTo>
                    <a:pt x="537" y="660"/>
                    <a:pt x="537" y="660"/>
                    <a:pt x="537" y="660"/>
                  </a:cubicBezTo>
                  <a:cubicBezTo>
                    <a:pt x="545" y="653"/>
                    <a:pt x="556" y="651"/>
                    <a:pt x="565" y="654"/>
                  </a:cubicBezTo>
                  <a:cubicBezTo>
                    <a:pt x="573" y="657"/>
                    <a:pt x="580" y="662"/>
                    <a:pt x="584" y="670"/>
                  </a:cubicBezTo>
                  <a:cubicBezTo>
                    <a:pt x="600" y="696"/>
                    <a:pt x="624" y="713"/>
                    <a:pt x="651" y="713"/>
                  </a:cubicBezTo>
                  <a:cubicBezTo>
                    <a:pt x="697" y="713"/>
                    <a:pt x="735" y="664"/>
                    <a:pt x="735" y="603"/>
                  </a:cubicBezTo>
                  <a:cubicBezTo>
                    <a:pt x="735" y="543"/>
                    <a:pt x="697" y="493"/>
                    <a:pt x="651" y="493"/>
                  </a:cubicBezTo>
                  <a:cubicBezTo>
                    <a:pt x="629" y="493"/>
                    <a:pt x="609" y="504"/>
                    <a:pt x="594" y="522"/>
                  </a:cubicBezTo>
                  <a:cubicBezTo>
                    <a:pt x="589" y="529"/>
                    <a:pt x="584" y="537"/>
                    <a:pt x="580" y="545"/>
                  </a:cubicBezTo>
                  <a:cubicBezTo>
                    <a:pt x="579" y="545"/>
                    <a:pt x="579" y="545"/>
                    <a:pt x="579" y="545"/>
                  </a:cubicBezTo>
                  <a:cubicBezTo>
                    <a:pt x="568" y="557"/>
                    <a:pt x="551" y="559"/>
                    <a:pt x="537" y="551"/>
                  </a:cubicBezTo>
                  <a:cubicBezTo>
                    <a:pt x="537" y="195"/>
                    <a:pt x="537" y="195"/>
                    <a:pt x="537" y="195"/>
                  </a:cubicBezTo>
                  <a:cubicBezTo>
                    <a:pt x="203" y="195"/>
                    <a:pt x="203" y="195"/>
                    <a:pt x="203" y="195"/>
                  </a:cubicBezTo>
                  <a:cubicBezTo>
                    <a:pt x="197" y="188"/>
                    <a:pt x="196" y="178"/>
                    <a:pt x="199" y="169"/>
                  </a:cubicBezTo>
                  <a:cubicBezTo>
                    <a:pt x="201" y="161"/>
                    <a:pt x="207" y="154"/>
                    <a:pt x="215" y="150"/>
                  </a:cubicBezTo>
                  <a:cubicBezTo>
                    <a:pt x="241" y="135"/>
                    <a:pt x="257" y="111"/>
                    <a:pt x="257" y="84"/>
                  </a:cubicBezTo>
                  <a:cubicBezTo>
                    <a:pt x="257" y="37"/>
                    <a:pt x="208" y="0"/>
                    <a:pt x="148" y="0"/>
                  </a:cubicBezTo>
                  <a:cubicBezTo>
                    <a:pt x="87" y="0"/>
                    <a:pt x="38" y="37"/>
                    <a:pt x="38" y="84"/>
                  </a:cubicBezTo>
                  <a:cubicBezTo>
                    <a:pt x="38" y="105"/>
                    <a:pt x="49" y="125"/>
                    <a:pt x="67" y="140"/>
                  </a:cubicBezTo>
                  <a:cubicBezTo>
                    <a:pt x="74" y="146"/>
                    <a:pt x="81" y="151"/>
                    <a:pt x="89" y="155"/>
                  </a:cubicBezTo>
                  <a:cubicBezTo>
                    <a:pt x="90" y="155"/>
                    <a:pt x="90" y="155"/>
                    <a:pt x="90" y="155"/>
                  </a:cubicBezTo>
                  <a:cubicBezTo>
                    <a:pt x="101" y="166"/>
                    <a:pt x="103" y="182"/>
                    <a:pt x="96" y="195"/>
                  </a:cubicBezTo>
                  <a:cubicBezTo>
                    <a:pt x="0" y="195"/>
                    <a:pt x="0" y="195"/>
                    <a:pt x="0" y="195"/>
                  </a:cubicBezTo>
                  <a:cubicBezTo>
                    <a:pt x="0" y="1011"/>
                    <a:pt x="0" y="1011"/>
                    <a:pt x="0" y="1011"/>
                  </a:cubicBezTo>
                  <a:cubicBezTo>
                    <a:pt x="54" y="1011"/>
                    <a:pt x="54" y="1011"/>
                    <a:pt x="54" y="1011"/>
                  </a:cubicBezTo>
                  <a:cubicBezTo>
                    <a:pt x="27" y="990"/>
                    <a:pt x="12" y="958"/>
                    <a:pt x="11" y="924"/>
                  </a:cubicBezTo>
                  <a:close/>
                </a:path>
              </a:pathLst>
            </a:custGeom>
            <a:solidFill>
              <a:srgbClr val="536DF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3" name="iṧ1iḓê">
              <a:extLst>
                <a:ext uri="{FF2B5EF4-FFF2-40B4-BE49-F238E27FC236}">
                  <a16:creationId xmlns:a16="http://schemas.microsoft.com/office/drawing/2014/main" id="{BA8B178C-B852-4806-A146-D2BE4FDF497F}"/>
                </a:ext>
              </a:extLst>
            </p:cNvPr>
            <p:cNvSpPr/>
            <p:nvPr/>
          </p:nvSpPr>
          <p:spPr bwMode="auto">
            <a:xfrm>
              <a:off x="4792663" y="2768600"/>
              <a:ext cx="15875" cy="87313"/>
            </a:xfrm>
            <a:custGeom>
              <a:avLst/>
              <a:gdLst>
                <a:gd name="T0" fmla="*/ 10 w 10"/>
                <a:gd name="T1" fmla="*/ 10 h 60"/>
                <a:gd name="T2" fmla="*/ 1 w 10"/>
                <a:gd name="T3" fmla="*/ 0 h 60"/>
                <a:gd name="T4" fmla="*/ 1 w 10"/>
                <a:gd name="T5" fmla="*/ 0 h 60"/>
                <a:gd name="T6" fmla="*/ 0 w 10"/>
                <a:gd name="T7" fmla="*/ 0 h 60"/>
                <a:gd name="T8" fmla="*/ 0 w 10"/>
                <a:gd name="T9" fmla="*/ 60 h 60"/>
                <a:gd name="T10" fmla="*/ 10 w 10"/>
                <a:gd name="T11" fmla="*/ 60 h 60"/>
                <a:gd name="T12" fmla="*/ 10 w 10"/>
                <a:gd name="T13" fmla="*/ 10 h 60"/>
              </a:gdLst>
              <a:ahLst/>
              <a:cxnLst>
                <a:cxn ang="0">
                  <a:pos x="T0" y="T1"/>
                </a:cxn>
                <a:cxn ang="0">
                  <a:pos x="T2" y="T3"/>
                </a:cxn>
                <a:cxn ang="0">
                  <a:pos x="T4" y="T5"/>
                </a:cxn>
                <a:cxn ang="0">
                  <a:pos x="T6" y="T7"/>
                </a:cxn>
                <a:cxn ang="0">
                  <a:pos x="T8" y="T9"/>
                </a:cxn>
                <a:cxn ang="0">
                  <a:pos x="T10" y="T11"/>
                </a:cxn>
                <a:cxn ang="0">
                  <a:pos x="T12" y="T13"/>
                </a:cxn>
              </a:cxnLst>
              <a:rect l="0" t="0" r="r" b="b"/>
              <a:pathLst>
                <a:path w="10" h="60">
                  <a:moveTo>
                    <a:pt x="10" y="10"/>
                  </a:moveTo>
                  <a:cubicBezTo>
                    <a:pt x="10" y="5"/>
                    <a:pt x="6" y="0"/>
                    <a:pt x="1" y="0"/>
                  </a:cubicBezTo>
                  <a:cubicBezTo>
                    <a:pt x="1" y="0"/>
                    <a:pt x="1" y="0"/>
                    <a:pt x="1" y="0"/>
                  </a:cubicBezTo>
                  <a:cubicBezTo>
                    <a:pt x="0" y="0"/>
                    <a:pt x="0" y="0"/>
                    <a:pt x="0" y="0"/>
                  </a:cubicBezTo>
                  <a:cubicBezTo>
                    <a:pt x="0" y="60"/>
                    <a:pt x="0" y="60"/>
                    <a:pt x="0" y="60"/>
                  </a:cubicBezTo>
                  <a:cubicBezTo>
                    <a:pt x="10" y="60"/>
                    <a:pt x="10" y="60"/>
                    <a:pt x="10" y="60"/>
                  </a:cubicBezTo>
                  <a:lnTo>
                    <a:pt x="10" y="10"/>
                  </a:lnTo>
                  <a:close/>
                </a:path>
              </a:pathLst>
            </a:custGeom>
            <a:solidFill>
              <a:srgbClr val="3A376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4" name="í$líḍê">
              <a:extLst>
                <a:ext uri="{FF2B5EF4-FFF2-40B4-BE49-F238E27FC236}">
                  <a16:creationId xmlns:a16="http://schemas.microsoft.com/office/drawing/2014/main" id="{856CB27F-45C9-4D05-BC5F-436AD52470E5}"/>
                </a:ext>
              </a:extLst>
            </p:cNvPr>
            <p:cNvSpPr/>
            <p:nvPr/>
          </p:nvSpPr>
          <p:spPr bwMode="auto">
            <a:xfrm>
              <a:off x="4775201" y="2166938"/>
              <a:ext cx="17463" cy="144463"/>
            </a:xfrm>
            <a:custGeom>
              <a:avLst/>
              <a:gdLst>
                <a:gd name="T0" fmla="*/ 12 w 12"/>
                <a:gd name="T1" fmla="*/ 0 h 98"/>
                <a:gd name="T2" fmla="*/ 10 w 12"/>
                <a:gd name="T3" fmla="*/ 0 h 98"/>
                <a:gd name="T4" fmla="*/ 0 w 12"/>
                <a:gd name="T5" fmla="*/ 9 h 98"/>
                <a:gd name="T6" fmla="*/ 0 w 12"/>
                <a:gd name="T7" fmla="*/ 89 h 98"/>
                <a:gd name="T8" fmla="*/ 10 w 12"/>
                <a:gd name="T9" fmla="*/ 98 h 98"/>
                <a:gd name="T10" fmla="*/ 12 w 12"/>
                <a:gd name="T11" fmla="*/ 98 h 98"/>
                <a:gd name="T12" fmla="*/ 12 w 12"/>
                <a:gd name="T13" fmla="*/ 0 h 98"/>
              </a:gdLst>
              <a:ahLst/>
              <a:cxnLst>
                <a:cxn ang="0">
                  <a:pos x="T0" y="T1"/>
                </a:cxn>
                <a:cxn ang="0">
                  <a:pos x="T2" y="T3"/>
                </a:cxn>
                <a:cxn ang="0">
                  <a:pos x="T4" y="T5"/>
                </a:cxn>
                <a:cxn ang="0">
                  <a:pos x="T6" y="T7"/>
                </a:cxn>
                <a:cxn ang="0">
                  <a:pos x="T8" y="T9"/>
                </a:cxn>
                <a:cxn ang="0">
                  <a:pos x="T10" y="T11"/>
                </a:cxn>
                <a:cxn ang="0">
                  <a:pos x="T12" y="T13"/>
                </a:cxn>
              </a:cxnLst>
              <a:rect l="0" t="0" r="r" b="b"/>
              <a:pathLst>
                <a:path w="12" h="98">
                  <a:moveTo>
                    <a:pt x="12" y="0"/>
                  </a:moveTo>
                  <a:cubicBezTo>
                    <a:pt x="10" y="0"/>
                    <a:pt x="10" y="0"/>
                    <a:pt x="10" y="0"/>
                  </a:cubicBezTo>
                  <a:cubicBezTo>
                    <a:pt x="5" y="0"/>
                    <a:pt x="0" y="4"/>
                    <a:pt x="0" y="9"/>
                  </a:cubicBezTo>
                  <a:cubicBezTo>
                    <a:pt x="0" y="89"/>
                    <a:pt x="0" y="89"/>
                    <a:pt x="0" y="89"/>
                  </a:cubicBezTo>
                  <a:cubicBezTo>
                    <a:pt x="0" y="94"/>
                    <a:pt x="5" y="98"/>
                    <a:pt x="10" y="98"/>
                  </a:cubicBezTo>
                  <a:cubicBezTo>
                    <a:pt x="12" y="98"/>
                    <a:pt x="12" y="98"/>
                    <a:pt x="12" y="98"/>
                  </a:cubicBezTo>
                  <a:cubicBezTo>
                    <a:pt x="12" y="0"/>
                    <a:pt x="12" y="0"/>
                    <a:pt x="12" y="0"/>
                  </a:cubicBezTo>
                  <a:close/>
                </a:path>
              </a:pathLst>
            </a:custGeom>
            <a:solidFill>
              <a:srgbClr val="3A376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5" name="ïṧļîḓè">
              <a:extLst>
                <a:ext uri="{FF2B5EF4-FFF2-40B4-BE49-F238E27FC236}">
                  <a16:creationId xmlns:a16="http://schemas.microsoft.com/office/drawing/2014/main" id="{215A36FF-B526-4459-986A-D98A7A72D954}"/>
                </a:ext>
              </a:extLst>
            </p:cNvPr>
            <p:cNvSpPr/>
            <p:nvPr/>
          </p:nvSpPr>
          <p:spPr bwMode="auto">
            <a:xfrm>
              <a:off x="4775201" y="2432050"/>
              <a:ext cx="17463" cy="250825"/>
            </a:xfrm>
            <a:custGeom>
              <a:avLst/>
              <a:gdLst>
                <a:gd name="T0" fmla="*/ 9 w 12"/>
                <a:gd name="T1" fmla="*/ 0 h 171"/>
                <a:gd name="T2" fmla="*/ 0 w 12"/>
                <a:gd name="T3" fmla="*/ 9 h 171"/>
                <a:gd name="T4" fmla="*/ 0 w 12"/>
                <a:gd name="T5" fmla="*/ 162 h 171"/>
                <a:gd name="T6" fmla="*/ 9 w 12"/>
                <a:gd name="T7" fmla="*/ 171 h 171"/>
                <a:gd name="T8" fmla="*/ 12 w 12"/>
                <a:gd name="T9" fmla="*/ 171 h 171"/>
                <a:gd name="T10" fmla="*/ 12 w 12"/>
                <a:gd name="T11" fmla="*/ 0 h 171"/>
                <a:gd name="T12" fmla="*/ 9 w 12"/>
                <a:gd name="T13" fmla="*/ 0 h 171"/>
              </a:gdLst>
              <a:ahLst/>
              <a:cxnLst>
                <a:cxn ang="0">
                  <a:pos x="T0" y="T1"/>
                </a:cxn>
                <a:cxn ang="0">
                  <a:pos x="T2" y="T3"/>
                </a:cxn>
                <a:cxn ang="0">
                  <a:pos x="T4" y="T5"/>
                </a:cxn>
                <a:cxn ang="0">
                  <a:pos x="T6" y="T7"/>
                </a:cxn>
                <a:cxn ang="0">
                  <a:pos x="T8" y="T9"/>
                </a:cxn>
                <a:cxn ang="0">
                  <a:pos x="T10" y="T11"/>
                </a:cxn>
                <a:cxn ang="0">
                  <a:pos x="T12" y="T13"/>
                </a:cxn>
              </a:cxnLst>
              <a:rect l="0" t="0" r="r" b="b"/>
              <a:pathLst>
                <a:path w="12" h="171">
                  <a:moveTo>
                    <a:pt x="9" y="0"/>
                  </a:moveTo>
                  <a:cubicBezTo>
                    <a:pt x="4" y="0"/>
                    <a:pt x="0" y="4"/>
                    <a:pt x="0" y="9"/>
                  </a:cubicBezTo>
                  <a:cubicBezTo>
                    <a:pt x="0" y="162"/>
                    <a:pt x="0" y="162"/>
                    <a:pt x="0" y="162"/>
                  </a:cubicBezTo>
                  <a:cubicBezTo>
                    <a:pt x="0" y="167"/>
                    <a:pt x="4" y="171"/>
                    <a:pt x="9" y="171"/>
                  </a:cubicBezTo>
                  <a:cubicBezTo>
                    <a:pt x="12" y="171"/>
                    <a:pt x="12" y="171"/>
                    <a:pt x="12" y="171"/>
                  </a:cubicBezTo>
                  <a:cubicBezTo>
                    <a:pt x="12" y="0"/>
                    <a:pt x="12" y="0"/>
                    <a:pt x="12" y="0"/>
                  </a:cubicBezTo>
                  <a:lnTo>
                    <a:pt x="9" y="0"/>
                  </a:lnTo>
                  <a:close/>
                </a:path>
              </a:pathLst>
            </a:custGeom>
            <a:solidFill>
              <a:srgbClr val="3A376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6" name="işḷiḑê">
              <a:extLst>
                <a:ext uri="{FF2B5EF4-FFF2-40B4-BE49-F238E27FC236}">
                  <a16:creationId xmlns:a16="http://schemas.microsoft.com/office/drawing/2014/main" id="{DC79D152-570B-4836-8419-79E1F99434A5}"/>
                </a:ext>
              </a:extLst>
            </p:cNvPr>
            <p:cNvSpPr/>
            <p:nvPr/>
          </p:nvSpPr>
          <p:spPr bwMode="auto">
            <a:xfrm>
              <a:off x="4775201" y="2770188"/>
              <a:ext cx="17463" cy="87313"/>
            </a:xfrm>
            <a:custGeom>
              <a:avLst/>
              <a:gdLst>
                <a:gd name="T0" fmla="*/ 12 w 12"/>
                <a:gd name="T1" fmla="*/ 0 h 59"/>
                <a:gd name="T2" fmla="*/ 9 w 12"/>
                <a:gd name="T3" fmla="*/ 0 h 59"/>
                <a:gd name="T4" fmla="*/ 0 w 12"/>
                <a:gd name="T5" fmla="*/ 9 h 59"/>
                <a:gd name="T6" fmla="*/ 0 w 12"/>
                <a:gd name="T7" fmla="*/ 59 h 59"/>
                <a:gd name="T8" fmla="*/ 12 w 12"/>
                <a:gd name="T9" fmla="*/ 59 h 59"/>
                <a:gd name="T10" fmla="*/ 12 w 12"/>
                <a:gd name="T11" fmla="*/ 0 h 59"/>
              </a:gdLst>
              <a:ahLst/>
              <a:cxnLst>
                <a:cxn ang="0">
                  <a:pos x="T0" y="T1"/>
                </a:cxn>
                <a:cxn ang="0">
                  <a:pos x="T2" y="T3"/>
                </a:cxn>
                <a:cxn ang="0">
                  <a:pos x="T4" y="T5"/>
                </a:cxn>
                <a:cxn ang="0">
                  <a:pos x="T6" y="T7"/>
                </a:cxn>
                <a:cxn ang="0">
                  <a:pos x="T8" y="T9"/>
                </a:cxn>
                <a:cxn ang="0">
                  <a:pos x="T10" y="T11"/>
                </a:cxn>
              </a:cxnLst>
              <a:rect l="0" t="0" r="r" b="b"/>
              <a:pathLst>
                <a:path w="12" h="59">
                  <a:moveTo>
                    <a:pt x="12" y="0"/>
                  </a:moveTo>
                  <a:cubicBezTo>
                    <a:pt x="9" y="0"/>
                    <a:pt x="9" y="0"/>
                    <a:pt x="9" y="0"/>
                  </a:cubicBezTo>
                  <a:cubicBezTo>
                    <a:pt x="4" y="0"/>
                    <a:pt x="0" y="4"/>
                    <a:pt x="0" y="9"/>
                  </a:cubicBezTo>
                  <a:cubicBezTo>
                    <a:pt x="0" y="59"/>
                    <a:pt x="0" y="59"/>
                    <a:pt x="0" y="59"/>
                  </a:cubicBezTo>
                  <a:cubicBezTo>
                    <a:pt x="12" y="59"/>
                    <a:pt x="12" y="59"/>
                    <a:pt x="12" y="59"/>
                  </a:cubicBezTo>
                  <a:lnTo>
                    <a:pt x="12" y="0"/>
                  </a:lnTo>
                  <a:close/>
                </a:path>
              </a:pathLst>
            </a:custGeom>
            <a:solidFill>
              <a:srgbClr val="3A376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7" name="îṡḷíḓè">
              <a:extLst>
                <a:ext uri="{FF2B5EF4-FFF2-40B4-BE49-F238E27FC236}">
                  <a16:creationId xmlns:a16="http://schemas.microsoft.com/office/drawing/2014/main" id="{2CC5302E-F88B-4B81-B533-66F9A742AFAF}"/>
                </a:ext>
              </a:extLst>
            </p:cNvPr>
            <p:cNvSpPr/>
            <p:nvPr/>
          </p:nvSpPr>
          <p:spPr bwMode="auto">
            <a:xfrm>
              <a:off x="4792663" y="1689100"/>
              <a:ext cx="896938" cy="1168400"/>
            </a:xfrm>
            <a:custGeom>
              <a:avLst/>
              <a:gdLst>
                <a:gd name="T0" fmla="*/ 0 w 610"/>
                <a:gd name="T1" fmla="*/ 156 h 795"/>
                <a:gd name="T2" fmla="*/ 0 w 610"/>
                <a:gd name="T3" fmla="*/ 325 h 795"/>
                <a:gd name="T4" fmla="*/ 9 w 610"/>
                <a:gd name="T5" fmla="*/ 334 h 795"/>
                <a:gd name="T6" fmla="*/ 9 w 610"/>
                <a:gd name="T7" fmla="*/ 414 h 795"/>
                <a:gd name="T8" fmla="*/ 0 w 610"/>
                <a:gd name="T9" fmla="*/ 423 h 795"/>
                <a:gd name="T10" fmla="*/ 0 w 610"/>
                <a:gd name="T11" fmla="*/ 505 h 795"/>
                <a:gd name="T12" fmla="*/ 1 w 610"/>
                <a:gd name="T13" fmla="*/ 505 h 795"/>
                <a:gd name="T14" fmla="*/ 11 w 610"/>
                <a:gd name="T15" fmla="*/ 514 h 795"/>
                <a:gd name="T16" fmla="*/ 11 w 610"/>
                <a:gd name="T17" fmla="*/ 667 h 795"/>
                <a:gd name="T18" fmla="*/ 1 w 610"/>
                <a:gd name="T19" fmla="*/ 676 h 795"/>
                <a:gd name="T20" fmla="*/ 0 w 610"/>
                <a:gd name="T21" fmla="*/ 676 h 795"/>
                <a:gd name="T22" fmla="*/ 0 w 610"/>
                <a:gd name="T23" fmla="*/ 736 h 795"/>
                <a:gd name="T24" fmla="*/ 1 w 610"/>
                <a:gd name="T25" fmla="*/ 736 h 795"/>
                <a:gd name="T26" fmla="*/ 10 w 610"/>
                <a:gd name="T27" fmla="*/ 745 h 795"/>
                <a:gd name="T28" fmla="*/ 10 w 610"/>
                <a:gd name="T29" fmla="*/ 795 h 795"/>
                <a:gd name="T30" fmla="*/ 75 w 610"/>
                <a:gd name="T31" fmla="*/ 795 h 795"/>
                <a:gd name="T32" fmla="*/ 75 w 610"/>
                <a:gd name="T33" fmla="*/ 161 h 795"/>
                <a:gd name="T34" fmla="*/ 171 w 610"/>
                <a:gd name="T35" fmla="*/ 64 h 795"/>
                <a:gd name="T36" fmla="*/ 301 w 610"/>
                <a:gd name="T37" fmla="*/ 64 h 795"/>
                <a:gd name="T38" fmla="*/ 301 w 610"/>
                <a:gd name="T39" fmla="*/ 81 h 795"/>
                <a:gd name="T40" fmla="*/ 381 w 610"/>
                <a:gd name="T41" fmla="*/ 160 h 795"/>
                <a:gd name="T42" fmla="*/ 610 w 610"/>
                <a:gd name="T43" fmla="*/ 160 h 795"/>
                <a:gd name="T44" fmla="*/ 610 w 610"/>
                <a:gd name="T45" fmla="*/ 108 h 795"/>
                <a:gd name="T46" fmla="*/ 504 w 610"/>
                <a:gd name="T47" fmla="*/ 108 h 795"/>
                <a:gd name="T48" fmla="*/ 489 w 610"/>
                <a:gd name="T49" fmla="*/ 93 h 795"/>
                <a:gd name="T50" fmla="*/ 489 w 610"/>
                <a:gd name="T51" fmla="*/ 89 h 795"/>
                <a:gd name="T52" fmla="*/ 504 w 610"/>
                <a:gd name="T53" fmla="*/ 74 h 795"/>
                <a:gd name="T54" fmla="*/ 610 w 610"/>
                <a:gd name="T55" fmla="*/ 74 h 795"/>
                <a:gd name="T56" fmla="*/ 610 w 610"/>
                <a:gd name="T57" fmla="*/ 0 h 795"/>
                <a:gd name="T58" fmla="*/ 156 w 610"/>
                <a:gd name="T59" fmla="*/ 0 h 795"/>
                <a:gd name="T60" fmla="*/ 0 w 610"/>
                <a:gd name="T61" fmla="*/ 156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10" h="795">
                  <a:moveTo>
                    <a:pt x="0" y="156"/>
                  </a:moveTo>
                  <a:cubicBezTo>
                    <a:pt x="0" y="325"/>
                    <a:pt x="0" y="325"/>
                    <a:pt x="0" y="325"/>
                  </a:cubicBezTo>
                  <a:cubicBezTo>
                    <a:pt x="5" y="325"/>
                    <a:pt x="9" y="329"/>
                    <a:pt x="9" y="334"/>
                  </a:cubicBezTo>
                  <a:cubicBezTo>
                    <a:pt x="9" y="414"/>
                    <a:pt x="9" y="414"/>
                    <a:pt x="9" y="414"/>
                  </a:cubicBezTo>
                  <a:cubicBezTo>
                    <a:pt x="9" y="419"/>
                    <a:pt x="5" y="423"/>
                    <a:pt x="0" y="423"/>
                  </a:cubicBezTo>
                  <a:cubicBezTo>
                    <a:pt x="0" y="505"/>
                    <a:pt x="0" y="505"/>
                    <a:pt x="0" y="505"/>
                  </a:cubicBezTo>
                  <a:cubicBezTo>
                    <a:pt x="1" y="505"/>
                    <a:pt x="1" y="505"/>
                    <a:pt x="1" y="505"/>
                  </a:cubicBezTo>
                  <a:cubicBezTo>
                    <a:pt x="6" y="505"/>
                    <a:pt x="11" y="509"/>
                    <a:pt x="11" y="514"/>
                  </a:cubicBezTo>
                  <a:cubicBezTo>
                    <a:pt x="11" y="667"/>
                    <a:pt x="11" y="667"/>
                    <a:pt x="11" y="667"/>
                  </a:cubicBezTo>
                  <a:cubicBezTo>
                    <a:pt x="11" y="672"/>
                    <a:pt x="6" y="676"/>
                    <a:pt x="1" y="676"/>
                  </a:cubicBezTo>
                  <a:cubicBezTo>
                    <a:pt x="0" y="676"/>
                    <a:pt x="0" y="676"/>
                    <a:pt x="0" y="676"/>
                  </a:cubicBezTo>
                  <a:cubicBezTo>
                    <a:pt x="0" y="736"/>
                    <a:pt x="0" y="736"/>
                    <a:pt x="0" y="736"/>
                  </a:cubicBezTo>
                  <a:cubicBezTo>
                    <a:pt x="1" y="736"/>
                    <a:pt x="1" y="736"/>
                    <a:pt x="1" y="736"/>
                  </a:cubicBezTo>
                  <a:cubicBezTo>
                    <a:pt x="6" y="736"/>
                    <a:pt x="10" y="740"/>
                    <a:pt x="10" y="745"/>
                  </a:cubicBezTo>
                  <a:cubicBezTo>
                    <a:pt x="10" y="795"/>
                    <a:pt x="10" y="795"/>
                    <a:pt x="10" y="795"/>
                  </a:cubicBezTo>
                  <a:cubicBezTo>
                    <a:pt x="75" y="795"/>
                    <a:pt x="75" y="795"/>
                    <a:pt x="75" y="795"/>
                  </a:cubicBezTo>
                  <a:cubicBezTo>
                    <a:pt x="75" y="161"/>
                    <a:pt x="75" y="161"/>
                    <a:pt x="75" y="161"/>
                  </a:cubicBezTo>
                  <a:cubicBezTo>
                    <a:pt x="75" y="108"/>
                    <a:pt x="118" y="64"/>
                    <a:pt x="171" y="64"/>
                  </a:cubicBezTo>
                  <a:cubicBezTo>
                    <a:pt x="301" y="64"/>
                    <a:pt x="301" y="64"/>
                    <a:pt x="301" y="64"/>
                  </a:cubicBezTo>
                  <a:cubicBezTo>
                    <a:pt x="301" y="81"/>
                    <a:pt x="301" y="81"/>
                    <a:pt x="301" y="81"/>
                  </a:cubicBezTo>
                  <a:cubicBezTo>
                    <a:pt x="301" y="125"/>
                    <a:pt x="337" y="160"/>
                    <a:pt x="381" y="160"/>
                  </a:cubicBezTo>
                  <a:cubicBezTo>
                    <a:pt x="610" y="160"/>
                    <a:pt x="610" y="160"/>
                    <a:pt x="610" y="160"/>
                  </a:cubicBezTo>
                  <a:cubicBezTo>
                    <a:pt x="610" y="108"/>
                    <a:pt x="610" y="108"/>
                    <a:pt x="610" y="108"/>
                  </a:cubicBezTo>
                  <a:cubicBezTo>
                    <a:pt x="504" y="108"/>
                    <a:pt x="504" y="108"/>
                    <a:pt x="504" y="108"/>
                  </a:cubicBezTo>
                  <a:cubicBezTo>
                    <a:pt x="496" y="108"/>
                    <a:pt x="489" y="101"/>
                    <a:pt x="489" y="93"/>
                  </a:cubicBezTo>
                  <a:cubicBezTo>
                    <a:pt x="489" y="89"/>
                    <a:pt x="489" y="89"/>
                    <a:pt x="489" y="89"/>
                  </a:cubicBezTo>
                  <a:cubicBezTo>
                    <a:pt x="489" y="81"/>
                    <a:pt x="496" y="74"/>
                    <a:pt x="504" y="74"/>
                  </a:cubicBezTo>
                  <a:cubicBezTo>
                    <a:pt x="610" y="74"/>
                    <a:pt x="610" y="74"/>
                    <a:pt x="610" y="74"/>
                  </a:cubicBezTo>
                  <a:cubicBezTo>
                    <a:pt x="610" y="0"/>
                    <a:pt x="610" y="0"/>
                    <a:pt x="610" y="0"/>
                  </a:cubicBezTo>
                  <a:cubicBezTo>
                    <a:pt x="156" y="0"/>
                    <a:pt x="156" y="0"/>
                    <a:pt x="156" y="0"/>
                  </a:cubicBezTo>
                  <a:cubicBezTo>
                    <a:pt x="70" y="0"/>
                    <a:pt x="0" y="70"/>
                    <a:pt x="0" y="156"/>
                  </a:cubicBezTo>
                  <a:close/>
                </a:path>
              </a:pathLst>
            </a:custGeom>
            <a:solidFill>
              <a:srgbClr val="3A376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8" name="îŝlïḍe">
              <a:extLst>
                <a:ext uri="{FF2B5EF4-FFF2-40B4-BE49-F238E27FC236}">
                  <a16:creationId xmlns:a16="http://schemas.microsoft.com/office/drawing/2014/main" id="{3A206912-988A-4D08-B5E1-D2DCEC143BFC}"/>
                </a:ext>
              </a:extLst>
            </p:cNvPr>
            <p:cNvSpPr/>
            <p:nvPr/>
          </p:nvSpPr>
          <p:spPr bwMode="auto">
            <a:xfrm>
              <a:off x="4792663" y="2166938"/>
              <a:ext cx="14288" cy="144463"/>
            </a:xfrm>
            <a:custGeom>
              <a:avLst/>
              <a:gdLst>
                <a:gd name="T0" fmla="*/ 9 w 9"/>
                <a:gd name="T1" fmla="*/ 89 h 98"/>
                <a:gd name="T2" fmla="*/ 9 w 9"/>
                <a:gd name="T3" fmla="*/ 9 h 98"/>
                <a:gd name="T4" fmla="*/ 0 w 9"/>
                <a:gd name="T5" fmla="*/ 0 h 98"/>
                <a:gd name="T6" fmla="*/ 0 w 9"/>
                <a:gd name="T7" fmla="*/ 98 h 98"/>
                <a:gd name="T8" fmla="*/ 9 w 9"/>
                <a:gd name="T9" fmla="*/ 89 h 98"/>
              </a:gdLst>
              <a:ahLst/>
              <a:cxnLst>
                <a:cxn ang="0">
                  <a:pos x="T0" y="T1"/>
                </a:cxn>
                <a:cxn ang="0">
                  <a:pos x="T2" y="T3"/>
                </a:cxn>
                <a:cxn ang="0">
                  <a:pos x="T4" y="T5"/>
                </a:cxn>
                <a:cxn ang="0">
                  <a:pos x="T6" y="T7"/>
                </a:cxn>
                <a:cxn ang="0">
                  <a:pos x="T8" y="T9"/>
                </a:cxn>
              </a:cxnLst>
              <a:rect l="0" t="0" r="r" b="b"/>
              <a:pathLst>
                <a:path w="9" h="98">
                  <a:moveTo>
                    <a:pt x="9" y="89"/>
                  </a:moveTo>
                  <a:cubicBezTo>
                    <a:pt x="9" y="9"/>
                    <a:pt x="9" y="9"/>
                    <a:pt x="9" y="9"/>
                  </a:cubicBezTo>
                  <a:cubicBezTo>
                    <a:pt x="9" y="4"/>
                    <a:pt x="5" y="0"/>
                    <a:pt x="0" y="0"/>
                  </a:cubicBezTo>
                  <a:cubicBezTo>
                    <a:pt x="0" y="98"/>
                    <a:pt x="0" y="98"/>
                    <a:pt x="0" y="98"/>
                  </a:cubicBezTo>
                  <a:cubicBezTo>
                    <a:pt x="5" y="98"/>
                    <a:pt x="9" y="94"/>
                    <a:pt x="9" y="89"/>
                  </a:cubicBezTo>
                  <a:close/>
                </a:path>
              </a:pathLst>
            </a:custGeom>
            <a:solidFill>
              <a:srgbClr val="3A376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9" name="ïş1ïḑé">
              <a:extLst>
                <a:ext uri="{FF2B5EF4-FFF2-40B4-BE49-F238E27FC236}">
                  <a16:creationId xmlns:a16="http://schemas.microsoft.com/office/drawing/2014/main" id="{704A7656-6E1F-4CDB-8460-409343AC595A}"/>
                </a:ext>
              </a:extLst>
            </p:cNvPr>
            <p:cNvSpPr/>
            <p:nvPr/>
          </p:nvSpPr>
          <p:spPr bwMode="auto">
            <a:xfrm>
              <a:off x="4792663" y="2432050"/>
              <a:ext cx="15875" cy="250825"/>
            </a:xfrm>
            <a:custGeom>
              <a:avLst/>
              <a:gdLst>
                <a:gd name="T0" fmla="*/ 11 w 11"/>
                <a:gd name="T1" fmla="*/ 162 h 171"/>
                <a:gd name="T2" fmla="*/ 11 w 11"/>
                <a:gd name="T3" fmla="*/ 9 h 171"/>
                <a:gd name="T4" fmla="*/ 1 w 11"/>
                <a:gd name="T5" fmla="*/ 0 h 171"/>
                <a:gd name="T6" fmla="*/ 0 w 11"/>
                <a:gd name="T7" fmla="*/ 0 h 171"/>
                <a:gd name="T8" fmla="*/ 0 w 11"/>
                <a:gd name="T9" fmla="*/ 171 h 171"/>
                <a:gd name="T10" fmla="*/ 1 w 11"/>
                <a:gd name="T11" fmla="*/ 171 h 171"/>
                <a:gd name="T12" fmla="*/ 11 w 11"/>
                <a:gd name="T13" fmla="*/ 162 h 171"/>
              </a:gdLst>
              <a:ahLst/>
              <a:cxnLst>
                <a:cxn ang="0">
                  <a:pos x="T0" y="T1"/>
                </a:cxn>
                <a:cxn ang="0">
                  <a:pos x="T2" y="T3"/>
                </a:cxn>
                <a:cxn ang="0">
                  <a:pos x="T4" y="T5"/>
                </a:cxn>
                <a:cxn ang="0">
                  <a:pos x="T6" y="T7"/>
                </a:cxn>
                <a:cxn ang="0">
                  <a:pos x="T8" y="T9"/>
                </a:cxn>
                <a:cxn ang="0">
                  <a:pos x="T10" y="T11"/>
                </a:cxn>
                <a:cxn ang="0">
                  <a:pos x="T12" y="T13"/>
                </a:cxn>
              </a:cxnLst>
              <a:rect l="0" t="0" r="r" b="b"/>
              <a:pathLst>
                <a:path w="11" h="171">
                  <a:moveTo>
                    <a:pt x="11" y="162"/>
                  </a:moveTo>
                  <a:cubicBezTo>
                    <a:pt x="11" y="9"/>
                    <a:pt x="11" y="9"/>
                    <a:pt x="11" y="9"/>
                  </a:cubicBezTo>
                  <a:cubicBezTo>
                    <a:pt x="11" y="4"/>
                    <a:pt x="6" y="0"/>
                    <a:pt x="1" y="0"/>
                  </a:cubicBezTo>
                  <a:cubicBezTo>
                    <a:pt x="0" y="0"/>
                    <a:pt x="0" y="0"/>
                    <a:pt x="0" y="0"/>
                  </a:cubicBezTo>
                  <a:cubicBezTo>
                    <a:pt x="0" y="171"/>
                    <a:pt x="0" y="171"/>
                    <a:pt x="0" y="171"/>
                  </a:cubicBezTo>
                  <a:cubicBezTo>
                    <a:pt x="1" y="171"/>
                    <a:pt x="1" y="171"/>
                    <a:pt x="1" y="171"/>
                  </a:cubicBezTo>
                  <a:cubicBezTo>
                    <a:pt x="6" y="171"/>
                    <a:pt x="11" y="167"/>
                    <a:pt x="11" y="162"/>
                  </a:cubicBezTo>
                  <a:close/>
                </a:path>
              </a:pathLst>
            </a:custGeom>
            <a:solidFill>
              <a:srgbClr val="3A376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0" name="ïšľïḋé">
              <a:extLst>
                <a:ext uri="{FF2B5EF4-FFF2-40B4-BE49-F238E27FC236}">
                  <a16:creationId xmlns:a16="http://schemas.microsoft.com/office/drawing/2014/main" id="{A50D1D20-3649-49EF-91CD-108E9D732CE1}"/>
                </a:ext>
              </a:extLst>
            </p:cNvPr>
            <p:cNvSpPr/>
            <p:nvPr/>
          </p:nvSpPr>
          <p:spPr bwMode="auto">
            <a:xfrm>
              <a:off x="4903788" y="1782763"/>
              <a:ext cx="1077913" cy="1074738"/>
            </a:xfrm>
            <a:custGeom>
              <a:avLst/>
              <a:gdLst>
                <a:gd name="T0" fmla="*/ 26 w 733"/>
                <a:gd name="T1" fmla="*/ 645 h 731"/>
                <a:gd name="T2" fmla="*/ 148 w 733"/>
                <a:gd name="T3" fmla="*/ 533 h 731"/>
                <a:gd name="T4" fmla="*/ 269 w 733"/>
                <a:gd name="T5" fmla="*/ 645 h 731"/>
                <a:gd name="T6" fmla="*/ 226 w 733"/>
                <a:gd name="T7" fmla="*/ 731 h 731"/>
                <a:gd name="T8" fmla="*/ 535 w 733"/>
                <a:gd name="T9" fmla="*/ 731 h 731"/>
                <a:gd name="T10" fmla="*/ 535 w 733"/>
                <a:gd name="T11" fmla="*/ 377 h 731"/>
                <a:gd name="T12" fmla="*/ 563 w 733"/>
                <a:gd name="T13" fmla="*/ 371 h 731"/>
                <a:gd name="T14" fmla="*/ 582 w 733"/>
                <a:gd name="T15" fmla="*/ 386 h 731"/>
                <a:gd name="T16" fmla="*/ 649 w 733"/>
                <a:gd name="T17" fmla="*/ 429 h 731"/>
                <a:gd name="T18" fmla="*/ 733 w 733"/>
                <a:gd name="T19" fmla="*/ 320 h 731"/>
                <a:gd name="T20" fmla="*/ 649 w 733"/>
                <a:gd name="T21" fmla="*/ 210 h 731"/>
                <a:gd name="T22" fmla="*/ 592 w 733"/>
                <a:gd name="T23" fmla="*/ 239 h 731"/>
                <a:gd name="T24" fmla="*/ 578 w 733"/>
                <a:gd name="T25" fmla="*/ 261 h 731"/>
                <a:gd name="T26" fmla="*/ 577 w 733"/>
                <a:gd name="T27" fmla="*/ 266 h 731"/>
                <a:gd name="T28" fmla="*/ 535 w 733"/>
                <a:gd name="T29" fmla="*/ 267 h 731"/>
                <a:gd name="T30" fmla="*/ 535 w 733"/>
                <a:gd name="T31" fmla="*/ 96 h 731"/>
                <a:gd name="T32" fmla="*/ 305 w 733"/>
                <a:gd name="T33" fmla="*/ 96 h 731"/>
                <a:gd name="T34" fmla="*/ 226 w 733"/>
                <a:gd name="T35" fmla="*/ 17 h 731"/>
                <a:gd name="T36" fmla="*/ 226 w 733"/>
                <a:gd name="T37" fmla="*/ 0 h 731"/>
                <a:gd name="T38" fmla="*/ 96 w 733"/>
                <a:gd name="T39" fmla="*/ 0 h 731"/>
                <a:gd name="T40" fmla="*/ 0 w 733"/>
                <a:gd name="T41" fmla="*/ 97 h 731"/>
                <a:gd name="T42" fmla="*/ 0 w 733"/>
                <a:gd name="T43" fmla="*/ 97 h 731"/>
                <a:gd name="T44" fmla="*/ 0 w 733"/>
                <a:gd name="T45" fmla="*/ 731 h 731"/>
                <a:gd name="T46" fmla="*/ 69 w 733"/>
                <a:gd name="T47" fmla="*/ 731 h 731"/>
                <a:gd name="T48" fmla="*/ 26 w 733"/>
                <a:gd name="T49" fmla="*/ 645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33" h="731">
                  <a:moveTo>
                    <a:pt x="26" y="645"/>
                  </a:moveTo>
                  <a:cubicBezTo>
                    <a:pt x="26" y="583"/>
                    <a:pt x="81" y="533"/>
                    <a:pt x="148" y="533"/>
                  </a:cubicBezTo>
                  <a:cubicBezTo>
                    <a:pt x="215" y="533"/>
                    <a:pt x="269" y="583"/>
                    <a:pt x="269" y="645"/>
                  </a:cubicBezTo>
                  <a:cubicBezTo>
                    <a:pt x="269" y="679"/>
                    <a:pt x="253" y="711"/>
                    <a:pt x="226" y="731"/>
                  </a:cubicBezTo>
                  <a:cubicBezTo>
                    <a:pt x="535" y="731"/>
                    <a:pt x="535" y="731"/>
                    <a:pt x="535" y="731"/>
                  </a:cubicBezTo>
                  <a:cubicBezTo>
                    <a:pt x="535" y="377"/>
                    <a:pt x="535" y="377"/>
                    <a:pt x="535" y="377"/>
                  </a:cubicBezTo>
                  <a:cubicBezTo>
                    <a:pt x="542" y="369"/>
                    <a:pt x="553" y="367"/>
                    <a:pt x="563" y="371"/>
                  </a:cubicBezTo>
                  <a:cubicBezTo>
                    <a:pt x="571" y="373"/>
                    <a:pt x="578" y="379"/>
                    <a:pt x="582" y="386"/>
                  </a:cubicBezTo>
                  <a:cubicBezTo>
                    <a:pt x="597" y="412"/>
                    <a:pt x="622" y="429"/>
                    <a:pt x="649" y="429"/>
                  </a:cubicBezTo>
                  <a:cubicBezTo>
                    <a:pt x="695" y="429"/>
                    <a:pt x="733" y="380"/>
                    <a:pt x="733" y="320"/>
                  </a:cubicBezTo>
                  <a:cubicBezTo>
                    <a:pt x="733" y="259"/>
                    <a:pt x="695" y="210"/>
                    <a:pt x="649" y="210"/>
                  </a:cubicBezTo>
                  <a:cubicBezTo>
                    <a:pt x="627" y="210"/>
                    <a:pt x="607" y="221"/>
                    <a:pt x="592" y="239"/>
                  </a:cubicBezTo>
                  <a:cubicBezTo>
                    <a:pt x="586" y="246"/>
                    <a:pt x="582" y="253"/>
                    <a:pt x="578" y="261"/>
                  </a:cubicBezTo>
                  <a:cubicBezTo>
                    <a:pt x="577" y="266"/>
                    <a:pt x="577" y="266"/>
                    <a:pt x="577" y="266"/>
                  </a:cubicBezTo>
                  <a:cubicBezTo>
                    <a:pt x="577" y="266"/>
                    <a:pt x="559" y="281"/>
                    <a:pt x="535" y="267"/>
                  </a:cubicBezTo>
                  <a:cubicBezTo>
                    <a:pt x="535" y="96"/>
                    <a:pt x="535" y="96"/>
                    <a:pt x="535" y="96"/>
                  </a:cubicBezTo>
                  <a:cubicBezTo>
                    <a:pt x="305" y="96"/>
                    <a:pt x="305" y="96"/>
                    <a:pt x="305" y="96"/>
                  </a:cubicBezTo>
                  <a:cubicBezTo>
                    <a:pt x="262" y="96"/>
                    <a:pt x="226" y="61"/>
                    <a:pt x="226" y="17"/>
                  </a:cubicBezTo>
                  <a:cubicBezTo>
                    <a:pt x="226" y="0"/>
                    <a:pt x="226" y="0"/>
                    <a:pt x="226" y="0"/>
                  </a:cubicBezTo>
                  <a:cubicBezTo>
                    <a:pt x="96" y="0"/>
                    <a:pt x="96" y="0"/>
                    <a:pt x="96" y="0"/>
                  </a:cubicBezTo>
                  <a:cubicBezTo>
                    <a:pt x="43" y="0"/>
                    <a:pt x="0" y="43"/>
                    <a:pt x="0" y="97"/>
                  </a:cubicBezTo>
                  <a:cubicBezTo>
                    <a:pt x="0" y="97"/>
                    <a:pt x="0" y="97"/>
                    <a:pt x="0" y="97"/>
                  </a:cubicBezTo>
                  <a:cubicBezTo>
                    <a:pt x="0" y="731"/>
                    <a:pt x="0" y="731"/>
                    <a:pt x="0" y="731"/>
                  </a:cubicBezTo>
                  <a:cubicBezTo>
                    <a:pt x="69" y="731"/>
                    <a:pt x="69" y="731"/>
                    <a:pt x="69" y="731"/>
                  </a:cubicBezTo>
                  <a:cubicBezTo>
                    <a:pt x="42" y="711"/>
                    <a:pt x="27" y="679"/>
                    <a:pt x="26" y="645"/>
                  </a:cubicBezTo>
                  <a:close/>
                </a:path>
              </a:pathLst>
            </a:custGeom>
            <a:solidFill>
              <a:srgbClr val="536DF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1" name="išḻîḑê">
              <a:extLst>
                <a:ext uri="{FF2B5EF4-FFF2-40B4-BE49-F238E27FC236}">
                  <a16:creationId xmlns:a16="http://schemas.microsoft.com/office/drawing/2014/main" id="{DAEB0C5E-AEED-4200-9CC9-DA7B89AC3361}"/>
                </a:ext>
              </a:extLst>
            </p:cNvPr>
            <p:cNvSpPr/>
            <p:nvPr/>
          </p:nvSpPr>
          <p:spPr bwMode="auto">
            <a:xfrm>
              <a:off x="5511801" y="1798638"/>
              <a:ext cx="177800" cy="49213"/>
            </a:xfrm>
            <a:custGeom>
              <a:avLst/>
              <a:gdLst>
                <a:gd name="T0" fmla="*/ 15 w 121"/>
                <a:gd name="T1" fmla="*/ 0 h 34"/>
                <a:gd name="T2" fmla="*/ 0 w 121"/>
                <a:gd name="T3" fmla="*/ 15 h 34"/>
                <a:gd name="T4" fmla="*/ 0 w 121"/>
                <a:gd name="T5" fmla="*/ 19 h 34"/>
                <a:gd name="T6" fmla="*/ 15 w 121"/>
                <a:gd name="T7" fmla="*/ 34 h 34"/>
                <a:gd name="T8" fmla="*/ 121 w 121"/>
                <a:gd name="T9" fmla="*/ 34 h 34"/>
                <a:gd name="T10" fmla="*/ 121 w 121"/>
                <a:gd name="T11" fmla="*/ 0 h 34"/>
                <a:gd name="T12" fmla="*/ 15 w 121"/>
                <a:gd name="T13" fmla="*/ 0 h 34"/>
              </a:gdLst>
              <a:ahLst/>
              <a:cxnLst>
                <a:cxn ang="0">
                  <a:pos x="T0" y="T1"/>
                </a:cxn>
                <a:cxn ang="0">
                  <a:pos x="T2" y="T3"/>
                </a:cxn>
                <a:cxn ang="0">
                  <a:pos x="T4" y="T5"/>
                </a:cxn>
                <a:cxn ang="0">
                  <a:pos x="T6" y="T7"/>
                </a:cxn>
                <a:cxn ang="0">
                  <a:pos x="T8" y="T9"/>
                </a:cxn>
                <a:cxn ang="0">
                  <a:pos x="T10" y="T11"/>
                </a:cxn>
                <a:cxn ang="0">
                  <a:pos x="T12" y="T13"/>
                </a:cxn>
              </a:cxnLst>
              <a:rect l="0" t="0" r="r" b="b"/>
              <a:pathLst>
                <a:path w="121" h="34">
                  <a:moveTo>
                    <a:pt x="15" y="0"/>
                  </a:moveTo>
                  <a:cubicBezTo>
                    <a:pt x="7" y="0"/>
                    <a:pt x="0" y="7"/>
                    <a:pt x="0" y="15"/>
                  </a:cubicBezTo>
                  <a:cubicBezTo>
                    <a:pt x="0" y="19"/>
                    <a:pt x="0" y="19"/>
                    <a:pt x="0" y="19"/>
                  </a:cubicBezTo>
                  <a:cubicBezTo>
                    <a:pt x="0" y="27"/>
                    <a:pt x="7" y="34"/>
                    <a:pt x="15" y="34"/>
                  </a:cubicBezTo>
                  <a:cubicBezTo>
                    <a:pt x="121" y="34"/>
                    <a:pt x="121" y="34"/>
                    <a:pt x="121" y="34"/>
                  </a:cubicBezTo>
                  <a:cubicBezTo>
                    <a:pt x="121" y="0"/>
                    <a:pt x="121" y="0"/>
                    <a:pt x="121" y="0"/>
                  </a:cubicBezTo>
                  <a:lnTo>
                    <a:pt x="15" y="0"/>
                  </a:lnTo>
                  <a:close/>
                </a:path>
              </a:pathLst>
            </a:custGeom>
            <a:solidFill>
              <a:srgbClr val="E6E8E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2" name="işliḍè">
              <a:extLst>
                <a:ext uri="{FF2B5EF4-FFF2-40B4-BE49-F238E27FC236}">
                  <a16:creationId xmlns:a16="http://schemas.microsoft.com/office/drawing/2014/main" id="{5EEA90DD-74E5-4070-96AF-A8EA64BED213}"/>
                </a:ext>
              </a:extLst>
            </p:cNvPr>
            <p:cNvSpPr/>
            <p:nvPr/>
          </p:nvSpPr>
          <p:spPr bwMode="auto">
            <a:xfrm>
              <a:off x="6584951" y="2493963"/>
              <a:ext cx="39688" cy="361950"/>
            </a:xfrm>
            <a:custGeom>
              <a:avLst/>
              <a:gdLst>
                <a:gd name="T0" fmla="*/ 0 w 27"/>
                <a:gd name="T1" fmla="*/ 10 h 247"/>
                <a:gd name="T2" fmla="*/ 0 w 27"/>
                <a:gd name="T3" fmla="*/ 247 h 247"/>
                <a:gd name="T4" fmla="*/ 27 w 27"/>
                <a:gd name="T5" fmla="*/ 247 h 247"/>
                <a:gd name="T6" fmla="*/ 27 w 27"/>
                <a:gd name="T7" fmla="*/ 0 h 247"/>
                <a:gd name="T8" fmla="*/ 12 w 27"/>
                <a:gd name="T9" fmla="*/ 0 h 247"/>
                <a:gd name="T10" fmla="*/ 0 w 27"/>
                <a:gd name="T11" fmla="*/ 10 h 247"/>
              </a:gdLst>
              <a:ahLst/>
              <a:cxnLst>
                <a:cxn ang="0">
                  <a:pos x="T0" y="T1"/>
                </a:cxn>
                <a:cxn ang="0">
                  <a:pos x="T2" y="T3"/>
                </a:cxn>
                <a:cxn ang="0">
                  <a:pos x="T4" y="T5"/>
                </a:cxn>
                <a:cxn ang="0">
                  <a:pos x="T6" y="T7"/>
                </a:cxn>
                <a:cxn ang="0">
                  <a:pos x="T8" y="T9"/>
                </a:cxn>
                <a:cxn ang="0">
                  <a:pos x="T10" y="T11"/>
                </a:cxn>
              </a:cxnLst>
              <a:rect l="0" t="0" r="r" b="b"/>
              <a:pathLst>
                <a:path w="27" h="247">
                  <a:moveTo>
                    <a:pt x="0" y="10"/>
                  </a:moveTo>
                  <a:cubicBezTo>
                    <a:pt x="0" y="247"/>
                    <a:pt x="0" y="247"/>
                    <a:pt x="0" y="247"/>
                  </a:cubicBezTo>
                  <a:cubicBezTo>
                    <a:pt x="27" y="247"/>
                    <a:pt x="27" y="247"/>
                    <a:pt x="27" y="247"/>
                  </a:cubicBezTo>
                  <a:cubicBezTo>
                    <a:pt x="27" y="0"/>
                    <a:pt x="27" y="0"/>
                    <a:pt x="27" y="0"/>
                  </a:cubicBezTo>
                  <a:cubicBezTo>
                    <a:pt x="12" y="0"/>
                    <a:pt x="12" y="0"/>
                    <a:pt x="12" y="0"/>
                  </a:cubicBezTo>
                  <a:cubicBezTo>
                    <a:pt x="6" y="0"/>
                    <a:pt x="0" y="5"/>
                    <a:pt x="0" y="10"/>
                  </a:cubicBezTo>
                  <a:close/>
                </a:path>
              </a:pathLst>
            </a:custGeom>
            <a:solidFill>
              <a:srgbClr val="3A376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3" name="iSľïḓê">
              <a:extLst>
                <a:ext uri="{FF2B5EF4-FFF2-40B4-BE49-F238E27FC236}">
                  <a16:creationId xmlns:a16="http://schemas.microsoft.com/office/drawing/2014/main" id="{B6578753-D00B-4EBF-8D6D-4AAFCF0BED49}"/>
                </a:ext>
              </a:extLst>
            </p:cNvPr>
            <p:cNvSpPr/>
            <p:nvPr/>
          </p:nvSpPr>
          <p:spPr bwMode="auto">
            <a:xfrm>
              <a:off x="5737226" y="1685925"/>
              <a:ext cx="47625" cy="106363"/>
            </a:xfrm>
            <a:prstGeom prst="rect">
              <a:avLst/>
            </a:prstGeom>
            <a:solidFill>
              <a:srgbClr val="3A376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84" name="îsľîḓê">
              <a:extLst>
                <a:ext uri="{FF2B5EF4-FFF2-40B4-BE49-F238E27FC236}">
                  <a16:creationId xmlns:a16="http://schemas.microsoft.com/office/drawing/2014/main" id="{C30D6C39-5998-4F2A-AC39-6A9DEA209077}"/>
                </a:ext>
              </a:extLst>
            </p:cNvPr>
            <p:cNvSpPr/>
            <p:nvPr/>
          </p:nvSpPr>
          <p:spPr bwMode="auto">
            <a:xfrm>
              <a:off x="5737226" y="1844675"/>
              <a:ext cx="47625" cy="76200"/>
            </a:xfrm>
            <a:prstGeom prst="rect">
              <a:avLst/>
            </a:prstGeom>
            <a:solidFill>
              <a:srgbClr val="3A376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85" name="í$ľiḍé">
              <a:extLst>
                <a:ext uri="{FF2B5EF4-FFF2-40B4-BE49-F238E27FC236}">
                  <a16:creationId xmlns:a16="http://schemas.microsoft.com/office/drawing/2014/main" id="{C0D8148A-C692-49F5-A163-0055B8EC72A6}"/>
                </a:ext>
              </a:extLst>
            </p:cNvPr>
            <p:cNvSpPr/>
            <p:nvPr/>
          </p:nvSpPr>
          <p:spPr bwMode="auto">
            <a:xfrm>
              <a:off x="5737226" y="1792288"/>
              <a:ext cx="47625" cy="52388"/>
            </a:xfrm>
            <a:prstGeom prst="rect">
              <a:avLst/>
            </a:prstGeom>
            <a:solidFill>
              <a:srgbClr val="E6E8E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86" name="îṧ1ïdê">
              <a:extLst>
                <a:ext uri="{FF2B5EF4-FFF2-40B4-BE49-F238E27FC236}">
                  <a16:creationId xmlns:a16="http://schemas.microsoft.com/office/drawing/2014/main" id="{270B43E4-2AA6-4051-AC85-0288CBC09622}"/>
                </a:ext>
              </a:extLst>
            </p:cNvPr>
            <p:cNvSpPr/>
            <p:nvPr/>
          </p:nvSpPr>
          <p:spPr bwMode="auto">
            <a:xfrm>
              <a:off x="6621463" y="2508250"/>
              <a:ext cx="23813" cy="347663"/>
            </a:xfrm>
            <a:custGeom>
              <a:avLst/>
              <a:gdLst>
                <a:gd name="T0" fmla="*/ 8 w 17"/>
                <a:gd name="T1" fmla="*/ 0 h 237"/>
                <a:gd name="T2" fmla="*/ 0 w 17"/>
                <a:gd name="T3" fmla="*/ 0 h 237"/>
                <a:gd name="T4" fmla="*/ 0 w 17"/>
                <a:gd name="T5" fmla="*/ 237 h 237"/>
                <a:gd name="T6" fmla="*/ 17 w 17"/>
                <a:gd name="T7" fmla="*/ 237 h 237"/>
                <a:gd name="T8" fmla="*/ 17 w 17"/>
                <a:gd name="T9" fmla="*/ 10 h 237"/>
                <a:gd name="T10" fmla="*/ 8 w 17"/>
                <a:gd name="T11" fmla="*/ 0 h 237"/>
              </a:gdLst>
              <a:ahLst/>
              <a:cxnLst>
                <a:cxn ang="0">
                  <a:pos x="T0" y="T1"/>
                </a:cxn>
                <a:cxn ang="0">
                  <a:pos x="T2" y="T3"/>
                </a:cxn>
                <a:cxn ang="0">
                  <a:pos x="T4" y="T5"/>
                </a:cxn>
                <a:cxn ang="0">
                  <a:pos x="T6" y="T7"/>
                </a:cxn>
                <a:cxn ang="0">
                  <a:pos x="T8" y="T9"/>
                </a:cxn>
                <a:cxn ang="0">
                  <a:pos x="T10" y="T11"/>
                </a:cxn>
              </a:cxnLst>
              <a:rect l="0" t="0" r="r" b="b"/>
              <a:pathLst>
                <a:path w="17" h="237">
                  <a:moveTo>
                    <a:pt x="8" y="0"/>
                  </a:moveTo>
                  <a:cubicBezTo>
                    <a:pt x="0" y="0"/>
                    <a:pt x="0" y="0"/>
                    <a:pt x="0" y="0"/>
                  </a:cubicBezTo>
                  <a:cubicBezTo>
                    <a:pt x="0" y="237"/>
                    <a:pt x="0" y="237"/>
                    <a:pt x="0" y="237"/>
                  </a:cubicBezTo>
                  <a:cubicBezTo>
                    <a:pt x="17" y="237"/>
                    <a:pt x="17" y="237"/>
                    <a:pt x="17" y="237"/>
                  </a:cubicBezTo>
                  <a:cubicBezTo>
                    <a:pt x="17" y="10"/>
                    <a:pt x="17" y="10"/>
                    <a:pt x="17" y="10"/>
                  </a:cubicBezTo>
                  <a:cubicBezTo>
                    <a:pt x="17" y="5"/>
                    <a:pt x="13" y="0"/>
                    <a:pt x="8" y="0"/>
                  </a:cubicBezTo>
                  <a:close/>
                </a:path>
              </a:pathLst>
            </a:custGeom>
            <a:solidFill>
              <a:srgbClr val="3A376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7" name="íS1íḑè">
              <a:extLst>
                <a:ext uri="{FF2B5EF4-FFF2-40B4-BE49-F238E27FC236}">
                  <a16:creationId xmlns:a16="http://schemas.microsoft.com/office/drawing/2014/main" id="{EAB3312D-B2D0-4BAB-A6EE-C8D77C65D0AA}"/>
                </a:ext>
              </a:extLst>
            </p:cNvPr>
            <p:cNvSpPr/>
            <p:nvPr/>
          </p:nvSpPr>
          <p:spPr bwMode="auto">
            <a:xfrm>
              <a:off x="5778501" y="1685925"/>
              <a:ext cx="841375" cy="1169988"/>
            </a:xfrm>
            <a:custGeom>
              <a:avLst/>
              <a:gdLst>
                <a:gd name="T0" fmla="*/ 4 w 572"/>
                <a:gd name="T1" fmla="*/ 72 h 796"/>
                <a:gd name="T2" fmla="*/ 20 w 572"/>
                <a:gd name="T3" fmla="*/ 90 h 796"/>
                <a:gd name="T4" fmla="*/ 20 w 572"/>
                <a:gd name="T5" fmla="*/ 93 h 796"/>
                <a:gd name="T6" fmla="*/ 4 w 572"/>
                <a:gd name="T7" fmla="*/ 108 h 796"/>
                <a:gd name="T8" fmla="*/ 4 w 572"/>
                <a:gd name="T9" fmla="*/ 160 h 796"/>
                <a:gd name="T10" fmla="*/ 185 w 572"/>
                <a:gd name="T11" fmla="*/ 160 h 796"/>
                <a:gd name="T12" fmla="*/ 264 w 572"/>
                <a:gd name="T13" fmla="*/ 81 h 796"/>
                <a:gd name="T14" fmla="*/ 264 w 572"/>
                <a:gd name="T15" fmla="*/ 64 h 796"/>
                <a:gd name="T16" fmla="*/ 400 w 572"/>
                <a:gd name="T17" fmla="*/ 64 h 796"/>
                <a:gd name="T18" fmla="*/ 496 w 572"/>
                <a:gd name="T19" fmla="*/ 161 h 796"/>
                <a:gd name="T20" fmla="*/ 496 w 572"/>
                <a:gd name="T21" fmla="*/ 627 h 796"/>
                <a:gd name="T22" fmla="*/ 513 w 572"/>
                <a:gd name="T23" fmla="*/ 777 h 796"/>
                <a:gd name="T24" fmla="*/ 496 w 572"/>
                <a:gd name="T25" fmla="*/ 794 h 796"/>
                <a:gd name="T26" fmla="*/ 496 w 572"/>
                <a:gd name="T27" fmla="*/ 796 h 796"/>
                <a:gd name="T28" fmla="*/ 552 w 572"/>
                <a:gd name="T29" fmla="*/ 796 h 796"/>
                <a:gd name="T30" fmla="*/ 552 w 572"/>
                <a:gd name="T31" fmla="*/ 562 h 796"/>
                <a:gd name="T32" fmla="*/ 553 w 572"/>
                <a:gd name="T33" fmla="*/ 560 h 796"/>
                <a:gd name="T34" fmla="*/ 553 w 572"/>
                <a:gd name="T35" fmla="*/ 560 h 796"/>
                <a:gd name="T36" fmla="*/ 572 w 572"/>
                <a:gd name="T37" fmla="*/ 560 h 796"/>
                <a:gd name="T38" fmla="*/ 572 w 572"/>
                <a:gd name="T39" fmla="*/ 150 h 796"/>
                <a:gd name="T40" fmla="*/ 422 w 572"/>
                <a:gd name="T41" fmla="*/ 0 h 796"/>
                <a:gd name="T42" fmla="*/ 422 w 572"/>
                <a:gd name="T43" fmla="*/ 0 h 796"/>
                <a:gd name="T44" fmla="*/ 0 w 572"/>
                <a:gd name="T45" fmla="*/ 0 h 796"/>
                <a:gd name="T46" fmla="*/ 0 w 572"/>
                <a:gd name="T47" fmla="*/ 72 h 796"/>
                <a:gd name="T48" fmla="*/ 4 w 572"/>
                <a:gd name="T49" fmla="*/ 72 h 796"/>
                <a:gd name="T50" fmla="*/ 65 w 572"/>
                <a:gd name="T51" fmla="*/ 72 h 796"/>
                <a:gd name="T52" fmla="*/ 84 w 572"/>
                <a:gd name="T53" fmla="*/ 92 h 796"/>
                <a:gd name="T54" fmla="*/ 65 w 572"/>
                <a:gd name="T55" fmla="*/ 111 h 796"/>
                <a:gd name="T56" fmla="*/ 45 w 572"/>
                <a:gd name="T57" fmla="*/ 92 h 796"/>
                <a:gd name="T58" fmla="*/ 65 w 572"/>
                <a:gd name="T59" fmla="*/ 72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72" h="796">
                  <a:moveTo>
                    <a:pt x="4" y="72"/>
                  </a:moveTo>
                  <a:cubicBezTo>
                    <a:pt x="13" y="74"/>
                    <a:pt x="20" y="90"/>
                    <a:pt x="20" y="90"/>
                  </a:cubicBezTo>
                  <a:cubicBezTo>
                    <a:pt x="20" y="93"/>
                    <a:pt x="20" y="93"/>
                    <a:pt x="20" y="93"/>
                  </a:cubicBezTo>
                  <a:cubicBezTo>
                    <a:pt x="20" y="93"/>
                    <a:pt x="12" y="109"/>
                    <a:pt x="4" y="108"/>
                  </a:cubicBezTo>
                  <a:cubicBezTo>
                    <a:pt x="4" y="160"/>
                    <a:pt x="4" y="160"/>
                    <a:pt x="4" y="160"/>
                  </a:cubicBezTo>
                  <a:cubicBezTo>
                    <a:pt x="185" y="160"/>
                    <a:pt x="185" y="160"/>
                    <a:pt x="185" y="160"/>
                  </a:cubicBezTo>
                  <a:cubicBezTo>
                    <a:pt x="229" y="160"/>
                    <a:pt x="264" y="125"/>
                    <a:pt x="264" y="81"/>
                  </a:cubicBezTo>
                  <a:cubicBezTo>
                    <a:pt x="264" y="64"/>
                    <a:pt x="264" y="64"/>
                    <a:pt x="264" y="64"/>
                  </a:cubicBezTo>
                  <a:cubicBezTo>
                    <a:pt x="400" y="64"/>
                    <a:pt x="400" y="64"/>
                    <a:pt x="400" y="64"/>
                  </a:cubicBezTo>
                  <a:cubicBezTo>
                    <a:pt x="453" y="65"/>
                    <a:pt x="496" y="108"/>
                    <a:pt x="496" y="161"/>
                  </a:cubicBezTo>
                  <a:cubicBezTo>
                    <a:pt x="496" y="627"/>
                    <a:pt x="496" y="627"/>
                    <a:pt x="496" y="627"/>
                  </a:cubicBezTo>
                  <a:cubicBezTo>
                    <a:pt x="542" y="663"/>
                    <a:pt x="550" y="731"/>
                    <a:pt x="513" y="777"/>
                  </a:cubicBezTo>
                  <a:cubicBezTo>
                    <a:pt x="508" y="783"/>
                    <a:pt x="502" y="789"/>
                    <a:pt x="496" y="794"/>
                  </a:cubicBezTo>
                  <a:cubicBezTo>
                    <a:pt x="496" y="796"/>
                    <a:pt x="496" y="796"/>
                    <a:pt x="496" y="796"/>
                  </a:cubicBezTo>
                  <a:cubicBezTo>
                    <a:pt x="552" y="796"/>
                    <a:pt x="552" y="796"/>
                    <a:pt x="552" y="796"/>
                  </a:cubicBezTo>
                  <a:cubicBezTo>
                    <a:pt x="552" y="562"/>
                    <a:pt x="552" y="562"/>
                    <a:pt x="552" y="562"/>
                  </a:cubicBezTo>
                  <a:cubicBezTo>
                    <a:pt x="552" y="561"/>
                    <a:pt x="553" y="560"/>
                    <a:pt x="553" y="560"/>
                  </a:cubicBezTo>
                  <a:cubicBezTo>
                    <a:pt x="553" y="560"/>
                    <a:pt x="553" y="560"/>
                    <a:pt x="553" y="560"/>
                  </a:cubicBezTo>
                  <a:cubicBezTo>
                    <a:pt x="572" y="560"/>
                    <a:pt x="572" y="560"/>
                    <a:pt x="572" y="560"/>
                  </a:cubicBezTo>
                  <a:cubicBezTo>
                    <a:pt x="572" y="150"/>
                    <a:pt x="572" y="150"/>
                    <a:pt x="572" y="150"/>
                  </a:cubicBezTo>
                  <a:cubicBezTo>
                    <a:pt x="572" y="68"/>
                    <a:pt x="505" y="0"/>
                    <a:pt x="422" y="0"/>
                  </a:cubicBezTo>
                  <a:cubicBezTo>
                    <a:pt x="422" y="0"/>
                    <a:pt x="422" y="0"/>
                    <a:pt x="422" y="0"/>
                  </a:cubicBezTo>
                  <a:cubicBezTo>
                    <a:pt x="0" y="0"/>
                    <a:pt x="0" y="0"/>
                    <a:pt x="0" y="0"/>
                  </a:cubicBezTo>
                  <a:cubicBezTo>
                    <a:pt x="0" y="72"/>
                    <a:pt x="0" y="72"/>
                    <a:pt x="0" y="72"/>
                  </a:cubicBezTo>
                  <a:lnTo>
                    <a:pt x="4" y="72"/>
                  </a:lnTo>
                  <a:close/>
                  <a:moveTo>
                    <a:pt x="65" y="72"/>
                  </a:moveTo>
                  <a:cubicBezTo>
                    <a:pt x="75" y="72"/>
                    <a:pt x="84" y="81"/>
                    <a:pt x="84" y="92"/>
                  </a:cubicBezTo>
                  <a:cubicBezTo>
                    <a:pt x="84" y="102"/>
                    <a:pt x="75" y="111"/>
                    <a:pt x="65" y="111"/>
                  </a:cubicBezTo>
                  <a:cubicBezTo>
                    <a:pt x="54" y="111"/>
                    <a:pt x="45" y="102"/>
                    <a:pt x="45" y="92"/>
                  </a:cubicBezTo>
                  <a:cubicBezTo>
                    <a:pt x="45" y="81"/>
                    <a:pt x="54" y="72"/>
                    <a:pt x="65" y="72"/>
                  </a:cubicBezTo>
                  <a:close/>
                </a:path>
              </a:pathLst>
            </a:custGeom>
            <a:solidFill>
              <a:srgbClr val="3A376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8" name="ïŝļîḓé">
              <a:extLst>
                <a:ext uri="{FF2B5EF4-FFF2-40B4-BE49-F238E27FC236}">
                  <a16:creationId xmlns:a16="http://schemas.microsoft.com/office/drawing/2014/main" id="{BF3DA464-7E1F-4E1C-8AE7-186E47D271DB}"/>
                </a:ext>
              </a:extLst>
            </p:cNvPr>
            <p:cNvSpPr/>
            <p:nvPr/>
          </p:nvSpPr>
          <p:spPr bwMode="auto">
            <a:xfrm>
              <a:off x="5737226" y="1781175"/>
              <a:ext cx="769938" cy="1074738"/>
            </a:xfrm>
            <a:custGeom>
              <a:avLst/>
              <a:gdLst>
                <a:gd name="T0" fmla="*/ 88 w 524"/>
                <a:gd name="T1" fmla="*/ 196 h 732"/>
                <a:gd name="T2" fmla="*/ 202 w 524"/>
                <a:gd name="T3" fmla="*/ 318 h 732"/>
                <a:gd name="T4" fmla="*/ 88 w 524"/>
                <a:gd name="T5" fmla="*/ 439 h 732"/>
                <a:gd name="T6" fmla="*/ 0 w 524"/>
                <a:gd name="T7" fmla="*/ 395 h 732"/>
                <a:gd name="T8" fmla="*/ 0 w 524"/>
                <a:gd name="T9" fmla="*/ 732 h 732"/>
                <a:gd name="T10" fmla="*/ 364 w 524"/>
                <a:gd name="T11" fmla="*/ 732 h 732"/>
                <a:gd name="T12" fmla="*/ 321 w 524"/>
                <a:gd name="T13" fmla="*/ 646 h 732"/>
                <a:gd name="T14" fmla="*/ 442 w 524"/>
                <a:gd name="T15" fmla="*/ 533 h 732"/>
                <a:gd name="T16" fmla="*/ 524 w 524"/>
                <a:gd name="T17" fmla="*/ 563 h 732"/>
                <a:gd name="T18" fmla="*/ 524 w 524"/>
                <a:gd name="T19" fmla="*/ 97 h 732"/>
                <a:gd name="T20" fmla="*/ 428 w 524"/>
                <a:gd name="T21" fmla="*/ 0 h 732"/>
                <a:gd name="T22" fmla="*/ 292 w 524"/>
                <a:gd name="T23" fmla="*/ 0 h 732"/>
                <a:gd name="T24" fmla="*/ 292 w 524"/>
                <a:gd name="T25" fmla="*/ 17 h 732"/>
                <a:gd name="T26" fmla="*/ 213 w 524"/>
                <a:gd name="T27" fmla="*/ 96 h 732"/>
                <a:gd name="T28" fmla="*/ 0 w 524"/>
                <a:gd name="T29" fmla="*/ 96 h 732"/>
                <a:gd name="T30" fmla="*/ 0 w 524"/>
                <a:gd name="T31" fmla="*/ 240 h 732"/>
                <a:gd name="T32" fmla="*/ 88 w 524"/>
                <a:gd name="T33" fmla="*/ 196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4" h="732">
                  <a:moveTo>
                    <a:pt x="88" y="196"/>
                  </a:moveTo>
                  <a:cubicBezTo>
                    <a:pt x="151" y="196"/>
                    <a:pt x="202" y="251"/>
                    <a:pt x="202" y="318"/>
                  </a:cubicBezTo>
                  <a:cubicBezTo>
                    <a:pt x="202" y="385"/>
                    <a:pt x="151" y="439"/>
                    <a:pt x="88" y="439"/>
                  </a:cubicBezTo>
                  <a:cubicBezTo>
                    <a:pt x="53" y="439"/>
                    <a:pt x="21" y="423"/>
                    <a:pt x="0" y="395"/>
                  </a:cubicBezTo>
                  <a:cubicBezTo>
                    <a:pt x="0" y="732"/>
                    <a:pt x="0" y="732"/>
                    <a:pt x="0" y="732"/>
                  </a:cubicBezTo>
                  <a:cubicBezTo>
                    <a:pt x="364" y="732"/>
                    <a:pt x="364" y="732"/>
                    <a:pt x="364" y="732"/>
                  </a:cubicBezTo>
                  <a:cubicBezTo>
                    <a:pt x="337" y="712"/>
                    <a:pt x="321" y="680"/>
                    <a:pt x="321" y="646"/>
                  </a:cubicBezTo>
                  <a:cubicBezTo>
                    <a:pt x="321" y="584"/>
                    <a:pt x="375" y="533"/>
                    <a:pt x="442" y="533"/>
                  </a:cubicBezTo>
                  <a:cubicBezTo>
                    <a:pt x="472" y="533"/>
                    <a:pt x="501" y="543"/>
                    <a:pt x="524" y="563"/>
                  </a:cubicBezTo>
                  <a:cubicBezTo>
                    <a:pt x="524" y="97"/>
                    <a:pt x="524" y="97"/>
                    <a:pt x="524" y="97"/>
                  </a:cubicBezTo>
                  <a:cubicBezTo>
                    <a:pt x="524" y="44"/>
                    <a:pt x="481" y="1"/>
                    <a:pt x="428" y="0"/>
                  </a:cubicBezTo>
                  <a:cubicBezTo>
                    <a:pt x="292" y="0"/>
                    <a:pt x="292" y="0"/>
                    <a:pt x="292" y="0"/>
                  </a:cubicBezTo>
                  <a:cubicBezTo>
                    <a:pt x="292" y="17"/>
                    <a:pt x="292" y="17"/>
                    <a:pt x="292" y="17"/>
                  </a:cubicBezTo>
                  <a:cubicBezTo>
                    <a:pt x="292" y="61"/>
                    <a:pt x="257" y="96"/>
                    <a:pt x="213" y="96"/>
                  </a:cubicBezTo>
                  <a:cubicBezTo>
                    <a:pt x="0" y="96"/>
                    <a:pt x="0" y="96"/>
                    <a:pt x="0" y="96"/>
                  </a:cubicBezTo>
                  <a:cubicBezTo>
                    <a:pt x="0" y="240"/>
                    <a:pt x="0" y="240"/>
                    <a:pt x="0" y="240"/>
                  </a:cubicBezTo>
                  <a:cubicBezTo>
                    <a:pt x="21" y="213"/>
                    <a:pt x="53" y="196"/>
                    <a:pt x="88" y="196"/>
                  </a:cubicBezTo>
                  <a:close/>
                </a:path>
              </a:pathLst>
            </a:custGeom>
            <a:solidFill>
              <a:srgbClr val="536DF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9" name="işlîḋe">
              <a:extLst>
                <a:ext uri="{FF2B5EF4-FFF2-40B4-BE49-F238E27FC236}">
                  <a16:creationId xmlns:a16="http://schemas.microsoft.com/office/drawing/2014/main" id="{A8A68CF3-A8DE-49CA-9C26-C10231D1915F}"/>
                </a:ext>
              </a:extLst>
            </p:cNvPr>
            <p:cNvSpPr/>
            <p:nvPr/>
          </p:nvSpPr>
          <p:spPr bwMode="auto">
            <a:xfrm>
              <a:off x="5778501" y="1792288"/>
              <a:ext cx="28575" cy="52388"/>
            </a:xfrm>
            <a:custGeom>
              <a:avLst/>
              <a:gdLst>
                <a:gd name="T0" fmla="*/ 4 w 20"/>
                <a:gd name="T1" fmla="*/ 36 h 36"/>
                <a:gd name="T2" fmla="*/ 20 w 20"/>
                <a:gd name="T3" fmla="*/ 21 h 36"/>
                <a:gd name="T4" fmla="*/ 20 w 20"/>
                <a:gd name="T5" fmla="*/ 18 h 36"/>
                <a:gd name="T6" fmla="*/ 4 w 20"/>
                <a:gd name="T7" fmla="*/ 0 h 36"/>
                <a:gd name="T8" fmla="*/ 0 w 20"/>
                <a:gd name="T9" fmla="*/ 0 h 36"/>
                <a:gd name="T10" fmla="*/ 0 w 20"/>
                <a:gd name="T11" fmla="*/ 36 h 36"/>
                <a:gd name="T12" fmla="*/ 4 w 20"/>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20" h="36">
                  <a:moveTo>
                    <a:pt x="4" y="36"/>
                  </a:moveTo>
                  <a:cubicBezTo>
                    <a:pt x="13" y="36"/>
                    <a:pt x="20" y="30"/>
                    <a:pt x="20" y="21"/>
                  </a:cubicBezTo>
                  <a:cubicBezTo>
                    <a:pt x="20" y="18"/>
                    <a:pt x="20" y="18"/>
                    <a:pt x="20" y="18"/>
                  </a:cubicBezTo>
                  <a:cubicBezTo>
                    <a:pt x="19" y="9"/>
                    <a:pt x="13" y="2"/>
                    <a:pt x="4" y="0"/>
                  </a:cubicBezTo>
                  <a:cubicBezTo>
                    <a:pt x="0" y="0"/>
                    <a:pt x="0" y="0"/>
                    <a:pt x="0" y="0"/>
                  </a:cubicBezTo>
                  <a:cubicBezTo>
                    <a:pt x="0" y="36"/>
                    <a:pt x="0" y="36"/>
                    <a:pt x="0" y="36"/>
                  </a:cubicBezTo>
                  <a:lnTo>
                    <a:pt x="4" y="36"/>
                  </a:lnTo>
                  <a:close/>
                </a:path>
              </a:pathLst>
            </a:custGeom>
            <a:solidFill>
              <a:srgbClr val="E6E8E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0" name="íṣ1iḍè">
              <a:extLst>
                <a:ext uri="{FF2B5EF4-FFF2-40B4-BE49-F238E27FC236}">
                  <a16:creationId xmlns:a16="http://schemas.microsoft.com/office/drawing/2014/main" id="{4C151703-EB76-4111-91D6-F371E698236D}"/>
                </a:ext>
              </a:extLst>
            </p:cNvPr>
            <p:cNvSpPr/>
            <p:nvPr/>
          </p:nvSpPr>
          <p:spPr bwMode="auto">
            <a:xfrm>
              <a:off x="5843588" y="1789113"/>
              <a:ext cx="61913" cy="61913"/>
            </a:xfrm>
            <a:custGeom>
              <a:avLst/>
              <a:gdLst>
                <a:gd name="T0" fmla="*/ 17 w 42"/>
                <a:gd name="T1" fmla="*/ 2 h 42"/>
                <a:gd name="T2" fmla="*/ 40 w 42"/>
                <a:gd name="T3" fmla="*/ 18 h 42"/>
                <a:gd name="T4" fmla="*/ 24 w 42"/>
                <a:gd name="T5" fmla="*/ 41 h 42"/>
                <a:gd name="T6" fmla="*/ 1 w 42"/>
                <a:gd name="T7" fmla="*/ 25 h 42"/>
                <a:gd name="T8" fmla="*/ 17 w 42"/>
                <a:gd name="T9" fmla="*/ 2 h 42"/>
              </a:gdLst>
              <a:ahLst/>
              <a:cxnLst>
                <a:cxn ang="0">
                  <a:pos x="T0" y="T1"/>
                </a:cxn>
                <a:cxn ang="0">
                  <a:pos x="T2" y="T3"/>
                </a:cxn>
                <a:cxn ang="0">
                  <a:pos x="T4" y="T5"/>
                </a:cxn>
                <a:cxn ang="0">
                  <a:pos x="T6" y="T7"/>
                </a:cxn>
                <a:cxn ang="0">
                  <a:pos x="T8" y="T9"/>
                </a:cxn>
              </a:cxnLst>
              <a:rect l="0" t="0" r="r" b="b"/>
              <a:pathLst>
                <a:path w="42" h="42">
                  <a:moveTo>
                    <a:pt x="17" y="2"/>
                  </a:moveTo>
                  <a:cubicBezTo>
                    <a:pt x="28" y="0"/>
                    <a:pt x="38" y="8"/>
                    <a:pt x="40" y="18"/>
                  </a:cubicBezTo>
                  <a:cubicBezTo>
                    <a:pt x="42" y="29"/>
                    <a:pt x="34" y="39"/>
                    <a:pt x="24" y="41"/>
                  </a:cubicBezTo>
                  <a:cubicBezTo>
                    <a:pt x="13" y="42"/>
                    <a:pt x="3" y="35"/>
                    <a:pt x="1" y="25"/>
                  </a:cubicBezTo>
                  <a:cubicBezTo>
                    <a:pt x="0" y="14"/>
                    <a:pt x="7" y="4"/>
                    <a:pt x="17" y="2"/>
                  </a:cubicBezTo>
                  <a:close/>
                </a:path>
              </a:pathLst>
            </a:custGeom>
            <a:solidFill>
              <a:srgbClr val="E6E8E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1" name="íSľîḑé">
              <a:extLst>
                <a:ext uri="{FF2B5EF4-FFF2-40B4-BE49-F238E27FC236}">
                  <a16:creationId xmlns:a16="http://schemas.microsoft.com/office/drawing/2014/main" id="{30179532-C400-47DA-A62F-C6F3BC560B4F}"/>
                </a:ext>
              </a:extLst>
            </p:cNvPr>
            <p:cNvSpPr/>
            <p:nvPr/>
          </p:nvSpPr>
          <p:spPr bwMode="auto">
            <a:xfrm>
              <a:off x="6467476" y="3881438"/>
              <a:ext cx="25400" cy="174625"/>
            </a:xfrm>
            <a:custGeom>
              <a:avLst/>
              <a:gdLst>
                <a:gd name="T0" fmla="*/ 0 w 17"/>
                <a:gd name="T1" fmla="*/ 119 h 119"/>
                <a:gd name="T2" fmla="*/ 0 w 17"/>
                <a:gd name="T3" fmla="*/ 79 h 119"/>
                <a:gd name="T4" fmla="*/ 0 w 17"/>
                <a:gd name="T5" fmla="*/ 0 h 119"/>
                <a:gd name="T6" fmla="*/ 0 w 17"/>
                <a:gd name="T7" fmla="*/ 119 h 119"/>
              </a:gdLst>
              <a:ahLst/>
              <a:cxnLst>
                <a:cxn ang="0">
                  <a:pos x="T0" y="T1"/>
                </a:cxn>
                <a:cxn ang="0">
                  <a:pos x="T2" y="T3"/>
                </a:cxn>
                <a:cxn ang="0">
                  <a:pos x="T4" y="T5"/>
                </a:cxn>
                <a:cxn ang="0">
                  <a:pos x="T6" y="T7"/>
                </a:cxn>
              </a:cxnLst>
              <a:rect l="0" t="0" r="r" b="b"/>
              <a:pathLst>
                <a:path w="17" h="119">
                  <a:moveTo>
                    <a:pt x="0" y="119"/>
                  </a:moveTo>
                  <a:cubicBezTo>
                    <a:pt x="0" y="79"/>
                    <a:pt x="0" y="79"/>
                    <a:pt x="0" y="79"/>
                  </a:cubicBezTo>
                  <a:cubicBezTo>
                    <a:pt x="17" y="55"/>
                    <a:pt x="17" y="24"/>
                    <a:pt x="0" y="0"/>
                  </a:cubicBezTo>
                  <a:lnTo>
                    <a:pt x="0" y="119"/>
                  </a:lnTo>
                  <a:close/>
                </a:path>
              </a:pathLst>
            </a:custGeom>
            <a:solidFill>
              <a:srgbClr val="3A376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2" name="i$ḻîḋé">
              <a:extLst>
                <a:ext uri="{FF2B5EF4-FFF2-40B4-BE49-F238E27FC236}">
                  <a16:creationId xmlns:a16="http://schemas.microsoft.com/office/drawing/2014/main" id="{0A381003-D5A1-4696-8EC4-058F440E3BCD}"/>
                </a:ext>
              </a:extLst>
            </p:cNvPr>
            <p:cNvSpPr/>
            <p:nvPr/>
          </p:nvSpPr>
          <p:spPr bwMode="auto">
            <a:xfrm>
              <a:off x="6467476" y="4078288"/>
              <a:ext cx="111125" cy="25400"/>
            </a:xfrm>
            <a:prstGeom prst="rect">
              <a:avLst/>
            </a:prstGeom>
            <a:solidFill>
              <a:srgbClr val="3A376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93" name="î$ļïḓe">
              <a:extLst>
                <a:ext uri="{FF2B5EF4-FFF2-40B4-BE49-F238E27FC236}">
                  <a16:creationId xmlns:a16="http://schemas.microsoft.com/office/drawing/2014/main" id="{AC462E93-F1FD-4696-9A92-22D871DA6EE8}"/>
                </a:ext>
              </a:extLst>
            </p:cNvPr>
            <p:cNvSpPr/>
            <p:nvPr/>
          </p:nvSpPr>
          <p:spPr bwMode="auto">
            <a:xfrm>
              <a:off x="6396038" y="3997325"/>
              <a:ext cx="71438" cy="106363"/>
            </a:xfrm>
            <a:custGeom>
              <a:avLst/>
              <a:gdLst>
                <a:gd name="T0" fmla="*/ 19 w 49"/>
                <a:gd name="T1" fmla="*/ 27 h 72"/>
                <a:gd name="T2" fmla="*/ 3 w 49"/>
                <a:gd name="T3" fmla="*/ 46 h 72"/>
                <a:gd name="T4" fmla="*/ 7 w 49"/>
                <a:gd name="T5" fmla="*/ 72 h 72"/>
                <a:gd name="T6" fmla="*/ 49 w 49"/>
                <a:gd name="T7" fmla="*/ 72 h 72"/>
                <a:gd name="T8" fmla="*/ 49 w 49"/>
                <a:gd name="T9" fmla="*/ 55 h 72"/>
                <a:gd name="T10" fmla="*/ 33 w 49"/>
                <a:gd name="T11" fmla="*/ 55 h 72"/>
                <a:gd name="T12" fmla="*/ 49 w 49"/>
                <a:gd name="T13" fmla="*/ 40 h 72"/>
                <a:gd name="T14" fmla="*/ 49 w 49"/>
                <a:gd name="T15" fmla="*/ 0 h 72"/>
                <a:gd name="T16" fmla="*/ 19 w 49"/>
                <a:gd name="T17" fmla="*/ 2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2">
                  <a:moveTo>
                    <a:pt x="19" y="27"/>
                  </a:moveTo>
                  <a:cubicBezTo>
                    <a:pt x="11" y="31"/>
                    <a:pt x="6" y="38"/>
                    <a:pt x="3" y="46"/>
                  </a:cubicBezTo>
                  <a:cubicBezTo>
                    <a:pt x="0" y="55"/>
                    <a:pt x="2" y="65"/>
                    <a:pt x="7" y="72"/>
                  </a:cubicBezTo>
                  <a:cubicBezTo>
                    <a:pt x="49" y="72"/>
                    <a:pt x="49" y="72"/>
                    <a:pt x="49" y="72"/>
                  </a:cubicBezTo>
                  <a:cubicBezTo>
                    <a:pt x="49" y="55"/>
                    <a:pt x="49" y="55"/>
                    <a:pt x="49" y="55"/>
                  </a:cubicBezTo>
                  <a:cubicBezTo>
                    <a:pt x="33" y="55"/>
                    <a:pt x="33" y="55"/>
                    <a:pt x="33" y="55"/>
                  </a:cubicBezTo>
                  <a:cubicBezTo>
                    <a:pt x="39" y="50"/>
                    <a:pt x="44" y="45"/>
                    <a:pt x="49" y="40"/>
                  </a:cubicBezTo>
                  <a:cubicBezTo>
                    <a:pt x="49" y="0"/>
                    <a:pt x="49" y="0"/>
                    <a:pt x="49" y="0"/>
                  </a:cubicBezTo>
                  <a:cubicBezTo>
                    <a:pt x="41" y="11"/>
                    <a:pt x="31" y="20"/>
                    <a:pt x="19" y="27"/>
                  </a:cubicBezTo>
                  <a:close/>
                </a:path>
              </a:pathLst>
            </a:custGeom>
            <a:solidFill>
              <a:srgbClr val="536DF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4" name="íṣľïdé">
              <a:extLst>
                <a:ext uri="{FF2B5EF4-FFF2-40B4-BE49-F238E27FC236}">
                  <a16:creationId xmlns:a16="http://schemas.microsoft.com/office/drawing/2014/main" id="{87FFA521-F5D6-4824-B5B7-013AD263AB13}"/>
                </a:ext>
              </a:extLst>
            </p:cNvPr>
            <p:cNvSpPr/>
            <p:nvPr/>
          </p:nvSpPr>
          <p:spPr bwMode="auto">
            <a:xfrm>
              <a:off x="6445251" y="4056063"/>
              <a:ext cx="22225" cy="22225"/>
            </a:xfrm>
            <a:custGeom>
              <a:avLst/>
              <a:gdLst>
                <a:gd name="T0" fmla="*/ 0 w 16"/>
                <a:gd name="T1" fmla="*/ 15 h 15"/>
                <a:gd name="T2" fmla="*/ 16 w 16"/>
                <a:gd name="T3" fmla="*/ 15 h 15"/>
                <a:gd name="T4" fmla="*/ 16 w 16"/>
                <a:gd name="T5" fmla="*/ 0 h 15"/>
                <a:gd name="T6" fmla="*/ 0 w 16"/>
                <a:gd name="T7" fmla="*/ 15 h 15"/>
              </a:gdLst>
              <a:ahLst/>
              <a:cxnLst>
                <a:cxn ang="0">
                  <a:pos x="T0" y="T1"/>
                </a:cxn>
                <a:cxn ang="0">
                  <a:pos x="T2" y="T3"/>
                </a:cxn>
                <a:cxn ang="0">
                  <a:pos x="T4" y="T5"/>
                </a:cxn>
                <a:cxn ang="0">
                  <a:pos x="T6" y="T7"/>
                </a:cxn>
              </a:cxnLst>
              <a:rect l="0" t="0" r="r" b="b"/>
              <a:pathLst>
                <a:path w="16" h="15">
                  <a:moveTo>
                    <a:pt x="0" y="15"/>
                  </a:moveTo>
                  <a:cubicBezTo>
                    <a:pt x="16" y="15"/>
                    <a:pt x="16" y="15"/>
                    <a:pt x="16" y="15"/>
                  </a:cubicBezTo>
                  <a:cubicBezTo>
                    <a:pt x="16" y="0"/>
                    <a:pt x="16" y="0"/>
                    <a:pt x="16" y="0"/>
                  </a:cubicBezTo>
                  <a:cubicBezTo>
                    <a:pt x="11" y="5"/>
                    <a:pt x="6" y="10"/>
                    <a:pt x="0" y="15"/>
                  </a:cubicBezTo>
                  <a:close/>
                </a:path>
              </a:pathLst>
            </a:custGeom>
            <a:solidFill>
              <a:srgbClr val="536DF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5" name="íṧļiḑé">
              <a:extLst>
                <a:ext uri="{FF2B5EF4-FFF2-40B4-BE49-F238E27FC236}">
                  <a16:creationId xmlns:a16="http://schemas.microsoft.com/office/drawing/2014/main" id="{97F2A94B-BBFF-45EF-88D1-C689171CAC9B}"/>
                </a:ext>
              </a:extLst>
            </p:cNvPr>
            <p:cNvSpPr/>
            <p:nvPr/>
          </p:nvSpPr>
          <p:spPr bwMode="auto">
            <a:xfrm>
              <a:off x="6467476" y="3881438"/>
              <a:ext cx="19050" cy="115888"/>
            </a:xfrm>
            <a:custGeom>
              <a:avLst/>
              <a:gdLst>
                <a:gd name="T0" fmla="*/ 13 w 13"/>
                <a:gd name="T1" fmla="*/ 39 h 79"/>
                <a:gd name="T2" fmla="*/ 0 w 13"/>
                <a:gd name="T3" fmla="*/ 0 h 79"/>
                <a:gd name="T4" fmla="*/ 0 w 13"/>
                <a:gd name="T5" fmla="*/ 79 h 79"/>
                <a:gd name="T6" fmla="*/ 13 w 13"/>
                <a:gd name="T7" fmla="*/ 39 h 79"/>
              </a:gdLst>
              <a:ahLst/>
              <a:cxnLst>
                <a:cxn ang="0">
                  <a:pos x="T0" y="T1"/>
                </a:cxn>
                <a:cxn ang="0">
                  <a:pos x="T2" y="T3"/>
                </a:cxn>
                <a:cxn ang="0">
                  <a:pos x="T4" y="T5"/>
                </a:cxn>
                <a:cxn ang="0">
                  <a:pos x="T6" y="T7"/>
                </a:cxn>
              </a:cxnLst>
              <a:rect l="0" t="0" r="r" b="b"/>
              <a:pathLst>
                <a:path w="13" h="79">
                  <a:moveTo>
                    <a:pt x="13" y="39"/>
                  </a:moveTo>
                  <a:cubicBezTo>
                    <a:pt x="13" y="25"/>
                    <a:pt x="8" y="12"/>
                    <a:pt x="0" y="0"/>
                  </a:cubicBezTo>
                  <a:cubicBezTo>
                    <a:pt x="0" y="79"/>
                    <a:pt x="0" y="79"/>
                    <a:pt x="0" y="79"/>
                  </a:cubicBezTo>
                  <a:cubicBezTo>
                    <a:pt x="8" y="67"/>
                    <a:pt x="13" y="54"/>
                    <a:pt x="13" y="39"/>
                  </a:cubicBezTo>
                  <a:close/>
                </a:path>
              </a:pathLst>
            </a:custGeom>
            <a:solidFill>
              <a:srgbClr val="3A376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6" name="ïṩļîďé">
              <a:extLst>
                <a:ext uri="{FF2B5EF4-FFF2-40B4-BE49-F238E27FC236}">
                  <a16:creationId xmlns:a16="http://schemas.microsoft.com/office/drawing/2014/main" id="{3D4A208F-7502-4D6A-BC9B-747937E42D55}"/>
                </a:ext>
              </a:extLst>
            </p:cNvPr>
            <p:cNvSpPr/>
            <p:nvPr/>
          </p:nvSpPr>
          <p:spPr bwMode="auto">
            <a:xfrm>
              <a:off x="5730876" y="4103688"/>
              <a:ext cx="847725" cy="1192213"/>
            </a:xfrm>
            <a:custGeom>
              <a:avLst/>
              <a:gdLst>
                <a:gd name="T0" fmla="*/ 576 w 576"/>
                <a:gd name="T1" fmla="*/ 0 h 812"/>
                <a:gd name="T2" fmla="*/ 576 w 576"/>
                <a:gd name="T3" fmla="*/ 656 h 812"/>
                <a:gd name="T4" fmla="*/ 420 w 576"/>
                <a:gd name="T5" fmla="*/ 812 h 812"/>
                <a:gd name="T6" fmla="*/ 0 w 576"/>
                <a:gd name="T7" fmla="*/ 812 h 812"/>
                <a:gd name="T8" fmla="*/ 0 w 576"/>
                <a:gd name="T9" fmla="*/ 748 h 812"/>
                <a:gd name="T10" fmla="*/ 405 w 576"/>
                <a:gd name="T11" fmla="*/ 748 h 812"/>
                <a:gd name="T12" fmla="*/ 501 w 576"/>
                <a:gd name="T13" fmla="*/ 652 h 812"/>
                <a:gd name="T14" fmla="*/ 501 w 576"/>
                <a:gd name="T15" fmla="*/ 0 h 812"/>
                <a:gd name="T16" fmla="*/ 576 w 576"/>
                <a:gd name="T17" fmla="*/ 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6" h="812">
                  <a:moveTo>
                    <a:pt x="576" y="0"/>
                  </a:moveTo>
                  <a:cubicBezTo>
                    <a:pt x="576" y="656"/>
                    <a:pt x="576" y="656"/>
                    <a:pt x="576" y="656"/>
                  </a:cubicBezTo>
                  <a:cubicBezTo>
                    <a:pt x="576" y="742"/>
                    <a:pt x="506" y="812"/>
                    <a:pt x="420" y="812"/>
                  </a:cubicBezTo>
                  <a:cubicBezTo>
                    <a:pt x="0" y="812"/>
                    <a:pt x="0" y="812"/>
                    <a:pt x="0" y="812"/>
                  </a:cubicBezTo>
                  <a:cubicBezTo>
                    <a:pt x="0" y="748"/>
                    <a:pt x="0" y="748"/>
                    <a:pt x="0" y="748"/>
                  </a:cubicBezTo>
                  <a:cubicBezTo>
                    <a:pt x="405" y="748"/>
                    <a:pt x="405" y="748"/>
                    <a:pt x="405" y="748"/>
                  </a:cubicBezTo>
                  <a:cubicBezTo>
                    <a:pt x="458" y="748"/>
                    <a:pt x="501" y="705"/>
                    <a:pt x="501" y="652"/>
                  </a:cubicBezTo>
                  <a:cubicBezTo>
                    <a:pt x="501" y="0"/>
                    <a:pt x="501" y="0"/>
                    <a:pt x="501" y="0"/>
                  </a:cubicBezTo>
                  <a:lnTo>
                    <a:pt x="576" y="0"/>
                  </a:lnTo>
                  <a:close/>
                </a:path>
              </a:pathLst>
            </a:custGeom>
            <a:solidFill>
              <a:srgbClr val="3A376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7" name="ï$1ïḑé">
              <a:extLst>
                <a:ext uri="{FF2B5EF4-FFF2-40B4-BE49-F238E27FC236}">
                  <a16:creationId xmlns:a16="http://schemas.microsoft.com/office/drawing/2014/main" id="{3F64FAC4-5D6A-4B73-BC6D-B58168AEFC62}"/>
                </a:ext>
              </a:extLst>
            </p:cNvPr>
            <p:cNvSpPr/>
            <p:nvPr/>
          </p:nvSpPr>
          <p:spPr bwMode="auto">
            <a:xfrm>
              <a:off x="5730876" y="3816350"/>
              <a:ext cx="736600" cy="1385888"/>
            </a:xfrm>
            <a:custGeom>
              <a:avLst/>
              <a:gdLst>
                <a:gd name="T0" fmla="*/ 455 w 501"/>
                <a:gd name="T1" fmla="*/ 169 h 943"/>
                <a:gd name="T2" fmla="*/ 471 w 501"/>
                <a:gd name="T3" fmla="*/ 150 h 943"/>
                <a:gd name="T4" fmla="*/ 501 w 501"/>
                <a:gd name="T5" fmla="*/ 123 h 943"/>
                <a:gd name="T6" fmla="*/ 501 w 501"/>
                <a:gd name="T7" fmla="*/ 44 h 943"/>
                <a:gd name="T8" fmla="*/ 404 w 501"/>
                <a:gd name="T9" fmla="*/ 0 h 943"/>
                <a:gd name="T10" fmla="*/ 294 w 501"/>
                <a:gd name="T11" fmla="*/ 84 h 943"/>
                <a:gd name="T12" fmla="*/ 323 w 501"/>
                <a:gd name="T13" fmla="*/ 140 h 943"/>
                <a:gd name="T14" fmla="*/ 345 w 501"/>
                <a:gd name="T15" fmla="*/ 155 h 943"/>
                <a:gd name="T16" fmla="*/ 346 w 501"/>
                <a:gd name="T17" fmla="*/ 155 h 943"/>
                <a:gd name="T18" fmla="*/ 353 w 501"/>
                <a:gd name="T19" fmla="*/ 195 h 943"/>
                <a:gd name="T20" fmla="*/ 0 w 501"/>
                <a:gd name="T21" fmla="*/ 195 h 943"/>
                <a:gd name="T22" fmla="*/ 0 w 501"/>
                <a:gd name="T23" fmla="*/ 523 h 943"/>
                <a:gd name="T24" fmla="*/ 87 w 501"/>
                <a:gd name="T25" fmla="*/ 479 h 943"/>
                <a:gd name="T26" fmla="*/ 200 w 501"/>
                <a:gd name="T27" fmla="*/ 601 h 943"/>
                <a:gd name="T28" fmla="*/ 87 w 501"/>
                <a:gd name="T29" fmla="*/ 722 h 943"/>
                <a:gd name="T30" fmla="*/ 0 w 501"/>
                <a:gd name="T31" fmla="*/ 678 h 943"/>
                <a:gd name="T32" fmla="*/ 0 w 501"/>
                <a:gd name="T33" fmla="*/ 943 h 943"/>
                <a:gd name="T34" fmla="*/ 405 w 501"/>
                <a:gd name="T35" fmla="*/ 943 h 943"/>
                <a:gd name="T36" fmla="*/ 501 w 501"/>
                <a:gd name="T37" fmla="*/ 847 h 943"/>
                <a:gd name="T38" fmla="*/ 501 w 501"/>
                <a:gd name="T39" fmla="*/ 195 h 943"/>
                <a:gd name="T40" fmla="*/ 459 w 501"/>
                <a:gd name="T41" fmla="*/ 195 h 943"/>
                <a:gd name="T42" fmla="*/ 455 w 501"/>
                <a:gd name="T43" fmla="*/ 169 h 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01" h="943">
                  <a:moveTo>
                    <a:pt x="455" y="169"/>
                  </a:moveTo>
                  <a:cubicBezTo>
                    <a:pt x="458" y="161"/>
                    <a:pt x="463" y="154"/>
                    <a:pt x="471" y="150"/>
                  </a:cubicBezTo>
                  <a:cubicBezTo>
                    <a:pt x="483" y="143"/>
                    <a:pt x="493" y="134"/>
                    <a:pt x="501" y="123"/>
                  </a:cubicBezTo>
                  <a:cubicBezTo>
                    <a:pt x="501" y="44"/>
                    <a:pt x="501" y="44"/>
                    <a:pt x="501" y="44"/>
                  </a:cubicBezTo>
                  <a:cubicBezTo>
                    <a:pt x="482" y="18"/>
                    <a:pt x="446" y="0"/>
                    <a:pt x="404" y="0"/>
                  </a:cubicBezTo>
                  <a:cubicBezTo>
                    <a:pt x="343" y="0"/>
                    <a:pt x="294" y="37"/>
                    <a:pt x="294" y="84"/>
                  </a:cubicBezTo>
                  <a:cubicBezTo>
                    <a:pt x="294" y="105"/>
                    <a:pt x="305" y="125"/>
                    <a:pt x="323" y="140"/>
                  </a:cubicBezTo>
                  <a:cubicBezTo>
                    <a:pt x="330" y="146"/>
                    <a:pt x="337" y="151"/>
                    <a:pt x="345" y="155"/>
                  </a:cubicBezTo>
                  <a:cubicBezTo>
                    <a:pt x="346" y="155"/>
                    <a:pt x="346" y="155"/>
                    <a:pt x="346" y="155"/>
                  </a:cubicBezTo>
                  <a:cubicBezTo>
                    <a:pt x="357" y="166"/>
                    <a:pt x="359" y="182"/>
                    <a:pt x="353" y="195"/>
                  </a:cubicBezTo>
                  <a:cubicBezTo>
                    <a:pt x="0" y="195"/>
                    <a:pt x="0" y="195"/>
                    <a:pt x="0" y="195"/>
                  </a:cubicBezTo>
                  <a:cubicBezTo>
                    <a:pt x="0" y="523"/>
                    <a:pt x="0" y="523"/>
                    <a:pt x="0" y="523"/>
                  </a:cubicBezTo>
                  <a:cubicBezTo>
                    <a:pt x="20" y="496"/>
                    <a:pt x="52" y="480"/>
                    <a:pt x="87" y="479"/>
                  </a:cubicBezTo>
                  <a:cubicBezTo>
                    <a:pt x="149" y="479"/>
                    <a:pt x="200" y="534"/>
                    <a:pt x="200" y="601"/>
                  </a:cubicBezTo>
                  <a:cubicBezTo>
                    <a:pt x="200" y="668"/>
                    <a:pt x="149" y="722"/>
                    <a:pt x="87" y="722"/>
                  </a:cubicBezTo>
                  <a:cubicBezTo>
                    <a:pt x="52" y="722"/>
                    <a:pt x="20" y="706"/>
                    <a:pt x="0" y="678"/>
                  </a:cubicBezTo>
                  <a:cubicBezTo>
                    <a:pt x="0" y="943"/>
                    <a:pt x="0" y="943"/>
                    <a:pt x="0" y="943"/>
                  </a:cubicBezTo>
                  <a:cubicBezTo>
                    <a:pt x="405" y="943"/>
                    <a:pt x="405" y="943"/>
                    <a:pt x="405" y="943"/>
                  </a:cubicBezTo>
                  <a:cubicBezTo>
                    <a:pt x="458" y="943"/>
                    <a:pt x="501" y="900"/>
                    <a:pt x="501" y="847"/>
                  </a:cubicBezTo>
                  <a:cubicBezTo>
                    <a:pt x="501" y="195"/>
                    <a:pt x="501" y="195"/>
                    <a:pt x="501" y="195"/>
                  </a:cubicBezTo>
                  <a:cubicBezTo>
                    <a:pt x="459" y="195"/>
                    <a:pt x="459" y="195"/>
                    <a:pt x="459" y="195"/>
                  </a:cubicBezTo>
                  <a:cubicBezTo>
                    <a:pt x="454" y="188"/>
                    <a:pt x="452" y="178"/>
                    <a:pt x="455" y="169"/>
                  </a:cubicBezTo>
                  <a:close/>
                </a:path>
              </a:pathLst>
            </a:custGeom>
            <a:solidFill>
              <a:srgbClr val="536DF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8" name="îŝļîďe">
              <a:extLst>
                <a:ext uri="{FF2B5EF4-FFF2-40B4-BE49-F238E27FC236}">
                  <a16:creationId xmlns:a16="http://schemas.microsoft.com/office/drawing/2014/main" id="{60BEC36A-9307-4A40-BD5D-105C5EE36EDE}"/>
                </a:ext>
              </a:extLst>
            </p:cNvPr>
            <p:cNvSpPr/>
            <p:nvPr/>
          </p:nvSpPr>
          <p:spPr bwMode="auto">
            <a:xfrm>
              <a:off x="6972301" y="3155950"/>
              <a:ext cx="338138" cy="152400"/>
            </a:xfrm>
            <a:custGeom>
              <a:avLst/>
              <a:gdLst>
                <a:gd name="T0" fmla="*/ 48 w 230"/>
                <a:gd name="T1" fmla="*/ 90 h 104"/>
                <a:gd name="T2" fmla="*/ 191 w 230"/>
                <a:gd name="T3" fmla="*/ 104 h 104"/>
                <a:gd name="T4" fmla="*/ 208 w 230"/>
                <a:gd name="T5" fmla="*/ 104 h 104"/>
                <a:gd name="T6" fmla="*/ 230 w 230"/>
                <a:gd name="T7" fmla="*/ 60 h 104"/>
                <a:gd name="T8" fmla="*/ 208 w 230"/>
                <a:gd name="T9" fmla="*/ 23 h 104"/>
                <a:gd name="T10" fmla="*/ 162 w 230"/>
                <a:gd name="T11" fmla="*/ 12 h 104"/>
                <a:gd name="T12" fmla="*/ 43 w 230"/>
                <a:gd name="T13" fmla="*/ 16 h 104"/>
                <a:gd name="T14" fmla="*/ 48 w 230"/>
                <a:gd name="T15" fmla="*/ 90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0" h="104">
                  <a:moveTo>
                    <a:pt x="48" y="90"/>
                  </a:moveTo>
                  <a:cubicBezTo>
                    <a:pt x="81" y="103"/>
                    <a:pt x="157" y="104"/>
                    <a:pt x="191" y="104"/>
                  </a:cubicBezTo>
                  <a:cubicBezTo>
                    <a:pt x="202" y="104"/>
                    <a:pt x="208" y="104"/>
                    <a:pt x="208" y="104"/>
                  </a:cubicBezTo>
                  <a:cubicBezTo>
                    <a:pt x="230" y="60"/>
                    <a:pt x="230" y="60"/>
                    <a:pt x="230" y="60"/>
                  </a:cubicBezTo>
                  <a:cubicBezTo>
                    <a:pt x="208" y="23"/>
                    <a:pt x="208" y="23"/>
                    <a:pt x="208" y="23"/>
                  </a:cubicBezTo>
                  <a:cubicBezTo>
                    <a:pt x="208" y="23"/>
                    <a:pt x="188" y="17"/>
                    <a:pt x="162" y="12"/>
                  </a:cubicBezTo>
                  <a:cubicBezTo>
                    <a:pt x="122" y="5"/>
                    <a:pt x="69" y="0"/>
                    <a:pt x="43" y="16"/>
                  </a:cubicBezTo>
                  <a:cubicBezTo>
                    <a:pt x="0" y="42"/>
                    <a:pt x="5" y="74"/>
                    <a:pt x="48" y="90"/>
                  </a:cubicBezTo>
                </a:path>
              </a:pathLst>
            </a:custGeom>
            <a:solidFill>
              <a:srgbClr val="FEC2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9" name="îṩḷiḓê">
              <a:extLst>
                <a:ext uri="{FF2B5EF4-FFF2-40B4-BE49-F238E27FC236}">
                  <a16:creationId xmlns:a16="http://schemas.microsoft.com/office/drawing/2014/main" id="{942A4621-DF7D-42AD-B0C5-F103A6943546}"/>
                </a:ext>
              </a:extLst>
            </p:cNvPr>
            <p:cNvSpPr/>
            <p:nvPr/>
          </p:nvSpPr>
          <p:spPr bwMode="auto">
            <a:xfrm>
              <a:off x="7183438" y="2492375"/>
              <a:ext cx="654050" cy="865188"/>
            </a:xfrm>
            <a:custGeom>
              <a:avLst/>
              <a:gdLst>
                <a:gd name="T0" fmla="*/ 409 w 445"/>
                <a:gd name="T1" fmla="*/ 11 h 589"/>
                <a:gd name="T2" fmla="*/ 400 w 445"/>
                <a:gd name="T3" fmla="*/ 0 h 589"/>
                <a:gd name="T4" fmla="*/ 345 w 445"/>
                <a:gd name="T5" fmla="*/ 108 h 589"/>
                <a:gd name="T6" fmla="*/ 333 w 445"/>
                <a:gd name="T7" fmla="*/ 172 h 589"/>
                <a:gd name="T8" fmla="*/ 312 w 445"/>
                <a:gd name="T9" fmla="*/ 227 h 589"/>
                <a:gd name="T10" fmla="*/ 296 w 445"/>
                <a:gd name="T11" fmla="*/ 268 h 589"/>
                <a:gd name="T12" fmla="*/ 284 w 445"/>
                <a:gd name="T13" fmla="*/ 302 h 589"/>
                <a:gd name="T14" fmla="*/ 264 w 445"/>
                <a:gd name="T15" fmla="*/ 340 h 589"/>
                <a:gd name="T16" fmla="*/ 178 w 445"/>
                <a:gd name="T17" fmla="*/ 396 h 589"/>
                <a:gd name="T18" fmla="*/ 67 w 445"/>
                <a:gd name="T19" fmla="*/ 427 h 589"/>
                <a:gd name="T20" fmla="*/ 16 w 445"/>
                <a:gd name="T21" fmla="*/ 455 h 589"/>
                <a:gd name="T22" fmla="*/ 48 w 445"/>
                <a:gd name="T23" fmla="*/ 560 h 589"/>
                <a:gd name="T24" fmla="*/ 96 w 445"/>
                <a:gd name="T25" fmla="*/ 579 h 589"/>
                <a:gd name="T26" fmla="*/ 145 w 445"/>
                <a:gd name="T27" fmla="*/ 573 h 589"/>
                <a:gd name="T28" fmla="*/ 188 w 445"/>
                <a:gd name="T29" fmla="*/ 549 h 589"/>
                <a:gd name="T30" fmla="*/ 238 w 445"/>
                <a:gd name="T31" fmla="*/ 530 h 589"/>
                <a:gd name="T32" fmla="*/ 290 w 445"/>
                <a:gd name="T33" fmla="*/ 504 h 589"/>
                <a:gd name="T34" fmla="*/ 334 w 445"/>
                <a:gd name="T35" fmla="*/ 492 h 589"/>
                <a:gd name="T36" fmla="*/ 445 w 445"/>
                <a:gd name="T37" fmla="*/ 11 h 589"/>
                <a:gd name="T38" fmla="*/ 409 w 445"/>
                <a:gd name="T39" fmla="*/ 11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5" h="589">
                  <a:moveTo>
                    <a:pt x="409" y="11"/>
                  </a:moveTo>
                  <a:cubicBezTo>
                    <a:pt x="400" y="0"/>
                    <a:pt x="400" y="0"/>
                    <a:pt x="400" y="0"/>
                  </a:cubicBezTo>
                  <a:cubicBezTo>
                    <a:pt x="400" y="0"/>
                    <a:pt x="350" y="78"/>
                    <a:pt x="345" y="108"/>
                  </a:cubicBezTo>
                  <a:cubicBezTo>
                    <a:pt x="340" y="138"/>
                    <a:pt x="333" y="172"/>
                    <a:pt x="333" y="172"/>
                  </a:cubicBezTo>
                  <a:cubicBezTo>
                    <a:pt x="333" y="172"/>
                    <a:pt x="321" y="210"/>
                    <a:pt x="312" y="227"/>
                  </a:cubicBezTo>
                  <a:cubicBezTo>
                    <a:pt x="304" y="244"/>
                    <a:pt x="297" y="260"/>
                    <a:pt x="296" y="268"/>
                  </a:cubicBezTo>
                  <a:cubicBezTo>
                    <a:pt x="295" y="275"/>
                    <a:pt x="299" y="291"/>
                    <a:pt x="284" y="302"/>
                  </a:cubicBezTo>
                  <a:cubicBezTo>
                    <a:pt x="268" y="312"/>
                    <a:pt x="264" y="340"/>
                    <a:pt x="264" y="340"/>
                  </a:cubicBezTo>
                  <a:cubicBezTo>
                    <a:pt x="264" y="340"/>
                    <a:pt x="208" y="395"/>
                    <a:pt x="178" y="396"/>
                  </a:cubicBezTo>
                  <a:cubicBezTo>
                    <a:pt x="149" y="398"/>
                    <a:pt x="64" y="413"/>
                    <a:pt x="67" y="427"/>
                  </a:cubicBezTo>
                  <a:cubicBezTo>
                    <a:pt x="70" y="442"/>
                    <a:pt x="31" y="451"/>
                    <a:pt x="16" y="455"/>
                  </a:cubicBezTo>
                  <a:cubicBezTo>
                    <a:pt x="0" y="458"/>
                    <a:pt x="116" y="503"/>
                    <a:pt x="48" y="560"/>
                  </a:cubicBezTo>
                  <a:cubicBezTo>
                    <a:pt x="48" y="560"/>
                    <a:pt x="91" y="569"/>
                    <a:pt x="96" y="579"/>
                  </a:cubicBezTo>
                  <a:cubicBezTo>
                    <a:pt x="100" y="589"/>
                    <a:pt x="145" y="573"/>
                    <a:pt x="145" y="573"/>
                  </a:cubicBezTo>
                  <a:cubicBezTo>
                    <a:pt x="145" y="573"/>
                    <a:pt x="155" y="550"/>
                    <a:pt x="188" y="549"/>
                  </a:cubicBezTo>
                  <a:cubicBezTo>
                    <a:pt x="221" y="547"/>
                    <a:pt x="238" y="532"/>
                    <a:pt x="238" y="530"/>
                  </a:cubicBezTo>
                  <a:cubicBezTo>
                    <a:pt x="238" y="528"/>
                    <a:pt x="272" y="509"/>
                    <a:pt x="290" y="504"/>
                  </a:cubicBezTo>
                  <a:cubicBezTo>
                    <a:pt x="309" y="499"/>
                    <a:pt x="333" y="497"/>
                    <a:pt x="334" y="492"/>
                  </a:cubicBezTo>
                  <a:cubicBezTo>
                    <a:pt x="335" y="486"/>
                    <a:pt x="445" y="11"/>
                    <a:pt x="445" y="11"/>
                  </a:cubicBezTo>
                  <a:cubicBezTo>
                    <a:pt x="409" y="11"/>
                    <a:pt x="409" y="11"/>
                    <a:pt x="409" y="11"/>
                  </a:cubicBezTo>
                </a:path>
              </a:pathLst>
            </a:custGeom>
            <a:solidFill>
              <a:srgbClr val="4C498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0" name="ïṥ1ïḋê">
              <a:extLst>
                <a:ext uri="{FF2B5EF4-FFF2-40B4-BE49-F238E27FC236}">
                  <a16:creationId xmlns:a16="http://schemas.microsoft.com/office/drawing/2014/main" id="{9F5B74FB-8CB3-48C8-B4D8-A2A970B52F04}"/>
                </a:ext>
              </a:extLst>
            </p:cNvPr>
            <p:cNvSpPr/>
            <p:nvPr/>
          </p:nvSpPr>
          <p:spPr bwMode="auto">
            <a:xfrm>
              <a:off x="7472363" y="2492375"/>
              <a:ext cx="298450" cy="804863"/>
            </a:xfrm>
            <a:custGeom>
              <a:avLst/>
              <a:gdLst>
                <a:gd name="T0" fmla="*/ 18 w 203"/>
                <a:gd name="T1" fmla="*/ 477 h 548"/>
                <a:gd name="T2" fmla="*/ 0 w 203"/>
                <a:gd name="T3" fmla="*/ 548 h 548"/>
                <a:gd name="T4" fmla="*/ 41 w 203"/>
                <a:gd name="T5" fmla="*/ 530 h 548"/>
                <a:gd name="T6" fmla="*/ 93 w 203"/>
                <a:gd name="T7" fmla="*/ 504 h 548"/>
                <a:gd name="T8" fmla="*/ 122 w 203"/>
                <a:gd name="T9" fmla="*/ 498 h 548"/>
                <a:gd name="T10" fmla="*/ 124 w 203"/>
                <a:gd name="T11" fmla="*/ 487 h 548"/>
                <a:gd name="T12" fmla="*/ 118 w 203"/>
                <a:gd name="T13" fmla="*/ 487 h 548"/>
                <a:gd name="T14" fmla="*/ 18 w 203"/>
                <a:gd name="T15" fmla="*/ 477 h 548"/>
                <a:gd name="T16" fmla="*/ 203 w 203"/>
                <a:gd name="T17" fmla="*/ 0 h 548"/>
                <a:gd name="T18" fmla="*/ 148 w 203"/>
                <a:gd name="T19" fmla="*/ 108 h 548"/>
                <a:gd name="T20" fmla="*/ 136 w 203"/>
                <a:gd name="T21" fmla="*/ 172 h 548"/>
                <a:gd name="T22" fmla="*/ 115 w 203"/>
                <a:gd name="T23" fmla="*/ 227 h 548"/>
                <a:gd name="T24" fmla="*/ 99 w 203"/>
                <a:gd name="T25" fmla="*/ 268 h 548"/>
                <a:gd name="T26" fmla="*/ 99 w 203"/>
                <a:gd name="T27" fmla="*/ 271 h 548"/>
                <a:gd name="T28" fmla="*/ 99 w 203"/>
                <a:gd name="T29" fmla="*/ 275 h 548"/>
                <a:gd name="T30" fmla="*/ 87 w 203"/>
                <a:gd name="T31" fmla="*/ 302 h 548"/>
                <a:gd name="T32" fmla="*/ 67 w 203"/>
                <a:gd name="T33" fmla="*/ 340 h 548"/>
                <a:gd name="T34" fmla="*/ 49 w 203"/>
                <a:gd name="T35" fmla="*/ 357 h 548"/>
                <a:gd name="T36" fmla="*/ 140 w 203"/>
                <a:gd name="T37" fmla="*/ 389 h 548"/>
                <a:gd name="T38" fmla="*/ 144 w 203"/>
                <a:gd name="T39" fmla="*/ 386 h 548"/>
                <a:gd name="T40" fmla="*/ 144 w 203"/>
                <a:gd name="T41" fmla="*/ 385 h 548"/>
                <a:gd name="T42" fmla="*/ 164 w 203"/>
                <a:gd name="T43" fmla="*/ 234 h 548"/>
                <a:gd name="T44" fmla="*/ 181 w 203"/>
                <a:gd name="T45" fmla="*/ 141 h 548"/>
                <a:gd name="T46" fmla="*/ 203 w 203"/>
                <a:gd name="T47" fmla="*/ 0 h 548"/>
                <a:gd name="T48" fmla="*/ 203 w 203"/>
                <a:gd name="T49" fmla="*/ 0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3" h="548">
                  <a:moveTo>
                    <a:pt x="18" y="477"/>
                  </a:moveTo>
                  <a:cubicBezTo>
                    <a:pt x="0" y="548"/>
                    <a:pt x="0" y="548"/>
                    <a:pt x="0" y="548"/>
                  </a:cubicBezTo>
                  <a:cubicBezTo>
                    <a:pt x="27" y="545"/>
                    <a:pt x="41" y="532"/>
                    <a:pt x="41" y="530"/>
                  </a:cubicBezTo>
                  <a:cubicBezTo>
                    <a:pt x="41" y="528"/>
                    <a:pt x="75" y="509"/>
                    <a:pt x="93" y="504"/>
                  </a:cubicBezTo>
                  <a:cubicBezTo>
                    <a:pt x="103" y="502"/>
                    <a:pt x="113" y="500"/>
                    <a:pt x="122" y="498"/>
                  </a:cubicBezTo>
                  <a:cubicBezTo>
                    <a:pt x="122" y="494"/>
                    <a:pt x="123" y="491"/>
                    <a:pt x="124" y="487"/>
                  </a:cubicBezTo>
                  <a:cubicBezTo>
                    <a:pt x="122" y="487"/>
                    <a:pt x="120" y="487"/>
                    <a:pt x="118" y="487"/>
                  </a:cubicBezTo>
                  <a:cubicBezTo>
                    <a:pt x="96" y="487"/>
                    <a:pt x="57" y="486"/>
                    <a:pt x="18" y="477"/>
                  </a:cubicBezTo>
                  <a:moveTo>
                    <a:pt x="203" y="0"/>
                  </a:moveTo>
                  <a:cubicBezTo>
                    <a:pt x="203" y="0"/>
                    <a:pt x="153" y="78"/>
                    <a:pt x="148" y="108"/>
                  </a:cubicBezTo>
                  <a:cubicBezTo>
                    <a:pt x="143" y="138"/>
                    <a:pt x="136" y="172"/>
                    <a:pt x="136" y="172"/>
                  </a:cubicBezTo>
                  <a:cubicBezTo>
                    <a:pt x="136" y="172"/>
                    <a:pt x="124" y="210"/>
                    <a:pt x="115" y="227"/>
                  </a:cubicBezTo>
                  <a:cubicBezTo>
                    <a:pt x="107" y="244"/>
                    <a:pt x="100" y="260"/>
                    <a:pt x="99" y="268"/>
                  </a:cubicBezTo>
                  <a:cubicBezTo>
                    <a:pt x="99" y="269"/>
                    <a:pt x="99" y="270"/>
                    <a:pt x="99" y="271"/>
                  </a:cubicBezTo>
                  <a:cubicBezTo>
                    <a:pt x="99" y="272"/>
                    <a:pt x="99" y="273"/>
                    <a:pt x="99" y="275"/>
                  </a:cubicBezTo>
                  <a:cubicBezTo>
                    <a:pt x="99" y="283"/>
                    <a:pt x="98" y="294"/>
                    <a:pt x="87" y="302"/>
                  </a:cubicBezTo>
                  <a:cubicBezTo>
                    <a:pt x="71" y="312"/>
                    <a:pt x="67" y="340"/>
                    <a:pt x="67" y="340"/>
                  </a:cubicBezTo>
                  <a:cubicBezTo>
                    <a:pt x="67" y="340"/>
                    <a:pt x="60" y="348"/>
                    <a:pt x="49" y="357"/>
                  </a:cubicBezTo>
                  <a:cubicBezTo>
                    <a:pt x="82" y="357"/>
                    <a:pt x="122" y="378"/>
                    <a:pt x="140" y="389"/>
                  </a:cubicBezTo>
                  <a:cubicBezTo>
                    <a:pt x="141" y="388"/>
                    <a:pt x="143" y="387"/>
                    <a:pt x="144" y="386"/>
                  </a:cubicBezTo>
                  <a:cubicBezTo>
                    <a:pt x="144" y="385"/>
                    <a:pt x="144" y="385"/>
                    <a:pt x="144" y="385"/>
                  </a:cubicBezTo>
                  <a:cubicBezTo>
                    <a:pt x="144" y="385"/>
                    <a:pt x="170" y="268"/>
                    <a:pt x="164" y="234"/>
                  </a:cubicBezTo>
                  <a:cubicBezTo>
                    <a:pt x="157" y="200"/>
                    <a:pt x="181" y="141"/>
                    <a:pt x="181" y="141"/>
                  </a:cubicBezTo>
                  <a:cubicBezTo>
                    <a:pt x="181" y="141"/>
                    <a:pt x="192" y="19"/>
                    <a:pt x="203" y="0"/>
                  </a:cubicBezTo>
                  <a:cubicBezTo>
                    <a:pt x="203" y="0"/>
                    <a:pt x="203" y="0"/>
                    <a:pt x="203" y="0"/>
                  </a:cubicBezTo>
                </a:path>
              </a:pathLst>
            </a:custGeom>
            <a:solidFill>
              <a:srgbClr val="48457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1" name="isļíḓê">
              <a:extLst>
                <a:ext uri="{FF2B5EF4-FFF2-40B4-BE49-F238E27FC236}">
                  <a16:creationId xmlns:a16="http://schemas.microsoft.com/office/drawing/2014/main" id="{A6A005C2-5B19-423B-910D-C85B208514A5}"/>
                </a:ext>
              </a:extLst>
            </p:cNvPr>
            <p:cNvSpPr/>
            <p:nvPr/>
          </p:nvSpPr>
          <p:spPr bwMode="auto">
            <a:xfrm>
              <a:off x="7858126" y="5183188"/>
              <a:ext cx="292100" cy="368300"/>
            </a:xfrm>
            <a:custGeom>
              <a:avLst/>
              <a:gdLst>
                <a:gd name="T0" fmla="*/ 66 w 199"/>
                <a:gd name="T1" fmla="*/ 232 h 250"/>
                <a:gd name="T2" fmla="*/ 181 w 199"/>
                <a:gd name="T3" fmla="*/ 175 h 250"/>
                <a:gd name="T4" fmla="*/ 198 w 199"/>
                <a:gd name="T5" fmla="*/ 104 h 250"/>
                <a:gd name="T6" fmla="*/ 198 w 199"/>
                <a:gd name="T7" fmla="*/ 97 h 250"/>
                <a:gd name="T8" fmla="*/ 184 w 199"/>
                <a:gd name="T9" fmla="*/ 66 h 250"/>
                <a:gd name="T10" fmla="*/ 183 w 199"/>
                <a:gd name="T11" fmla="*/ 29 h 250"/>
                <a:gd name="T12" fmla="*/ 70 w 199"/>
                <a:gd name="T13" fmla="*/ 0 h 250"/>
                <a:gd name="T14" fmla="*/ 59 w 199"/>
                <a:gd name="T15" fmla="*/ 33 h 250"/>
                <a:gd name="T16" fmla="*/ 43 w 199"/>
                <a:gd name="T17" fmla="*/ 98 h 250"/>
                <a:gd name="T18" fmla="*/ 35 w 199"/>
                <a:gd name="T19" fmla="*/ 136 h 250"/>
                <a:gd name="T20" fmla="*/ 19 w 199"/>
                <a:gd name="T21" fmla="*/ 167 h 250"/>
                <a:gd name="T22" fmla="*/ 13 w 199"/>
                <a:gd name="T23" fmla="*/ 182 h 250"/>
                <a:gd name="T24" fmla="*/ 5 w 199"/>
                <a:gd name="T25" fmla="*/ 205 h 250"/>
                <a:gd name="T26" fmla="*/ 66 w 199"/>
                <a:gd name="T27" fmla="*/ 232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9" h="250">
                  <a:moveTo>
                    <a:pt x="66" y="232"/>
                  </a:moveTo>
                  <a:cubicBezTo>
                    <a:pt x="163" y="250"/>
                    <a:pt x="181" y="175"/>
                    <a:pt x="181" y="175"/>
                  </a:cubicBezTo>
                  <a:cubicBezTo>
                    <a:pt x="181" y="175"/>
                    <a:pt x="193" y="109"/>
                    <a:pt x="198" y="104"/>
                  </a:cubicBezTo>
                  <a:cubicBezTo>
                    <a:pt x="199" y="102"/>
                    <a:pt x="199" y="99"/>
                    <a:pt x="198" y="97"/>
                  </a:cubicBezTo>
                  <a:cubicBezTo>
                    <a:pt x="196" y="86"/>
                    <a:pt x="191" y="75"/>
                    <a:pt x="184" y="66"/>
                  </a:cubicBezTo>
                  <a:cubicBezTo>
                    <a:pt x="178" y="59"/>
                    <a:pt x="183" y="29"/>
                    <a:pt x="183" y="29"/>
                  </a:cubicBezTo>
                  <a:cubicBezTo>
                    <a:pt x="70" y="0"/>
                    <a:pt x="70" y="0"/>
                    <a:pt x="70" y="0"/>
                  </a:cubicBezTo>
                  <a:cubicBezTo>
                    <a:pt x="70" y="0"/>
                    <a:pt x="60" y="23"/>
                    <a:pt x="59" y="33"/>
                  </a:cubicBezTo>
                  <a:cubicBezTo>
                    <a:pt x="58" y="44"/>
                    <a:pt x="41" y="91"/>
                    <a:pt x="43" y="98"/>
                  </a:cubicBezTo>
                  <a:cubicBezTo>
                    <a:pt x="45" y="105"/>
                    <a:pt x="36" y="125"/>
                    <a:pt x="35" y="136"/>
                  </a:cubicBezTo>
                  <a:cubicBezTo>
                    <a:pt x="34" y="146"/>
                    <a:pt x="20" y="162"/>
                    <a:pt x="19" y="167"/>
                  </a:cubicBezTo>
                  <a:cubicBezTo>
                    <a:pt x="17" y="172"/>
                    <a:pt x="15" y="177"/>
                    <a:pt x="13" y="182"/>
                  </a:cubicBezTo>
                  <a:cubicBezTo>
                    <a:pt x="10" y="189"/>
                    <a:pt x="7" y="197"/>
                    <a:pt x="5" y="205"/>
                  </a:cubicBezTo>
                  <a:cubicBezTo>
                    <a:pt x="0" y="228"/>
                    <a:pt x="66" y="232"/>
                    <a:pt x="66" y="232"/>
                  </a:cubicBezTo>
                </a:path>
              </a:pathLst>
            </a:custGeom>
            <a:solidFill>
              <a:srgbClr val="CA849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2" name="iSliďé">
              <a:extLst>
                <a:ext uri="{FF2B5EF4-FFF2-40B4-BE49-F238E27FC236}">
                  <a16:creationId xmlns:a16="http://schemas.microsoft.com/office/drawing/2014/main" id="{90676FA0-B1B9-49CA-AA6D-53005B20280D}"/>
                </a:ext>
              </a:extLst>
            </p:cNvPr>
            <p:cNvSpPr/>
            <p:nvPr/>
          </p:nvSpPr>
          <p:spPr bwMode="auto">
            <a:xfrm>
              <a:off x="7861301" y="5451475"/>
              <a:ext cx="93663" cy="73025"/>
            </a:xfrm>
            <a:custGeom>
              <a:avLst/>
              <a:gdLst>
                <a:gd name="T0" fmla="*/ 63 w 64"/>
                <a:gd name="T1" fmla="*/ 50 h 50"/>
                <a:gd name="T2" fmla="*/ 64 w 64"/>
                <a:gd name="T3" fmla="*/ 50 h 50"/>
                <a:gd name="T4" fmla="*/ 63 w 64"/>
                <a:gd name="T5" fmla="*/ 50 h 50"/>
                <a:gd name="T6" fmla="*/ 10 w 64"/>
                <a:gd name="T7" fmla="*/ 0 h 50"/>
                <a:gd name="T8" fmla="*/ 3 w 64"/>
                <a:gd name="T9" fmla="*/ 23 h 50"/>
                <a:gd name="T10" fmla="*/ 35 w 64"/>
                <a:gd name="T11" fmla="*/ 46 h 50"/>
                <a:gd name="T12" fmla="*/ 3 w 64"/>
                <a:gd name="T13" fmla="*/ 23 h 50"/>
                <a:gd name="T14" fmla="*/ 11 w 64"/>
                <a:gd name="T15" fmla="*/ 0 h 50"/>
                <a:gd name="T16" fmla="*/ 10 w 64"/>
                <a:gd name="T17"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50">
                  <a:moveTo>
                    <a:pt x="63" y="50"/>
                  </a:moveTo>
                  <a:cubicBezTo>
                    <a:pt x="63" y="50"/>
                    <a:pt x="64" y="50"/>
                    <a:pt x="64" y="50"/>
                  </a:cubicBezTo>
                  <a:cubicBezTo>
                    <a:pt x="64" y="50"/>
                    <a:pt x="63" y="50"/>
                    <a:pt x="63" y="50"/>
                  </a:cubicBezTo>
                  <a:moveTo>
                    <a:pt x="10" y="0"/>
                  </a:moveTo>
                  <a:cubicBezTo>
                    <a:pt x="7" y="7"/>
                    <a:pt x="5" y="15"/>
                    <a:pt x="3" y="23"/>
                  </a:cubicBezTo>
                  <a:cubicBezTo>
                    <a:pt x="0" y="35"/>
                    <a:pt x="18" y="42"/>
                    <a:pt x="35" y="46"/>
                  </a:cubicBezTo>
                  <a:cubicBezTo>
                    <a:pt x="18" y="42"/>
                    <a:pt x="0" y="35"/>
                    <a:pt x="3" y="23"/>
                  </a:cubicBezTo>
                  <a:cubicBezTo>
                    <a:pt x="5" y="15"/>
                    <a:pt x="8" y="7"/>
                    <a:pt x="11" y="0"/>
                  </a:cubicBezTo>
                  <a:cubicBezTo>
                    <a:pt x="10" y="0"/>
                    <a:pt x="10" y="0"/>
                    <a:pt x="10" y="0"/>
                  </a:cubicBezTo>
                </a:path>
              </a:pathLst>
            </a:custGeom>
            <a:solidFill>
              <a:srgbClr val="4B62E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3" name="ïś1ïḋè">
              <a:extLst>
                <a:ext uri="{FF2B5EF4-FFF2-40B4-BE49-F238E27FC236}">
                  <a16:creationId xmlns:a16="http://schemas.microsoft.com/office/drawing/2014/main" id="{C3AEB8C8-8CF0-4D06-B276-B27CA7B5749C}"/>
                </a:ext>
              </a:extLst>
            </p:cNvPr>
            <p:cNvSpPr/>
            <p:nvPr/>
          </p:nvSpPr>
          <p:spPr bwMode="auto">
            <a:xfrm>
              <a:off x="7861301" y="5326063"/>
              <a:ext cx="288925" cy="203200"/>
            </a:xfrm>
            <a:custGeom>
              <a:avLst/>
              <a:gdLst>
                <a:gd name="T0" fmla="*/ 196 w 197"/>
                <a:gd name="T1" fmla="*/ 0 h 138"/>
                <a:gd name="T2" fmla="*/ 173 w 197"/>
                <a:gd name="T3" fmla="*/ 68 h 138"/>
                <a:gd name="T4" fmla="*/ 96 w 197"/>
                <a:gd name="T5" fmla="*/ 103 h 138"/>
                <a:gd name="T6" fmla="*/ 81 w 197"/>
                <a:gd name="T7" fmla="*/ 102 h 138"/>
                <a:gd name="T8" fmla="*/ 11 w 197"/>
                <a:gd name="T9" fmla="*/ 85 h 138"/>
                <a:gd name="T10" fmla="*/ 3 w 197"/>
                <a:gd name="T11" fmla="*/ 108 h 138"/>
                <a:gd name="T12" fmla="*/ 35 w 197"/>
                <a:gd name="T13" fmla="*/ 131 h 138"/>
                <a:gd name="T14" fmla="*/ 63 w 197"/>
                <a:gd name="T15" fmla="*/ 135 h 138"/>
                <a:gd name="T16" fmla="*/ 64 w 197"/>
                <a:gd name="T17" fmla="*/ 135 h 138"/>
                <a:gd name="T18" fmla="*/ 64 w 197"/>
                <a:gd name="T19" fmla="*/ 135 h 138"/>
                <a:gd name="T20" fmla="*/ 93 w 197"/>
                <a:gd name="T21" fmla="*/ 138 h 138"/>
                <a:gd name="T22" fmla="*/ 179 w 197"/>
                <a:gd name="T23" fmla="*/ 78 h 138"/>
                <a:gd name="T24" fmla="*/ 196 w 197"/>
                <a:gd name="T25" fmla="*/ 7 h 138"/>
                <a:gd name="T26" fmla="*/ 197 w 197"/>
                <a:gd name="T27" fmla="*/ 3 h 138"/>
                <a:gd name="T28" fmla="*/ 196 w 197"/>
                <a:gd name="T29" fmla="*/ 0 h 138"/>
                <a:gd name="T30" fmla="*/ 196 w 197"/>
                <a:gd name="T31"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7" h="138">
                  <a:moveTo>
                    <a:pt x="196" y="0"/>
                  </a:moveTo>
                  <a:cubicBezTo>
                    <a:pt x="173" y="68"/>
                    <a:pt x="173" y="68"/>
                    <a:pt x="173" y="68"/>
                  </a:cubicBezTo>
                  <a:cubicBezTo>
                    <a:pt x="173" y="68"/>
                    <a:pt x="156" y="103"/>
                    <a:pt x="96" y="103"/>
                  </a:cubicBezTo>
                  <a:cubicBezTo>
                    <a:pt x="91" y="103"/>
                    <a:pt x="86" y="102"/>
                    <a:pt x="81" y="102"/>
                  </a:cubicBezTo>
                  <a:cubicBezTo>
                    <a:pt x="41" y="99"/>
                    <a:pt x="20" y="91"/>
                    <a:pt x="11" y="85"/>
                  </a:cubicBezTo>
                  <a:cubicBezTo>
                    <a:pt x="8" y="92"/>
                    <a:pt x="5" y="100"/>
                    <a:pt x="3" y="108"/>
                  </a:cubicBezTo>
                  <a:cubicBezTo>
                    <a:pt x="0" y="120"/>
                    <a:pt x="18" y="127"/>
                    <a:pt x="35" y="131"/>
                  </a:cubicBezTo>
                  <a:cubicBezTo>
                    <a:pt x="49" y="134"/>
                    <a:pt x="62" y="135"/>
                    <a:pt x="63" y="135"/>
                  </a:cubicBezTo>
                  <a:cubicBezTo>
                    <a:pt x="63" y="135"/>
                    <a:pt x="64" y="135"/>
                    <a:pt x="64" y="135"/>
                  </a:cubicBezTo>
                  <a:cubicBezTo>
                    <a:pt x="64" y="135"/>
                    <a:pt x="64" y="135"/>
                    <a:pt x="64" y="135"/>
                  </a:cubicBezTo>
                  <a:cubicBezTo>
                    <a:pt x="74" y="137"/>
                    <a:pt x="84" y="138"/>
                    <a:pt x="93" y="138"/>
                  </a:cubicBezTo>
                  <a:cubicBezTo>
                    <a:pt x="165" y="138"/>
                    <a:pt x="179" y="78"/>
                    <a:pt x="179" y="78"/>
                  </a:cubicBezTo>
                  <a:cubicBezTo>
                    <a:pt x="179" y="78"/>
                    <a:pt x="191" y="12"/>
                    <a:pt x="196" y="7"/>
                  </a:cubicBezTo>
                  <a:cubicBezTo>
                    <a:pt x="196" y="5"/>
                    <a:pt x="197" y="4"/>
                    <a:pt x="197" y="3"/>
                  </a:cubicBezTo>
                  <a:cubicBezTo>
                    <a:pt x="197" y="2"/>
                    <a:pt x="197" y="1"/>
                    <a:pt x="196" y="0"/>
                  </a:cubicBezTo>
                  <a:cubicBezTo>
                    <a:pt x="196" y="0"/>
                    <a:pt x="196" y="0"/>
                    <a:pt x="196" y="0"/>
                  </a:cubicBezTo>
                </a:path>
              </a:pathLst>
            </a:custGeom>
            <a:solidFill>
              <a:srgbClr val="B5778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4" name="ïšḻîḑe">
              <a:extLst>
                <a:ext uri="{FF2B5EF4-FFF2-40B4-BE49-F238E27FC236}">
                  <a16:creationId xmlns:a16="http://schemas.microsoft.com/office/drawing/2014/main" id="{781E3B2D-546D-4A7B-BB24-4B1BE524DF26}"/>
                </a:ext>
              </a:extLst>
            </p:cNvPr>
            <p:cNvSpPr/>
            <p:nvPr/>
          </p:nvSpPr>
          <p:spPr bwMode="auto">
            <a:xfrm>
              <a:off x="8027988" y="5340350"/>
              <a:ext cx="38100" cy="28575"/>
            </a:xfrm>
            <a:custGeom>
              <a:avLst/>
              <a:gdLst>
                <a:gd name="T0" fmla="*/ 0 w 26"/>
                <a:gd name="T1" fmla="*/ 0 h 19"/>
                <a:gd name="T2" fmla="*/ 25 w 26"/>
                <a:gd name="T3" fmla="*/ 19 h 19"/>
                <a:gd name="T4" fmla="*/ 26 w 26"/>
                <a:gd name="T5" fmla="*/ 19 h 19"/>
                <a:gd name="T6" fmla="*/ 0 w 26"/>
                <a:gd name="T7" fmla="*/ 0 h 19"/>
              </a:gdLst>
              <a:ahLst/>
              <a:cxnLst>
                <a:cxn ang="0">
                  <a:pos x="T0" y="T1"/>
                </a:cxn>
                <a:cxn ang="0">
                  <a:pos x="T2" y="T3"/>
                </a:cxn>
                <a:cxn ang="0">
                  <a:pos x="T4" y="T5"/>
                </a:cxn>
                <a:cxn ang="0">
                  <a:pos x="T6" y="T7"/>
                </a:cxn>
              </a:cxnLst>
              <a:rect l="0" t="0" r="r" b="b"/>
              <a:pathLst>
                <a:path w="26" h="19">
                  <a:moveTo>
                    <a:pt x="0" y="0"/>
                  </a:moveTo>
                  <a:cubicBezTo>
                    <a:pt x="1" y="19"/>
                    <a:pt x="23" y="19"/>
                    <a:pt x="25" y="19"/>
                  </a:cubicBezTo>
                  <a:cubicBezTo>
                    <a:pt x="26" y="19"/>
                    <a:pt x="26" y="19"/>
                    <a:pt x="26" y="19"/>
                  </a:cubicBezTo>
                  <a:cubicBezTo>
                    <a:pt x="0" y="0"/>
                    <a:pt x="0" y="0"/>
                    <a:pt x="0" y="0"/>
                  </a:cubicBezTo>
                </a:path>
              </a:pathLst>
            </a:custGeom>
            <a:solidFill>
              <a:srgbClr val="B5778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5" name="îṧḷïḓè">
              <a:extLst>
                <a:ext uri="{FF2B5EF4-FFF2-40B4-BE49-F238E27FC236}">
                  <a16:creationId xmlns:a16="http://schemas.microsoft.com/office/drawing/2014/main" id="{C335F6B7-9D69-4264-843A-47B324110708}"/>
                </a:ext>
              </a:extLst>
            </p:cNvPr>
            <p:cNvSpPr/>
            <p:nvPr/>
          </p:nvSpPr>
          <p:spPr bwMode="auto">
            <a:xfrm>
              <a:off x="6945313" y="3770313"/>
              <a:ext cx="26988" cy="26988"/>
            </a:xfrm>
            <a:custGeom>
              <a:avLst/>
              <a:gdLst>
                <a:gd name="T0" fmla="*/ 3 w 17"/>
                <a:gd name="T1" fmla="*/ 0 h 17"/>
                <a:gd name="T2" fmla="*/ 17 w 17"/>
                <a:gd name="T3" fmla="*/ 3 h 17"/>
                <a:gd name="T4" fmla="*/ 14 w 17"/>
                <a:gd name="T5" fmla="*/ 17 h 17"/>
                <a:gd name="T6" fmla="*/ 0 w 17"/>
                <a:gd name="T7" fmla="*/ 15 h 17"/>
                <a:gd name="T8" fmla="*/ 3 w 17"/>
                <a:gd name="T9" fmla="*/ 0 h 17"/>
              </a:gdLst>
              <a:ahLst/>
              <a:cxnLst>
                <a:cxn ang="0">
                  <a:pos x="T0" y="T1"/>
                </a:cxn>
                <a:cxn ang="0">
                  <a:pos x="T2" y="T3"/>
                </a:cxn>
                <a:cxn ang="0">
                  <a:pos x="T4" y="T5"/>
                </a:cxn>
                <a:cxn ang="0">
                  <a:pos x="T6" y="T7"/>
                </a:cxn>
                <a:cxn ang="0">
                  <a:pos x="T8" y="T9"/>
                </a:cxn>
              </a:cxnLst>
              <a:rect l="0" t="0" r="r" b="b"/>
              <a:pathLst>
                <a:path w="17" h="17">
                  <a:moveTo>
                    <a:pt x="3" y="0"/>
                  </a:moveTo>
                  <a:lnTo>
                    <a:pt x="17" y="3"/>
                  </a:lnTo>
                  <a:lnTo>
                    <a:pt x="14" y="17"/>
                  </a:lnTo>
                  <a:lnTo>
                    <a:pt x="0" y="15"/>
                  </a:lnTo>
                  <a:lnTo>
                    <a:pt x="3" y="0"/>
                  </a:lnTo>
                  <a:close/>
                </a:path>
              </a:pathLst>
            </a:custGeom>
            <a:solidFill>
              <a:srgbClr val="536DF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6" name="îşḻíďè">
              <a:extLst>
                <a:ext uri="{FF2B5EF4-FFF2-40B4-BE49-F238E27FC236}">
                  <a16:creationId xmlns:a16="http://schemas.microsoft.com/office/drawing/2014/main" id="{3159CDB7-E476-4916-80AE-D5D6B5CD1149}"/>
                </a:ext>
              </a:extLst>
            </p:cNvPr>
            <p:cNvSpPr/>
            <p:nvPr/>
          </p:nvSpPr>
          <p:spPr bwMode="auto">
            <a:xfrm>
              <a:off x="6945313" y="3770313"/>
              <a:ext cx="26988" cy="26988"/>
            </a:xfrm>
            <a:custGeom>
              <a:avLst/>
              <a:gdLst>
                <a:gd name="T0" fmla="*/ 3 w 17"/>
                <a:gd name="T1" fmla="*/ 0 h 17"/>
                <a:gd name="T2" fmla="*/ 17 w 17"/>
                <a:gd name="T3" fmla="*/ 3 h 17"/>
                <a:gd name="T4" fmla="*/ 14 w 17"/>
                <a:gd name="T5" fmla="*/ 17 h 17"/>
                <a:gd name="T6" fmla="*/ 0 w 17"/>
                <a:gd name="T7" fmla="*/ 15 h 17"/>
                <a:gd name="T8" fmla="*/ 3 w 17"/>
                <a:gd name="T9" fmla="*/ 0 h 17"/>
              </a:gdLst>
              <a:ahLst/>
              <a:cxnLst>
                <a:cxn ang="0">
                  <a:pos x="T0" y="T1"/>
                </a:cxn>
                <a:cxn ang="0">
                  <a:pos x="T2" y="T3"/>
                </a:cxn>
                <a:cxn ang="0">
                  <a:pos x="T4" y="T5"/>
                </a:cxn>
                <a:cxn ang="0">
                  <a:pos x="T6" y="T7"/>
                </a:cxn>
                <a:cxn ang="0">
                  <a:pos x="T8" y="T9"/>
                </a:cxn>
              </a:cxnLst>
              <a:rect l="0" t="0" r="r" b="b"/>
              <a:pathLst>
                <a:path w="17" h="17">
                  <a:moveTo>
                    <a:pt x="3" y="0"/>
                  </a:moveTo>
                  <a:lnTo>
                    <a:pt x="17" y="3"/>
                  </a:lnTo>
                  <a:lnTo>
                    <a:pt x="14" y="17"/>
                  </a:lnTo>
                  <a:lnTo>
                    <a:pt x="0" y="15"/>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7" name="ïṡḻîḍê">
              <a:extLst>
                <a:ext uri="{FF2B5EF4-FFF2-40B4-BE49-F238E27FC236}">
                  <a16:creationId xmlns:a16="http://schemas.microsoft.com/office/drawing/2014/main" id="{AA96A47D-5178-4942-A88A-74458EC59B69}"/>
                </a:ext>
              </a:extLst>
            </p:cNvPr>
            <p:cNvSpPr/>
            <p:nvPr/>
          </p:nvSpPr>
          <p:spPr bwMode="auto">
            <a:xfrm>
              <a:off x="6950076" y="3770313"/>
              <a:ext cx="22225" cy="26988"/>
            </a:xfrm>
            <a:custGeom>
              <a:avLst/>
              <a:gdLst>
                <a:gd name="T0" fmla="*/ 0 w 15"/>
                <a:gd name="T1" fmla="*/ 0 h 19"/>
                <a:gd name="T2" fmla="*/ 0 w 15"/>
                <a:gd name="T3" fmla="*/ 0 h 19"/>
                <a:gd name="T4" fmla="*/ 11 w 15"/>
                <a:gd name="T5" fmla="*/ 19 h 19"/>
                <a:gd name="T6" fmla="*/ 12 w 15"/>
                <a:gd name="T7" fmla="*/ 19 h 19"/>
                <a:gd name="T8" fmla="*/ 15 w 15"/>
                <a:gd name="T9" fmla="*/ 4 h 19"/>
                <a:gd name="T10" fmla="*/ 0 w 15"/>
                <a:gd name="T11" fmla="*/ 0 h 19"/>
              </a:gdLst>
              <a:ahLst/>
              <a:cxnLst>
                <a:cxn ang="0">
                  <a:pos x="T0" y="T1"/>
                </a:cxn>
                <a:cxn ang="0">
                  <a:pos x="T2" y="T3"/>
                </a:cxn>
                <a:cxn ang="0">
                  <a:pos x="T4" y="T5"/>
                </a:cxn>
                <a:cxn ang="0">
                  <a:pos x="T6" y="T7"/>
                </a:cxn>
                <a:cxn ang="0">
                  <a:pos x="T8" y="T9"/>
                </a:cxn>
                <a:cxn ang="0">
                  <a:pos x="T10" y="T11"/>
                </a:cxn>
              </a:cxnLst>
              <a:rect l="0" t="0" r="r" b="b"/>
              <a:pathLst>
                <a:path w="15" h="19">
                  <a:moveTo>
                    <a:pt x="0" y="0"/>
                  </a:moveTo>
                  <a:cubicBezTo>
                    <a:pt x="0" y="0"/>
                    <a:pt x="0" y="0"/>
                    <a:pt x="0" y="0"/>
                  </a:cubicBezTo>
                  <a:cubicBezTo>
                    <a:pt x="3" y="7"/>
                    <a:pt x="7" y="13"/>
                    <a:pt x="11" y="19"/>
                  </a:cubicBezTo>
                  <a:cubicBezTo>
                    <a:pt x="12" y="19"/>
                    <a:pt x="12" y="19"/>
                    <a:pt x="12" y="19"/>
                  </a:cubicBezTo>
                  <a:cubicBezTo>
                    <a:pt x="15" y="4"/>
                    <a:pt x="15" y="4"/>
                    <a:pt x="15" y="4"/>
                  </a:cubicBezTo>
                  <a:cubicBezTo>
                    <a:pt x="0" y="0"/>
                    <a:pt x="0" y="0"/>
                    <a:pt x="0" y="0"/>
                  </a:cubicBezTo>
                </a:path>
              </a:pathLst>
            </a:custGeom>
            <a:solidFill>
              <a:srgbClr val="4B62E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8" name="îṥļidè">
              <a:extLst>
                <a:ext uri="{FF2B5EF4-FFF2-40B4-BE49-F238E27FC236}">
                  <a16:creationId xmlns:a16="http://schemas.microsoft.com/office/drawing/2014/main" id="{6A716BC8-0156-4623-8637-AC4362BA8FC0}"/>
                </a:ext>
              </a:extLst>
            </p:cNvPr>
            <p:cNvSpPr/>
            <p:nvPr/>
          </p:nvSpPr>
          <p:spPr bwMode="auto">
            <a:xfrm>
              <a:off x="7618413" y="2693988"/>
              <a:ext cx="30163" cy="34925"/>
            </a:xfrm>
            <a:custGeom>
              <a:avLst/>
              <a:gdLst>
                <a:gd name="T0" fmla="*/ 0 w 19"/>
                <a:gd name="T1" fmla="*/ 17 h 22"/>
                <a:gd name="T2" fmla="*/ 4 w 19"/>
                <a:gd name="T3" fmla="*/ 0 h 22"/>
                <a:gd name="T4" fmla="*/ 19 w 19"/>
                <a:gd name="T5" fmla="*/ 4 h 22"/>
                <a:gd name="T6" fmla="*/ 15 w 19"/>
                <a:gd name="T7" fmla="*/ 22 h 22"/>
                <a:gd name="T8" fmla="*/ 0 w 19"/>
                <a:gd name="T9" fmla="*/ 17 h 22"/>
              </a:gdLst>
              <a:ahLst/>
              <a:cxnLst>
                <a:cxn ang="0">
                  <a:pos x="T0" y="T1"/>
                </a:cxn>
                <a:cxn ang="0">
                  <a:pos x="T2" y="T3"/>
                </a:cxn>
                <a:cxn ang="0">
                  <a:pos x="T4" y="T5"/>
                </a:cxn>
                <a:cxn ang="0">
                  <a:pos x="T6" y="T7"/>
                </a:cxn>
                <a:cxn ang="0">
                  <a:pos x="T8" y="T9"/>
                </a:cxn>
              </a:cxnLst>
              <a:rect l="0" t="0" r="r" b="b"/>
              <a:pathLst>
                <a:path w="19" h="22">
                  <a:moveTo>
                    <a:pt x="0" y="17"/>
                  </a:moveTo>
                  <a:lnTo>
                    <a:pt x="4" y="0"/>
                  </a:lnTo>
                  <a:lnTo>
                    <a:pt x="19" y="4"/>
                  </a:lnTo>
                  <a:lnTo>
                    <a:pt x="15" y="22"/>
                  </a:lnTo>
                  <a:lnTo>
                    <a:pt x="0" y="17"/>
                  </a:lnTo>
                  <a:close/>
                </a:path>
              </a:pathLst>
            </a:custGeom>
            <a:solidFill>
              <a:srgbClr val="3A376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9" name="îSľîdè">
              <a:extLst>
                <a:ext uri="{FF2B5EF4-FFF2-40B4-BE49-F238E27FC236}">
                  <a16:creationId xmlns:a16="http://schemas.microsoft.com/office/drawing/2014/main" id="{83226DD0-22DF-412C-9FE2-83FF2BC4AF1A}"/>
                </a:ext>
              </a:extLst>
            </p:cNvPr>
            <p:cNvSpPr/>
            <p:nvPr/>
          </p:nvSpPr>
          <p:spPr bwMode="auto">
            <a:xfrm>
              <a:off x="7618413" y="2693988"/>
              <a:ext cx="30163" cy="34925"/>
            </a:xfrm>
            <a:custGeom>
              <a:avLst/>
              <a:gdLst>
                <a:gd name="T0" fmla="*/ 0 w 19"/>
                <a:gd name="T1" fmla="*/ 17 h 22"/>
                <a:gd name="T2" fmla="*/ 4 w 19"/>
                <a:gd name="T3" fmla="*/ 0 h 22"/>
                <a:gd name="T4" fmla="*/ 19 w 19"/>
                <a:gd name="T5" fmla="*/ 4 h 22"/>
                <a:gd name="T6" fmla="*/ 15 w 19"/>
                <a:gd name="T7" fmla="*/ 22 h 22"/>
                <a:gd name="T8" fmla="*/ 0 w 19"/>
                <a:gd name="T9" fmla="*/ 17 h 22"/>
              </a:gdLst>
              <a:ahLst/>
              <a:cxnLst>
                <a:cxn ang="0">
                  <a:pos x="T0" y="T1"/>
                </a:cxn>
                <a:cxn ang="0">
                  <a:pos x="T2" y="T3"/>
                </a:cxn>
                <a:cxn ang="0">
                  <a:pos x="T4" y="T5"/>
                </a:cxn>
                <a:cxn ang="0">
                  <a:pos x="T6" y="T7"/>
                </a:cxn>
                <a:cxn ang="0">
                  <a:pos x="T8" y="T9"/>
                </a:cxn>
              </a:cxnLst>
              <a:rect l="0" t="0" r="r" b="b"/>
              <a:pathLst>
                <a:path w="19" h="22">
                  <a:moveTo>
                    <a:pt x="0" y="17"/>
                  </a:moveTo>
                  <a:lnTo>
                    <a:pt x="4" y="0"/>
                  </a:lnTo>
                  <a:lnTo>
                    <a:pt x="19" y="4"/>
                  </a:lnTo>
                  <a:lnTo>
                    <a:pt x="15" y="22"/>
                  </a:lnTo>
                  <a:lnTo>
                    <a:pt x="0"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0" name="ïṩļîḑê">
              <a:extLst>
                <a:ext uri="{FF2B5EF4-FFF2-40B4-BE49-F238E27FC236}">
                  <a16:creationId xmlns:a16="http://schemas.microsoft.com/office/drawing/2014/main" id="{E8ED378A-916B-486B-AB2A-33F119C2136C}"/>
                </a:ext>
              </a:extLst>
            </p:cNvPr>
            <p:cNvSpPr/>
            <p:nvPr/>
          </p:nvSpPr>
          <p:spPr bwMode="auto">
            <a:xfrm>
              <a:off x="7512051" y="2667000"/>
              <a:ext cx="85725" cy="47625"/>
            </a:xfrm>
            <a:custGeom>
              <a:avLst/>
              <a:gdLst>
                <a:gd name="T0" fmla="*/ 0 w 54"/>
                <a:gd name="T1" fmla="*/ 17 h 30"/>
                <a:gd name="T2" fmla="*/ 4 w 54"/>
                <a:gd name="T3" fmla="*/ 0 h 30"/>
                <a:gd name="T4" fmla="*/ 54 w 54"/>
                <a:gd name="T5" fmla="*/ 13 h 30"/>
                <a:gd name="T6" fmla="*/ 49 w 54"/>
                <a:gd name="T7" fmla="*/ 30 h 30"/>
                <a:gd name="T8" fmla="*/ 0 w 54"/>
                <a:gd name="T9" fmla="*/ 17 h 30"/>
              </a:gdLst>
              <a:ahLst/>
              <a:cxnLst>
                <a:cxn ang="0">
                  <a:pos x="T0" y="T1"/>
                </a:cxn>
                <a:cxn ang="0">
                  <a:pos x="T2" y="T3"/>
                </a:cxn>
                <a:cxn ang="0">
                  <a:pos x="T4" y="T5"/>
                </a:cxn>
                <a:cxn ang="0">
                  <a:pos x="T6" y="T7"/>
                </a:cxn>
                <a:cxn ang="0">
                  <a:pos x="T8" y="T9"/>
                </a:cxn>
              </a:cxnLst>
              <a:rect l="0" t="0" r="r" b="b"/>
              <a:pathLst>
                <a:path w="54" h="30">
                  <a:moveTo>
                    <a:pt x="0" y="17"/>
                  </a:moveTo>
                  <a:lnTo>
                    <a:pt x="4" y="0"/>
                  </a:lnTo>
                  <a:lnTo>
                    <a:pt x="54" y="13"/>
                  </a:lnTo>
                  <a:lnTo>
                    <a:pt x="49" y="30"/>
                  </a:lnTo>
                  <a:lnTo>
                    <a:pt x="0" y="17"/>
                  </a:lnTo>
                  <a:close/>
                </a:path>
              </a:pathLst>
            </a:custGeom>
            <a:solidFill>
              <a:srgbClr val="3A376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1" name="i$ľïḍê">
              <a:extLst>
                <a:ext uri="{FF2B5EF4-FFF2-40B4-BE49-F238E27FC236}">
                  <a16:creationId xmlns:a16="http://schemas.microsoft.com/office/drawing/2014/main" id="{DB2DD21F-D8AF-4251-A379-EB501EEFB2E0}"/>
                </a:ext>
              </a:extLst>
            </p:cNvPr>
            <p:cNvSpPr/>
            <p:nvPr/>
          </p:nvSpPr>
          <p:spPr bwMode="auto">
            <a:xfrm>
              <a:off x="7512051" y="2667000"/>
              <a:ext cx="85725" cy="47625"/>
            </a:xfrm>
            <a:custGeom>
              <a:avLst/>
              <a:gdLst>
                <a:gd name="T0" fmla="*/ 0 w 54"/>
                <a:gd name="T1" fmla="*/ 17 h 30"/>
                <a:gd name="T2" fmla="*/ 4 w 54"/>
                <a:gd name="T3" fmla="*/ 0 h 30"/>
                <a:gd name="T4" fmla="*/ 54 w 54"/>
                <a:gd name="T5" fmla="*/ 13 h 30"/>
                <a:gd name="T6" fmla="*/ 49 w 54"/>
                <a:gd name="T7" fmla="*/ 30 h 30"/>
                <a:gd name="T8" fmla="*/ 0 w 54"/>
                <a:gd name="T9" fmla="*/ 17 h 30"/>
              </a:gdLst>
              <a:ahLst/>
              <a:cxnLst>
                <a:cxn ang="0">
                  <a:pos x="T0" y="T1"/>
                </a:cxn>
                <a:cxn ang="0">
                  <a:pos x="T2" y="T3"/>
                </a:cxn>
                <a:cxn ang="0">
                  <a:pos x="T4" y="T5"/>
                </a:cxn>
                <a:cxn ang="0">
                  <a:pos x="T6" y="T7"/>
                </a:cxn>
                <a:cxn ang="0">
                  <a:pos x="T8" y="T9"/>
                </a:cxn>
              </a:cxnLst>
              <a:rect l="0" t="0" r="r" b="b"/>
              <a:pathLst>
                <a:path w="54" h="30">
                  <a:moveTo>
                    <a:pt x="0" y="17"/>
                  </a:moveTo>
                  <a:lnTo>
                    <a:pt x="4" y="0"/>
                  </a:lnTo>
                  <a:lnTo>
                    <a:pt x="54" y="13"/>
                  </a:lnTo>
                  <a:lnTo>
                    <a:pt x="49" y="30"/>
                  </a:lnTo>
                  <a:lnTo>
                    <a:pt x="0"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2" name="îŝľîdê">
              <a:extLst>
                <a:ext uri="{FF2B5EF4-FFF2-40B4-BE49-F238E27FC236}">
                  <a16:creationId xmlns:a16="http://schemas.microsoft.com/office/drawing/2014/main" id="{56B1949C-487E-42B0-96EF-244EC49E8F9C}"/>
                </a:ext>
              </a:extLst>
            </p:cNvPr>
            <p:cNvSpPr/>
            <p:nvPr/>
          </p:nvSpPr>
          <p:spPr bwMode="auto">
            <a:xfrm>
              <a:off x="7589838" y="2687638"/>
              <a:ext cx="34925" cy="33338"/>
            </a:xfrm>
            <a:custGeom>
              <a:avLst/>
              <a:gdLst>
                <a:gd name="T0" fmla="*/ 0 w 22"/>
                <a:gd name="T1" fmla="*/ 17 h 21"/>
                <a:gd name="T2" fmla="*/ 5 w 22"/>
                <a:gd name="T3" fmla="*/ 0 h 21"/>
                <a:gd name="T4" fmla="*/ 22 w 22"/>
                <a:gd name="T5" fmla="*/ 4 h 21"/>
                <a:gd name="T6" fmla="*/ 18 w 22"/>
                <a:gd name="T7" fmla="*/ 21 h 21"/>
                <a:gd name="T8" fmla="*/ 0 w 22"/>
                <a:gd name="T9" fmla="*/ 17 h 21"/>
              </a:gdLst>
              <a:ahLst/>
              <a:cxnLst>
                <a:cxn ang="0">
                  <a:pos x="T0" y="T1"/>
                </a:cxn>
                <a:cxn ang="0">
                  <a:pos x="T2" y="T3"/>
                </a:cxn>
                <a:cxn ang="0">
                  <a:pos x="T4" y="T5"/>
                </a:cxn>
                <a:cxn ang="0">
                  <a:pos x="T6" y="T7"/>
                </a:cxn>
                <a:cxn ang="0">
                  <a:pos x="T8" y="T9"/>
                </a:cxn>
              </a:cxnLst>
              <a:rect l="0" t="0" r="r" b="b"/>
              <a:pathLst>
                <a:path w="22" h="21">
                  <a:moveTo>
                    <a:pt x="0" y="17"/>
                  </a:moveTo>
                  <a:lnTo>
                    <a:pt x="5" y="0"/>
                  </a:lnTo>
                  <a:lnTo>
                    <a:pt x="22" y="4"/>
                  </a:lnTo>
                  <a:lnTo>
                    <a:pt x="18" y="21"/>
                  </a:lnTo>
                  <a:lnTo>
                    <a:pt x="0" y="17"/>
                  </a:lnTo>
                  <a:close/>
                </a:path>
              </a:pathLst>
            </a:custGeom>
            <a:solidFill>
              <a:srgbClr val="3A376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3" name="í$ľïḓe">
              <a:extLst>
                <a:ext uri="{FF2B5EF4-FFF2-40B4-BE49-F238E27FC236}">
                  <a16:creationId xmlns:a16="http://schemas.microsoft.com/office/drawing/2014/main" id="{305DC473-4497-4F32-8B4A-04EE3CC0ED9E}"/>
                </a:ext>
              </a:extLst>
            </p:cNvPr>
            <p:cNvSpPr/>
            <p:nvPr/>
          </p:nvSpPr>
          <p:spPr bwMode="auto">
            <a:xfrm>
              <a:off x="7589838" y="2687638"/>
              <a:ext cx="34925" cy="33338"/>
            </a:xfrm>
            <a:custGeom>
              <a:avLst/>
              <a:gdLst>
                <a:gd name="T0" fmla="*/ 0 w 22"/>
                <a:gd name="T1" fmla="*/ 17 h 21"/>
                <a:gd name="T2" fmla="*/ 5 w 22"/>
                <a:gd name="T3" fmla="*/ 0 h 21"/>
                <a:gd name="T4" fmla="*/ 22 w 22"/>
                <a:gd name="T5" fmla="*/ 4 h 21"/>
                <a:gd name="T6" fmla="*/ 18 w 22"/>
                <a:gd name="T7" fmla="*/ 21 h 21"/>
                <a:gd name="T8" fmla="*/ 0 w 22"/>
                <a:gd name="T9" fmla="*/ 17 h 21"/>
              </a:gdLst>
              <a:ahLst/>
              <a:cxnLst>
                <a:cxn ang="0">
                  <a:pos x="T0" y="T1"/>
                </a:cxn>
                <a:cxn ang="0">
                  <a:pos x="T2" y="T3"/>
                </a:cxn>
                <a:cxn ang="0">
                  <a:pos x="T4" y="T5"/>
                </a:cxn>
                <a:cxn ang="0">
                  <a:pos x="T6" y="T7"/>
                </a:cxn>
                <a:cxn ang="0">
                  <a:pos x="T8" y="T9"/>
                </a:cxn>
              </a:cxnLst>
              <a:rect l="0" t="0" r="r" b="b"/>
              <a:pathLst>
                <a:path w="22" h="21">
                  <a:moveTo>
                    <a:pt x="0" y="17"/>
                  </a:moveTo>
                  <a:lnTo>
                    <a:pt x="5" y="0"/>
                  </a:lnTo>
                  <a:lnTo>
                    <a:pt x="22" y="4"/>
                  </a:lnTo>
                  <a:lnTo>
                    <a:pt x="18" y="21"/>
                  </a:lnTo>
                  <a:lnTo>
                    <a:pt x="0"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4" name="îṥḷíḋé">
              <a:extLst>
                <a:ext uri="{FF2B5EF4-FFF2-40B4-BE49-F238E27FC236}">
                  <a16:creationId xmlns:a16="http://schemas.microsoft.com/office/drawing/2014/main" id="{CFD9B7C0-16FB-48FD-A67F-1069C9F31A1B}"/>
                </a:ext>
              </a:extLst>
            </p:cNvPr>
            <p:cNvSpPr/>
            <p:nvPr/>
          </p:nvSpPr>
          <p:spPr bwMode="auto">
            <a:xfrm>
              <a:off x="7470776" y="2616200"/>
              <a:ext cx="60325" cy="77788"/>
            </a:xfrm>
            <a:custGeom>
              <a:avLst/>
              <a:gdLst>
                <a:gd name="T0" fmla="*/ 33 w 41"/>
                <a:gd name="T1" fmla="*/ 32 h 53"/>
                <a:gd name="T2" fmla="*/ 30 w 41"/>
                <a:gd name="T3" fmla="*/ 33 h 53"/>
                <a:gd name="T4" fmla="*/ 33 w 41"/>
                <a:gd name="T5" fmla="*/ 34 h 53"/>
                <a:gd name="T6" fmla="*/ 28 w 41"/>
                <a:gd name="T7" fmla="*/ 53 h 53"/>
                <a:gd name="T8" fmla="*/ 4 w 41"/>
                <a:gd name="T9" fmla="*/ 47 h 53"/>
                <a:gd name="T10" fmla="*/ 7 w 41"/>
                <a:gd name="T11" fmla="*/ 21 h 53"/>
                <a:gd name="T12" fmla="*/ 27 w 41"/>
                <a:gd name="T13" fmla="*/ 6 h 53"/>
                <a:gd name="T14" fmla="*/ 41 w 41"/>
                <a:gd name="T15" fmla="*/ 0 h 53"/>
                <a:gd name="T16" fmla="*/ 33 w 41"/>
                <a:gd name="T17" fmla="*/ 3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53">
                  <a:moveTo>
                    <a:pt x="33" y="32"/>
                  </a:moveTo>
                  <a:cubicBezTo>
                    <a:pt x="32" y="32"/>
                    <a:pt x="31" y="33"/>
                    <a:pt x="30" y="33"/>
                  </a:cubicBezTo>
                  <a:cubicBezTo>
                    <a:pt x="33" y="34"/>
                    <a:pt x="33" y="34"/>
                    <a:pt x="33" y="34"/>
                  </a:cubicBezTo>
                  <a:cubicBezTo>
                    <a:pt x="28" y="53"/>
                    <a:pt x="28" y="53"/>
                    <a:pt x="28" y="53"/>
                  </a:cubicBezTo>
                  <a:cubicBezTo>
                    <a:pt x="4" y="47"/>
                    <a:pt x="4" y="47"/>
                    <a:pt x="4" y="47"/>
                  </a:cubicBezTo>
                  <a:cubicBezTo>
                    <a:pt x="0" y="38"/>
                    <a:pt x="1" y="28"/>
                    <a:pt x="7" y="21"/>
                  </a:cubicBezTo>
                  <a:cubicBezTo>
                    <a:pt x="11" y="13"/>
                    <a:pt x="18" y="8"/>
                    <a:pt x="27" y="6"/>
                  </a:cubicBezTo>
                  <a:cubicBezTo>
                    <a:pt x="32" y="5"/>
                    <a:pt x="37" y="3"/>
                    <a:pt x="41" y="0"/>
                  </a:cubicBezTo>
                  <a:cubicBezTo>
                    <a:pt x="33" y="32"/>
                    <a:pt x="33" y="32"/>
                    <a:pt x="33" y="32"/>
                  </a:cubicBezTo>
                </a:path>
              </a:pathLst>
            </a:custGeom>
            <a:solidFill>
              <a:srgbClr val="536DF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5" name="išḻîḍè">
              <a:extLst>
                <a:ext uri="{FF2B5EF4-FFF2-40B4-BE49-F238E27FC236}">
                  <a16:creationId xmlns:a16="http://schemas.microsoft.com/office/drawing/2014/main" id="{61879902-E3DB-4A90-A661-FAB54C286814}"/>
                </a:ext>
              </a:extLst>
            </p:cNvPr>
            <p:cNvSpPr/>
            <p:nvPr/>
          </p:nvSpPr>
          <p:spPr bwMode="auto">
            <a:xfrm>
              <a:off x="7604126" y="2722563"/>
              <a:ext cx="38100" cy="65088"/>
            </a:xfrm>
            <a:custGeom>
              <a:avLst/>
              <a:gdLst>
                <a:gd name="T0" fmla="*/ 0 w 26"/>
                <a:gd name="T1" fmla="*/ 41 h 44"/>
                <a:gd name="T2" fmla="*/ 7 w 26"/>
                <a:gd name="T3" fmla="*/ 43 h 44"/>
                <a:gd name="T4" fmla="*/ 18 w 26"/>
                <a:gd name="T5" fmla="*/ 36 h 44"/>
                <a:gd name="T6" fmla="*/ 18 w 26"/>
                <a:gd name="T7" fmla="*/ 36 h 44"/>
                <a:gd name="T8" fmla="*/ 26 w 26"/>
                <a:gd name="T9" fmla="*/ 4 h 44"/>
                <a:gd name="T10" fmla="*/ 10 w 26"/>
                <a:gd name="T11" fmla="*/ 0 h 44"/>
                <a:gd name="T12" fmla="*/ 0 w 26"/>
                <a:gd name="T13" fmla="*/ 41 h 44"/>
              </a:gdLst>
              <a:ahLst/>
              <a:cxnLst>
                <a:cxn ang="0">
                  <a:pos x="T0" y="T1"/>
                </a:cxn>
                <a:cxn ang="0">
                  <a:pos x="T2" y="T3"/>
                </a:cxn>
                <a:cxn ang="0">
                  <a:pos x="T4" y="T5"/>
                </a:cxn>
                <a:cxn ang="0">
                  <a:pos x="T6" y="T7"/>
                </a:cxn>
                <a:cxn ang="0">
                  <a:pos x="T8" y="T9"/>
                </a:cxn>
                <a:cxn ang="0">
                  <a:pos x="T10" y="T11"/>
                </a:cxn>
                <a:cxn ang="0">
                  <a:pos x="T12" y="T13"/>
                </a:cxn>
              </a:cxnLst>
              <a:rect l="0" t="0" r="r" b="b"/>
              <a:pathLst>
                <a:path w="26" h="44">
                  <a:moveTo>
                    <a:pt x="0" y="41"/>
                  </a:moveTo>
                  <a:cubicBezTo>
                    <a:pt x="7" y="43"/>
                    <a:pt x="7" y="43"/>
                    <a:pt x="7" y="43"/>
                  </a:cubicBezTo>
                  <a:cubicBezTo>
                    <a:pt x="12" y="44"/>
                    <a:pt x="17" y="41"/>
                    <a:pt x="18" y="36"/>
                  </a:cubicBezTo>
                  <a:cubicBezTo>
                    <a:pt x="18" y="36"/>
                    <a:pt x="18" y="36"/>
                    <a:pt x="18" y="36"/>
                  </a:cubicBezTo>
                  <a:cubicBezTo>
                    <a:pt x="26" y="4"/>
                    <a:pt x="26" y="4"/>
                    <a:pt x="26" y="4"/>
                  </a:cubicBezTo>
                  <a:cubicBezTo>
                    <a:pt x="10" y="0"/>
                    <a:pt x="10" y="0"/>
                    <a:pt x="10" y="0"/>
                  </a:cubicBezTo>
                  <a:cubicBezTo>
                    <a:pt x="0" y="41"/>
                    <a:pt x="0" y="41"/>
                    <a:pt x="0" y="41"/>
                  </a:cubicBezTo>
                </a:path>
              </a:pathLst>
            </a:custGeom>
            <a:solidFill>
              <a:srgbClr val="3A376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6" name="ïṡḷiḑè">
              <a:extLst>
                <a:ext uri="{FF2B5EF4-FFF2-40B4-BE49-F238E27FC236}">
                  <a16:creationId xmlns:a16="http://schemas.microsoft.com/office/drawing/2014/main" id="{13F8FA28-4B73-45B4-A2BE-5F209161FFB5}"/>
                </a:ext>
              </a:extLst>
            </p:cNvPr>
            <p:cNvSpPr/>
            <p:nvPr/>
          </p:nvSpPr>
          <p:spPr bwMode="auto">
            <a:xfrm>
              <a:off x="7531101" y="2454275"/>
              <a:ext cx="73025" cy="161925"/>
            </a:xfrm>
            <a:custGeom>
              <a:avLst/>
              <a:gdLst>
                <a:gd name="T0" fmla="*/ 43 w 49"/>
                <a:gd name="T1" fmla="*/ 63 h 111"/>
                <a:gd name="T2" fmla="*/ 0 w 49"/>
                <a:gd name="T3" fmla="*/ 111 h 111"/>
                <a:gd name="T4" fmla="*/ 29 w 49"/>
                <a:gd name="T5" fmla="*/ 0 h 111"/>
                <a:gd name="T6" fmla="*/ 43 w 49"/>
                <a:gd name="T7" fmla="*/ 63 h 111"/>
              </a:gdLst>
              <a:ahLst/>
              <a:cxnLst>
                <a:cxn ang="0">
                  <a:pos x="T0" y="T1"/>
                </a:cxn>
                <a:cxn ang="0">
                  <a:pos x="T2" y="T3"/>
                </a:cxn>
                <a:cxn ang="0">
                  <a:pos x="T4" y="T5"/>
                </a:cxn>
                <a:cxn ang="0">
                  <a:pos x="T6" y="T7"/>
                </a:cxn>
              </a:cxnLst>
              <a:rect l="0" t="0" r="r" b="b"/>
              <a:pathLst>
                <a:path w="49" h="111">
                  <a:moveTo>
                    <a:pt x="43" y="63"/>
                  </a:moveTo>
                  <a:cubicBezTo>
                    <a:pt x="38" y="85"/>
                    <a:pt x="22" y="102"/>
                    <a:pt x="0" y="111"/>
                  </a:cubicBezTo>
                  <a:cubicBezTo>
                    <a:pt x="29" y="0"/>
                    <a:pt x="29" y="0"/>
                    <a:pt x="29" y="0"/>
                  </a:cubicBezTo>
                  <a:cubicBezTo>
                    <a:pt x="43" y="19"/>
                    <a:pt x="49" y="41"/>
                    <a:pt x="43" y="63"/>
                  </a:cubicBezTo>
                </a:path>
              </a:pathLst>
            </a:custGeom>
            <a:solidFill>
              <a:srgbClr val="3A376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7" name="îš1îḑè">
              <a:extLst>
                <a:ext uri="{FF2B5EF4-FFF2-40B4-BE49-F238E27FC236}">
                  <a16:creationId xmlns:a16="http://schemas.microsoft.com/office/drawing/2014/main" id="{9E2F3947-0977-4C7A-A23C-B0B8E0613812}"/>
                </a:ext>
              </a:extLst>
            </p:cNvPr>
            <p:cNvSpPr/>
            <p:nvPr/>
          </p:nvSpPr>
          <p:spPr bwMode="auto">
            <a:xfrm>
              <a:off x="7215188" y="2693988"/>
              <a:ext cx="388938" cy="1195388"/>
            </a:xfrm>
            <a:custGeom>
              <a:avLst/>
              <a:gdLst>
                <a:gd name="T0" fmla="*/ 254 w 264"/>
                <a:gd name="T1" fmla="*/ 57 h 813"/>
                <a:gd name="T2" fmla="*/ 247 w 264"/>
                <a:gd name="T3" fmla="*/ 46 h 813"/>
                <a:gd name="T4" fmla="*/ 255 w 264"/>
                <a:gd name="T5" fmla="*/ 14 h 813"/>
                <a:gd name="T6" fmla="*/ 202 w 264"/>
                <a:gd name="T7" fmla="*/ 0 h 813"/>
                <a:gd name="T8" fmla="*/ 38 w 264"/>
                <a:gd name="T9" fmla="*/ 642 h 813"/>
                <a:gd name="T10" fmla="*/ 4 w 264"/>
                <a:gd name="T11" fmla="*/ 779 h 813"/>
                <a:gd name="T12" fmla="*/ 0 w 264"/>
                <a:gd name="T13" fmla="*/ 794 h 813"/>
                <a:gd name="T14" fmla="*/ 72 w 264"/>
                <a:gd name="T15" fmla="*/ 813 h 813"/>
                <a:gd name="T16" fmla="*/ 264 w 264"/>
                <a:gd name="T17" fmla="*/ 60 h 813"/>
                <a:gd name="T18" fmla="*/ 254 w 264"/>
                <a:gd name="T19" fmla="*/ 57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4" h="813">
                  <a:moveTo>
                    <a:pt x="254" y="57"/>
                  </a:moveTo>
                  <a:cubicBezTo>
                    <a:pt x="249" y="56"/>
                    <a:pt x="246" y="51"/>
                    <a:pt x="247" y="46"/>
                  </a:cubicBezTo>
                  <a:cubicBezTo>
                    <a:pt x="255" y="14"/>
                    <a:pt x="255" y="14"/>
                    <a:pt x="255" y="14"/>
                  </a:cubicBezTo>
                  <a:cubicBezTo>
                    <a:pt x="202" y="0"/>
                    <a:pt x="202" y="0"/>
                    <a:pt x="202" y="0"/>
                  </a:cubicBezTo>
                  <a:cubicBezTo>
                    <a:pt x="38" y="642"/>
                    <a:pt x="38" y="642"/>
                    <a:pt x="38" y="642"/>
                  </a:cubicBezTo>
                  <a:cubicBezTo>
                    <a:pt x="63" y="690"/>
                    <a:pt x="48" y="749"/>
                    <a:pt x="4" y="779"/>
                  </a:cubicBezTo>
                  <a:cubicBezTo>
                    <a:pt x="0" y="794"/>
                    <a:pt x="0" y="794"/>
                    <a:pt x="0" y="794"/>
                  </a:cubicBezTo>
                  <a:cubicBezTo>
                    <a:pt x="72" y="813"/>
                    <a:pt x="72" y="813"/>
                    <a:pt x="72" y="813"/>
                  </a:cubicBezTo>
                  <a:cubicBezTo>
                    <a:pt x="264" y="60"/>
                    <a:pt x="264" y="60"/>
                    <a:pt x="264" y="60"/>
                  </a:cubicBezTo>
                  <a:cubicBezTo>
                    <a:pt x="254" y="57"/>
                    <a:pt x="254" y="57"/>
                    <a:pt x="254" y="57"/>
                  </a:cubicBezTo>
                </a:path>
              </a:pathLst>
            </a:custGeom>
            <a:solidFill>
              <a:srgbClr val="3A376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8" name="iş1íḋê">
              <a:extLst>
                <a:ext uri="{FF2B5EF4-FFF2-40B4-BE49-F238E27FC236}">
                  <a16:creationId xmlns:a16="http://schemas.microsoft.com/office/drawing/2014/main" id="{34F0A6F3-20E7-459F-A80C-A5B6FCFE06BD}"/>
                </a:ext>
              </a:extLst>
            </p:cNvPr>
            <p:cNvSpPr/>
            <p:nvPr/>
          </p:nvSpPr>
          <p:spPr bwMode="auto">
            <a:xfrm>
              <a:off x="7577138" y="2714625"/>
              <a:ext cx="41275" cy="68263"/>
            </a:xfrm>
            <a:custGeom>
              <a:avLst/>
              <a:gdLst>
                <a:gd name="T0" fmla="*/ 1 w 28"/>
                <a:gd name="T1" fmla="*/ 32 h 46"/>
                <a:gd name="T2" fmla="*/ 8 w 28"/>
                <a:gd name="T3" fmla="*/ 43 h 46"/>
                <a:gd name="T4" fmla="*/ 18 w 28"/>
                <a:gd name="T5" fmla="*/ 46 h 46"/>
                <a:gd name="T6" fmla="*/ 28 w 28"/>
                <a:gd name="T7" fmla="*/ 5 h 46"/>
                <a:gd name="T8" fmla="*/ 9 w 28"/>
                <a:gd name="T9" fmla="*/ 0 h 46"/>
                <a:gd name="T10" fmla="*/ 1 w 28"/>
                <a:gd name="T11" fmla="*/ 32 h 46"/>
              </a:gdLst>
              <a:ahLst/>
              <a:cxnLst>
                <a:cxn ang="0">
                  <a:pos x="T0" y="T1"/>
                </a:cxn>
                <a:cxn ang="0">
                  <a:pos x="T2" y="T3"/>
                </a:cxn>
                <a:cxn ang="0">
                  <a:pos x="T4" y="T5"/>
                </a:cxn>
                <a:cxn ang="0">
                  <a:pos x="T6" y="T7"/>
                </a:cxn>
                <a:cxn ang="0">
                  <a:pos x="T8" y="T9"/>
                </a:cxn>
                <a:cxn ang="0">
                  <a:pos x="T10" y="T11"/>
                </a:cxn>
              </a:cxnLst>
              <a:rect l="0" t="0" r="r" b="b"/>
              <a:pathLst>
                <a:path w="28" h="46">
                  <a:moveTo>
                    <a:pt x="1" y="32"/>
                  </a:moveTo>
                  <a:cubicBezTo>
                    <a:pt x="0" y="37"/>
                    <a:pt x="3" y="42"/>
                    <a:pt x="8" y="43"/>
                  </a:cubicBezTo>
                  <a:cubicBezTo>
                    <a:pt x="18" y="46"/>
                    <a:pt x="18" y="46"/>
                    <a:pt x="18" y="46"/>
                  </a:cubicBezTo>
                  <a:cubicBezTo>
                    <a:pt x="28" y="5"/>
                    <a:pt x="28" y="5"/>
                    <a:pt x="28" y="5"/>
                  </a:cubicBezTo>
                  <a:cubicBezTo>
                    <a:pt x="9" y="0"/>
                    <a:pt x="9" y="0"/>
                    <a:pt x="9" y="0"/>
                  </a:cubicBezTo>
                  <a:cubicBezTo>
                    <a:pt x="1" y="32"/>
                    <a:pt x="1" y="32"/>
                    <a:pt x="1" y="32"/>
                  </a:cubicBezTo>
                </a:path>
              </a:pathLst>
            </a:custGeom>
            <a:solidFill>
              <a:srgbClr val="3A376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9" name="ïşḷîďe">
              <a:extLst>
                <a:ext uri="{FF2B5EF4-FFF2-40B4-BE49-F238E27FC236}">
                  <a16:creationId xmlns:a16="http://schemas.microsoft.com/office/drawing/2014/main" id="{36040174-548E-4BC4-A67E-3C23F3698E5D}"/>
                </a:ext>
              </a:extLst>
            </p:cNvPr>
            <p:cNvSpPr/>
            <p:nvPr/>
          </p:nvSpPr>
          <p:spPr bwMode="auto">
            <a:xfrm>
              <a:off x="6500813" y="2365375"/>
              <a:ext cx="1073150" cy="1431925"/>
            </a:xfrm>
            <a:custGeom>
              <a:avLst/>
              <a:gdLst>
                <a:gd name="T0" fmla="*/ 667 w 730"/>
                <a:gd name="T1" fmla="*/ 192 h 975"/>
                <a:gd name="T2" fmla="*/ 687 w 730"/>
                <a:gd name="T3" fmla="*/ 177 h 975"/>
                <a:gd name="T4" fmla="*/ 701 w 730"/>
                <a:gd name="T5" fmla="*/ 171 h 975"/>
                <a:gd name="T6" fmla="*/ 730 w 730"/>
                <a:gd name="T7" fmla="*/ 60 h 975"/>
                <a:gd name="T8" fmla="*/ 659 w 730"/>
                <a:gd name="T9" fmla="*/ 15 h 975"/>
                <a:gd name="T10" fmla="*/ 532 w 730"/>
                <a:gd name="T11" fmla="*/ 69 h 975"/>
                <a:gd name="T12" fmla="*/ 546 w 730"/>
                <a:gd name="T13" fmla="*/ 131 h 975"/>
                <a:gd name="T14" fmla="*/ 564 w 730"/>
                <a:gd name="T15" fmla="*/ 150 h 975"/>
                <a:gd name="T16" fmla="*/ 564 w 730"/>
                <a:gd name="T17" fmla="*/ 151 h 975"/>
                <a:gd name="T18" fmla="*/ 561 w 730"/>
                <a:gd name="T19" fmla="*/ 192 h 975"/>
                <a:gd name="T20" fmla="*/ 202 w 730"/>
                <a:gd name="T21" fmla="*/ 100 h 975"/>
                <a:gd name="T22" fmla="*/ 121 w 730"/>
                <a:gd name="T23" fmla="*/ 418 h 975"/>
                <a:gd name="T24" fmla="*/ 216 w 730"/>
                <a:gd name="T25" fmla="*/ 397 h 975"/>
                <a:gd name="T26" fmla="*/ 296 w 730"/>
                <a:gd name="T27" fmla="*/ 543 h 975"/>
                <a:gd name="T28" fmla="*/ 157 w 730"/>
                <a:gd name="T29" fmla="*/ 633 h 975"/>
                <a:gd name="T30" fmla="*/ 83 w 730"/>
                <a:gd name="T31" fmla="*/ 568 h 975"/>
                <a:gd name="T32" fmla="*/ 0 w 730"/>
                <a:gd name="T33" fmla="*/ 895 h 975"/>
                <a:gd name="T34" fmla="*/ 318 w 730"/>
                <a:gd name="T35" fmla="*/ 975 h 975"/>
                <a:gd name="T36" fmla="*/ 297 w 730"/>
                <a:gd name="T37" fmla="*/ 882 h 975"/>
                <a:gd name="T38" fmla="*/ 443 w 730"/>
                <a:gd name="T39" fmla="*/ 802 h 975"/>
                <a:gd name="T40" fmla="*/ 524 w 730"/>
                <a:gd name="T41" fmla="*/ 866 h 975"/>
                <a:gd name="T42" fmla="*/ 688 w 730"/>
                <a:gd name="T43" fmla="*/ 224 h 975"/>
                <a:gd name="T44" fmla="*/ 664 w 730"/>
                <a:gd name="T45" fmla="*/ 218 h 975"/>
                <a:gd name="T46" fmla="*/ 667 w 730"/>
                <a:gd name="T47" fmla="*/ 192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30" h="975">
                  <a:moveTo>
                    <a:pt x="667" y="192"/>
                  </a:moveTo>
                  <a:cubicBezTo>
                    <a:pt x="671" y="184"/>
                    <a:pt x="678" y="179"/>
                    <a:pt x="687" y="177"/>
                  </a:cubicBezTo>
                  <a:cubicBezTo>
                    <a:pt x="692" y="176"/>
                    <a:pt x="697" y="174"/>
                    <a:pt x="701" y="171"/>
                  </a:cubicBezTo>
                  <a:cubicBezTo>
                    <a:pt x="730" y="60"/>
                    <a:pt x="730" y="60"/>
                    <a:pt x="730" y="60"/>
                  </a:cubicBezTo>
                  <a:cubicBezTo>
                    <a:pt x="712" y="37"/>
                    <a:pt x="687" y="21"/>
                    <a:pt x="659" y="15"/>
                  </a:cubicBezTo>
                  <a:cubicBezTo>
                    <a:pt x="600" y="0"/>
                    <a:pt x="543" y="24"/>
                    <a:pt x="532" y="69"/>
                  </a:cubicBezTo>
                  <a:cubicBezTo>
                    <a:pt x="527" y="90"/>
                    <a:pt x="532" y="112"/>
                    <a:pt x="546" y="131"/>
                  </a:cubicBezTo>
                  <a:cubicBezTo>
                    <a:pt x="551" y="138"/>
                    <a:pt x="557" y="145"/>
                    <a:pt x="564" y="150"/>
                  </a:cubicBezTo>
                  <a:cubicBezTo>
                    <a:pt x="564" y="151"/>
                    <a:pt x="564" y="151"/>
                    <a:pt x="564" y="151"/>
                  </a:cubicBezTo>
                  <a:cubicBezTo>
                    <a:pt x="572" y="164"/>
                    <a:pt x="571" y="180"/>
                    <a:pt x="561" y="192"/>
                  </a:cubicBezTo>
                  <a:cubicBezTo>
                    <a:pt x="202" y="100"/>
                    <a:pt x="202" y="100"/>
                    <a:pt x="202" y="100"/>
                  </a:cubicBezTo>
                  <a:cubicBezTo>
                    <a:pt x="121" y="418"/>
                    <a:pt x="121" y="418"/>
                    <a:pt x="121" y="418"/>
                  </a:cubicBezTo>
                  <a:cubicBezTo>
                    <a:pt x="148" y="397"/>
                    <a:pt x="183" y="389"/>
                    <a:pt x="216" y="397"/>
                  </a:cubicBezTo>
                  <a:cubicBezTo>
                    <a:pt x="277" y="412"/>
                    <a:pt x="312" y="478"/>
                    <a:pt x="296" y="543"/>
                  </a:cubicBezTo>
                  <a:cubicBezTo>
                    <a:pt x="279" y="608"/>
                    <a:pt x="217" y="648"/>
                    <a:pt x="157" y="633"/>
                  </a:cubicBezTo>
                  <a:cubicBezTo>
                    <a:pt x="123" y="624"/>
                    <a:pt x="96" y="600"/>
                    <a:pt x="83" y="568"/>
                  </a:cubicBezTo>
                  <a:cubicBezTo>
                    <a:pt x="0" y="895"/>
                    <a:pt x="0" y="895"/>
                    <a:pt x="0" y="895"/>
                  </a:cubicBezTo>
                  <a:cubicBezTo>
                    <a:pt x="318" y="975"/>
                    <a:pt x="318" y="975"/>
                    <a:pt x="318" y="975"/>
                  </a:cubicBezTo>
                  <a:cubicBezTo>
                    <a:pt x="297" y="949"/>
                    <a:pt x="289" y="914"/>
                    <a:pt x="297" y="882"/>
                  </a:cubicBezTo>
                  <a:cubicBezTo>
                    <a:pt x="313" y="821"/>
                    <a:pt x="378" y="786"/>
                    <a:pt x="443" y="802"/>
                  </a:cubicBezTo>
                  <a:cubicBezTo>
                    <a:pt x="478" y="811"/>
                    <a:pt x="508" y="834"/>
                    <a:pt x="524" y="866"/>
                  </a:cubicBezTo>
                  <a:cubicBezTo>
                    <a:pt x="688" y="224"/>
                    <a:pt x="688" y="224"/>
                    <a:pt x="688" y="224"/>
                  </a:cubicBezTo>
                  <a:cubicBezTo>
                    <a:pt x="664" y="218"/>
                    <a:pt x="664" y="218"/>
                    <a:pt x="664" y="218"/>
                  </a:cubicBezTo>
                  <a:cubicBezTo>
                    <a:pt x="661" y="209"/>
                    <a:pt x="661" y="200"/>
                    <a:pt x="667" y="192"/>
                  </a:cubicBezTo>
                </a:path>
              </a:pathLst>
            </a:custGeom>
            <a:solidFill>
              <a:srgbClr val="536DF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0" name="iš1îḓé">
              <a:extLst>
                <a:ext uri="{FF2B5EF4-FFF2-40B4-BE49-F238E27FC236}">
                  <a16:creationId xmlns:a16="http://schemas.microsoft.com/office/drawing/2014/main" id="{F5405631-2669-40A3-A931-D97C0E5C7C24}"/>
                </a:ext>
              </a:extLst>
            </p:cNvPr>
            <p:cNvSpPr/>
            <p:nvPr/>
          </p:nvSpPr>
          <p:spPr bwMode="auto">
            <a:xfrm>
              <a:off x="7515226" y="2663825"/>
              <a:ext cx="4763" cy="3175"/>
            </a:xfrm>
            <a:custGeom>
              <a:avLst/>
              <a:gdLst>
                <a:gd name="T0" fmla="*/ 3 w 3"/>
                <a:gd name="T1" fmla="*/ 2 h 2"/>
                <a:gd name="T2" fmla="*/ 3 w 3"/>
                <a:gd name="T3" fmla="*/ 0 h 2"/>
                <a:gd name="T4" fmla="*/ 0 w 3"/>
                <a:gd name="T5" fmla="*/ 2 h 2"/>
                <a:gd name="T6" fmla="*/ 3 w 3"/>
                <a:gd name="T7" fmla="*/ 2 h 2"/>
              </a:gdLst>
              <a:ahLst/>
              <a:cxnLst>
                <a:cxn ang="0">
                  <a:pos x="T0" y="T1"/>
                </a:cxn>
                <a:cxn ang="0">
                  <a:pos x="T2" y="T3"/>
                </a:cxn>
                <a:cxn ang="0">
                  <a:pos x="T4" y="T5"/>
                </a:cxn>
                <a:cxn ang="0">
                  <a:pos x="T6" y="T7"/>
                </a:cxn>
              </a:cxnLst>
              <a:rect l="0" t="0" r="r" b="b"/>
              <a:pathLst>
                <a:path w="3" h="2">
                  <a:moveTo>
                    <a:pt x="3" y="2"/>
                  </a:moveTo>
                  <a:cubicBezTo>
                    <a:pt x="3" y="0"/>
                    <a:pt x="3" y="0"/>
                    <a:pt x="3" y="0"/>
                  </a:cubicBezTo>
                  <a:cubicBezTo>
                    <a:pt x="2" y="0"/>
                    <a:pt x="1" y="1"/>
                    <a:pt x="0" y="2"/>
                  </a:cubicBezTo>
                  <a:cubicBezTo>
                    <a:pt x="3" y="2"/>
                    <a:pt x="3" y="2"/>
                    <a:pt x="3" y="2"/>
                  </a:cubicBezTo>
                </a:path>
              </a:pathLst>
            </a:custGeom>
            <a:solidFill>
              <a:srgbClr val="536DF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1" name="işľïďé">
              <a:extLst>
                <a:ext uri="{FF2B5EF4-FFF2-40B4-BE49-F238E27FC236}">
                  <a16:creationId xmlns:a16="http://schemas.microsoft.com/office/drawing/2014/main" id="{EFEDBEE8-F4C6-4709-8169-12DF045A07D2}"/>
                </a:ext>
              </a:extLst>
            </p:cNvPr>
            <p:cNvSpPr/>
            <p:nvPr/>
          </p:nvSpPr>
          <p:spPr bwMode="auto">
            <a:xfrm>
              <a:off x="6678613" y="2379663"/>
              <a:ext cx="963613" cy="600075"/>
            </a:xfrm>
            <a:custGeom>
              <a:avLst/>
              <a:gdLst>
                <a:gd name="T0" fmla="*/ 639 w 655"/>
                <a:gd name="T1" fmla="*/ 232 h 408"/>
                <a:gd name="T2" fmla="*/ 620 w 655"/>
                <a:gd name="T3" fmla="*/ 228 h 408"/>
                <a:gd name="T4" fmla="*/ 567 w 655"/>
                <a:gd name="T5" fmla="*/ 214 h 408"/>
                <a:gd name="T6" fmla="*/ 639 w 655"/>
                <a:gd name="T7" fmla="*/ 233 h 408"/>
                <a:gd name="T8" fmla="*/ 619 w 655"/>
                <a:gd name="T9" fmla="*/ 271 h 408"/>
                <a:gd name="T10" fmla="*/ 619 w 655"/>
                <a:gd name="T11" fmla="*/ 271 h 408"/>
                <a:gd name="T12" fmla="*/ 636 w 655"/>
                <a:gd name="T13" fmla="*/ 276 h 408"/>
                <a:gd name="T14" fmla="*/ 647 w 655"/>
                <a:gd name="T15" fmla="*/ 269 h 408"/>
                <a:gd name="T16" fmla="*/ 655 w 655"/>
                <a:gd name="T17" fmla="*/ 237 h 408"/>
                <a:gd name="T18" fmla="*/ 647 w 655"/>
                <a:gd name="T19" fmla="*/ 269 h 408"/>
                <a:gd name="T20" fmla="*/ 636 w 655"/>
                <a:gd name="T21" fmla="*/ 276 h 408"/>
                <a:gd name="T22" fmla="*/ 639 w 655"/>
                <a:gd name="T23" fmla="*/ 233 h 408"/>
                <a:gd name="T24" fmla="*/ 655 w 655"/>
                <a:gd name="T25" fmla="*/ 237 h 408"/>
                <a:gd name="T26" fmla="*/ 644 w 655"/>
                <a:gd name="T27" fmla="*/ 214 h 408"/>
                <a:gd name="T28" fmla="*/ 575 w 655"/>
                <a:gd name="T29" fmla="*/ 182 h 408"/>
                <a:gd name="T30" fmla="*/ 572 w 655"/>
                <a:gd name="T31" fmla="*/ 193 h 408"/>
                <a:gd name="T32" fmla="*/ 572 w 655"/>
                <a:gd name="T33" fmla="*/ 195 h 408"/>
                <a:gd name="T34" fmla="*/ 572 w 655"/>
                <a:gd name="T35" fmla="*/ 193 h 408"/>
                <a:gd name="T36" fmla="*/ 553 w 655"/>
                <a:gd name="T37" fmla="*/ 173 h 408"/>
                <a:gd name="T38" fmla="*/ 545 w 655"/>
                <a:gd name="T39" fmla="*/ 182 h 408"/>
                <a:gd name="T40" fmla="*/ 546 w 655"/>
                <a:gd name="T41" fmla="*/ 182 h 408"/>
                <a:gd name="T42" fmla="*/ 580 w 655"/>
                <a:gd name="T43" fmla="*/ 161 h 408"/>
                <a:gd name="T44" fmla="*/ 566 w 655"/>
                <a:gd name="T45" fmla="*/ 167 h 408"/>
                <a:gd name="T46" fmla="*/ 566 w 655"/>
                <a:gd name="T47" fmla="*/ 167 h 408"/>
                <a:gd name="T48" fmla="*/ 580 w 655"/>
                <a:gd name="T49" fmla="*/ 161 h 408"/>
                <a:gd name="T50" fmla="*/ 0 w 655"/>
                <a:gd name="T51" fmla="*/ 408 h 408"/>
                <a:gd name="T52" fmla="*/ 81 w 655"/>
                <a:gd name="T53" fmla="*/ 90 h 408"/>
                <a:gd name="T54" fmla="*/ 503 w 655"/>
                <a:gd name="T55" fmla="*/ 0 h 408"/>
                <a:gd name="T56" fmla="*/ 425 w 655"/>
                <a:gd name="T57" fmla="*/ 121 h 408"/>
                <a:gd name="T58" fmla="*/ 443 w 655"/>
                <a:gd name="T59" fmla="*/ 141 h 408"/>
                <a:gd name="T60" fmla="*/ 440 w 655"/>
                <a:gd name="T61" fmla="*/ 182 h 408"/>
                <a:gd name="T62" fmla="*/ 443 w 655"/>
                <a:gd name="T63" fmla="*/ 140 h 408"/>
                <a:gd name="T64" fmla="*/ 411 w 655"/>
                <a:gd name="T65" fmla="*/ 59 h 408"/>
                <a:gd name="T66" fmla="*/ 503 w 655"/>
                <a:gd name="T67" fmla="*/ 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55" h="408">
                  <a:moveTo>
                    <a:pt x="644" y="214"/>
                  </a:moveTo>
                  <a:cubicBezTo>
                    <a:pt x="639" y="232"/>
                    <a:pt x="639" y="232"/>
                    <a:pt x="639" y="232"/>
                  </a:cubicBezTo>
                  <a:cubicBezTo>
                    <a:pt x="620" y="228"/>
                    <a:pt x="620" y="228"/>
                    <a:pt x="620" y="228"/>
                  </a:cubicBezTo>
                  <a:cubicBezTo>
                    <a:pt x="620" y="228"/>
                    <a:pt x="620" y="228"/>
                    <a:pt x="620" y="228"/>
                  </a:cubicBezTo>
                  <a:cubicBezTo>
                    <a:pt x="567" y="214"/>
                    <a:pt x="567" y="214"/>
                    <a:pt x="567" y="214"/>
                  </a:cubicBezTo>
                  <a:cubicBezTo>
                    <a:pt x="567" y="214"/>
                    <a:pt x="567" y="214"/>
                    <a:pt x="567" y="214"/>
                  </a:cubicBezTo>
                  <a:cubicBezTo>
                    <a:pt x="620" y="228"/>
                    <a:pt x="620" y="228"/>
                    <a:pt x="620" y="228"/>
                  </a:cubicBezTo>
                  <a:cubicBezTo>
                    <a:pt x="639" y="233"/>
                    <a:pt x="639" y="233"/>
                    <a:pt x="639" y="233"/>
                  </a:cubicBezTo>
                  <a:cubicBezTo>
                    <a:pt x="629" y="274"/>
                    <a:pt x="629" y="274"/>
                    <a:pt x="629" y="274"/>
                  </a:cubicBezTo>
                  <a:cubicBezTo>
                    <a:pt x="619" y="271"/>
                    <a:pt x="619" y="271"/>
                    <a:pt x="619" y="271"/>
                  </a:cubicBezTo>
                  <a:cubicBezTo>
                    <a:pt x="615" y="270"/>
                    <a:pt x="612" y="266"/>
                    <a:pt x="612" y="262"/>
                  </a:cubicBezTo>
                  <a:cubicBezTo>
                    <a:pt x="612" y="266"/>
                    <a:pt x="615" y="270"/>
                    <a:pt x="619" y="271"/>
                  </a:cubicBezTo>
                  <a:cubicBezTo>
                    <a:pt x="629" y="274"/>
                    <a:pt x="629" y="274"/>
                    <a:pt x="629" y="274"/>
                  </a:cubicBezTo>
                  <a:cubicBezTo>
                    <a:pt x="636" y="276"/>
                    <a:pt x="636" y="276"/>
                    <a:pt x="636" y="276"/>
                  </a:cubicBezTo>
                  <a:cubicBezTo>
                    <a:pt x="637" y="276"/>
                    <a:pt x="638" y="276"/>
                    <a:pt x="638" y="276"/>
                  </a:cubicBezTo>
                  <a:cubicBezTo>
                    <a:pt x="642" y="276"/>
                    <a:pt x="646" y="273"/>
                    <a:pt x="647" y="269"/>
                  </a:cubicBezTo>
                  <a:cubicBezTo>
                    <a:pt x="647" y="269"/>
                    <a:pt x="647" y="269"/>
                    <a:pt x="647" y="269"/>
                  </a:cubicBezTo>
                  <a:cubicBezTo>
                    <a:pt x="655" y="237"/>
                    <a:pt x="655" y="237"/>
                    <a:pt x="655" y="237"/>
                  </a:cubicBezTo>
                  <a:cubicBezTo>
                    <a:pt x="647" y="269"/>
                    <a:pt x="647" y="269"/>
                    <a:pt x="647" y="269"/>
                  </a:cubicBezTo>
                  <a:cubicBezTo>
                    <a:pt x="647" y="269"/>
                    <a:pt x="647" y="269"/>
                    <a:pt x="647" y="269"/>
                  </a:cubicBezTo>
                  <a:cubicBezTo>
                    <a:pt x="646" y="273"/>
                    <a:pt x="642" y="276"/>
                    <a:pt x="638" y="276"/>
                  </a:cubicBezTo>
                  <a:cubicBezTo>
                    <a:pt x="638" y="276"/>
                    <a:pt x="637" y="276"/>
                    <a:pt x="636" y="276"/>
                  </a:cubicBezTo>
                  <a:cubicBezTo>
                    <a:pt x="629" y="274"/>
                    <a:pt x="629" y="274"/>
                    <a:pt x="629" y="274"/>
                  </a:cubicBezTo>
                  <a:cubicBezTo>
                    <a:pt x="639" y="233"/>
                    <a:pt x="639" y="233"/>
                    <a:pt x="639" y="233"/>
                  </a:cubicBezTo>
                  <a:cubicBezTo>
                    <a:pt x="655" y="237"/>
                    <a:pt x="655" y="237"/>
                    <a:pt x="655" y="237"/>
                  </a:cubicBezTo>
                  <a:cubicBezTo>
                    <a:pt x="655" y="237"/>
                    <a:pt x="655" y="237"/>
                    <a:pt x="655" y="237"/>
                  </a:cubicBezTo>
                  <a:cubicBezTo>
                    <a:pt x="639" y="232"/>
                    <a:pt x="639" y="232"/>
                    <a:pt x="639" y="232"/>
                  </a:cubicBezTo>
                  <a:cubicBezTo>
                    <a:pt x="644" y="214"/>
                    <a:pt x="644" y="214"/>
                    <a:pt x="644" y="214"/>
                  </a:cubicBezTo>
                  <a:cubicBezTo>
                    <a:pt x="644" y="214"/>
                    <a:pt x="644" y="214"/>
                    <a:pt x="644" y="214"/>
                  </a:cubicBezTo>
                  <a:moveTo>
                    <a:pt x="575" y="182"/>
                  </a:moveTo>
                  <a:cubicBezTo>
                    <a:pt x="572" y="193"/>
                    <a:pt x="572" y="193"/>
                    <a:pt x="572" y="193"/>
                  </a:cubicBezTo>
                  <a:cubicBezTo>
                    <a:pt x="572" y="193"/>
                    <a:pt x="572" y="193"/>
                    <a:pt x="572" y="193"/>
                  </a:cubicBezTo>
                  <a:cubicBezTo>
                    <a:pt x="572" y="193"/>
                    <a:pt x="572" y="193"/>
                    <a:pt x="572" y="193"/>
                  </a:cubicBezTo>
                  <a:cubicBezTo>
                    <a:pt x="572" y="195"/>
                    <a:pt x="572" y="195"/>
                    <a:pt x="572" y="195"/>
                  </a:cubicBezTo>
                  <a:cubicBezTo>
                    <a:pt x="572" y="195"/>
                    <a:pt x="572" y="195"/>
                    <a:pt x="572" y="195"/>
                  </a:cubicBezTo>
                  <a:cubicBezTo>
                    <a:pt x="572" y="193"/>
                    <a:pt x="572" y="193"/>
                    <a:pt x="572" y="193"/>
                  </a:cubicBezTo>
                  <a:cubicBezTo>
                    <a:pt x="575" y="182"/>
                    <a:pt x="575" y="182"/>
                    <a:pt x="575" y="182"/>
                  </a:cubicBezTo>
                  <a:moveTo>
                    <a:pt x="553" y="173"/>
                  </a:moveTo>
                  <a:cubicBezTo>
                    <a:pt x="550" y="176"/>
                    <a:pt x="547" y="178"/>
                    <a:pt x="546" y="182"/>
                  </a:cubicBezTo>
                  <a:cubicBezTo>
                    <a:pt x="545" y="182"/>
                    <a:pt x="545" y="182"/>
                    <a:pt x="545" y="182"/>
                  </a:cubicBezTo>
                  <a:cubicBezTo>
                    <a:pt x="545" y="183"/>
                    <a:pt x="545" y="183"/>
                    <a:pt x="545" y="183"/>
                  </a:cubicBezTo>
                  <a:cubicBezTo>
                    <a:pt x="545" y="182"/>
                    <a:pt x="545" y="182"/>
                    <a:pt x="546" y="182"/>
                  </a:cubicBezTo>
                  <a:cubicBezTo>
                    <a:pt x="548" y="178"/>
                    <a:pt x="550" y="176"/>
                    <a:pt x="553" y="173"/>
                  </a:cubicBezTo>
                  <a:moveTo>
                    <a:pt x="580" y="161"/>
                  </a:moveTo>
                  <a:cubicBezTo>
                    <a:pt x="577" y="163"/>
                    <a:pt x="574" y="164"/>
                    <a:pt x="571" y="165"/>
                  </a:cubicBezTo>
                  <a:cubicBezTo>
                    <a:pt x="569" y="166"/>
                    <a:pt x="568" y="166"/>
                    <a:pt x="566" y="167"/>
                  </a:cubicBezTo>
                  <a:cubicBezTo>
                    <a:pt x="564" y="167"/>
                    <a:pt x="563" y="168"/>
                    <a:pt x="561" y="168"/>
                  </a:cubicBezTo>
                  <a:cubicBezTo>
                    <a:pt x="563" y="168"/>
                    <a:pt x="564" y="167"/>
                    <a:pt x="566" y="167"/>
                  </a:cubicBezTo>
                  <a:cubicBezTo>
                    <a:pt x="571" y="166"/>
                    <a:pt x="576" y="164"/>
                    <a:pt x="580" y="162"/>
                  </a:cubicBezTo>
                  <a:cubicBezTo>
                    <a:pt x="580" y="161"/>
                    <a:pt x="580" y="161"/>
                    <a:pt x="580" y="161"/>
                  </a:cubicBezTo>
                  <a:moveTo>
                    <a:pt x="81" y="90"/>
                  </a:moveTo>
                  <a:cubicBezTo>
                    <a:pt x="0" y="408"/>
                    <a:pt x="0" y="408"/>
                    <a:pt x="0" y="408"/>
                  </a:cubicBezTo>
                  <a:cubicBezTo>
                    <a:pt x="0" y="408"/>
                    <a:pt x="0" y="408"/>
                    <a:pt x="0" y="408"/>
                  </a:cubicBezTo>
                  <a:cubicBezTo>
                    <a:pt x="81" y="90"/>
                    <a:pt x="81" y="90"/>
                    <a:pt x="81" y="90"/>
                  </a:cubicBezTo>
                  <a:cubicBezTo>
                    <a:pt x="81" y="90"/>
                    <a:pt x="81" y="90"/>
                    <a:pt x="81" y="90"/>
                  </a:cubicBezTo>
                  <a:moveTo>
                    <a:pt x="503" y="0"/>
                  </a:moveTo>
                  <a:cubicBezTo>
                    <a:pt x="458" y="0"/>
                    <a:pt x="420" y="23"/>
                    <a:pt x="411" y="59"/>
                  </a:cubicBezTo>
                  <a:cubicBezTo>
                    <a:pt x="406" y="80"/>
                    <a:pt x="411" y="102"/>
                    <a:pt x="425" y="121"/>
                  </a:cubicBezTo>
                  <a:cubicBezTo>
                    <a:pt x="430" y="128"/>
                    <a:pt x="436" y="135"/>
                    <a:pt x="443" y="140"/>
                  </a:cubicBezTo>
                  <a:cubicBezTo>
                    <a:pt x="443" y="141"/>
                    <a:pt x="443" y="141"/>
                    <a:pt x="443" y="141"/>
                  </a:cubicBezTo>
                  <a:cubicBezTo>
                    <a:pt x="451" y="154"/>
                    <a:pt x="450" y="170"/>
                    <a:pt x="440" y="182"/>
                  </a:cubicBezTo>
                  <a:cubicBezTo>
                    <a:pt x="440" y="182"/>
                    <a:pt x="440" y="182"/>
                    <a:pt x="440" y="182"/>
                  </a:cubicBezTo>
                  <a:cubicBezTo>
                    <a:pt x="450" y="170"/>
                    <a:pt x="451" y="154"/>
                    <a:pt x="443" y="141"/>
                  </a:cubicBezTo>
                  <a:cubicBezTo>
                    <a:pt x="443" y="140"/>
                    <a:pt x="443" y="140"/>
                    <a:pt x="443" y="140"/>
                  </a:cubicBezTo>
                  <a:cubicBezTo>
                    <a:pt x="436" y="135"/>
                    <a:pt x="430" y="128"/>
                    <a:pt x="425" y="121"/>
                  </a:cubicBezTo>
                  <a:cubicBezTo>
                    <a:pt x="411" y="102"/>
                    <a:pt x="406" y="80"/>
                    <a:pt x="411" y="59"/>
                  </a:cubicBezTo>
                  <a:cubicBezTo>
                    <a:pt x="420" y="23"/>
                    <a:pt x="458" y="0"/>
                    <a:pt x="503" y="0"/>
                  </a:cubicBezTo>
                  <a:cubicBezTo>
                    <a:pt x="503" y="0"/>
                    <a:pt x="503" y="0"/>
                    <a:pt x="503" y="0"/>
                  </a:cubicBezTo>
                </a:path>
              </a:pathLst>
            </a:custGeom>
            <a:solidFill>
              <a:srgbClr val="4B62E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2" name="iṡļiḍê">
              <a:extLst>
                <a:ext uri="{FF2B5EF4-FFF2-40B4-BE49-F238E27FC236}">
                  <a16:creationId xmlns:a16="http://schemas.microsoft.com/office/drawing/2014/main" id="{E52123F8-A778-4EB2-8243-D9F274D9CE30}"/>
                </a:ext>
              </a:extLst>
            </p:cNvPr>
            <p:cNvSpPr/>
            <p:nvPr/>
          </p:nvSpPr>
          <p:spPr bwMode="auto">
            <a:xfrm>
              <a:off x="7618413" y="2693988"/>
              <a:ext cx="30163" cy="34925"/>
            </a:xfrm>
            <a:custGeom>
              <a:avLst/>
              <a:gdLst>
                <a:gd name="T0" fmla="*/ 4 w 19"/>
                <a:gd name="T1" fmla="*/ 0 h 22"/>
                <a:gd name="T2" fmla="*/ 0 w 19"/>
                <a:gd name="T3" fmla="*/ 17 h 22"/>
                <a:gd name="T4" fmla="*/ 15 w 19"/>
                <a:gd name="T5" fmla="*/ 22 h 22"/>
                <a:gd name="T6" fmla="*/ 19 w 19"/>
                <a:gd name="T7" fmla="*/ 4 h 22"/>
                <a:gd name="T8" fmla="*/ 4 w 19"/>
                <a:gd name="T9" fmla="*/ 0 h 22"/>
                <a:gd name="T10" fmla="*/ 4 w 19"/>
                <a:gd name="T11" fmla="*/ 0 h 22"/>
              </a:gdLst>
              <a:ahLst/>
              <a:cxnLst>
                <a:cxn ang="0">
                  <a:pos x="T0" y="T1"/>
                </a:cxn>
                <a:cxn ang="0">
                  <a:pos x="T2" y="T3"/>
                </a:cxn>
                <a:cxn ang="0">
                  <a:pos x="T4" y="T5"/>
                </a:cxn>
                <a:cxn ang="0">
                  <a:pos x="T6" y="T7"/>
                </a:cxn>
                <a:cxn ang="0">
                  <a:pos x="T8" y="T9"/>
                </a:cxn>
                <a:cxn ang="0">
                  <a:pos x="T10" y="T11"/>
                </a:cxn>
              </a:cxnLst>
              <a:rect l="0" t="0" r="r" b="b"/>
              <a:pathLst>
                <a:path w="19" h="22">
                  <a:moveTo>
                    <a:pt x="4" y="0"/>
                  </a:moveTo>
                  <a:lnTo>
                    <a:pt x="0" y="17"/>
                  </a:lnTo>
                  <a:lnTo>
                    <a:pt x="15" y="22"/>
                  </a:lnTo>
                  <a:lnTo>
                    <a:pt x="19" y="4"/>
                  </a:lnTo>
                  <a:lnTo>
                    <a:pt x="4" y="0"/>
                  </a:lnTo>
                  <a:lnTo>
                    <a:pt x="4" y="0"/>
                  </a:lnTo>
                  <a:close/>
                </a:path>
              </a:pathLst>
            </a:custGeom>
            <a:solidFill>
              <a:srgbClr val="34315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3" name="ïşḻíḋe">
              <a:extLst>
                <a:ext uri="{FF2B5EF4-FFF2-40B4-BE49-F238E27FC236}">
                  <a16:creationId xmlns:a16="http://schemas.microsoft.com/office/drawing/2014/main" id="{27C672BA-6299-4C33-ACAB-337AD0AD8568}"/>
                </a:ext>
              </a:extLst>
            </p:cNvPr>
            <p:cNvSpPr/>
            <p:nvPr/>
          </p:nvSpPr>
          <p:spPr bwMode="auto">
            <a:xfrm>
              <a:off x="7618413" y="2693988"/>
              <a:ext cx="30163" cy="34925"/>
            </a:xfrm>
            <a:custGeom>
              <a:avLst/>
              <a:gdLst>
                <a:gd name="T0" fmla="*/ 4 w 19"/>
                <a:gd name="T1" fmla="*/ 0 h 22"/>
                <a:gd name="T2" fmla="*/ 0 w 19"/>
                <a:gd name="T3" fmla="*/ 17 h 22"/>
                <a:gd name="T4" fmla="*/ 15 w 19"/>
                <a:gd name="T5" fmla="*/ 22 h 22"/>
                <a:gd name="T6" fmla="*/ 19 w 19"/>
                <a:gd name="T7" fmla="*/ 4 h 22"/>
                <a:gd name="T8" fmla="*/ 4 w 19"/>
                <a:gd name="T9" fmla="*/ 0 h 22"/>
                <a:gd name="T10" fmla="*/ 4 w 19"/>
                <a:gd name="T11" fmla="*/ 0 h 22"/>
              </a:gdLst>
              <a:ahLst/>
              <a:cxnLst>
                <a:cxn ang="0">
                  <a:pos x="T0" y="T1"/>
                </a:cxn>
                <a:cxn ang="0">
                  <a:pos x="T2" y="T3"/>
                </a:cxn>
                <a:cxn ang="0">
                  <a:pos x="T4" y="T5"/>
                </a:cxn>
                <a:cxn ang="0">
                  <a:pos x="T6" y="T7"/>
                </a:cxn>
                <a:cxn ang="0">
                  <a:pos x="T8" y="T9"/>
                </a:cxn>
                <a:cxn ang="0">
                  <a:pos x="T10" y="T11"/>
                </a:cxn>
              </a:cxnLst>
              <a:rect l="0" t="0" r="r" b="b"/>
              <a:pathLst>
                <a:path w="19" h="22">
                  <a:moveTo>
                    <a:pt x="4" y="0"/>
                  </a:moveTo>
                  <a:lnTo>
                    <a:pt x="0" y="17"/>
                  </a:lnTo>
                  <a:lnTo>
                    <a:pt x="15" y="22"/>
                  </a:lnTo>
                  <a:lnTo>
                    <a:pt x="19" y="4"/>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4" name="îṣļiḑè">
              <a:extLst>
                <a:ext uri="{FF2B5EF4-FFF2-40B4-BE49-F238E27FC236}">
                  <a16:creationId xmlns:a16="http://schemas.microsoft.com/office/drawing/2014/main" id="{F0CEFD31-293E-49AA-9DD6-F8B48054B6E7}"/>
                </a:ext>
              </a:extLst>
            </p:cNvPr>
            <p:cNvSpPr/>
            <p:nvPr/>
          </p:nvSpPr>
          <p:spPr bwMode="auto">
            <a:xfrm>
              <a:off x="7512051" y="2667000"/>
              <a:ext cx="85725" cy="47625"/>
            </a:xfrm>
            <a:custGeom>
              <a:avLst/>
              <a:gdLst>
                <a:gd name="T0" fmla="*/ 5 w 54"/>
                <a:gd name="T1" fmla="*/ 0 h 30"/>
                <a:gd name="T2" fmla="*/ 5 w 54"/>
                <a:gd name="T3" fmla="*/ 0 h 30"/>
                <a:gd name="T4" fmla="*/ 5 w 54"/>
                <a:gd name="T5" fmla="*/ 0 h 30"/>
                <a:gd name="T6" fmla="*/ 0 w 54"/>
                <a:gd name="T7" fmla="*/ 17 h 30"/>
                <a:gd name="T8" fmla="*/ 49 w 54"/>
                <a:gd name="T9" fmla="*/ 30 h 30"/>
                <a:gd name="T10" fmla="*/ 54 w 54"/>
                <a:gd name="T11" fmla="*/ 13 h 30"/>
                <a:gd name="T12" fmla="*/ 5 w 54"/>
                <a:gd name="T13" fmla="*/ 0 h 30"/>
                <a:gd name="T14" fmla="*/ 5 w 54"/>
                <a:gd name="T15" fmla="*/ 0 h 30"/>
                <a:gd name="T16" fmla="*/ 5 w 54"/>
                <a:gd name="T1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30">
                  <a:moveTo>
                    <a:pt x="5" y="0"/>
                  </a:moveTo>
                  <a:lnTo>
                    <a:pt x="5" y="0"/>
                  </a:lnTo>
                  <a:lnTo>
                    <a:pt x="5" y="0"/>
                  </a:lnTo>
                  <a:lnTo>
                    <a:pt x="0" y="17"/>
                  </a:lnTo>
                  <a:lnTo>
                    <a:pt x="49" y="30"/>
                  </a:lnTo>
                  <a:lnTo>
                    <a:pt x="54" y="13"/>
                  </a:lnTo>
                  <a:lnTo>
                    <a:pt x="5" y="0"/>
                  </a:lnTo>
                  <a:lnTo>
                    <a:pt x="5" y="0"/>
                  </a:lnTo>
                  <a:lnTo>
                    <a:pt x="5" y="0"/>
                  </a:lnTo>
                  <a:close/>
                </a:path>
              </a:pathLst>
            </a:custGeom>
            <a:solidFill>
              <a:srgbClr val="34315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5" name="ï$ľîďé">
              <a:extLst>
                <a:ext uri="{FF2B5EF4-FFF2-40B4-BE49-F238E27FC236}">
                  <a16:creationId xmlns:a16="http://schemas.microsoft.com/office/drawing/2014/main" id="{78540837-4427-4248-AB5D-615E5976268C}"/>
                </a:ext>
              </a:extLst>
            </p:cNvPr>
            <p:cNvSpPr/>
            <p:nvPr/>
          </p:nvSpPr>
          <p:spPr bwMode="auto">
            <a:xfrm>
              <a:off x="7512051" y="2667000"/>
              <a:ext cx="85725" cy="47625"/>
            </a:xfrm>
            <a:custGeom>
              <a:avLst/>
              <a:gdLst>
                <a:gd name="T0" fmla="*/ 5 w 54"/>
                <a:gd name="T1" fmla="*/ 0 h 30"/>
                <a:gd name="T2" fmla="*/ 5 w 54"/>
                <a:gd name="T3" fmla="*/ 0 h 30"/>
                <a:gd name="T4" fmla="*/ 5 w 54"/>
                <a:gd name="T5" fmla="*/ 0 h 30"/>
                <a:gd name="T6" fmla="*/ 0 w 54"/>
                <a:gd name="T7" fmla="*/ 17 h 30"/>
                <a:gd name="T8" fmla="*/ 49 w 54"/>
                <a:gd name="T9" fmla="*/ 30 h 30"/>
                <a:gd name="T10" fmla="*/ 54 w 54"/>
                <a:gd name="T11" fmla="*/ 13 h 30"/>
                <a:gd name="T12" fmla="*/ 5 w 54"/>
                <a:gd name="T13" fmla="*/ 0 h 30"/>
                <a:gd name="T14" fmla="*/ 5 w 54"/>
                <a:gd name="T15" fmla="*/ 0 h 30"/>
                <a:gd name="T16" fmla="*/ 5 w 54"/>
                <a:gd name="T1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30">
                  <a:moveTo>
                    <a:pt x="5" y="0"/>
                  </a:moveTo>
                  <a:lnTo>
                    <a:pt x="5" y="0"/>
                  </a:lnTo>
                  <a:lnTo>
                    <a:pt x="5" y="0"/>
                  </a:lnTo>
                  <a:lnTo>
                    <a:pt x="0" y="17"/>
                  </a:lnTo>
                  <a:lnTo>
                    <a:pt x="49" y="30"/>
                  </a:lnTo>
                  <a:lnTo>
                    <a:pt x="54" y="13"/>
                  </a:lnTo>
                  <a:lnTo>
                    <a:pt x="5" y="0"/>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6" name="íṧ1íḑé">
              <a:extLst>
                <a:ext uri="{FF2B5EF4-FFF2-40B4-BE49-F238E27FC236}">
                  <a16:creationId xmlns:a16="http://schemas.microsoft.com/office/drawing/2014/main" id="{25FA1BB3-3CB4-4306-8187-FE7D20911C83}"/>
                </a:ext>
              </a:extLst>
            </p:cNvPr>
            <p:cNvSpPr/>
            <p:nvPr/>
          </p:nvSpPr>
          <p:spPr bwMode="auto">
            <a:xfrm>
              <a:off x="7589838" y="2687638"/>
              <a:ext cx="34925" cy="33338"/>
            </a:xfrm>
            <a:custGeom>
              <a:avLst/>
              <a:gdLst>
                <a:gd name="T0" fmla="*/ 5 w 22"/>
                <a:gd name="T1" fmla="*/ 0 h 21"/>
                <a:gd name="T2" fmla="*/ 0 w 22"/>
                <a:gd name="T3" fmla="*/ 17 h 21"/>
                <a:gd name="T4" fmla="*/ 0 w 22"/>
                <a:gd name="T5" fmla="*/ 17 h 21"/>
                <a:gd name="T6" fmla="*/ 18 w 22"/>
                <a:gd name="T7" fmla="*/ 21 h 21"/>
                <a:gd name="T8" fmla="*/ 22 w 22"/>
                <a:gd name="T9" fmla="*/ 4 h 21"/>
                <a:gd name="T10" fmla="*/ 5 w 22"/>
                <a:gd name="T11" fmla="*/ 0 h 21"/>
                <a:gd name="T12" fmla="*/ 5 w 2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2" h="21">
                  <a:moveTo>
                    <a:pt x="5" y="0"/>
                  </a:moveTo>
                  <a:lnTo>
                    <a:pt x="0" y="17"/>
                  </a:lnTo>
                  <a:lnTo>
                    <a:pt x="0" y="17"/>
                  </a:lnTo>
                  <a:lnTo>
                    <a:pt x="18" y="21"/>
                  </a:lnTo>
                  <a:lnTo>
                    <a:pt x="22" y="4"/>
                  </a:lnTo>
                  <a:lnTo>
                    <a:pt x="5" y="0"/>
                  </a:lnTo>
                  <a:lnTo>
                    <a:pt x="5" y="0"/>
                  </a:lnTo>
                  <a:close/>
                </a:path>
              </a:pathLst>
            </a:custGeom>
            <a:solidFill>
              <a:srgbClr val="34315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7" name="ï$1íḍê">
              <a:extLst>
                <a:ext uri="{FF2B5EF4-FFF2-40B4-BE49-F238E27FC236}">
                  <a16:creationId xmlns:a16="http://schemas.microsoft.com/office/drawing/2014/main" id="{91705734-918F-45E5-8C38-C14871E39FA1}"/>
                </a:ext>
              </a:extLst>
            </p:cNvPr>
            <p:cNvSpPr/>
            <p:nvPr/>
          </p:nvSpPr>
          <p:spPr bwMode="auto">
            <a:xfrm>
              <a:off x="7589838" y="2687638"/>
              <a:ext cx="34925" cy="33338"/>
            </a:xfrm>
            <a:custGeom>
              <a:avLst/>
              <a:gdLst>
                <a:gd name="T0" fmla="*/ 5 w 22"/>
                <a:gd name="T1" fmla="*/ 0 h 21"/>
                <a:gd name="T2" fmla="*/ 0 w 22"/>
                <a:gd name="T3" fmla="*/ 17 h 21"/>
                <a:gd name="T4" fmla="*/ 0 w 22"/>
                <a:gd name="T5" fmla="*/ 17 h 21"/>
                <a:gd name="T6" fmla="*/ 18 w 22"/>
                <a:gd name="T7" fmla="*/ 21 h 21"/>
                <a:gd name="T8" fmla="*/ 22 w 22"/>
                <a:gd name="T9" fmla="*/ 4 h 21"/>
                <a:gd name="T10" fmla="*/ 5 w 22"/>
                <a:gd name="T11" fmla="*/ 0 h 21"/>
                <a:gd name="T12" fmla="*/ 5 w 2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2" h="21">
                  <a:moveTo>
                    <a:pt x="5" y="0"/>
                  </a:moveTo>
                  <a:lnTo>
                    <a:pt x="0" y="17"/>
                  </a:lnTo>
                  <a:lnTo>
                    <a:pt x="0" y="17"/>
                  </a:lnTo>
                  <a:lnTo>
                    <a:pt x="18" y="21"/>
                  </a:lnTo>
                  <a:lnTo>
                    <a:pt x="22" y="4"/>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8" name="íşļïḑê">
              <a:extLst>
                <a:ext uri="{FF2B5EF4-FFF2-40B4-BE49-F238E27FC236}">
                  <a16:creationId xmlns:a16="http://schemas.microsoft.com/office/drawing/2014/main" id="{3B31D802-0D3B-4D2F-8ACC-183764EB1A94}"/>
                </a:ext>
              </a:extLst>
            </p:cNvPr>
            <p:cNvSpPr/>
            <p:nvPr/>
          </p:nvSpPr>
          <p:spPr bwMode="auto">
            <a:xfrm>
              <a:off x="7478713" y="2649538"/>
              <a:ext cx="41275" cy="15875"/>
            </a:xfrm>
            <a:custGeom>
              <a:avLst/>
              <a:gdLst>
                <a:gd name="T0" fmla="*/ 28 w 28"/>
                <a:gd name="T1" fmla="*/ 10 h 11"/>
                <a:gd name="T2" fmla="*/ 25 w 28"/>
                <a:gd name="T3" fmla="*/ 11 h 11"/>
                <a:gd name="T4" fmla="*/ 25 w 28"/>
                <a:gd name="T5" fmla="*/ 11 h 11"/>
                <a:gd name="T6" fmla="*/ 28 w 28"/>
                <a:gd name="T7" fmla="*/ 10 h 11"/>
                <a:gd name="T8" fmla="*/ 28 w 28"/>
                <a:gd name="T9" fmla="*/ 10 h 11"/>
                <a:gd name="T10" fmla="*/ 1 w 28"/>
                <a:gd name="T11" fmla="*/ 0 h 11"/>
                <a:gd name="T12" fmla="*/ 0 w 28"/>
                <a:gd name="T13" fmla="*/ 1 h 11"/>
                <a:gd name="T14" fmla="*/ 0 w 28"/>
                <a:gd name="T15" fmla="*/ 0 h 11"/>
                <a:gd name="T16" fmla="*/ 1 w 28"/>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1">
                  <a:moveTo>
                    <a:pt x="28" y="10"/>
                  </a:moveTo>
                  <a:cubicBezTo>
                    <a:pt x="27" y="10"/>
                    <a:pt x="26" y="11"/>
                    <a:pt x="25" y="11"/>
                  </a:cubicBezTo>
                  <a:cubicBezTo>
                    <a:pt x="25" y="11"/>
                    <a:pt x="25" y="11"/>
                    <a:pt x="25" y="11"/>
                  </a:cubicBezTo>
                  <a:cubicBezTo>
                    <a:pt x="26" y="11"/>
                    <a:pt x="27" y="10"/>
                    <a:pt x="28" y="10"/>
                  </a:cubicBezTo>
                  <a:cubicBezTo>
                    <a:pt x="28" y="10"/>
                    <a:pt x="28" y="10"/>
                    <a:pt x="28" y="10"/>
                  </a:cubicBezTo>
                  <a:moveTo>
                    <a:pt x="1" y="0"/>
                  </a:moveTo>
                  <a:cubicBezTo>
                    <a:pt x="0" y="1"/>
                    <a:pt x="0" y="1"/>
                    <a:pt x="0" y="1"/>
                  </a:cubicBezTo>
                  <a:cubicBezTo>
                    <a:pt x="0" y="1"/>
                    <a:pt x="0" y="1"/>
                    <a:pt x="0" y="0"/>
                  </a:cubicBezTo>
                  <a:cubicBezTo>
                    <a:pt x="1" y="0"/>
                    <a:pt x="1" y="0"/>
                    <a:pt x="1" y="0"/>
                  </a:cubicBezTo>
                </a:path>
              </a:pathLst>
            </a:custGeom>
            <a:solidFill>
              <a:srgbClr val="4B62E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9" name="iṧļïde">
              <a:extLst>
                <a:ext uri="{FF2B5EF4-FFF2-40B4-BE49-F238E27FC236}">
                  <a16:creationId xmlns:a16="http://schemas.microsoft.com/office/drawing/2014/main" id="{A105A4BA-41BE-4898-B93A-7B5D745B4A5A}"/>
                </a:ext>
              </a:extLst>
            </p:cNvPr>
            <p:cNvSpPr/>
            <p:nvPr/>
          </p:nvSpPr>
          <p:spPr bwMode="auto">
            <a:xfrm>
              <a:off x="7472363" y="2617788"/>
              <a:ext cx="58738" cy="76200"/>
            </a:xfrm>
            <a:custGeom>
              <a:avLst/>
              <a:gdLst>
                <a:gd name="T0" fmla="*/ 40 w 40"/>
                <a:gd name="T1" fmla="*/ 0 h 52"/>
                <a:gd name="T2" fmla="*/ 26 w 40"/>
                <a:gd name="T3" fmla="*/ 5 h 52"/>
                <a:gd name="T4" fmla="*/ 21 w 40"/>
                <a:gd name="T5" fmla="*/ 6 h 52"/>
                <a:gd name="T6" fmla="*/ 13 w 40"/>
                <a:gd name="T7" fmla="*/ 11 h 52"/>
                <a:gd name="T8" fmla="*/ 6 w 40"/>
                <a:gd name="T9" fmla="*/ 20 h 52"/>
                <a:gd name="T10" fmla="*/ 5 w 40"/>
                <a:gd name="T11" fmla="*/ 21 h 52"/>
                <a:gd name="T12" fmla="*/ 3 w 40"/>
                <a:gd name="T13" fmla="*/ 26 h 52"/>
                <a:gd name="T14" fmla="*/ 4 w 40"/>
                <a:gd name="T15" fmla="*/ 21 h 52"/>
                <a:gd name="T16" fmla="*/ 4 w 40"/>
                <a:gd name="T17" fmla="*/ 22 h 52"/>
                <a:gd name="T18" fmla="*/ 3 w 40"/>
                <a:gd name="T19" fmla="*/ 46 h 52"/>
                <a:gd name="T20" fmla="*/ 27 w 40"/>
                <a:gd name="T21" fmla="*/ 52 h 52"/>
                <a:gd name="T22" fmla="*/ 27 w 40"/>
                <a:gd name="T23" fmla="*/ 52 h 52"/>
                <a:gd name="T24" fmla="*/ 32 w 40"/>
                <a:gd name="T25" fmla="*/ 33 h 52"/>
                <a:gd name="T26" fmla="*/ 32 w 40"/>
                <a:gd name="T27" fmla="*/ 33 h 52"/>
                <a:gd name="T28" fmla="*/ 32 w 40"/>
                <a:gd name="T29" fmla="*/ 33 h 52"/>
                <a:gd name="T30" fmla="*/ 29 w 40"/>
                <a:gd name="T31" fmla="*/ 33 h 52"/>
                <a:gd name="T32" fmla="*/ 29 w 40"/>
                <a:gd name="T33" fmla="*/ 33 h 52"/>
                <a:gd name="T34" fmla="*/ 29 w 40"/>
                <a:gd name="T35" fmla="*/ 33 h 52"/>
                <a:gd name="T36" fmla="*/ 29 w 40"/>
                <a:gd name="T37" fmla="*/ 33 h 52"/>
                <a:gd name="T38" fmla="*/ 29 w 40"/>
                <a:gd name="T39" fmla="*/ 32 h 52"/>
                <a:gd name="T40" fmla="*/ 29 w 40"/>
                <a:gd name="T41" fmla="*/ 32 h 52"/>
                <a:gd name="T42" fmla="*/ 32 w 40"/>
                <a:gd name="T43" fmla="*/ 31 h 52"/>
                <a:gd name="T44" fmla="*/ 32 w 40"/>
                <a:gd name="T45" fmla="*/ 31 h 52"/>
                <a:gd name="T46" fmla="*/ 32 w 40"/>
                <a:gd name="T47" fmla="*/ 31 h 52"/>
                <a:gd name="T48" fmla="*/ 32 w 40"/>
                <a:gd name="T49" fmla="*/ 31 h 52"/>
                <a:gd name="T50" fmla="*/ 35 w 40"/>
                <a:gd name="T51" fmla="*/ 20 h 52"/>
                <a:gd name="T52" fmla="*/ 40 w 40"/>
                <a:gd name="T5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 h="52">
                  <a:moveTo>
                    <a:pt x="40" y="0"/>
                  </a:moveTo>
                  <a:cubicBezTo>
                    <a:pt x="36" y="2"/>
                    <a:pt x="31" y="4"/>
                    <a:pt x="26" y="5"/>
                  </a:cubicBezTo>
                  <a:cubicBezTo>
                    <a:pt x="24" y="5"/>
                    <a:pt x="23" y="6"/>
                    <a:pt x="21" y="6"/>
                  </a:cubicBezTo>
                  <a:cubicBezTo>
                    <a:pt x="18" y="8"/>
                    <a:pt x="15" y="9"/>
                    <a:pt x="13" y="11"/>
                  </a:cubicBezTo>
                  <a:cubicBezTo>
                    <a:pt x="10" y="14"/>
                    <a:pt x="8" y="16"/>
                    <a:pt x="6" y="20"/>
                  </a:cubicBezTo>
                  <a:cubicBezTo>
                    <a:pt x="5" y="20"/>
                    <a:pt x="5" y="20"/>
                    <a:pt x="5" y="21"/>
                  </a:cubicBezTo>
                  <a:cubicBezTo>
                    <a:pt x="4" y="22"/>
                    <a:pt x="3" y="24"/>
                    <a:pt x="3" y="26"/>
                  </a:cubicBezTo>
                  <a:cubicBezTo>
                    <a:pt x="3" y="24"/>
                    <a:pt x="4" y="23"/>
                    <a:pt x="4" y="21"/>
                  </a:cubicBezTo>
                  <a:cubicBezTo>
                    <a:pt x="4" y="22"/>
                    <a:pt x="4" y="22"/>
                    <a:pt x="4" y="22"/>
                  </a:cubicBezTo>
                  <a:cubicBezTo>
                    <a:pt x="0" y="30"/>
                    <a:pt x="0" y="38"/>
                    <a:pt x="3" y="46"/>
                  </a:cubicBezTo>
                  <a:cubicBezTo>
                    <a:pt x="27" y="52"/>
                    <a:pt x="27" y="52"/>
                    <a:pt x="27" y="52"/>
                  </a:cubicBezTo>
                  <a:cubicBezTo>
                    <a:pt x="27" y="52"/>
                    <a:pt x="27" y="52"/>
                    <a:pt x="27" y="52"/>
                  </a:cubicBezTo>
                  <a:cubicBezTo>
                    <a:pt x="32" y="33"/>
                    <a:pt x="32" y="33"/>
                    <a:pt x="32" y="33"/>
                  </a:cubicBezTo>
                  <a:cubicBezTo>
                    <a:pt x="32" y="33"/>
                    <a:pt x="32" y="33"/>
                    <a:pt x="32" y="33"/>
                  </a:cubicBezTo>
                  <a:cubicBezTo>
                    <a:pt x="32" y="33"/>
                    <a:pt x="32" y="33"/>
                    <a:pt x="32" y="33"/>
                  </a:cubicBezTo>
                  <a:cubicBezTo>
                    <a:pt x="29" y="33"/>
                    <a:pt x="29" y="33"/>
                    <a:pt x="29" y="33"/>
                  </a:cubicBezTo>
                  <a:cubicBezTo>
                    <a:pt x="29" y="33"/>
                    <a:pt x="29" y="33"/>
                    <a:pt x="29" y="33"/>
                  </a:cubicBezTo>
                  <a:cubicBezTo>
                    <a:pt x="29" y="33"/>
                    <a:pt x="29" y="33"/>
                    <a:pt x="29" y="33"/>
                  </a:cubicBezTo>
                  <a:cubicBezTo>
                    <a:pt x="29" y="33"/>
                    <a:pt x="29" y="33"/>
                    <a:pt x="29" y="33"/>
                  </a:cubicBezTo>
                  <a:cubicBezTo>
                    <a:pt x="29" y="33"/>
                    <a:pt x="29" y="33"/>
                    <a:pt x="29" y="32"/>
                  </a:cubicBezTo>
                  <a:cubicBezTo>
                    <a:pt x="29" y="32"/>
                    <a:pt x="29" y="32"/>
                    <a:pt x="29" y="32"/>
                  </a:cubicBezTo>
                  <a:cubicBezTo>
                    <a:pt x="30" y="32"/>
                    <a:pt x="31" y="31"/>
                    <a:pt x="32" y="31"/>
                  </a:cubicBezTo>
                  <a:cubicBezTo>
                    <a:pt x="32" y="31"/>
                    <a:pt x="32" y="31"/>
                    <a:pt x="32" y="31"/>
                  </a:cubicBezTo>
                  <a:cubicBezTo>
                    <a:pt x="32" y="31"/>
                    <a:pt x="32" y="31"/>
                    <a:pt x="32" y="31"/>
                  </a:cubicBezTo>
                  <a:cubicBezTo>
                    <a:pt x="32" y="31"/>
                    <a:pt x="32" y="31"/>
                    <a:pt x="32" y="31"/>
                  </a:cubicBezTo>
                  <a:cubicBezTo>
                    <a:pt x="35" y="20"/>
                    <a:pt x="35" y="20"/>
                    <a:pt x="35" y="20"/>
                  </a:cubicBezTo>
                  <a:cubicBezTo>
                    <a:pt x="40" y="0"/>
                    <a:pt x="40" y="0"/>
                    <a:pt x="40" y="0"/>
                  </a:cubicBezTo>
                </a:path>
              </a:pathLst>
            </a:custGeom>
            <a:solidFill>
              <a:srgbClr val="4B62E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0" name="ïşlïdé">
              <a:extLst>
                <a:ext uri="{FF2B5EF4-FFF2-40B4-BE49-F238E27FC236}">
                  <a16:creationId xmlns:a16="http://schemas.microsoft.com/office/drawing/2014/main" id="{E0648CCD-0928-4905-85E9-0089B7DBBB4F}"/>
                </a:ext>
              </a:extLst>
            </p:cNvPr>
            <p:cNvSpPr/>
            <p:nvPr/>
          </p:nvSpPr>
          <p:spPr bwMode="auto">
            <a:xfrm>
              <a:off x="7604126" y="2722563"/>
              <a:ext cx="38100" cy="63500"/>
            </a:xfrm>
            <a:custGeom>
              <a:avLst/>
              <a:gdLst>
                <a:gd name="T0" fmla="*/ 10 w 26"/>
                <a:gd name="T1" fmla="*/ 0 h 43"/>
                <a:gd name="T2" fmla="*/ 0 w 26"/>
                <a:gd name="T3" fmla="*/ 41 h 43"/>
                <a:gd name="T4" fmla="*/ 7 w 26"/>
                <a:gd name="T5" fmla="*/ 43 h 43"/>
                <a:gd name="T6" fmla="*/ 9 w 26"/>
                <a:gd name="T7" fmla="*/ 43 h 43"/>
                <a:gd name="T8" fmla="*/ 18 w 26"/>
                <a:gd name="T9" fmla="*/ 36 h 43"/>
                <a:gd name="T10" fmla="*/ 18 w 26"/>
                <a:gd name="T11" fmla="*/ 36 h 43"/>
                <a:gd name="T12" fmla="*/ 26 w 26"/>
                <a:gd name="T13" fmla="*/ 4 h 43"/>
                <a:gd name="T14" fmla="*/ 10 w 26"/>
                <a:gd name="T15" fmla="*/ 0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43">
                  <a:moveTo>
                    <a:pt x="10" y="0"/>
                  </a:moveTo>
                  <a:cubicBezTo>
                    <a:pt x="0" y="41"/>
                    <a:pt x="0" y="41"/>
                    <a:pt x="0" y="41"/>
                  </a:cubicBezTo>
                  <a:cubicBezTo>
                    <a:pt x="7" y="43"/>
                    <a:pt x="7" y="43"/>
                    <a:pt x="7" y="43"/>
                  </a:cubicBezTo>
                  <a:cubicBezTo>
                    <a:pt x="8" y="43"/>
                    <a:pt x="9" y="43"/>
                    <a:pt x="9" y="43"/>
                  </a:cubicBezTo>
                  <a:cubicBezTo>
                    <a:pt x="13" y="43"/>
                    <a:pt x="17" y="40"/>
                    <a:pt x="18" y="36"/>
                  </a:cubicBezTo>
                  <a:cubicBezTo>
                    <a:pt x="18" y="36"/>
                    <a:pt x="18" y="36"/>
                    <a:pt x="18" y="36"/>
                  </a:cubicBezTo>
                  <a:cubicBezTo>
                    <a:pt x="26" y="4"/>
                    <a:pt x="26" y="4"/>
                    <a:pt x="26" y="4"/>
                  </a:cubicBezTo>
                  <a:cubicBezTo>
                    <a:pt x="10" y="0"/>
                    <a:pt x="10" y="0"/>
                    <a:pt x="10" y="0"/>
                  </a:cubicBezTo>
                </a:path>
              </a:pathLst>
            </a:custGeom>
            <a:solidFill>
              <a:srgbClr val="34315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1" name="iṩľïḓé">
              <a:extLst>
                <a:ext uri="{FF2B5EF4-FFF2-40B4-BE49-F238E27FC236}">
                  <a16:creationId xmlns:a16="http://schemas.microsoft.com/office/drawing/2014/main" id="{65D66D38-D159-4E4B-BAEB-1631D6A89D70}"/>
                </a:ext>
              </a:extLst>
            </p:cNvPr>
            <p:cNvSpPr/>
            <p:nvPr/>
          </p:nvSpPr>
          <p:spPr bwMode="auto">
            <a:xfrm>
              <a:off x="7215188" y="2693988"/>
              <a:ext cx="388938" cy="1195388"/>
            </a:xfrm>
            <a:custGeom>
              <a:avLst/>
              <a:gdLst>
                <a:gd name="T0" fmla="*/ 124 w 264"/>
                <a:gd name="T1" fmla="*/ 306 h 813"/>
                <a:gd name="T2" fmla="*/ 38 w 264"/>
                <a:gd name="T3" fmla="*/ 642 h 813"/>
                <a:gd name="T4" fmla="*/ 50 w 264"/>
                <a:gd name="T5" fmla="*/ 691 h 813"/>
                <a:gd name="T6" fmla="*/ 4 w 264"/>
                <a:gd name="T7" fmla="*/ 779 h 813"/>
                <a:gd name="T8" fmla="*/ 0 w 264"/>
                <a:gd name="T9" fmla="*/ 794 h 813"/>
                <a:gd name="T10" fmla="*/ 72 w 264"/>
                <a:gd name="T11" fmla="*/ 813 h 813"/>
                <a:gd name="T12" fmla="*/ 193 w 264"/>
                <a:gd name="T13" fmla="*/ 339 h 813"/>
                <a:gd name="T14" fmla="*/ 150 w 264"/>
                <a:gd name="T15" fmla="*/ 325 h 813"/>
                <a:gd name="T16" fmla="*/ 124 w 264"/>
                <a:gd name="T17" fmla="*/ 306 h 813"/>
                <a:gd name="T18" fmla="*/ 202 w 264"/>
                <a:gd name="T19" fmla="*/ 0 h 813"/>
                <a:gd name="T20" fmla="*/ 202 w 264"/>
                <a:gd name="T21" fmla="*/ 0 h 813"/>
                <a:gd name="T22" fmla="*/ 132 w 264"/>
                <a:gd name="T23" fmla="*/ 273 h 813"/>
                <a:gd name="T24" fmla="*/ 193 w 264"/>
                <a:gd name="T25" fmla="*/ 227 h 813"/>
                <a:gd name="T26" fmla="*/ 223 w 264"/>
                <a:gd name="T27" fmla="*/ 219 h 813"/>
                <a:gd name="T28" fmla="*/ 223 w 264"/>
                <a:gd name="T29" fmla="*/ 219 h 813"/>
                <a:gd name="T30" fmla="*/ 264 w 264"/>
                <a:gd name="T31" fmla="*/ 60 h 813"/>
                <a:gd name="T32" fmla="*/ 254 w 264"/>
                <a:gd name="T33" fmla="*/ 57 h 813"/>
                <a:gd name="T34" fmla="*/ 247 w 264"/>
                <a:gd name="T35" fmla="*/ 48 h 813"/>
                <a:gd name="T36" fmla="*/ 247 w 264"/>
                <a:gd name="T37" fmla="*/ 46 h 813"/>
                <a:gd name="T38" fmla="*/ 255 w 264"/>
                <a:gd name="T39" fmla="*/ 14 h 813"/>
                <a:gd name="T40" fmla="*/ 202 w 264"/>
                <a:gd name="T41" fmla="*/ 0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4" h="813">
                  <a:moveTo>
                    <a:pt x="124" y="306"/>
                  </a:moveTo>
                  <a:cubicBezTo>
                    <a:pt x="38" y="642"/>
                    <a:pt x="38" y="642"/>
                    <a:pt x="38" y="642"/>
                  </a:cubicBezTo>
                  <a:cubicBezTo>
                    <a:pt x="46" y="658"/>
                    <a:pt x="50" y="674"/>
                    <a:pt x="50" y="691"/>
                  </a:cubicBezTo>
                  <a:cubicBezTo>
                    <a:pt x="50" y="725"/>
                    <a:pt x="34" y="759"/>
                    <a:pt x="4" y="779"/>
                  </a:cubicBezTo>
                  <a:cubicBezTo>
                    <a:pt x="0" y="794"/>
                    <a:pt x="0" y="794"/>
                    <a:pt x="0" y="794"/>
                  </a:cubicBezTo>
                  <a:cubicBezTo>
                    <a:pt x="72" y="813"/>
                    <a:pt x="72" y="813"/>
                    <a:pt x="72" y="813"/>
                  </a:cubicBezTo>
                  <a:cubicBezTo>
                    <a:pt x="193" y="339"/>
                    <a:pt x="193" y="339"/>
                    <a:pt x="193" y="339"/>
                  </a:cubicBezTo>
                  <a:cubicBezTo>
                    <a:pt x="178" y="335"/>
                    <a:pt x="163" y="331"/>
                    <a:pt x="150" y="325"/>
                  </a:cubicBezTo>
                  <a:cubicBezTo>
                    <a:pt x="136" y="319"/>
                    <a:pt x="128" y="313"/>
                    <a:pt x="124" y="306"/>
                  </a:cubicBezTo>
                  <a:moveTo>
                    <a:pt x="202" y="0"/>
                  </a:moveTo>
                  <a:cubicBezTo>
                    <a:pt x="202" y="0"/>
                    <a:pt x="202" y="0"/>
                    <a:pt x="202" y="0"/>
                  </a:cubicBezTo>
                  <a:cubicBezTo>
                    <a:pt x="132" y="273"/>
                    <a:pt x="132" y="273"/>
                    <a:pt x="132" y="273"/>
                  </a:cubicBezTo>
                  <a:cubicBezTo>
                    <a:pt x="147" y="257"/>
                    <a:pt x="173" y="240"/>
                    <a:pt x="193" y="227"/>
                  </a:cubicBezTo>
                  <a:cubicBezTo>
                    <a:pt x="202" y="221"/>
                    <a:pt x="212" y="219"/>
                    <a:pt x="223" y="219"/>
                  </a:cubicBezTo>
                  <a:cubicBezTo>
                    <a:pt x="223" y="219"/>
                    <a:pt x="223" y="219"/>
                    <a:pt x="223" y="219"/>
                  </a:cubicBezTo>
                  <a:cubicBezTo>
                    <a:pt x="264" y="60"/>
                    <a:pt x="264" y="60"/>
                    <a:pt x="264" y="60"/>
                  </a:cubicBezTo>
                  <a:cubicBezTo>
                    <a:pt x="254" y="57"/>
                    <a:pt x="254" y="57"/>
                    <a:pt x="254" y="57"/>
                  </a:cubicBezTo>
                  <a:cubicBezTo>
                    <a:pt x="250" y="56"/>
                    <a:pt x="247" y="52"/>
                    <a:pt x="247" y="48"/>
                  </a:cubicBezTo>
                  <a:cubicBezTo>
                    <a:pt x="247" y="48"/>
                    <a:pt x="247" y="47"/>
                    <a:pt x="247" y="46"/>
                  </a:cubicBezTo>
                  <a:cubicBezTo>
                    <a:pt x="255" y="14"/>
                    <a:pt x="255" y="14"/>
                    <a:pt x="255" y="14"/>
                  </a:cubicBezTo>
                  <a:cubicBezTo>
                    <a:pt x="202" y="0"/>
                    <a:pt x="202" y="0"/>
                    <a:pt x="202" y="0"/>
                  </a:cubicBezTo>
                </a:path>
              </a:pathLst>
            </a:custGeom>
            <a:solidFill>
              <a:srgbClr val="34315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2" name="ïṥľíḍe">
              <a:extLst>
                <a:ext uri="{FF2B5EF4-FFF2-40B4-BE49-F238E27FC236}">
                  <a16:creationId xmlns:a16="http://schemas.microsoft.com/office/drawing/2014/main" id="{84CE94DF-6606-48CB-98A6-10C41A435734}"/>
                </a:ext>
              </a:extLst>
            </p:cNvPr>
            <p:cNvSpPr/>
            <p:nvPr/>
          </p:nvSpPr>
          <p:spPr bwMode="auto">
            <a:xfrm>
              <a:off x="7578726" y="2714625"/>
              <a:ext cx="39688" cy="68263"/>
            </a:xfrm>
            <a:custGeom>
              <a:avLst/>
              <a:gdLst>
                <a:gd name="T0" fmla="*/ 8 w 27"/>
                <a:gd name="T1" fmla="*/ 0 h 46"/>
                <a:gd name="T2" fmla="*/ 8 w 27"/>
                <a:gd name="T3" fmla="*/ 0 h 46"/>
                <a:gd name="T4" fmla="*/ 0 w 27"/>
                <a:gd name="T5" fmla="*/ 32 h 46"/>
                <a:gd name="T6" fmla="*/ 0 w 27"/>
                <a:gd name="T7" fmla="*/ 34 h 46"/>
                <a:gd name="T8" fmla="*/ 7 w 27"/>
                <a:gd name="T9" fmla="*/ 43 h 46"/>
                <a:gd name="T10" fmla="*/ 17 w 27"/>
                <a:gd name="T11" fmla="*/ 46 h 46"/>
                <a:gd name="T12" fmla="*/ 27 w 27"/>
                <a:gd name="T13" fmla="*/ 5 h 46"/>
                <a:gd name="T14" fmla="*/ 8 w 27"/>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46">
                  <a:moveTo>
                    <a:pt x="8" y="0"/>
                  </a:moveTo>
                  <a:cubicBezTo>
                    <a:pt x="8" y="0"/>
                    <a:pt x="8" y="0"/>
                    <a:pt x="8" y="0"/>
                  </a:cubicBezTo>
                  <a:cubicBezTo>
                    <a:pt x="0" y="32"/>
                    <a:pt x="0" y="32"/>
                    <a:pt x="0" y="32"/>
                  </a:cubicBezTo>
                  <a:cubicBezTo>
                    <a:pt x="0" y="33"/>
                    <a:pt x="0" y="34"/>
                    <a:pt x="0" y="34"/>
                  </a:cubicBezTo>
                  <a:cubicBezTo>
                    <a:pt x="0" y="38"/>
                    <a:pt x="3" y="42"/>
                    <a:pt x="7" y="43"/>
                  </a:cubicBezTo>
                  <a:cubicBezTo>
                    <a:pt x="17" y="46"/>
                    <a:pt x="17" y="46"/>
                    <a:pt x="17" y="46"/>
                  </a:cubicBezTo>
                  <a:cubicBezTo>
                    <a:pt x="27" y="5"/>
                    <a:pt x="27" y="5"/>
                    <a:pt x="27" y="5"/>
                  </a:cubicBezTo>
                  <a:cubicBezTo>
                    <a:pt x="8" y="0"/>
                    <a:pt x="8" y="0"/>
                    <a:pt x="8" y="0"/>
                  </a:cubicBezTo>
                </a:path>
              </a:pathLst>
            </a:custGeom>
            <a:solidFill>
              <a:srgbClr val="34315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3" name="i$lîḓé">
              <a:extLst>
                <a:ext uri="{FF2B5EF4-FFF2-40B4-BE49-F238E27FC236}">
                  <a16:creationId xmlns:a16="http://schemas.microsoft.com/office/drawing/2014/main" id="{1A2F15EB-1C7B-4F74-9274-FAC3BB16661B}"/>
                </a:ext>
              </a:extLst>
            </p:cNvPr>
            <p:cNvSpPr/>
            <p:nvPr/>
          </p:nvSpPr>
          <p:spPr bwMode="auto">
            <a:xfrm>
              <a:off x="6500813" y="2379663"/>
              <a:ext cx="1073150" cy="1417638"/>
            </a:xfrm>
            <a:custGeom>
              <a:avLst/>
              <a:gdLst>
                <a:gd name="T0" fmla="*/ 624 w 730"/>
                <a:gd name="T1" fmla="*/ 0 h 965"/>
                <a:gd name="T2" fmla="*/ 532 w 730"/>
                <a:gd name="T3" fmla="*/ 59 h 965"/>
                <a:gd name="T4" fmla="*/ 546 w 730"/>
                <a:gd name="T5" fmla="*/ 121 h 965"/>
                <a:gd name="T6" fmla="*/ 564 w 730"/>
                <a:gd name="T7" fmla="*/ 140 h 965"/>
                <a:gd name="T8" fmla="*/ 564 w 730"/>
                <a:gd name="T9" fmla="*/ 141 h 965"/>
                <a:gd name="T10" fmla="*/ 561 w 730"/>
                <a:gd name="T11" fmla="*/ 182 h 965"/>
                <a:gd name="T12" fmla="*/ 561 w 730"/>
                <a:gd name="T13" fmla="*/ 182 h 965"/>
                <a:gd name="T14" fmla="*/ 561 w 730"/>
                <a:gd name="T15" fmla="*/ 182 h 965"/>
                <a:gd name="T16" fmla="*/ 202 w 730"/>
                <a:gd name="T17" fmla="*/ 90 h 965"/>
                <a:gd name="T18" fmla="*/ 121 w 730"/>
                <a:gd name="T19" fmla="*/ 408 h 965"/>
                <a:gd name="T20" fmla="*/ 190 w 730"/>
                <a:gd name="T21" fmla="*/ 384 h 965"/>
                <a:gd name="T22" fmla="*/ 216 w 730"/>
                <a:gd name="T23" fmla="*/ 387 h 965"/>
                <a:gd name="T24" fmla="*/ 300 w 730"/>
                <a:gd name="T25" fmla="*/ 500 h 965"/>
                <a:gd name="T26" fmla="*/ 296 w 730"/>
                <a:gd name="T27" fmla="*/ 533 h 965"/>
                <a:gd name="T28" fmla="*/ 182 w 730"/>
                <a:gd name="T29" fmla="*/ 626 h 965"/>
                <a:gd name="T30" fmla="*/ 157 w 730"/>
                <a:gd name="T31" fmla="*/ 623 h 965"/>
                <a:gd name="T32" fmla="*/ 83 w 730"/>
                <a:gd name="T33" fmla="*/ 558 h 965"/>
                <a:gd name="T34" fmla="*/ 0 w 730"/>
                <a:gd name="T35" fmla="*/ 885 h 965"/>
                <a:gd name="T36" fmla="*/ 318 w 730"/>
                <a:gd name="T37" fmla="*/ 965 h 965"/>
                <a:gd name="T38" fmla="*/ 317 w 730"/>
                <a:gd name="T39" fmla="*/ 965 h 965"/>
                <a:gd name="T40" fmla="*/ 306 w 730"/>
                <a:gd name="T41" fmla="*/ 946 h 965"/>
                <a:gd name="T42" fmla="*/ 294 w 730"/>
                <a:gd name="T43" fmla="*/ 898 h 965"/>
                <a:gd name="T44" fmla="*/ 297 w 730"/>
                <a:gd name="T45" fmla="*/ 872 h 965"/>
                <a:gd name="T46" fmla="*/ 411 w 730"/>
                <a:gd name="T47" fmla="*/ 788 h 965"/>
                <a:gd name="T48" fmla="*/ 443 w 730"/>
                <a:gd name="T49" fmla="*/ 792 h 965"/>
                <a:gd name="T50" fmla="*/ 524 w 730"/>
                <a:gd name="T51" fmla="*/ 856 h 965"/>
                <a:gd name="T52" fmla="*/ 524 w 730"/>
                <a:gd name="T53" fmla="*/ 856 h 965"/>
                <a:gd name="T54" fmla="*/ 610 w 730"/>
                <a:gd name="T55" fmla="*/ 520 h 965"/>
                <a:gd name="T56" fmla="*/ 618 w 730"/>
                <a:gd name="T57" fmla="*/ 487 h 965"/>
                <a:gd name="T58" fmla="*/ 688 w 730"/>
                <a:gd name="T59" fmla="*/ 214 h 965"/>
                <a:gd name="T60" fmla="*/ 664 w 730"/>
                <a:gd name="T61" fmla="*/ 208 h 965"/>
                <a:gd name="T62" fmla="*/ 665 w 730"/>
                <a:gd name="T63" fmla="*/ 184 h 965"/>
                <a:gd name="T64" fmla="*/ 666 w 730"/>
                <a:gd name="T65" fmla="*/ 183 h 965"/>
                <a:gd name="T66" fmla="*/ 666 w 730"/>
                <a:gd name="T67" fmla="*/ 182 h 965"/>
                <a:gd name="T68" fmla="*/ 674 w 730"/>
                <a:gd name="T69" fmla="*/ 173 h 965"/>
                <a:gd name="T70" fmla="*/ 666 w 730"/>
                <a:gd name="T71" fmla="*/ 182 h 965"/>
                <a:gd name="T72" fmla="*/ 666 w 730"/>
                <a:gd name="T73" fmla="*/ 182 h 965"/>
                <a:gd name="T74" fmla="*/ 667 w 730"/>
                <a:gd name="T75" fmla="*/ 182 h 965"/>
                <a:gd name="T76" fmla="*/ 674 w 730"/>
                <a:gd name="T77" fmla="*/ 173 h 965"/>
                <a:gd name="T78" fmla="*/ 682 w 730"/>
                <a:gd name="T79" fmla="*/ 168 h 965"/>
                <a:gd name="T80" fmla="*/ 687 w 730"/>
                <a:gd name="T81" fmla="*/ 167 h 965"/>
                <a:gd name="T82" fmla="*/ 692 w 730"/>
                <a:gd name="T83" fmla="*/ 165 h 965"/>
                <a:gd name="T84" fmla="*/ 686 w 730"/>
                <a:gd name="T85" fmla="*/ 167 h 965"/>
                <a:gd name="T86" fmla="*/ 681 w 730"/>
                <a:gd name="T87" fmla="*/ 169 h 965"/>
                <a:gd name="T88" fmla="*/ 686 w 730"/>
                <a:gd name="T89" fmla="*/ 167 h 965"/>
                <a:gd name="T90" fmla="*/ 701 w 730"/>
                <a:gd name="T91" fmla="*/ 161 h 965"/>
                <a:gd name="T92" fmla="*/ 701 w 730"/>
                <a:gd name="T93" fmla="*/ 161 h 965"/>
                <a:gd name="T94" fmla="*/ 701 w 730"/>
                <a:gd name="T95" fmla="*/ 161 h 965"/>
                <a:gd name="T96" fmla="*/ 730 w 730"/>
                <a:gd name="T97" fmla="*/ 50 h 965"/>
                <a:gd name="T98" fmla="*/ 730 w 730"/>
                <a:gd name="T99" fmla="*/ 50 h 965"/>
                <a:gd name="T100" fmla="*/ 730 w 730"/>
                <a:gd name="T101" fmla="*/ 50 h 965"/>
                <a:gd name="T102" fmla="*/ 659 w 730"/>
                <a:gd name="T103" fmla="*/ 5 h 965"/>
                <a:gd name="T104" fmla="*/ 624 w 730"/>
                <a:gd name="T105" fmla="*/ 0 h 9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30" h="965">
                  <a:moveTo>
                    <a:pt x="624" y="0"/>
                  </a:moveTo>
                  <a:cubicBezTo>
                    <a:pt x="579" y="0"/>
                    <a:pt x="541" y="23"/>
                    <a:pt x="532" y="59"/>
                  </a:cubicBezTo>
                  <a:cubicBezTo>
                    <a:pt x="527" y="80"/>
                    <a:pt x="532" y="102"/>
                    <a:pt x="546" y="121"/>
                  </a:cubicBezTo>
                  <a:cubicBezTo>
                    <a:pt x="551" y="128"/>
                    <a:pt x="557" y="135"/>
                    <a:pt x="564" y="140"/>
                  </a:cubicBezTo>
                  <a:cubicBezTo>
                    <a:pt x="564" y="141"/>
                    <a:pt x="564" y="141"/>
                    <a:pt x="564" y="141"/>
                  </a:cubicBezTo>
                  <a:cubicBezTo>
                    <a:pt x="572" y="154"/>
                    <a:pt x="571" y="170"/>
                    <a:pt x="561" y="182"/>
                  </a:cubicBezTo>
                  <a:cubicBezTo>
                    <a:pt x="561" y="182"/>
                    <a:pt x="561" y="182"/>
                    <a:pt x="561" y="182"/>
                  </a:cubicBezTo>
                  <a:cubicBezTo>
                    <a:pt x="561" y="182"/>
                    <a:pt x="561" y="182"/>
                    <a:pt x="561" y="182"/>
                  </a:cubicBezTo>
                  <a:cubicBezTo>
                    <a:pt x="202" y="90"/>
                    <a:pt x="202" y="90"/>
                    <a:pt x="202" y="90"/>
                  </a:cubicBezTo>
                  <a:cubicBezTo>
                    <a:pt x="121" y="408"/>
                    <a:pt x="121" y="408"/>
                    <a:pt x="121" y="408"/>
                  </a:cubicBezTo>
                  <a:cubicBezTo>
                    <a:pt x="141" y="392"/>
                    <a:pt x="166" y="384"/>
                    <a:pt x="190" y="384"/>
                  </a:cubicBezTo>
                  <a:cubicBezTo>
                    <a:pt x="199" y="384"/>
                    <a:pt x="208" y="385"/>
                    <a:pt x="216" y="387"/>
                  </a:cubicBezTo>
                  <a:cubicBezTo>
                    <a:pt x="267" y="400"/>
                    <a:pt x="300" y="447"/>
                    <a:pt x="300" y="500"/>
                  </a:cubicBezTo>
                  <a:cubicBezTo>
                    <a:pt x="300" y="511"/>
                    <a:pt x="299" y="522"/>
                    <a:pt x="296" y="533"/>
                  </a:cubicBezTo>
                  <a:cubicBezTo>
                    <a:pt x="282" y="588"/>
                    <a:pt x="234" y="626"/>
                    <a:pt x="182" y="626"/>
                  </a:cubicBezTo>
                  <a:cubicBezTo>
                    <a:pt x="174" y="626"/>
                    <a:pt x="165" y="625"/>
                    <a:pt x="157" y="623"/>
                  </a:cubicBezTo>
                  <a:cubicBezTo>
                    <a:pt x="123" y="614"/>
                    <a:pt x="96" y="590"/>
                    <a:pt x="83" y="558"/>
                  </a:cubicBezTo>
                  <a:cubicBezTo>
                    <a:pt x="0" y="885"/>
                    <a:pt x="0" y="885"/>
                    <a:pt x="0" y="885"/>
                  </a:cubicBezTo>
                  <a:cubicBezTo>
                    <a:pt x="318" y="965"/>
                    <a:pt x="318" y="965"/>
                    <a:pt x="318" y="965"/>
                  </a:cubicBezTo>
                  <a:cubicBezTo>
                    <a:pt x="318" y="965"/>
                    <a:pt x="318" y="965"/>
                    <a:pt x="317" y="965"/>
                  </a:cubicBezTo>
                  <a:cubicBezTo>
                    <a:pt x="313" y="959"/>
                    <a:pt x="309" y="953"/>
                    <a:pt x="306" y="946"/>
                  </a:cubicBezTo>
                  <a:cubicBezTo>
                    <a:pt x="298" y="931"/>
                    <a:pt x="294" y="914"/>
                    <a:pt x="294" y="898"/>
                  </a:cubicBezTo>
                  <a:cubicBezTo>
                    <a:pt x="294" y="889"/>
                    <a:pt x="295" y="880"/>
                    <a:pt x="297" y="872"/>
                  </a:cubicBezTo>
                  <a:cubicBezTo>
                    <a:pt x="310" y="821"/>
                    <a:pt x="358" y="788"/>
                    <a:pt x="411" y="788"/>
                  </a:cubicBezTo>
                  <a:cubicBezTo>
                    <a:pt x="421" y="788"/>
                    <a:pt x="432" y="789"/>
                    <a:pt x="443" y="792"/>
                  </a:cubicBezTo>
                  <a:cubicBezTo>
                    <a:pt x="478" y="801"/>
                    <a:pt x="508" y="824"/>
                    <a:pt x="524" y="856"/>
                  </a:cubicBezTo>
                  <a:cubicBezTo>
                    <a:pt x="524" y="856"/>
                    <a:pt x="524" y="856"/>
                    <a:pt x="524" y="856"/>
                  </a:cubicBezTo>
                  <a:cubicBezTo>
                    <a:pt x="610" y="520"/>
                    <a:pt x="610" y="520"/>
                    <a:pt x="610" y="520"/>
                  </a:cubicBezTo>
                  <a:cubicBezTo>
                    <a:pt x="603" y="510"/>
                    <a:pt x="608" y="498"/>
                    <a:pt x="618" y="487"/>
                  </a:cubicBezTo>
                  <a:cubicBezTo>
                    <a:pt x="688" y="214"/>
                    <a:pt x="688" y="214"/>
                    <a:pt x="688" y="214"/>
                  </a:cubicBezTo>
                  <a:cubicBezTo>
                    <a:pt x="664" y="208"/>
                    <a:pt x="664" y="208"/>
                    <a:pt x="664" y="208"/>
                  </a:cubicBezTo>
                  <a:cubicBezTo>
                    <a:pt x="661" y="200"/>
                    <a:pt x="661" y="192"/>
                    <a:pt x="665" y="184"/>
                  </a:cubicBezTo>
                  <a:cubicBezTo>
                    <a:pt x="665" y="184"/>
                    <a:pt x="665" y="184"/>
                    <a:pt x="666" y="183"/>
                  </a:cubicBezTo>
                  <a:cubicBezTo>
                    <a:pt x="666" y="183"/>
                    <a:pt x="666" y="182"/>
                    <a:pt x="666" y="182"/>
                  </a:cubicBezTo>
                  <a:cubicBezTo>
                    <a:pt x="669" y="178"/>
                    <a:pt x="671" y="175"/>
                    <a:pt x="674" y="173"/>
                  </a:cubicBezTo>
                  <a:cubicBezTo>
                    <a:pt x="671" y="175"/>
                    <a:pt x="669" y="178"/>
                    <a:pt x="666" y="182"/>
                  </a:cubicBezTo>
                  <a:cubicBezTo>
                    <a:pt x="666" y="182"/>
                    <a:pt x="666" y="182"/>
                    <a:pt x="666" y="182"/>
                  </a:cubicBezTo>
                  <a:cubicBezTo>
                    <a:pt x="666" y="182"/>
                    <a:pt x="666" y="182"/>
                    <a:pt x="667" y="182"/>
                  </a:cubicBezTo>
                  <a:cubicBezTo>
                    <a:pt x="668" y="178"/>
                    <a:pt x="671" y="176"/>
                    <a:pt x="674" y="173"/>
                  </a:cubicBezTo>
                  <a:cubicBezTo>
                    <a:pt x="676" y="171"/>
                    <a:pt x="679" y="170"/>
                    <a:pt x="682" y="168"/>
                  </a:cubicBezTo>
                  <a:cubicBezTo>
                    <a:pt x="684" y="168"/>
                    <a:pt x="685" y="167"/>
                    <a:pt x="687" y="167"/>
                  </a:cubicBezTo>
                  <a:cubicBezTo>
                    <a:pt x="689" y="166"/>
                    <a:pt x="690" y="166"/>
                    <a:pt x="692" y="165"/>
                  </a:cubicBezTo>
                  <a:cubicBezTo>
                    <a:pt x="690" y="166"/>
                    <a:pt x="688" y="166"/>
                    <a:pt x="686" y="167"/>
                  </a:cubicBezTo>
                  <a:cubicBezTo>
                    <a:pt x="685" y="167"/>
                    <a:pt x="683" y="168"/>
                    <a:pt x="681" y="169"/>
                  </a:cubicBezTo>
                  <a:cubicBezTo>
                    <a:pt x="683" y="168"/>
                    <a:pt x="685" y="167"/>
                    <a:pt x="686" y="167"/>
                  </a:cubicBezTo>
                  <a:cubicBezTo>
                    <a:pt x="692" y="166"/>
                    <a:pt x="696" y="164"/>
                    <a:pt x="701" y="161"/>
                  </a:cubicBezTo>
                  <a:cubicBezTo>
                    <a:pt x="701" y="161"/>
                    <a:pt x="701" y="161"/>
                    <a:pt x="701" y="161"/>
                  </a:cubicBezTo>
                  <a:cubicBezTo>
                    <a:pt x="701" y="161"/>
                    <a:pt x="701" y="161"/>
                    <a:pt x="701" y="161"/>
                  </a:cubicBezTo>
                  <a:cubicBezTo>
                    <a:pt x="730" y="50"/>
                    <a:pt x="730" y="50"/>
                    <a:pt x="730" y="50"/>
                  </a:cubicBezTo>
                  <a:cubicBezTo>
                    <a:pt x="730" y="50"/>
                    <a:pt x="730" y="50"/>
                    <a:pt x="730" y="50"/>
                  </a:cubicBezTo>
                  <a:cubicBezTo>
                    <a:pt x="730" y="50"/>
                    <a:pt x="730" y="50"/>
                    <a:pt x="730" y="50"/>
                  </a:cubicBezTo>
                  <a:cubicBezTo>
                    <a:pt x="712" y="27"/>
                    <a:pt x="687" y="11"/>
                    <a:pt x="659" y="5"/>
                  </a:cubicBezTo>
                  <a:cubicBezTo>
                    <a:pt x="647" y="2"/>
                    <a:pt x="636" y="0"/>
                    <a:pt x="624" y="0"/>
                  </a:cubicBezTo>
                </a:path>
              </a:pathLst>
            </a:custGeom>
            <a:solidFill>
              <a:srgbClr val="4B62E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4" name="ïşļîḍe">
              <a:extLst>
                <a:ext uri="{FF2B5EF4-FFF2-40B4-BE49-F238E27FC236}">
                  <a16:creationId xmlns:a16="http://schemas.microsoft.com/office/drawing/2014/main" id="{DF77FA21-8B32-4290-81E2-8B2405B568C9}"/>
                </a:ext>
              </a:extLst>
            </p:cNvPr>
            <p:cNvSpPr/>
            <p:nvPr/>
          </p:nvSpPr>
          <p:spPr bwMode="auto">
            <a:xfrm>
              <a:off x="7515226" y="2663825"/>
              <a:ext cx="4763" cy="3175"/>
            </a:xfrm>
            <a:custGeom>
              <a:avLst/>
              <a:gdLst>
                <a:gd name="T0" fmla="*/ 3 w 3"/>
                <a:gd name="T1" fmla="*/ 0 h 2"/>
                <a:gd name="T2" fmla="*/ 0 w 3"/>
                <a:gd name="T3" fmla="*/ 1 h 2"/>
                <a:gd name="T4" fmla="*/ 0 w 3"/>
                <a:gd name="T5" fmla="*/ 2 h 2"/>
                <a:gd name="T6" fmla="*/ 0 w 3"/>
                <a:gd name="T7" fmla="*/ 2 h 2"/>
                <a:gd name="T8" fmla="*/ 1 w 3"/>
                <a:gd name="T9" fmla="*/ 1 h 2"/>
                <a:gd name="T10" fmla="*/ 0 w 3"/>
                <a:gd name="T11" fmla="*/ 2 h 2"/>
                <a:gd name="T12" fmla="*/ 3 w 3"/>
                <a:gd name="T13" fmla="*/ 2 h 2"/>
                <a:gd name="T14" fmla="*/ 3 w 3"/>
                <a:gd name="T15" fmla="*/ 2 h 2"/>
                <a:gd name="T16" fmla="*/ 3 w 3"/>
                <a:gd name="T17" fmla="*/ 2 h 2"/>
                <a:gd name="T18" fmla="*/ 3 w 3"/>
                <a:gd name="T19" fmla="*/ 0 h 2"/>
                <a:gd name="T20" fmla="*/ 3 w 3"/>
                <a:gd name="T21" fmla="*/ 0 h 2"/>
                <a:gd name="T22" fmla="*/ 3 w 3"/>
                <a:gd name="T23" fmla="*/ 0 h 2"/>
                <a:gd name="T24" fmla="*/ 3 w 3"/>
                <a:gd name="T25" fmla="*/ 0 h 2"/>
                <a:gd name="T26" fmla="*/ 3 w 3"/>
                <a:gd name="T2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2">
                  <a:moveTo>
                    <a:pt x="3" y="0"/>
                  </a:moveTo>
                  <a:cubicBezTo>
                    <a:pt x="2" y="0"/>
                    <a:pt x="1" y="1"/>
                    <a:pt x="0" y="1"/>
                  </a:cubicBezTo>
                  <a:cubicBezTo>
                    <a:pt x="0" y="2"/>
                    <a:pt x="0" y="2"/>
                    <a:pt x="0" y="2"/>
                  </a:cubicBezTo>
                  <a:cubicBezTo>
                    <a:pt x="0" y="2"/>
                    <a:pt x="0" y="2"/>
                    <a:pt x="0" y="2"/>
                  </a:cubicBezTo>
                  <a:cubicBezTo>
                    <a:pt x="1" y="1"/>
                    <a:pt x="1" y="1"/>
                    <a:pt x="1" y="1"/>
                  </a:cubicBezTo>
                  <a:cubicBezTo>
                    <a:pt x="1" y="1"/>
                    <a:pt x="0" y="1"/>
                    <a:pt x="0" y="2"/>
                  </a:cubicBezTo>
                  <a:cubicBezTo>
                    <a:pt x="3" y="2"/>
                    <a:pt x="3" y="2"/>
                    <a:pt x="3" y="2"/>
                  </a:cubicBezTo>
                  <a:cubicBezTo>
                    <a:pt x="3" y="2"/>
                    <a:pt x="3" y="2"/>
                    <a:pt x="3" y="2"/>
                  </a:cubicBezTo>
                  <a:cubicBezTo>
                    <a:pt x="3" y="2"/>
                    <a:pt x="3" y="2"/>
                    <a:pt x="3" y="2"/>
                  </a:cubicBezTo>
                  <a:cubicBezTo>
                    <a:pt x="3" y="0"/>
                    <a:pt x="3" y="0"/>
                    <a:pt x="3" y="0"/>
                  </a:cubicBezTo>
                  <a:moveTo>
                    <a:pt x="3" y="0"/>
                  </a:moveTo>
                  <a:cubicBezTo>
                    <a:pt x="3" y="0"/>
                    <a:pt x="3" y="0"/>
                    <a:pt x="3" y="0"/>
                  </a:cubicBezTo>
                  <a:cubicBezTo>
                    <a:pt x="3" y="0"/>
                    <a:pt x="3" y="0"/>
                    <a:pt x="3" y="0"/>
                  </a:cubicBezTo>
                  <a:cubicBezTo>
                    <a:pt x="3" y="0"/>
                    <a:pt x="3" y="0"/>
                    <a:pt x="3" y="0"/>
                  </a:cubicBezTo>
                </a:path>
              </a:pathLst>
            </a:custGeom>
            <a:solidFill>
              <a:srgbClr val="4B62E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5" name="iṡḷïḍé">
              <a:extLst>
                <a:ext uri="{FF2B5EF4-FFF2-40B4-BE49-F238E27FC236}">
                  <a16:creationId xmlns:a16="http://schemas.microsoft.com/office/drawing/2014/main" id="{0645A9C4-E1E4-4CE9-9310-F47EA9AF4650}"/>
                </a:ext>
              </a:extLst>
            </p:cNvPr>
            <p:cNvSpPr/>
            <p:nvPr/>
          </p:nvSpPr>
          <p:spPr bwMode="auto">
            <a:xfrm>
              <a:off x="7531101" y="2546350"/>
              <a:ext cx="63500" cy="69850"/>
            </a:xfrm>
            <a:custGeom>
              <a:avLst/>
              <a:gdLst>
                <a:gd name="T0" fmla="*/ 43 w 43"/>
                <a:gd name="T1" fmla="*/ 0 h 48"/>
                <a:gd name="T2" fmla="*/ 0 w 43"/>
                <a:gd name="T3" fmla="*/ 48 h 48"/>
                <a:gd name="T4" fmla="*/ 0 w 43"/>
                <a:gd name="T5" fmla="*/ 48 h 48"/>
                <a:gd name="T6" fmla="*/ 43 w 43"/>
                <a:gd name="T7" fmla="*/ 0 h 48"/>
              </a:gdLst>
              <a:ahLst/>
              <a:cxnLst>
                <a:cxn ang="0">
                  <a:pos x="T0" y="T1"/>
                </a:cxn>
                <a:cxn ang="0">
                  <a:pos x="T2" y="T3"/>
                </a:cxn>
                <a:cxn ang="0">
                  <a:pos x="T4" y="T5"/>
                </a:cxn>
                <a:cxn ang="0">
                  <a:pos x="T6" y="T7"/>
                </a:cxn>
              </a:cxnLst>
              <a:rect l="0" t="0" r="r" b="b"/>
              <a:pathLst>
                <a:path w="43" h="48">
                  <a:moveTo>
                    <a:pt x="43" y="0"/>
                  </a:moveTo>
                  <a:cubicBezTo>
                    <a:pt x="38" y="22"/>
                    <a:pt x="22" y="38"/>
                    <a:pt x="0" y="48"/>
                  </a:cubicBezTo>
                  <a:cubicBezTo>
                    <a:pt x="0" y="48"/>
                    <a:pt x="0" y="48"/>
                    <a:pt x="0" y="48"/>
                  </a:cubicBezTo>
                  <a:cubicBezTo>
                    <a:pt x="22" y="38"/>
                    <a:pt x="38" y="22"/>
                    <a:pt x="43" y="0"/>
                  </a:cubicBezTo>
                </a:path>
              </a:pathLst>
            </a:custGeom>
            <a:solidFill>
              <a:srgbClr val="4B62E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6" name="íS1íḋê">
              <a:extLst>
                <a:ext uri="{FF2B5EF4-FFF2-40B4-BE49-F238E27FC236}">
                  <a16:creationId xmlns:a16="http://schemas.microsoft.com/office/drawing/2014/main" id="{ADA9B06C-39BF-4E97-9DF9-7DA66D0DA6D6}"/>
                </a:ext>
              </a:extLst>
            </p:cNvPr>
            <p:cNvSpPr/>
            <p:nvPr/>
          </p:nvSpPr>
          <p:spPr bwMode="auto">
            <a:xfrm>
              <a:off x="7531101" y="2454275"/>
              <a:ext cx="73025" cy="161925"/>
            </a:xfrm>
            <a:custGeom>
              <a:avLst/>
              <a:gdLst>
                <a:gd name="T0" fmla="*/ 29 w 49"/>
                <a:gd name="T1" fmla="*/ 0 h 111"/>
                <a:gd name="T2" fmla="*/ 0 w 49"/>
                <a:gd name="T3" fmla="*/ 111 h 111"/>
                <a:gd name="T4" fmla="*/ 43 w 49"/>
                <a:gd name="T5" fmla="*/ 63 h 111"/>
                <a:gd name="T6" fmla="*/ 43 w 49"/>
                <a:gd name="T7" fmla="*/ 63 h 111"/>
                <a:gd name="T8" fmla="*/ 29 w 49"/>
                <a:gd name="T9" fmla="*/ 0 h 111"/>
              </a:gdLst>
              <a:ahLst/>
              <a:cxnLst>
                <a:cxn ang="0">
                  <a:pos x="T0" y="T1"/>
                </a:cxn>
                <a:cxn ang="0">
                  <a:pos x="T2" y="T3"/>
                </a:cxn>
                <a:cxn ang="0">
                  <a:pos x="T4" y="T5"/>
                </a:cxn>
                <a:cxn ang="0">
                  <a:pos x="T6" y="T7"/>
                </a:cxn>
                <a:cxn ang="0">
                  <a:pos x="T8" y="T9"/>
                </a:cxn>
              </a:cxnLst>
              <a:rect l="0" t="0" r="r" b="b"/>
              <a:pathLst>
                <a:path w="49" h="111">
                  <a:moveTo>
                    <a:pt x="29" y="0"/>
                  </a:moveTo>
                  <a:cubicBezTo>
                    <a:pt x="0" y="111"/>
                    <a:pt x="0" y="111"/>
                    <a:pt x="0" y="111"/>
                  </a:cubicBezTo>
                  <a:cubicBezTo>
                    <a:pt x="22" y="101"/>
                    <a:pt x="38" y="85"/>
                    <a:pt x="43" y="63"/>
                  </a:cubicBezTo>
                  <a:cubicBezTo>
                    <a:pt x="43" y="63"/>
                    <a:pt x="43" y="63"/>
                    <a:pt x="43" y="63"/>
                  </a:cubicBezTo>
                  <a:cubicBezTo>
                    <a:pt x="49" y="42"/>
                    <a:pt x="43" y="19"/>
                    <a:pt x="29" y="0"/>
                  </a:cubicBezTo>
                </a:path>
              </a:pathLst>
            </a:custGeom>
            <a:solidFill>
              <a:srgbClr val="34315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7" name="íṡ1ïďe">
              <a:extLst>
                <a:ext uri="{FF2B5EF4-FFF2-40B4-BE49-F238E27FC236}">
                  <a16:creationId xmlns:a16="http://schemas.microsoft.com/office/drawing/2014/main" id="{6DC08DBC-2463-4A44-BC96-357617B42EC1}"/>
                </a:ext>
              </a:extLst>
            </p:cNvPr>
            <p:cNvSpPr/>
            <p:nvPr/>
          </p:nvSpPr>
          <p:spPr bwMode="auto">
            <a:xfrm>
              <a:off x="7531101" y="2454275"/>
              <a:ext cx="42863" cy="161925"/>
            </a:xfrm>
            <a:custGeom>
              <a:avLst/>
              <a:gdLst>
                <a:gd name="T0" fmla="*/ 29 w 29"/>
                <a:gd name="T1" fmla="*/ 0 h 111"/>
                <a:gd name="T2" fmla="*/ 0 w 29"/>
                <a:gd name="T3" fmla="*/ 111 h 111"/>
                <a:gd name="T4" fmla="*/ 0 w 29"/>
                <a:gd name="T5" fmla="*/ 111 h 111"/>
                <a:gd name="T6" fmla="*/ 0 w 29"/>
                <a:gd name="T7" fmla="*/ 111 h 111"/>
                <a:gd name="T8" fmla="*/ 0 w 29"/>
                <a:gd name="T9" fmla="*/ 111 h 111"/>
                <a:gd name="T10" fmla="*/ 29 w 29"/>
                <a:gd name="T11" fmla="*/ 0 h 111"/>
                <a:gd name="T12" fmla="*/ 29 w 29"/>
                <a:gd name="T13" fmla="*/ 0 h 111"/>
                <a:gd name="T14" fmla="*/ 29 w 29"/>
                <a:gd name="T15" fmla="*/ 0 h 1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111">
                  <a:moveTo>
                    <a:pt x="29" y="0"/>
                  </a:moveTo>
                  <a:cubicBezTo>
                    <a:pt x="0" y="111"/>
                    <a:pt x="0" y="111"/>
                    <a:pt x="0" y="111"/>
                  </a:cubicBezTo>
                  <a:cubicBezTo>
                    <a:pt x="0" y="111"/>
                    <a:pt x="0" y="111"/>
                    <a:pt x="0" y="111"/>
                  </a:cubicBezTo>
                  <a:cubicBezTo>
                    <a:pt x="0" y="111"/>
                    <a:pt x="0" y="111"/>
                    <a:pt x="0" y="111"/>
                  </a:cubicBezTo>
                  <a:cubicBezTo>
                    <a:pt x="0" y="111"/>
                    <a:pt x="0" y="111"/>
                    <a:pt x="0" y="111"/>
                  </a:cubicBezTo>
                  <a:cubicBezTo>
                    <a:pt x="29" y="0"/>
                    <a:pt x="29" y="0"/>
                    <a:pt x="29" y="0"/>
                  </a:cubicBezTo>
                  <a:cubicBezTo>
                    <a:pt x="29" y="0"/>
                    <a:pt x="29" y="0"/>
                    <a:pt x="29" y="0"/>
                  </a:cubicBezTo>
                  <a:cubicBezTo>
                    <a:pt x="29" y="0"/>
                    <a:pt x="29" y="0"/>
                    <a:pt x="29" y="0"/>
                  </a:cubicBezTo>
                </a:path>
              </a:pathLst>
            </a:custGeom>
            <a:solidFill>
              <a:srgbClr val="4B62E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8" name="îšľîḓê">
              <a:extLst>
                <a:ext uri="{FF2B5EF4-FFF2-40B4-BE49-F238E27FC236}">
                  <a16:creationId xmlns:a16="http://schemas.microsoft.com/office/drawing/2014/main" id="{2482D5CC-F63E-419A-B249-AC0FFFF0E5D9}"/>
                </a:ext>
              </a:extLst>
            </p:cNvPr>
            <p:cNvSpPr/>
            <p:nvPr/>
          </p:nvSpPr>
          <p:spPr bwMode="auto">
            <a:xfrm>
              <a:off x="7623176" y="2670175"/>
              <a:ext cx="31750" cy="34925"/>
            </a:xfrm>
            <a:custGeom>
              <a:avLst/>
              <a:gdLst>
                <a:gd name="T0" fmla="*/ 0 w 20"/>
                <a:gd name="T1" fmla="*/ 18 h 22"/>
                <a:gd name="T2" fmla="*/ 5 w 20"/>
                <a:gd name="T3" fmla="*/ 0 h 22"/>
                <a:gd name="T4" fmla="*/ 20 w 20"/>
                <a:gd name="T5" fmla="*/ 4 h 22"/>
                <a:gd name="T6" fmla="*/ 15 w 20"/>
                <a:gd name="T7" fmla="*/ 22 h 22"/>
                <a:gd name="T8" fmla="*/ 0 w 20"/>
                <a:gd name="T9" fmla="*/ 18 h 22"/>
              </a:gdLst>
              <a:ahLst/>
              <a:cxnLst>
                <a:cxn ang="0">
                  <a:pos x="T0" y="T1"/>
                </a:cxn>
                <a:cxn ang="0">
                  <a:pos x="T2" y="T3"/>
                </a:cxn>
                <a:cxn ang="0">
                  <a:pos x="T4" y="T5"/>
                </a:cxn>
                <a:cxn ang="0">
                  <a:pos x="T6" y="T7"/>
                </a:cxn>
                <a:cxn ang="0">
                  <a:pos x="T8" y="T9"/>
                </a:cxn>
              </a:cxnLst>
              <a:rect l="0" t="0" r="r" b="b"/>
              <a:pathLst>
                <a:path w="20" h="22">
                  <a:moveTo>
                    <a:pt x="0" y="18"/>
                  </a:moveTo>
                  <a:lnTo>
                    <a:pt x="5" y="0"/>
                  </a:lnTo>
                  <a:lnTo>
                    <a:pt x="20" y="4"/>
                  </a:lnTo>
                  <a:lnTo>
                    <a:pt x="15" y="22"/>
                  </a:lnTo>
                  <a:lnTo>
                    <a:pt x="0" y="18"/>
                  </a:lnTo>
                  <a:close/>
                </a:path>
              </a:pathLst>
            </a:custGeom>
            <a:solidFill>
              <a:srgbClr val="3A376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9" name="ïś1îḋe">
              <a:extLst>
                <a:ext uri="{FF2B5EF4-FFF2-40B4-BE49-F238E27FC236}">
                  <a16:creationId xmlns:a16="http://schemas.microsoft.com/office/drawing/2014/main" id="{6539EA9C-136F-4D14-8AFC-C11832CBE8EB}"/>
                </a:ext>
              </a:extLst>
            </p:cNvPr>
            <p:cNvSpPr/>
            <p:nvPr/>
          </p:nvSpPr>
          <p:spPr bwMode="auto">
            <a:xfrm>
              <a:off x="7518401" y="2644775"/>
              <a:ext cx="85725" cy="46038"/>
            </a:xfrm>
            <a:custGeom>
              <a:avLst/>
              <a:gdLst>
                <a:gd name="T0" fmla="*/ 0 w 54"/>
                <a:gd name="T1" fmla="*/ 16 h 29"/>
                <a:gd name="T2" fmla="*/ 3 w 54"/>
                <a:gd name="T3" fmla="*/ 0 h 29"/>
                <a:gd name="T4" fmla="*/ 54 w 54"/>
                <a:gd name="T5" fmla="*/ 12 h 29"/>
                <a:gd name="T6" fmla="*/ 49 w 54"/>
                <a:gd name="T7" fmla="*/ 29 h 29"/>
                <a:gd name="T8" fmla="*/ 0 w 54"/>
                <a:gd name="T9" fmla="*/ 16 h 29"/>
              </a:gdLst>
              <a:ahLst/>
              <a:cxnLst>
                <a:cxn ang="0">
                  <a:pos x="T0" y="T1"/>
                </a:cxn>
                <a:cxn ang="0">
                  <a:pos x="T2" y="T3"/>
                </a:cxn>
                <a:cxn ang="0">
                  <a:pos x="T4" y="T5"/>
                </a:cxn>
                <a:cxn ang="0">
                  <a:pos x="T6" y="T7"/>
                </a:cxn>
                <a:cxn ang="0">
                  <a:pos x="T8" y="T9"/>
                </a:cxn>
              </a:cxnLst>
              <a:rect l="0" t="0" r="r" b="b"/>
              <a:pathLst>
                <a:path w="54" h="29">
                  <a:moveTo>
                    <a:pt x="0" y="16"/>
                  </a:moveTo>
                  <a:lnTo>
                    <a:pt x="3" y="0"/>
                  </a:lnTo>
                  <a:lnTo>
                    <a:pt x="54" y="12"/>
                  </a:lnTo>
                  <a:lnTo>
                    <a:pt x="49" y="29"/>
                  </a:lnTo>
                  <a:lnTo>
                    <a:pt x="0" y="16"/>
                  </a:lnTo>
                  <a:close/>
                </a:path>
              </a:pathLst>
            </a:custGeom>
            <a:solidFill>
              <a:srgbClr val="3A376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0" name="iṣ1íḓè">
              <a:extLst>
                <a:ext uri="{FF2B5EF4-FFF2-40B4-BE49-F238E27FC236}">
                  <a16:creationId xmlns:a16="http://schemas.microsoft.com/office/drawing/2014/main" id="{AA335799-27FB-4CCB-B68F-A9B52930EB56}"/>
                </a:ext>
              </a:extLst>
            </p:cNvPr>
            <p:cNvSpPr/>
            <p:nvPr/>
          </p:nvSpPr>
          <p:spPr bwMode="auto">
            <a:xfrm>
              <a:off x="7596188" y="2663825"/>
              <a:ext cx="34925" cy="34925"/>
            </a:xfrm>
            <a:custGeom>
              <a:avLst/>
              <a:gdLst>
                <a:gd name="T0" fmla="*/ 0 w 22"/>
                <a:gd name="T1" fmla="*/ 17 h 22"/>
                <a:gd name="T2" fmla="*/ 5 w 22"/>
                <a:gd name="T3" fmla="*/ 0 h 22"/>
                <a:gd name="T4" fmla="*/ 22 w 22"/>
                <a:gd name="T5" fmla="*/ 4 h 22"/>
                <a:gd name="T6" fmla="*/ 17 w 22"/>
                <a:gd name="T7" fmla="*/ 22 h 22"/>
                <a:gd name="T8" fmla="*/ 0 w 22"/>
                <a:gd name="T9" fmla="*/ 17 h 22"/>
              </a:gdLst>
              <a:ahLst/>
              <a:cxnLst>
                <a:cxn ang="0">
                  <a:pos x="T0" y="T1"/>
                </a:cxn>
                <a:cxn ang="0">
                  <a:pos x="T2" y="T3"/>
                </a:cxn>
                <a:cxn ang="0">
                  <a:pos x="T4" y="T5"/>
                </a:cxn>
                <a:cxn ang="0">
                  <a:pos x="T6" y="T7"/>
                </a:cxn>
                <a:cxn ang="0">
                  <a:pos x="T8" y="T9"/>
                </a:cxn>
              </a:cxnLst>
              <a:rect l="0" t="0" r="r" b="b"/>
              <a:pathLst>
                <a:path w="22" h="22">
                  <a:moveTo>
                    <a:pt x="0" y="17"/>
                  </a:moveTo>
                  <a:lnTo>
                    <a:pt x="5" y="0"/>
                  </a:lnTo>
                  <a:lnTo>
                    <a:pt x="22" y="4"/>
                  </a:lnTo>
                  <a:lnTo>
                    <a:pt x="17" y="22"/>
                  </a:lnTo>
                  <a:lnTo>
                    <a:pt x="0" y="17"/>
                  </a:lnTo>
                  <a:close/>
                </a:path>
              </a:pathLst>
            </a:custGeom>
            <a:solidFill>
              <a:srgbClr val="3A376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1" name="ïş1ïďè">
              <a:extLst>
                <a:ext uri="{FF2B5EF4-FFF2-40B4-BE49-F238E27FC236}">
                  <a16:creationId xmlns:a16="http://schemas.microsoft.com/office/drawing/2014/main" id="{913503CD-B48E-48DD-8C1A-6DBB9E90C710}"/>
                </a:ext>
              </a:extLst>
            </p:cNvPr>
            <p:cNvSpPr/>
            <p:nvPr/>
          </p:nvSpPr>
          <p:spPr bwMode="auto">
            <a:xfrm>
              <a:off x="7477126" y="2593975"/>
              <a:ext cx="60325" cy="77788"/>
            </a:xfrm>
            <a:custGeom>
              <a:avLst/>
              <a:gdLst>
                <a:gd name="T0" fmla="*/ 33 w 41"/>
                <a:gd name="T1" fmla="*/ 31 h 53"/>
                <a:gd name="T2" fmla="*/ 29 w 41"/>
                <a:gd name="T3" fmla="*/ 33 h 53"/>
                <a:gd name="T4" fmla="*/ 33 w 41"/>
                <a:gd name="T5" fmla="*/ 34 h 53"/>
                <a:gd name="T6" fmla="*/ 28 w 41"/>
                <a:gd name="T7" fmla="*/ 53 h 53"/>
                <a:gd name="T8" fmla="*/ 4 w 41"/>
                <a:gd name="T9" fmla="*/ 47 h 53"/>
                <a:gd name="T10" fmla="*/ 6 w 41"/>
                <a:gd name="T11" fmla="*/ 20 h 53"/>
                <a:gd name="T12" fmla="*/ 26 w 41"/>
                <a:gd name="T13" fmla="*/ 6 h 53"/>
                <a:gd name="T14" fmla="*/ 41 w 41"/>
                <a:gd name="T15" fmla="*/ 0 h 53"/>
                <a:gd name="T16" fmla="*/ 33 w 41"/>
                <a:gd name="T17" fmla="*/ 3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53">
                  <a:moveTo>
                    <a:pt x="33" y="31"/>
                  </a:moveTo>
                  <a:cubicBezTo>
                    <a:pt x="29" y="33"/>
                    <a:pt x="29" y="33"/>
                    <a:pt x="29" y="33"/>
                  </a:cubicBezTo>
                  <a:cubicBezTo>
                    <a:pt x="33" y="34"/>
                    <a:pt x="33" y="34"/>
                    <a:pt x="33" y="34"/>
                  </a:cubicBezTo>
                  <a:cubicBezTo>
                    <a:pt x="28" y="53"/>
                    <a:pt x="28" y="53"/>
                    <a:pt x="28" y="53"/>
                  </a:cubicBezTo>
                  <a:cubicBezTo>
                    <a:pt x="4" y="47"/>
                    <a:pt x="4" y="47"/>
                    <a:pt x="4" y="47"/>
                  </a:cubicBezTo>
                  <a:cubicBezTo>
                    <a:pt x="0" y="38"/>
                    <a:pt x="1" y="28"/>
                    <a:pt x="6" y="20"/>
                  </a:cubicBezTo>
                  <a:cubicBezTo>
                    <a:pt x="11" y="13"/>
                    <a:pt x="18" y="8"/>
                    <a:pt x="26" y="6"/>
                  </a:cubicBezTo>
                  <a:cubicBezTo>
                    <a:pt x="32" y="4"/>
                    <a:pt x="36" y="2"/>
                    <a:pt x="41" y="0"/>
                  </a:cubicBezTo>
                  <a:lnTo>
                    <a:pt x="33" y="31"/>
                  </a:lnTo>
                  <a:close/>
                </a:path>
              </a:pathLst>
            </a:custGeom>
            <a:solidFill>
              <a:srgbClr val="536DF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2" name="ïṣḻíḋè">
              <a:extLst>
                <a:ext uri="{FF2B5EF4-FFF2-40B4-BE49-F238E27FC236}">
                  <a16:creationId xmlns:a16="http://schemas.microsoft.com/office/drawing/2014/main" id="{D722B954-14BD-4F1D-8097-0482F50BF22B}"/>
                </a:ext>
              </a:extLst>
            </p:cNvPr>
            <p:cNvSpPr/>
            <p:nvPr/>
          </p:nvSpPr>
          <p:spPr bwMode="auto">
            <a:xfrm>
              <a:off x="7608888" y="2698750"/>
              <a:ext cx="39688" cy="65088"/>
            </a:xfrm>
            <a:custGeom>
              <a:avLst/>
              <a:gdLst>
                <a:gd name="T0" fmla="*/ 0 w 27"/>
                <a:gd name="T1" fmla="*/ 41 h 44"/>
                <a:gd name="T2" fmla="*/ 7 w 27"/>
                <a:gd name="T3" fmla="*/ 43 h 44"/>
                <a:gd name="T4" fmla="*/ 18 w 27"/>
                <a:gd name="T5" fmla="*/ 37 h 44"/>
                <a:gd name="T6" fmla="*/ 18 w 27"/>
                <a:gd name="T7" fmla="*/ 36 h 44"/>
                <a:gd name="T8" fmla="*/ 27 w 27"/>
                <a:gd name="T9" fmla="*/ 4 h 44"/>
                <a:gd name="T10" fmla="*/ 11 w 27"/>
                <a:gd name="T11" fmla="*/ 0 h 44"/>
                <a:gd name="T12" fmla="*/ 0 w 27"/>
                <a:gd name="T13" fmla="*/ 41 h 44"/>
              </a:gdLst>
              <a:ahLst/>
              <a:cxnLst>
                <a:cxn ang="0">
                  <a:pos x="T0" y="T1"/>
                </a:cxn>
                <a:cxn ang="0">
                  <a:pos x="T2" y="T3"/>
                </a:cxn>
                <a:cxn ang="0">
                  <a:pos x="T4" y="T5"/>
                </a:cxn>
                <a:cxn ang="0">
                  <a:pos x="T6" y="T7"/>
                </a:cxn>
                <a:cxn ang="0">
                  <a:pos x="T8" y="T9"/>
                </a:cxn>
                <a:cxn ang="0">
                  <a:pos x="T10" y="T11"/>
                </a:cxn>
                <a:cxn ang="0">
                  <a:pos x="T12" y="T13"/>
                </a:cxn>
              </a:cxnLst>
              <a:rect l="0" t="0" r="r" b="b"/>
              <a:pathLst>
                <a:path w="27" h="44">
                  <a:moveTo>
                    <a:pt x="0" y="41"/>
                  </a:moveTo>
                  <a:cubicBezTo>
                    <a:pt x="7" y="43"/>
                    <a:pt x="7" y="43"/>
                    <a:pt x="7" y="43"/>
                  </a:cubicBezTo>
                  <a:cubicBezTo>
                    <a:pt x="12" y="44"/>
                    <a:pt x="17" y="42"/>
                    <a:pt x="18" y="37"/>
                  </a:cubicBezTo>
                  <a:cubicBezTo>
                    <a:pt x="18" y="36"/>
                    <a:pt x="18" y="36"/>
                    <a:pt x="18" y="36"/>
                  </a:cubicBezTo>
                  <a:cubicBezTo>
                    <a:pt x="27" y="4"/>
                    <a:pt x="27" y="4"/>
                    <a:pt x="27" y="4"/>
                  </a:cubicBezTo>
                  <a:cubicBezTo>
                    <a:pt x="11" y="0"/>
                    <a:pt x="11" y="0"/>
                    <a:pt x="11" y="0"/>
                  </a:cubicBezTo>
                  <a:lnTo>
                    <a:pt x="0" y="41"/>
                  </a:lnTo>
                  <a:close/>
                </a:path>
              </a:pathLst>
            </a:custGeom>
            <a:solidFill>
              <a:srgbClr val="3A376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3" name="îš1îdé">
              <a:extLst>
                <a:ext uri="{FF2B5EF4-FFF2-40B4-BE49-F238E27FC236}">
                  <a16:creationId xmlns:a16="http://schemas.microsoft.com/office/drawing/2014/main" id="{2DDBFA59-A8EB-47AF-A70F-21B8FF3D7649}"/>
                </a:ext>
              </a:extLst>
            </p:cNvPr>
            <p:cNvSpPr/>
            <p:nvPr/>
          </p:nvSpPr>
          <p:spPr bwMode="auto">
            <a:xfrm>
              <a:off x="7537451" y="2430463"/>
              <a:ext cx="71438" cy="163513"/>
            </a:xfrm>
            <a:custGeom>
              <a:avLst/>
              <a:gdLst>
                <a:gd name="T0" fmla="*/ 43 w 49"/>
                <a:gd name="T1" fmla="*/ 64 h 112"/>
                <a:gd name="T2" fmla="*/ 0 w 49"/>
                <a:gd name="T3" fmla="*/ 112 h 112"/>
                <a:gd name="T4" fmla="*/ 29 w 49"/>
                <a:gd name="T5" fmla="*/ 0 h 112"/>
                <a:gd name="T6" fmla="*/ 43 w 49"/>
                <a:gd name="T7" fmla="*/ 64 h 112"/>
              </a:gdLst>
              <a:ahLst/>
              <a:cxnLst>
                <a:cxn ang="0">
                  <a:pos x="T0" y="T1"/>
                </a:cxn>
                <a:cxn ang="0">
                  <a:pos x="T2" y="T3"/>
                </a:cxn>
                <a:cxn ang="0">
                  <a:pos x="T4" y="T5"/>
                </a:cxn>
                <a:cxn ang="0">
                  <a:pos x="T6" y="T7"/>
                </a:cxn>
              </a:cxnLst>
              <a:rect l="0" t="0" r="r" b="b"/>
              <a:pathLst>
                <a:path w="49" h="112">
                  <a:moveTo>
                    <a:pt x="43" y="64"/>
                  </a:moveTo>
                  <a:cubicBezTo>
                    <a:pt x="38" y="85"/>
                    <a:pt x="22" y="102"/>
                    <a:pt x="0" y="112"/>
                  </a:cubicBezTo>
                  <a:cubicBezTo>
                    <a:pt x="29" y="0"/>
                    <a:pt x="29" y="0"/>
                    <a:pt x="29" y="0"/>
                  </a:cubicBezTo>
                  <a:cubicBezTo>
                    <a:pt x="43" y="20"/>
                    <a:pt x="49" y="42"/>
                    <a:pt x="43" y="64"/>
                  </a:cubicBezTo>
                  <a:close/>
                </a:path>
              </a:pathLst>
            </a:custGeom>
            <a:solidFill>
              <a:srgbClr val="3A376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4" name="îṣļïďe">
              <a:extLst>
                <a:ext uri="{FF2B5EF4-FFF2-40B4-BE49-F238E27FC236}">
                  <a16:creationId xmlns:a16="http://schemas.microsoft.com/office/drawing/2014/main" id="{D28C09D1-C8B8-4A67-871D-B59DADEE35AD}"/>
                </a:ext>
              </a:extLst>
            </p:cNvPr>
            <p:cNvSpPr/>
            <p:nvPr/>
          </p:nvSpPr>
          <p:spPr bwMode="auto">
            <a:xfrm>
              <a:off x="7221538" y="2671763"/>
              <a:ext cx="387350" cy="1193800"/>
            </a:xfrm>
            <a:custGeom>
              <a:avLst/>
              <a:gdLst>
                <a:gd name="T0" fmla="*/ 254 w 264"/>
                <a:gd name="T1" fmla="*/ 57 h 812"/>
                <a:gd name="T2" fmla="*/ 247 w 264"/>
                <a:gd name="T3" fmla="*/ 46 h 812"/>
                <a:gd name="T4" fmla="*/ 247 w 264"/>
                <a:gd name="T5" fmla="*/ 46 h 812"/>
                <a:gd name="T6" fmla="*/ 255 w 264"/>
                <a:gd name="T7" fmla="*/ 13 h 812"/>
                <a:gd name="T8" fmla="*/ 202 w 264"/>
                <a:gd name="T9" fmla="*/ 0 h 812"/>
                <a:gd name="T10" fmla="*/ 38 w 264"/>
                <a:gd name="T11" fmla="*/ 642 h 812"/>
                <a:gd name="T12" fmla="*/ 4 w 264"/>
                <a:gd name="T13" fmla="*/ 779 h 812"/>
                <a:gd name="T14" fmla="*/ 0 w 264"/>
                <a:gd name="T15" fmla="*/ 794 h 812"/>
                <a:gd name="T16" fmla="*/ 72 w 264"/>
                <a:gd name="T17" fmla="*/ 812 h 812"/>
                <a:gd name="T18" fmla="*/ 264 w 264"/>
                <a:gd name="T19" fmla="*/ 59 h 812"/>
                <a:gd name="T20" fmla="*/ 254 w 264"/>
                <a:gd name="T21" fmla="*/ 57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4" h="812">
                  <a:moveTo>
                    <a:pt x="254" y="57"/>
                  </a:moveTo>
                  <a:cubicBezTo>
                    <a:pt x="249" y="55"/>
                    <a:pt x="246" y="50"/>
                    <a:pt x="247" y="46"/>
                  </a:cubicBezTo>
                  <a:cubicBezTo>
                    <a:pt x="247" y="46"/>
                    <a:pt x="247" y="46"/>
                    <a:pt x="247" y="46"/>
                  </a:cubicBezTo>
                  <a:cubicBezTo>
                    <a:pt x="255" y="13"/>
                    <a:pt x="255" y="13"/>
                    <a:pt x="255" y="13"/>
                  </a:cubicBezTo>
                  <a:cubicBezTo>
                    <a:pt x="202" y="0"/>
                    <a:pt x="202" y="0"/>
                    <a:pt x="202" y="0"/>
                  </a:cubicBezTo>
                  <a:cubicBezTo>
                    <a:pt x="38" y="642"/>
                    <a:pt x="38" y="642"/>
                    <a:pt x="38" y="642"/>
                  </a:cubicBezTo>
                  <a:cubicBezTo>
                    <a:pt x="63" y="690"/>
                    <a:pt x="48" y="748"/>
                    <a:pt x="4" y="779"/>
                  </a:cubicBezTo>
                  <a:cubicBezTo>
                    <a:pt x="0" y="794"/>
                    <a:pt x="0" y="794"/>
                    <a:pt x="0" y="794"/>
                  </a:cubicBezTo>
                  <a:cubicBezTo>
                    <a:pt x="72" y="812"/>
                    <a:pt x="72" y="812"/>
                    <a:pt x="72" y="812"/>
                  </a:cubicBezTo>
                  <a:cubicBezTo>
                    <a:pt x="264" y="59"/>
                    <a:pt x="264" y="59"/>
                    <a:pt x="264" y="59"/>
                  </a:cubicBezTo>
                  <a:lnTo>
                    <a:pt x="254" y="57"/>
                  </a:lnTo>
                  <a:close/>
                </a:path>
              </a:pathLst>
            </a:custGeom>
            <a:solidFill>
              <a:srgbClr val="3A376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5" name="íŝḷïḍé">
              <a:extLst>
                <a:ext uri="{FF2B5EF4-FFF2-40B4-BE49-F238E27FC236}">
                  <a16:creationId xmlns:a16="http://schemas.microsoft.com/office/drawing/2014/main" id="{9354119E-BEAB-4578-BEAB-9465CB2E9F47}"/>
                </a:ext>
              </a:extLst>
            </p:cNvPr>
            <p:cNvSpPr/>
            <p:nvPr/>
          </p:nvSpPr>
          <p:spPr bwMode="auto">
            <a:xfrm>
              <a:off x="7583488" y="2690813"/>
              <a:ext cx="39688" cy="68263"/>
            </a:xfrm>
            <a:custGeom>
              <a:avLst/>
              <a:gdLst>
                <a:gd name="T0" fmla="*/ 1 w 28"/>
                <a:gd name="T1" fmla="*/ 33 h 46"/>
                <a:gd name="T2" fmla="*/ 8 w 28"/>
                <a:gd name="T3" fmla="*/ 44 h 46"/>
                <a:gd name="T4" fmla="*/ 8 w 28"/>
                <a:gd name="T5" fmla="*/ 44 h 46"/>
                <a:gd name="T6" fmla="*/ 18 w 28"/>
                <a:gd name="T7" fmla="*/ 46 h 46"/>
                <a:gd name="T8" fmla="*/ 28 w 28"/>
                <a:gd name="T9" fmla="*/ 5 h 46"/>
                <a:gd name="T10" fmla="*/ 9 w 28"/>
                <a:gd name="T11" fmla="*/ 0 h 46"/>
                <a:gd name="T12" fmla="*/ 1 w 28"/>
                <a:gd name="T13" fmla="*/ 33 h 46"/>
              </a:gdLst>
              <a:ahLst/>
              <a:cxnLst>
                <a:cxn ang="0">
                  <a:pos x="T0" y="T1"/>
                </a:cxn>
                <a:cxn ang="0">
                  <a:pos x="T2" y="T3"/>
                </a:cxn>
                <a:cxn ang="0">
                  <a:pos x="T4" y="T5"/>
                </a:cxn>
                <a:cxn ang="0">
                  <a:pos x="T6" y="T7"/>
                </a:cxn>
                <a:cxn ang="0">
                  <a:pos x="T8" y="T9"/>
                </a:cxn>
                <a:cxn ang="0">
                  <a:pos x="T10" y="T11"/>
                </a:cxn>
                <a:cxn ang="0">
                  <a:pos x="T12" y="T13"/>
                </a:cxn>
              </a:cxnLst>
              <a:rect l="0" t="0" r="r" b="b"/>
              <a:pathLst>
                <a:path w="28" h="46">
                  <a:moveTo>
                    <a:pt x="1" y="33"/>
                  </a:moveTo>
                  <a:cubicBezTo>
                    <a:pt x="0" y="37"/>
                    <a:pt x="3" y="42"/>
                    <a:pt x="8" y="44"/>
                  </a:cubicBezTo>
                  <a:cubicBezTo>
                    <a:pt x="8" y="44"/>
                    <a:pt x="8" y="44"/>
                    <a:pt x="8" y="44"/>
                  </a:cubicBezTo>
                  <a:cubicBezTo>
                    <a:pt x="18" y="46"/>
                    <a:pt x="18" y="46"/>
                    <a:pt x="18" y="46"/>
                  </a:cubicBezTo>
                  <a:cubicBezTo>
                    <a:pt x="28" y="5"/>
                    <a:pt x="28" y="5"/>
                    <a:pt x="28" y="5"/>
                  </a:cubicBezTo>
                  <a:cubicBezTo>
                    <a:pt x="9" y="0"/>
                    <a:pt x="9" y="0"/>
                    <a:pt x="9" y="0"/>
                  </a:cubicBezTo>
                  <a:lnTo>
                    <a:pt x="1" y="33"/>
                  </a:lnTo>
                  <a:close/>
                </a:path>
              </a:pathLst>
            </a:custGeom>
            <a:solidFill>
              <a:srgbClr val="3A376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6" name="ïSļîďê">
              <a:extLst>
                <a:ext uri="{FF2B5EF4-FFF2-40B4-BE49-F238E27FC236}">
                  <a16:creationId xmlns:a16="http://schemas.microsoft.com/office/drawing/2014/main" id="{78405E5A-2519-45C1-8596-4F1B2953D8DE}"/>
                </a:ext>
              </a:extLst>
            </p:cNvPr>
            <p:cNvSpPr/>
            <p:nvPr/>
          </p:nvSpPr>
          <p:spPr bwMode="auto">
            <a:xfrm>
              <a:off x="6505576" y="2341563"/>
              <a:ext cx="1074738" cy="1433513"/>
            </a:xfrm>
            <a:custGeom>
              <a:avLst/>
              <a:gdLst>
                <a:gd name="T0" fmla="*/ 666 w 730"/>
                <a:gd name="T1" fmla="*/ 192 h 976"/>
                <a:gd name="T2" fmla="*/ 686 w 730"/>
                <a:gd name="T3" fmla="*/ 177 h 976"/>
                <a:gd name="T4" fmla="*/ 701 w 730"/>
                <a:gd name="T5" fmla="*/ 172 h 976"/>
                <a:gd name="T6" fmla="*/ 730 w 730"/>
                <a:gd name="T7" fmla="*/ 60 h 976"/>
                <a:gd name="T8" fmla="*/ 659 w 730"/>
                <a:gd name="T9" fmla="*/ 15 h 976"/>
                <a:gd name="T10" fmla="*/ 532 w 730"/>
                <a:gd name="T11" fmla="*/ 69 h 976"/>
                <a:gd name="T12" fmla="*/ 546 w 730"/>
                <a:gd name="T13" fmla="*/ 131 h 976"/>
                <a:gd name="T14" fmla="*/ 564 w 730"/>
                <a:gd name="T15" fmla="*/ 151 h 976"/>
                <a:gd name="T16" fmla="*/ 564 w 730"/>
                <a:gd name="T17" fmla="*/ 152 h 976"/>
                <a:gd name="T18" fmla="*/ 561 w 730"/>
                <a:gd name="T19" fmla="*/ 192 h 976"/>
                <a:gd name="T20" fmla="*/ 202 w 730"/>
                <a:gd name="T21" fmla="*/ 101 h 976"/>
                <a:gd name="T22" fmla="*/ 121 w 730"/>
                <a:gd name="T23" fmla="*/ 419 h 976"/>
                <a:gd name="T24" fmla="*/ 216 w 730"/>
                <a:gd name="T25" fmla="*/ 397 h 976"/>
                <a:gd name="T26" fmla="*/ 296 w 730"/>
                <a:gd name="T27" fmla="*/ 543 h 976"/>
                <a:gd name="T28" fmla="*/ 156 w 730"/>
                <a:gd name="T29" fmla="*/ 633 h 976"/>
                <a:gd name="T30" fmla="*/ 83 w 730"/>
                <a:gd name="T31" fmla="*/ 569 h 976"/>
                <a:gd name="T32" fmla="*/ 0 w 730"/>
                <a:gd name="T33" fmla="*/ 895 h 976"/>
                <a:gd name="T34" fmla="*/ 318 w 730"/>
                <a:gd name="T35" fmla="*/ 976 h 976"/>
                <a:gd name="T36" fmla="*/ 297 w 730"/>
                <a:gd name="T37" fmla="*/ 882 h 976"/>
                <a:gd name="T38" fmla="*/ 443 w 730"/>
                <a:gd name="T39" fmla="*/ 802 h 976"/>
                <a:gd name="T40" fmla="*/ 524 w 730"/>
                <a:gd name="T41" fmla="*/ 867 h 976"/>
                <a:gd name="T42" fmla="*/ 688 w 730"/>
                <a:gd name="T43" fmla="*/ 225 h 976"/>
                <a:gd name="T44" fmla="*/ 664 w 730"/>
                <a:gd name="T45" fmla="*/ 219 h 976"/>
                <a:gd name="T46" fmla="*/ 666 w 730"/>
                <a:gd name="T47" fmla="*/ 192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30" h="976">
                  <a:moveTo>
                    <a:pt x="666" y="192"/>
                  </a:moveTo>
                  <a:cubicBezTo>
                    <a:pt x="671" y="185"/>
                    <a:pt x="678" y="180"/>
                    <a:pt x="686" y="177"/>
                  </a:cubicBezTo>
                  <a:cubicBezTo>
                    <a:pt x="692" y="176"/>
                    <a:pt x="696" y="174"/>
                    <a:pt x="701" y="172"/>
                  </a:cubicBezTo>
                  <a:cubicBezTo>
                    <a:pt x="730" y="60"/>
                    <a:pt x="730" y="60"/>
                    <a:pt x="730" y="60"/>
                  </a:cubicBezTo>
                  <a:cubicBezTo>
                    <a:pt x="712" y="38"/>
                    <a:pt x="687" y="22"/>
                    <a:pt x="659" y="15"/>
                  </a:cubicBezTo>
                  <a:cubicBezTo>
                    <a:pt x="600" y="0"/>
                    <a:pt x="543" y="25"/>
                    <a:pt x="532" y="69"/>
                  </a:cubicBezTo>
                  <a:cubicBezTo>
                    <a:pt x="527" y="91"/>
                    <a:pt x="532" y="113"/>
                    <a:pt x="546" y="131"/>
                  </a:cubicBezTo>
                  <a:cubicBezTo>
                    <a:pt x="551" y="139"/>
                    <a:pt x="557" y="145"/>
                    <a:pt x="564" y="151"/>
                  </a:cubicBezTo>
                  <a:cubicBezTo>
                    <a:pt x="564" y="152"/>
                    <a:pt x="564" y="152"/>
                    <a:pt x="564" y="152"/>
                  </a:cubicBezTo>
                  <a:cubicBezTo>
                    <a:pt x="572" y="164"/>
                    <a:pt x="571" y="181"/>
                    <a:pt x="561" y="192"/>
                  </a:cubicBezTo>
                  <a:cubicBezTo>
                    <a:pt x="202" y="101"/>
                    <a:pt x="202" y="101"/>
                    <a:pt x="202" y="101"/>
                  </a:cubicBezTo>
                  <a:cubicBezTo>
                    <a:pt x="121" y="419"/>
                    <a:pt x="121" y="419"/>
                    <a:pt x="121" y="419"/>
                  </a:cubicBezTo>
                  <a:cubicBezTo>
                    <a:pt x="148" y="397"/>
                    <a:pt x="183" y="389"/>
                    <a:pt x="216" y="397"/>
                  </a:cubicBezTo>
                  <a:cubicBezTo>
                    <a:pt x="277" y="413"/>
                    <a:pt x="312" y="478"/>
                    <a:pt x="296" y="543"/>
                  </a:cubicBezTo>
                  <a:cubicBezTo>
                    <a:pt x="279" y="608"/>
                    <a:pt x="217" y="648"/>
                    <a:pt x="156" y="633"/>
                  </a:cubicBezTo>
                  <a:cubicBezTo>
                    <a:pt x="123" y="624"/>
                    <a:pt x="96" y="600"/>
                    <a:pt x="83" y="569"/>
                  </a:cubicBezTo>
                  <a:cubicBezTo>
                    <a:pt x="0" y="895"/>
                    <a:pt x="0" y="895"/>
                    <a:pt x="0" y="895"/>
                  </a:cubicBezTo>
                  <a:cubicBezTo>
                    <a:pt x="318" y="976"/>
                    <a:pt x="318" y="976"/>
                    <a:pt x="318" y="976"/>
                  </a:cubicBezTo>
                  <a:cubicBezTo>
                    <a:pt x="297" y="949"/>
                    <a:pt x="289" y="915"/>
                    <a:pt x="297" y="882"/>
                  </a:cubicBezTo>
                  <a:cubicBezTo>
                    <a:pt x="313" y="821"/>
                    <a:pt x="378" y="786"/>
                    <a:pt x="443" y="802"/>
                  </a:cubicBezTo>
                  <a:cubicBezTo>
                    <a:pt x="478" y="811"/>
                    <a:pt x="508" y="834"/>
                    <a:pt x="524" y="867"/>
                  </a:cubicBezTo>
                  <a:cubicBezTo>
                    <a:pt x="688" y="225"/>
                    <a:pt x="688" y="225"/>
                    <a:pt x="688" y="225"/>
                  </a:cubicBezTo>
                  <a:cubicBezTo>
                    <a:pt x="664" y="219"/>
                    <a:pt x="664" y="219"/>
                    <a:pt x="664" y="219"/>
                  </a:cubicBezTo>
                  <a:cubicBezTo>
                    <a:pt x="660" y="210"/>
                    <a:pt x="661" y="200"/>
                    <a:pt x="666" y="192"/>
                  </a:cubicBezTo>
                  <a:close/>
                </a:path>
              </a:pathLst>
            </a:custGeom>
            <a:solidFill>
              <a:srgbClr val="536DF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7" name="ïŝḻiḑe">
              <a:extLst>
                <a:ext uri="{FF2B5EF4-FFF2-40B4-BE49-F238E27FC236}">
                  <a16:creationId xmlns:a16="http://schemas.microsoft.com/office/drawing/2014/main" id="{E340EE40-6C76-45F4-B7E7-8CD8568C46AD}"/>
                </a:ext>
              </a:extLst>
            </p:cNvPr>
            <p:cNvSpPr/>
            <p:nvPr/>
          </p:nvSpPr>
          <p:spPr bwMode="auto">
            <a:xfrm>
              <a:off x="7519988" y="2640013"/>
              <a:ext cx="4763" cy="4763"/>
            </a:xfrm>
            <a:custGeom>
              <a:avLst/>
              <a:gdLst>
                <a:gd name="T0" fmla="*/ 4 w 4"/>
                <a:gd name="T1" fmla="*/ 3 h 3"/>
                <a:gd name="T2" fmla="*/ 4 w 4"/>
                <a:gd name="T3" fmla="*/ 0 h 3"/>
                <a:gd name="T4" fmla="*/ 0 w 4"/>
                <a:gd name="T5" fmla="*/ 2 h 3"/>
                <a:gd name="T6" fmla="*/ 4 w 4"/>
                <a:gd name="T7" fmla="*/ 3 h 3"/>
              </a:gdLst>
              <a:ahLst/>
              <a:cxnLst>
                <a:cxn ang="0">
                  <a:pos x="T0" y="T1"/>
                </a:cxn>
                <a:cxn ang="0">
                  <a:pos x="T2" y="T3"/>
                </a:cxn>
                <a:cxn ang="0">
                  <a:pos x="T4" y="T5"/>
                </a:cxn>
                <a:cxn ang="0">
                  <a:pos x="T6" y="T7"/>
                </a:cxn>
              </a:cxnLst>
              <a:rect l="0" t="0" r="r" b="b"/>
              <a:pathLst>
                <a:path w="4" h="3">
                  <a:moveTo>
                    <a:pt x="4" y="3"/>
                  </a:moveTo>
                  <a:cubicBezTo>
                    <a:pt x="4" y="0"/>
                    <a:pt x="4" y="0"/>
                    <a:pt x="4" y="0"/>
                  </a:cubicBezTo>
                  <a:cubicBezTo>
                    <a:pt x="3" y="1"/>
                    <a:pt x="2" y="1"/>
                    <a:pt x="0" y="2"/>
                  </a:cubicBezTo>
                  <a:lnTo>
                    <a:pt x="4" y="3"/>
                  </a:lnTo>
                  <a:close/>
                </a:path>
              </a:pathLst>
            </a:custGeom>
            <a:solidFill>
              <a:srgbClr val="536DF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8" name="ïṣ1îdè">
              <a:extLst>
                <a:ext uri="{FF2B5EF4-FFF2-40B4-BE49-F238E27FC236}">
                  <a16:creationId xmlns:a16="http://schemas.microsoft.com/office/drawing/2014/main" id="{FBAEA621-4441-4122-892E-91A016BB4870}"/>
                </a:ext>
              </a:extLst>
            </p:cNvPr>
            <p:cNvSpPr/>
            <p:nvPr/>
          </p:nvSpPr>
          <p:spPr bwMode="auto">
            <a:xfrm>
              <a:off x="7423151" y="3425825"/>
              <a:ext cx="901700" cy="1836738"/>
            </a:xfrm>
            <a:custGeom>
              <a:avLst/>
              <a:gdLst>
                <a:gd name="T0" fmla="*/ 12 w 613"/>
                <a:gd name="T1" fmla="*/ 667 h 1250"/>
                <a:gd name="T2" fmla="*/ 38 w 613"/>
                <a:gd name="T3" fmla="*/ 765 h 1250"/>
                <a:gd name="T4" fmla="*/ 47 w 613"/>
                <a:gd name="T5" fmla="*/ 799 h 1250"/>
                <a:gd name="T6" fmla="*/ 56 w 613"/>
                <a:gd name="T7" fmla="*/ 843 h 1250"/>
                <a:gd name="T8" fmla="*/ 87 w 613"/>
                <a:gd name="T9" fmla="*/ 958 h 1250"/>
                <a:gd name="T10" fmla="*/ 96 w 613"/>
                <a:gd name="T11" fmla="*/ 1010 h 1250"/>
                <a:gd name="T12" fmla="*/ 101 w 613"/>
                <a:gd name="T13" fmla="*/ 1062 h 1250"/>
                <a:gd name="T14" fmla="*/ 127 w 613"/>
                <a:gd name="T15" fmla="*/ 1146 h 1250"/>
                <a:gd name="T16" fmla="*/ 118 w 613"/>
                <a:gd name="T17" fmla="*/ 1183 h 1250"/>
                <a:gd name="T18" fmla="*/ 273 w 613"/>
                <a:gd name="T19" fmla="*/ 1197 h 1250"/>
                <a:gd name="T20" fmla="*/ 259 w 613"/>
                <a:gd name="T21" fmla="*/ 1071 h 1250"/>
                <a:gd name="T22" fmla="*/ 261 w 613"/>
                <a:gd name="T23" fmla="*/ 971 h 1250"/>
                <a:gd name="T24" fmla="*/ 238 w 613"/>
                <a:gd name="T25" fmla="*/ 849 h 1250"/>
                <a:gd name="T26" fmla="*/ 230 w 613"/>
                <a:gd name="T27" fmla="*/ 792 h 1250"/>
                <a:gd name="T28" fmla="*/ 228 w 613"/>
                <a:gd name="T29" fmla="*/ 760 h 1250"/>
                <a:gd name="T30" fmla="*/ 210 w 613"/>
                <a:gd name="T31" fmla="*/ 725 h 1250"/>
                <a:gd name="T32" fmla="*/ 205 w 613"/>
                <a:gd name="T33" fmla="*/ 701 h 1250"/>
                <a:gd name="T34" fmla="*/ 256 w 613"/>
                <a:gd name="T35" fmla="*/ 598 h 1250"/>
                <a:gd name="T36" fmla="*/ 259 w 613"/>
                <a:gd name="T37" fmla="*/ 556 h 1250"/>
                <a:gd name="T38" fmla="*/ 274 w 613"/>
                <a:gd name="T39" fmla="*/ 529 h 1250"/>
                <a:gd name="T40" fmla="*/ 302 w 613"/>
                <a:gd name="T41" fmla="*/ 483 h 1250"/>
                <a:gd name="T42" fmla="*/ 328 w 613"/>
                <a:gd name="T43" fmla="*/ 417 h 1250"/>
                <a:gd name="T44" fmla="*/ 333 w 613"/>
                <a:gd name="T45" fmla="*/ 402 h 1250"/>
                <a:gd name="T46" fmla="*/ 350 w 613"/>
                <a:gd name="T47" fmla="*/ 582 h 1250"/>
                <a:gd name="T48" fmla="*/ 369 w 613"/>
                <a:gd name="T49" fmla="*/ 730 h 1250"/>
                <a:gd name="T50" fmla="*/ 375 w 613"/>
                <a:gd name="T51" fmla="*/ 766 h 1250"/>
                <a:gd name="T52" fmla="*/ 392 w 613"/>
                <a:gd name="T53" fmla="*/ 876 h 1250"/>
                <a:gd name="T54" fmla="*/ 395 w 613"/>
                <a:gd name="T55" fmla="*/ 956 h 1250"/>
                <a:gd name="T56" fmla="*/ 394 w 613"/>
                <a:gd name="T57" fmla="*/ 1095 h 1250"/>
                <a:gd name="T58" fmla="*/ 356 w 613"/>
                <a:gd name="T59" fmla="*/ 1138 h 1250"/>
                <a:gd name="T60" fmla="*/ 357 w 613"/>
                <a:gd name="T61" fmla="*/ 1206 h 1250"/>
                <a:gd name="T62" fmla="*/ 485 w 613"/>
                <a:gd name="T63" fmla="*/ 1238 h 1250"/>
                <a:gd name="T64" fmla="*/ 508 w 613"/>
                <a:gd name="T65" fmla="*/ 1160 h 1250"/>
                <a:gd name="T66" fmla="*/ 535 w 613"/>
                <a:gd name="T67" fmla="*/ 1098 h 1250"/>
                <a:gd name="T68" fmla="*/ 544 w 613"/>
                <a:gd name="T69" fmla="*/ 1028 h 1250"/>
                <a:gd name="T70" fmla="*/ 570 w 613"/>
                <a:gd name="T71" fmla="*/ 803 h 1250"/>
                <a:gd name="T72" fmla="*/ 545 w 613"/>
                <a:gd name="T73" fmla="*/ 725 h 1250"/>
                <a:gd name="T74" fmla="*/ 545 w 613"/>
                <a:gd name="T75" fmla="*/ 633 h 1250"/>
                <a:gd name="T76" fmla="*/ 536 w 613"/>
                <a:gd name="T77" fmla="*/ 561 h 1250"/>
                <a:gd name="T78" fmla="*/ 552 w 613"/>
                <a:gd name="T79" fmla="*/ 437 h 1250"/>
                <a:gd name="T80" fmla="*/ 566 w 613"/>
                <a:gd name="T81" fmla="*/ 371 h 1250"/>
                <a:gd name="T82" fmla="*/ 577 w 613"/>
                <a:gd name="T83" fmla="*/ 338 h 1250"/>
                <a:gd name="T84" fmla="*/ 584 w 613"/>
                <a:gd name="T85" fmla="*/ 301 h 1250"/>
                <a:gd name="T86" fmla="*/ 595 w 613"/>
                <a:gd name="T87" fmla="*/ 249 h 1250"/>
                <a:gd name="T88" fmla="*/ 607 w 613"/>
                <a:gd name="T89" fmla="*/ 198 h 1250"/>
                <a:gd name="T90" fmla="*/ 613 w 613"/>
                <a:gd name="T91" fmla="*/ 162 h 1250"/>
                <a:gd name="T92" fmla="*/ 521 w 613"/>
                <a:gd name="T93" fmla="*/ 88 h 1250"/>
                <a:gd name="T94" fmla="*/ 292 w 613"/>
                <a:gd name="T95" fmla="*/ 28 h 1250"/>
                <a:gd name="T96" fmla="*/ 206 w 613"/>
                <a:gd name="T97" fmla="*/ 0 h 1250"/>
                <a:gd name="T98" fmla="*/ 123 w 613"/>
                <a:gd name="T99" fmla="*/ 132 h 1250"/>
                <a:gd name="T100" fmla="*/ 106 w 613"/>
                <a:gd name="T101" fmla="*/ 162 h 1250"/>
                <a:gd name="T102" fmla="*/ 95 w 613"/>
                <a:gd name="T103" fmla="*/ 201 h 1250"/>
                <a:gd name="T104" fmla="*/ 87 w 613"/>
                <a:gd name="T105" fmla="*/ 235 h 1250"/>
                <a:gd name="T106" fmla="*/ 38 w 613"/>
                <a:gd name="T107" fmla="*/ 439 h 1250"/>
                <a:gd name="T108" fmla="*/ 21 w 613"/>
                <a:gd name="T109" fmla="*/ 584 h 1250"/>
                <a:gd name="T110" fmla="*/ 12 w 613"/>
                <a:gd name="T111" fmla="*/ 667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13" h="1250">
                  <a:moveTo>
                    <a:pt x="12" y="667"/>
                  </a:moveTo>
                  <a:cubicBezTo>
                    <a:pt x="24" y="685"/>
                    <a:pt x="38" y="765"/>
                    <a:pt x="38" y="765"/>
                  </a:cubicBezTo>
                  <a:cubicBezTo>
                    <a:pt x="38" y="765"/>
                    <a:pt x="48" y="783"/>
                    <a:pt x="47" y="799"/>
                  </a:cubicBezTo>
                  <a:cubicBezTo>
                    <a:pt x="47" y="814"/>
                    <a:pt x="56" y="843"/>
                    <a:pt x="56" y="843"/>
                  </a:cubicBezTo>
                  <a:cubicBezTo>
                    <a:pt x="87" y="958"/>
                    <a:pt x="87" y="958"/>
                    <a:pt x="87" y="958"/>
                  </a:cubicBezTo>
                  <a:cubicBezTo>
                    <a:pt x="87" y="958"/>
                    <a:pt x="84" y="988"/>
                    <a:pt x="96" y="1010"/>
                  </a:cubicBezTo>
                  <a:cubicBezTo>
                    <a:pt x="107" y="1031"/>
                    <a:pt x="106" y="1024"/>
                    <a:pt x="101" y="1062"/>
                  </a:cubicBezTo>
                  <a:cubicBezTo>
                    <a:pt x="95" y="1100"/>
                    <a:pt x="107" y="1135"/>
                    <a:pt x="127" y="1146"/>
                  </a:cubicBezTo>
                  <a:cubicBezTo>
                    <a:pt x="147" y="1158"/>
                    <a:pt x="118" y="1183"/>
                    <a:pt x="118" y="1183"/>
                  </a:cubicBezTo>
                  <a:cubicBezTo>
                    <a:pt x="118" y="1183"/>
                    <a:pt x="246" y="1218"/>
                    <a:pt x="273" y="1197"/>
                  </a:cubicBezTo>
                  <a:cubicBezTo>
                    <a:pt x="299" y="1176"/>
                    <a:pt x="259" y="1071"/>
                    <a:pt x="259" y="1071"/>
                  </a:cubicBezTo>
                  <a:cubicBezTo>
                    <a:pt x="259" y="1071"/>
                    <a:pt x="265" y="984"/>
                    <a:pt x="261" y="971"/>
                  </a:cubicBezTo>
                  <a:cubicBezTo>
                    <a:pt x="256" y="958"/>
                    <a:pt x="238" y="849"/>
                    <a:pt x="238" y="849"/>
                  </a:cubicBezTo>
                  <a:cubicBezTo>
                    <a:pt x="238" y="849"/>
                    <a:pt x="226" y="800"/>
                    <a:pt x="230" y="792"/>
                  </a:cubicBezTo>
                  <a:cubicBezTo>
                    <a:pt x="235" y="783"/>
                    <a:pt x="228" y="760"/>
                    <a:pt x="228" y="760"/>
                  </a:cubicBezTo>
                  <a:cubicBezTo>
                    <a:pt x="228" y="760"/>
                    <a:pt x="209" y="733"/>
                    <a:pt x="210" y="725"/>
                  </a:cubicBezTo>
                  <a:cubicBezTo>
                    <a:pt x="212" y="716"/>
                    <a:pt x="205" y="701"/>
                    <a:pt x="205" y="701"/>
                  </a:cubicBezTo>
                  <a:cubicBezTo>
                    <a:pt x="205" y="701"/>
                    <a:pt x="261" y="615"/>
                    <a:pt x="256" y="598"/>
                  </a:cubicBezTo>
                  <a:cubicBezTo>
                    <a:pt x="251" y="582"/>
                    <a:pt x="259" y="556"/>
                    <a:pt x="259" y="556"/>
                  </a:cubicBezTo>
                  <a:cubicBezTo>
                    <a:pt x="274" y="529"/>
                    <a:pt x="274" y="529"/>
                    <a:pt x="274" y="529"/>
                  </a:cubicBezTo>
                  <a:cubicBezTo>
                    <a:pt x="285" y="511"/>
                    <a:pt x="298" y="490"/>
                    <a:pt x="302" y="483"/>
                  </a:cubicBezTo>
                  <a:cubicBezTo>
                    <a:pt x="307" y="474"/>
                    <a:pt x="320" y="438"/>
                    <a:pt x="328" y="417"/>
                  </a:cubicBezTo>
                  <a:cubicBezTo>
                    <a:pt x="333" y="402"/>
                    <a:pt x="333" y="402"/>
                    <a:pt x="333" y="402"/>
                  </a:cubicBezTo>
                  <a:cubicBezTo>
                    <a:pt x="333" y="402"/>
                    <a:pt x="342" y="565"/>
                    <a:pt x="350" y="582"/>
                  </a:cubicBezTo>
                  <a:cubicBezTo>
                    <a:pt x="357" y="598"/>
                    <a:pt x="369" y="730"/>
                    <a:pt x="369" y="730"/>
                  </a:cubicBezTo>
                  <a:cubicBezTo>
                    <a:pt x="373" y="741"/>
                    <a:pt x="375" y="754"/>
                    <a:pt x="375" y="766"/>
                  </a:cubicBezTo>
                  <a:cubicBezTo>
                    <a:pt x="373" y="787"/>
                    <a:pt x="392" y="876"/>
                    <a:pt x="392" y="876"/>
                  </a:cubicBezTo>
                  <a:cubicBezTo>
                    <a:pt x="392" y="876"/>
                    <a:pt x="401" y="939"/>
                    <a:pt x="395" y="956"/>
                  </a:cubicBezTo>
                  <a:cubicBezTo>
                    <a:pt x="389" y="973"/>
                    <a:pt x="394" y="1095"/>
                    <a:pt x="394" y="1095"/>
                  </a:cubicBezTo>
                  <a:cubicBezTo>
                    <a:pt x="394" y="1095"/>
                    <a:pt x="363" y="1119"/>
                    <a:pt x="356" y="1138"/>
                  </a:cubicBezTo>
                  <a:cubicBezTo>
                    <a:pt x="348" y="1156"/>
                    <a:pt x="357" y="1206"/>
                    <a:pt x="357" y="1206"/>
                  </a:cubicBezTo>
                  <a:cubicBezTo>
                    <a:pt x="357" y="1206"/>
                    <a:pt x="446" y="1250"/>
                    <a:pt x="485" y="1238"/>
                  </a:cubicBezTo>
                  <a:cubicBezTo>
                    <a:pt x="524" y="1227"/>
                    <a:pt x="508" y="1160"/>
                    <a:pt x="508" y="1160"/>
                  </a:cubicBezTo>
                  <a:cubicBezTo>
                    <a:pt x="508" y="1160"/>
                    <a:pt x="535" y="1115"/>
                    <a:pt x="535" y="1098"/>
                  </a:cubicBezTo>
                  <a:cubicBezTo>
                    <a:pt x="535" y="1081"/>
                    <a:pt x="544" y="1028"/>
                    <a:pt x="544" y="1028"/>
                  </a:cubicBezTo>
                  <a:cubicBezTo>
                    <a:pt x="578" y="966"/>
                    <a:pt x="565" y="815"/>
                    <a:pt x="570" y="803"/>
                  </a:cubicBezTo>
                  <a:cubicBezTo>
                    <a:pt x="576" y="791"/>
                    <a:pt x="559" y="745"/>
                    <a:pt x="545" y="725"/>
                  </a:cubicBezTo>
                  <a:cubicBezTo>
                    <a:pt x="531" y="704"/>
                    <a:pt x="537" y="649"/>
                    <a:pt x="545" y="633"/>
                  </a:cubicBezTo>
                  <a:cubicBezTo>
                    <a:pt x="553" y="617"/>
                    <a:pt x="536" y="561"/>
                    <a:pt x="536" y="561"/>
                  </a:cubicBezTo>
                  <a:cubicBezTo>
                    <a:pt x="536" y="561"/>
                    <a:pt x="552" y="454"/>
                    <a:pt x="552" y="437"/>
                  </a:cubicBezTo>
                  <a:cubicBezTo>
                    <a:pt x="551" y="420"/>
                    <a:pt x="566" y="371"/>
                    <a:pt x="566" y="371"/>
                  </a:cubicBezTo>
                  <a:cubicBezTo>
                    <a:pt x="566" y="371"/>
                    <a:pt x="580" y="345"/>
                    <a:pt x="577" y="338"/>
                  </a:cubicBezTo>
                  <a:cubicBezTo>
                    <a:pt x="574" y="330"/>
                    <a:pt x="588" y="310"/>
                    <a:pt x="584" y="301"/>
                  </a:cubicBezTo>
                  <a:cubicBezTo>
                    <a:pt x="580" y="292"/>
                    <a:pt x="587" y="265"/>
                    <a:pt x="595" y="249"/>
                  </a:cubicBezTo>
                  <a:cubicBezTo>
                    <a:pt x="598" y="241"/>
                    <a:pt x="603" y="218"/>
                    <a:pt x="607" y="198"/>
                  </a:cubicBezTo>
                  <a:cubicBezTo>
                    <a:pt x="610" y="179"/>
                    <a:pt x="613" y="162"/>
                    <a:pt x="613" y="162"/>
                  </a:cubicBezTo>
                  <a:cubicBezTo>
                    <a:pt x="521" y="88"/>
                    <a:pt x="521" y="88"/>
                    <a:pt x="521" y="88"/>
                  </a:cubicBezTo>
                  <a:cubicBezTo>
                    <a:pt x="292" y="28"/>
                    <a:pt x="292" y="28"/>
                    <a:pt x="292" y="28"/>
                  </a:cubicBezTo>
                  <a:cubicBezTo>
                    <a:pt x="206" y="0"/>
                    <a:pt x="206" y="0"/>
                    <a:pt x="206" y="0"/>
                  </a:cubicBezTo>
                  <a:cubicBezTo>
                    <a:pt x="123" y="132"/>
                    <a:pt x="123" y="132"/>
                    <a:pt x="123" y="132"/>
                  </a:cubicBezTo>
                  <a:cubicBezTo>
                    <a:pt x="117" y="142"/>
                    <a:pt x="111" y="152"/>
                    <a:pt x="106" y="162"/>
                  </a:cubicBezTo>
                  <a:cubicBezTo>
                    <a:pt x="100" y="176"/>
                    <a:pt x="94" y="191"/>
                    <a:pt x="95" y="201"/>
                  </a:cubicBezTo>
                  <a:cubicBezTo>
                    <a:pt x="96" y="213"/>
                    <a:pt x="94" y="225"/>
                    <a:pt x="87" y="235"/>
                  </a:cubicBezTo>
                  <a:cubicBezTo>
                    <a:pt x="87" y="235"/>
                    <a:pt x="37" y="393"/>
                    <a:pt x="38" y="439"/>
                  </a:cubicBezTo>
                  <a:cubicBezTo>
                    <a:pt x="39" y="484"/>
                    <a:pt x="21" y="584"/>
                    <a:pt x="21" y="584"/>
                  </a:cubicBezTo>
                  <a:cubicBezTo>
                    <a:pt x="21" y="584"/>
                    <a:pt x="0" y="648"/>
                    <a:pt x="12" y="667"/>
                  </a:cubicBezTo>
                </a:path>
              </a:pathLst>
            </a:custGeom>
            <a:solidFill>
              <a:srgbClr val="CEDDF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9" name="iṥļíḓe">
              <a:extLst>
                <a:ext uri="{FF2B5EF4-FFF2-40B4-BE49-F238E27FC236}">
                  <a16:creationId xmlns:a16="http://schemas.microsoft.com/office/drawing/2014/main" id="{E9FA3EA8-2141-4D27-9F43-F29017B94BF9}"/>
                </a:ext>
              </a:extLst>
            </p:cNvPr>
            <p:cNvSpPr/>
            <p:nvPr/>
          </p:nvSpPr>
          <p:spPr bwMode="auto">
            <a:xfrm>
              <a:off x="7847013" y="2068513"/>
              <a:ext cx="452438" cy="447675"/>
            </a:xfrm>
            <a:custGeom>
              <a:avLst/>
              <a:gdLst>
                <a:gd name="T0" fmla="*/ 62 w 307"/>
                <a:gd name="T1" fmla="*/ 305 h 305"/>
                <a:gd name="T2" fmla="*/ 274 w 307"/>
                <a:gd name="T3" fmla="*/ 184 h 305"/>
                <a:gd name="T4" fmla="*/ 213 w 307"/>
                <a:gd name="T5" fmla="*/ 83 h 305"/>
                <a:gd name="T6" fmla="*/ 194 w 307"/>
                <a:gd name="T7" fmla="*/ 34 h 305"/>
                <a:gd name="T8" fmla="*/ 69 w 307"/>
                <a:gd name="T9" fmla="*/ 118 h 305"/>
                <a:gd name="T10" fmla="*/ 94 w 307"/>
                <a:gd name="T11" fmla="*/ 177 h 305"/>
                <a:gd name="T12" fmla="*/ 62 w 307"/>
                <a:gd name="T13" fmla="*/ 305 h 305"/>
              </a:gdLst>
              <a:ahLst/>
              <a:cxnLst>
                <a:cxn ang="0">
                  <a:pos x="T0" y="T1"/>
                </a:cxn>
                <a:cxn ang="0">
                  <a:pos x="T2" y="T3"/>
                </a:cxn>
                <a:cxn ang="0">
                  <a:pos x="T4" y="T5"/>
                </a:cxn>
                <a:cxn ang="0">
                  <a:pos x="T6" y="T7"/>
                </a:cxn>
                <a:cxn ang="0">
                  <a:pos x="T8" y="T9"/>
                </a:cxn>
                <a:cxn ang="0">
                  <a:pos x="T10" y="T11"/>
                </a:cxn>
                <a:cxn ang="0">
                  <a:pos x="T12" y="T13"/>
                </a:cxn>
              </a:cxnLst>
              <a:rect l="0" t="0" r="r" b="b"/>
              <a:pathLst>
                <a:path w="307" h="305">
                  <a:moveTo>
                    <a:pt x="62" y="305"/>
                  </a:moveTo>
                  <a:cubicBezTo>
                    <a:pt x="66" y="303"/>
                    <a:pt x="307" y="204"/>
                    <a:pt x="274" y="184"/>
                  </a:cubicBezTo>
                  <a:cubicBezTo>
                    <a:pt x="254" y="172"/>
                    <a:pt x="230" y="122"/>
                    <a:pt x="213" y="83"/>
                  </a:cubicBezTo>
                  <a:cubicBezTo>
                    <a:pt x="202" y="56"/>
                    <a:pt x="194" y="34"/>
                    <a:pt x="194" y="34"/>
                  </a:cubicBezTo>
                  <a:cubicBezTo>
                    <a:pt x="194" y="34"/>
                    <a:pt x="0" y="0"/>
                    <a:pt x="69" y="118"/>
                  </a:cubicBezTo>
                  <a:cubicBezTo>
                    <a:pt x="80" y="136"/>
                    <a:pt x="88" y="156"/>
                    <a:pt x="94" y="177"/>
                  </a:cubicBezTo>
                  <a:cubicBezTo>
                    <a:pt x="114" y="258"/>
                    <a:pt x="64" y="303"/>
                    <a:pt x="62" y="305"/>
                  </a:cubicBezTo>
                </a:path>
              </a:pathLst>
            </a:custGeom>
            <a:solidFill>
              <a:srgbClr val="FEC2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0" name="ïS1ïḋe">
              <a:extLst>
                <a:ext uri="{FF2B5EF4-FFF2-40B4-BE49-F238E27FC236}">
                  <a16:creationId xmlns:a16="http://schemas.microsoft.com/office/drawing/2014/main" id="{55CD238B-987E-49AA-BE9C-81AAD6DEC8F0}"/>
                </a:ext>
              </a:extLst>
            </p:cNvPr>
            <p:cNvSpPr/>
            <p:nvPr/>
          </p:nvSpPr>
          <p:spPr bwMode="auto">
            <a:xfrm>
              <a:off x="7983538" y="2201863"/>
              <a:ext cx="173038" cy="127000"/>
            </a:xfrm>
            <a:custGeom>
              <a:avLst/>
              <a:gdLst>
                <a:gd name="T0" fmla="*/ 116 w 117"/>
                <a:gd name="T1" fmla="*/ 0 h 86"/>
                <a:gd name="T2" fmla="*/ 115 w 117"/>
                <a:gd name="T3" fmla="*/ 1 h 86"/>
                <a:gd name="T4" fmla="*/ 115 w 117"/>
                <a:gd name="T5" fmla="*/ 1 h 86"/>
                <a:gd name="T6" fmla="*/ 0 w 117"/>
                <a:gd name="T7" fmla="*/ 81 h 86"/>
                <a:gd name="T8" fmla="*/ 1 w 117"/>
                <a:gd name="T9" fmla="*/ 86 h 86"/>
                <a:gd name="T10" fmla="*/ 115 w 117"/>
                <a:gd name="T11" fmla="*/ 5 h 86"/>
                <a:gd name="T12" fmla="*/ 117 w 117"/>
                <a:gd name="T13" fmla="*/ 2 h 86"/>
                <a:gd name="T14" fmla="*/ 116 w 117"/>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 h="86">
                  <a:moveTo>
                    <a:pt x="116" y="0"/>
                  </a:moveTo>
                  <a:cubicBezTo>
                    <a:pt x="116" y="0"/>
                    <a:pt x="115" y="1"/>
                    <a:pt x="115" y="1"/>
                  </a:cubicBezTo>
                  <a:cubicBezTo>
                    <a:pt x="115" y="1"/>
                    <a:pt x="115" y="1"/>
                    <a:pt x="115" y="1"/>
                  </a:cubicBezTo>
                  <a:cubicBezTo>
                    <a:pt x="95" y="46"/>
                    <a:pt x="51" y="78"/>
                    <a:pt x="0" y="81"/>
                  </a:cubicBezTo>
                  <a:cubicBezTo>
                    <a:pt x="0" y="83"/>
                    <a:pt x="0" y="84"/>
                    <a:pt x="1" y="86"/>
                  </a:cubicBezTo>
                  <a:cubicBezTo>
                    <a:pt x="51" y="82"/>
                    <a:pt x="95" y="51"/>
                    <a:pt x="115" y="5"/>
                  </a:cubicBezTo>
                  <a:cubicBezTo>
                    <a:pt x="116" y="4"/>
                    <a:pt x="116" y="3"/>
                    <a:pt x="117" y="2"/>
                  </a:cubicBezTo>
                  <a:cubicBezTo>
                    <a:pt x="116" y="1"/>
                    <a:pt x="116" y="0"/>
                    <a:pt x="116" y="0"/>
                  </a:cubicBezTo>
                </a:path>
              </a:pathLst>
            </a:custGeom>
            <a:solidFill>
              <a:srgbClr val="E4AE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1" name="îşlíḑe">
              <a:extLst>
                <a:ext uri="{FF2B5EF4-FFF2-40B4-BE49-F238E27FC236}">
                  <a16:creationId xmlns:a16="http://schemas.microsoft.com/office/drawing/2014/main" id="{9007B885-A0DF-4DFA-9869-808B4E128A46}"/>
                </a:ext>
              </a:extLst>
            </p:cNvPr>
            <p:cNvSpPr/>
            <p:nvPr/>
          </p:nvSpPr>
          <p:spPr bwMode="auto">
            <a:xfrm>
              <a:off x="7772401" y="1924050"/>
              <a:ext cx="398463" cy="398463"/>
            </a:xfrm>
            <a:custGeom>
              <a:avLst/>
              <a:gdLst>
                <a:gd name="T0" fmla="*/ 0 w 271"/>
                <a:gd name="T1" fmla="*/ 135 h 271"/>
                <a:gd name="T2" fmla="*/ 135 w 271"/>
                <a:gd name="T3" fmla="*/ 271 h 271"/>
                <a:gd name="T4" fmla="*/ 271 w 271"/>
                <a:gd name="T5" fmla="*/ 135 h 271"/>
                <a:gd name="T6" fmla="*/ 135 w 271"/>
                <a:gd name="T7" fmla="*/ 0 h 271"/>
                <a:gd name="T8" fmla="*/ 5 w 271"/>
                <a:gd name="T9" fmla="*/ 98 h 271"/>
                <a:gd name="T10" fmla="*/ 0 w 271"/>
                <a:gd name="T11" fmla="*/ 135 h 271"/>
              </a:gdLst>
              <a:ahLst/>
              <a:cxnLst>
                <a:cxn ang="0">
                  <a:pos x="T0" y="T1"/>
                </a:cxn>
                <a:cxn ang="0">
                  <a:pos x="T2" y="T3"/>
                </a:cxn>
                <a:cxn ang="0">
                  <a:pos x="T4" y="T5"/>
                </a:cxn>
                <a:cxn ang="0">
                  <a:pos x="T6" y="T7"/>
                </a:cxn>
                <a:cxn ang="0">
                  <a:pos x="T8" y="T9"/>
                </a:cxn>
                <a:cxn ang="0">
                  <a:pos x="T10" y="T11"/>
                </a:cxn>
              </a:cxnLst>
              <a:rect l="0" t="0" r="r" b="b"/>
              <a:pathLst>
                <a:path w="271" h="271">
                  <a:moveTo>
                    <a:pt x="0" y="135"/>
                  </a:moveTo>
                  <a:cubicBezTo>
                    <a:pt x="0" y="210"/>
                    <a:pt x="61" y="271"/>
                    <a:pt x="135" y="271"/>
                  </a:cubicBezTo>
                  <a:cubicBezTo>
                    <a:pt x="210" y="270"/>
                    <a:pt x="271" y="210"/>
                    <a:pt x="271" y="135"/>
                  </a:cubicBezTo>
                  <a:cubicBezTo>
                    <a:pt x="271" y="60"/>
                    <a:pt x="210" y="0"/>
                    <a:pt x="135" y="0"/>
                  </a:cubicBezTo>
                  <a:cubicBezTo>
                    <a:pt x="75" y="0"/>
                    <a:pt x="22" y="40"/>
                    <a:pt x="5" y="98"/>
                  </a:cubicBezTo>
                  <a:cubicBezTo>
                    <a:pt x="2" y="110"/>
                    <a:pt x="0" y="123"/>
                    <a:pt x="0" y="135"/>
                  </a:cubicBezTo>
                </a:path>
              </a:pathLst>
            </a:custGeom>
            <a:solidFill>
              <a:srgbClr val="FEC2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2" name="ïšḻiḑè">
              <a:extLst>
                <a:ext uri="{FF2B5EF4-FFF2-40B4-BE49-F238E27FC236}">
                  <a16:creationId xmlns:a16="http://schemas.microsoft.com/office/drawing/2014/main" id="{70446295-EF02-417A-9E75-211F8D42621B}"/>
                </a:ext>
              </a:extLst>
            </p:cNvPr>
            <p:cNvSpPr/>
            <p:nvPr/>
          </p:nvSpPr>
          <p:spPr bwMode="auto">
            <a:xfrm>
              <a:off x="7580313" y="3657600"/>
              <a:ext cx="3175" cy="6350"/>
            </a:xfrm>
            <a:custGeom>
              <a:avLst/>
              <a:gdLst>
                <a:gd name="T0" fmla="*/ 2 w 2"/>
                <a:gd name="T1" fmla="*/ 0 h 4"/>
                <a:gd name="T2" fmla="*/ 0 w 2"/>
                <a:gd name="T3" fmla="*/ 4 h 4"/>
                <a:gd name="T4" fmla="*/ 0 w 2"/>
                <a:gd name="T5" fmla="*/ 4 h 4"/>
                <a:gd name="T6" fmla="*/ 2 w 2"/>
                <a:gd name="T7" fmla="*/ 0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cubicBezTo>
                    <a:pt x="2" y="1"/>
                    <a:pt x="1" y="3"/>
                    <a:pt x="0" y="4"/>
                  </a:cubicBezTo>
                  <a:cubicBezTo>
                    <a:pt x="0" y="4"/>
                    <a:pt x="0" y="4"/>
                    <a:pt x="0" y="4"/>
                  </a:cubicBezTo>
                  <a:cubicBezTo>
                    <a:pt x="1" y="3"/>
                    <a:pt x="2" y="1"/>
                    <a:pt x="2" y="0"/>
                  </a:cubicBezTo>
                  <a:cubicBezTo>
                    <a:pt x="2" y="0"/>
                    <a:pt x="2" y="0"/>
                    <a:pt x="2" y="0"/>
                  </a:cubicBezTo>
                </a:path>
              </a:pathLst>
            </a:custGeom>
            <a:solidFill>
              <a:srgbClr val="4B62E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3" name="îŝḻíďè">
              <a:extLst>
                <a:ext uri="{FF2B5EF4-FFF2-40B4-BE49-F238E27FC236}">
                  <a16:creationId xmlns:a16="http://schemas.microsoft.com/office/drawing/2014/main" id="{8B63912D-CF4C-4601-83D2-C4BA7D5BE52A}"/>
                </a:ext>
              </a:extLst>
            </p:cNvPr>
            <p:cNvSpPr/>
            <p:nvPr/>
          </p:nvSpPr>
          <p:spPr bwMode="auto">
            <a:xfrm>
              <a:off x="7580313" y="3517900"/>
              <a:ext cx="166688" cy="239713"/>
            </a:xfrm>
            <a:custGeom>
              <a:avLst/>
              <a:gdLst>
                <a:gd name="T0" fmla="*/ 114 w 114"/>
                <a:gd name="T1" fmla="*/ 0 h 164"/>
                <a:gd name="T2" fmla="*/ 80 w 114"/>
                <a:gd name="T3" fmla="*/ 145 h 164"/>
                <a:gd name="T4" fmla="*/ 73 w 114"/>
                <a:gd name="T5" fmla="*/ 155 h 164"/>
                <a:gd name="T6" fmla="*/ 18 w 114"/>
                <a:gd name="T7" fmla="*/ 129 h 164"/>
                <a:gd name="T8" fmla="*/ 2 w 114"/>
                <a:gd name="T9" fmla="*/ 96 h 164"/>
                <a:gd name="T10" fmla="*/ 0 w 114"/>
                <a:gd name="T11" fmla="*/ 100 h 164"/>
                <a:gd name="T12" fmla="*/ 20 w 114"/>
                <a:gd name="T13" fmla="*/ 137 h 164"/>
                <a:gd name="T14" fmla="*/ 75 w 114"/>
                <a:gd name="T15" fmla="*/ 164 h 164"/>
                <a:gd name="T16" fmla="*/ 82 w 114"/>
                <a:gd name="T17" fmla="*/ 154 h 164"/>
                <a:gd name="T18" fmla="*/ 114 w 114"/>
                <a:gd name="T19" fmla="*/ 17 h 164"/>
                <a:gd name="T20" fmla="*/ 114 w 114"/>
                <a:gd name="T21"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164">
                  <a:moveTo>
                    <a:pt x="114" y="0"/>
                  </a:moveTo>
                  <a:cubicBezTo>
                    <a:pt x="114" y="0"/>
                    <a:pt x="75" y="116"/>
                    <a:pt x="80" y="145"/>
                  </a:cubicBezTo>
                  <a:cubicBezTo>
                    <a:pt x="81" y="152"/>
                    <a:pt x="78" y="155"/>
                    <a:pt x="73" y="155"/>
                  </a:cubicBezTo>
                  <a:cubicBezTo>
                    <a:pt x="56" y="155"/>
                    <a:pt x="18" y="129"/>
                    <a:pt x="18" y="129"/>
                  </a:cubicBezTo>
                  <a:cubicBezTo>
                    <a:pt x="18" y="129"/>
                    <a:pt x="13" y="109"/>
                    <a:pt x="2" y="96"/>
                  </a:cubicBezTo>
                  <a:cubicBezTo>
                    <a:pt x="2" y="97"/>
                    <a:pt x="1" y="99"/>
                    <a:pt x="0" y="100"/>
                  </a:cubicBezTo>
                  <a:cubicBezTo>
                    <a:pt x="15" y="113"/>
                    <a:pt x="20" y="137"/>
                    <a:pt x="20" y="137"/>
                  </a:cubicBezTo>
                  <a:cubicBezTo>
                    <a:pt x="20" y="137"/>
                    <a:pt x="58" y="164"/>
                    <a:pt x="75" y="164"/>
                  </a:cubicBezTo>
                  <a:cubicBezTo>
                    <a:pt x="80" y="164"/>
                    <a:pt x="83" y="161"/>
                    <a:pt x="82" y="154"/>
                  </a:cubicBezTo>
                  <a:cubicBezTo>
                    <a:pt x="78" y="130"/>
                    <a:pt x="105" y="44"/>
                    <a:pt x="114" y="17"/>
                  </a:cubicBezTo>
                  <a:cubicBezTo>
                    <a:pt x="114" y="0"/>
                    <a:pt x="114" y="0"/>
                    <a:pt x="114" y="0"/>
                  </a:cubicBezTo>
                </a:path>
              </a:pathLst>
            </a:custGeom>
            <a:solidFill>
              <a:srgbClr val="B9C6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4" name="iṧḷîďê">
              <a:extLst>
                <a:ext uri="{FF2B5EF4-FFF2-40B4-BE49-F238E27FC236}">
                  <a16:creationId xmlns:a16="http://schemas.microsoft.com/office/drawing/2014/main" id="{E7150CDC-08A1-46C4-BAA7-40BC6FB873A2}"/>
                </a:ext>
              </a:extLst>
            </p:cNvPr>
            <p:cNvSpPr/>
            <p:nvPr/>
          </p:nvSpPr>
          <p:spPr bwMode="auto">
            <a:xfrm>
              <a:off x="8316913" y="3706813"/>
              <a:ext cx="1588" cy="9525"/>
            </a:xfrm>
            <a:custGeom>
              <a:avLst/>
              <a:gdLst>
                <a:gd name="T0" fmla="*/ 1 w 1"/>
                <a:gd name="T1" fmla="*/ 0 h 7"/>
                <a:gd name="T2" fmla="*/ 0 w 1"/>
                <a:gd name="T3" fmla="*/ 7 h 7"/>
                <a:gd name="T4" fmla="*/ 0 w 1"/>
                <a:gd name="T5" fmla="*/ 7 h 7"/>
                <a:gd name="T6" fmla="*/ 0 w 1"/>
                <a:gd name="T7" fmla="*/ 7 h 7"/>
                <a:gd name="T8" fmla="*/ 1 w 1"/>
                <a:gd name="T9" fmla="*/ 0 h 7"/>
                <a:gd name="T10" fmla="*/ 1 w 1"/>
                <a:gd name="T11" fmla="*/ 0 h 7"/>
              </a:gdLst>
              <a:ahLst/>
              <a:cxnLst>
                <a:cxn ang="0">
                  <a:pos x="T0" y="T1"/>
                </a:cxn>
                <a:cxn ang="0">
                  <a:pos x="T2" y="T3"/>
                </a:cxn>
                <a:cxn ang="0">
                  <a:pos x="T4" y="T5"/>
                </a:cxn>
                <a:cxn ang="0">
                  <a:pos x="T6" y="T7"/>
                </a:cxn>
                <a:cxn ang="0">
                  <a:pos x="T8" y="T9"/>
                </a:cxn>
                <a:cxn ang="0">
                  <a:pos x="T10" y="T11"/>
                </a:cxn>
              </a:cxnLst>
              <a:rect l="0" t="0" r="r" b="b"/>
              <a:pathLst>
                <a:path w="1" h="7">
                  <a:moveTo>
                    <a:pt x="1" y="0"/>
                  </a:moveTo>
                  <a:cubicBezTo>
                    <a:pt x="0" y="2"/>
                    <a:pt x="0" y="5"/>
                    <a:pt x="0" y="7"/>
                  </a:cubicBezTo>
                  <a:cubicBezTo>
                    <a:pt x="0" y="7"/>
                    <a:pt x="0" y="7"/>
                    <a:pt x="0" y="7"/>
                  </a:cubicBezTo>
                  <a:cubicBezTo>
                    <a:pt x="0" y="7"/>
                    <a:pt x="0" y="7"/>
                    <a:pt x="0" y="7"/>
                  </a:cubicBezTo>
                  <a:cubicBezTo>
                    <a:pt x="0" y="5"/>
                    <a:pt x="0" y="2"/>
                    <a:pt x="1" y="0"/>
                  </a:cubicBezTo>
                  <a:cubicBezTo>
                    <a:pt x="1" y="0"/>
                    <a:pt x="1" y="0"/>
                    <a:pt x="1" y="0"/>
                  </a:cubicBezTo>
                </a:path>
              </a:pathLst>
            </a:custGeom>
            <a:solidFill>
              <a:srgbClr val="4B62E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5" name="iṡľíďê">
              <a:extLst>
                <a:ext uri="{FF2B5EF4-FFF2-40B4-BE49-F238E27FC236}">
                  <a16:creationId xmlns:a16="http://schemas.microsoft.com/office/drawing/2014/main" id="{83BEF6ED-AC32-443C-AADE-91600E449DD7}"/>
                </a:ext>
              </a:extLst>
            </p:cNvPr>
            <p:cNvSpPr/>
            <p:nvPr/>
          </p:nvSpPr>
          <p:spPr bwMode="auto">
            <a:xfrm>
              <a:off x="7743826" y="3646488"/>
              <a:ext cx="574675" cy="115888"/>
            </a:xfrm>
            <a:custGeom>
              <a:avLst/>
              <a:gdLst>
                <a:gd name="T0" fmla="*/ 333 w 390"/>
                <a:gd name="T1" fmla="*/ 0 h 79"/>
                <a:gd name="T2" fmla="*/ 226 w 390"/>
                <a:gd name="T3" fmla="*/ 45 h 79"/>
                <a:gd name="T4" fmla="*/ 0 w 390"/>
                <a:gd name="T5" fmla="*/ 70 h 79"/>
                <a:gd name="T6" fmla="*/ 0 w 390"/>
                <a:gd name="T7" fmla="*/ 79 h 79"/>
                <a:gd name="T8" fmla="*/ 229 w 390"/>
                <a:gd name="T9" fmla="*/ 54 h 79"/>
                <a:gd name="T10" fmla="*/ 335 w 390"/>
                <a:gd name="T11" fmla="*/ 9 h 79"/>
                <a:gd name="T12" fmla="*/ 389 w 390"/>
                <a:gd name="T13" fmla="*/ 48 h 79"/>
                <a:gd name="T14" fmla="*/ 389 w 390"/>
                <a:gd name="T15" fmla="*/ 48 h 79"/>
                <a:gd name="T16" fmla="*/ 390 w 390"/>
                <a:gd name="T17" fmla="*/ 41 h 79"/>
                <a:gd name="T18" fmla="*/ 333 w 390"/>
                <a:gd name="T19"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0" h="79">
                  <a:moveTo>
                    <a:pt x="333" y="0"/>
                  </a:moveTo>
                  <a:cubicBezTo>
                    <a:pt x="333" y="0"/>
                    <a:pt x="242" y="29"/>
                    <a:pt x="226" y="45"/>
                  </a:cubicBezTo>
                  <a:cubicBezTo>
                    <a:pt x="212" y="60"/>
                    <a:pt x="24" y="69"/>
                    <a:pt x="0" y="70"/>
                  </a:cubicBezTo>
                  <a:cubicBezTo>
                    <a:pt x="0" y="79"/>
                    <a:pt x="0" y="79"/>
                    <a:pt x="0" y="79"/>
                  </a:cubicBezTo>
                  <a:cubicBezTo>
                    <a:pt x="0" y="79"/>
                    <a:pt x="213" y="69"/>
                    <a:pt x="229" y="54"/>
                  </a:cubicBezTo>
                  <a:cubicBezTo>
                    <a:pt x="244" y="38"/>
                    <a:pt x="335" y="9"/>
                    <a:pt x="335" y="9"/>
                  </a:cubicBezTo>
                  <a:cubicBezTo>
                    <a:pt x="335" y="9"/>
                    <a:pt x="363" y="31"/>
                    <a:pt x="389" y="48"/>
                  </a:cubicBezTo>
                  <a:cubicBezTo>
                    <a:pt x="389" y="48"/>
                    <a:pt x="389" y="48"/>
                    <a:pt x="389" y="48"/>
                  </a:cubicBezTo>
                  <a:cubicBezTo>
                    <a:pt x="389" y="46"/>
                    <a:pt x="389" y="43"/>
                    <a:pt x="390" y="41"/>
                  </a:cubicBezTo>
                  <a:cubicBezTo>
                    <a:pt x="363" y="24"/>
                    <a:pt x="333" y="0"/>
                    <a:pt x="333" y="0"/>
                  </a:cubicBezTo>
                </a:path>
              </a:pathLst>
            </a:custGeom>
            <a:solidFill>
              <a:srgbClr val="B9C6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6" name="ïSľîḍé">
              <a:extLst>
                <a:ext uri="{FF2B5EF4-FFF2-40B4-BE49-F238E27FC236}">
                  <a16:creationId xmlns:a16="http://schemas.microsoft.com/office/drawing/2014/main" id="{5652CADA-18A3-4F4D-A62E-75F7230D3463}"/>
                </a:ext>
              </a:extLst>
            </p:cNvPr>
            <p:cNvSpPr/>
            <p:nvPr/>
          </p:nvSpPr>
          <p:spPr bwMode="auto">
            <a:xfrm>
              <a:off x="7535863" y="2249488"/>
              <a:ext cx="855663" cy="1524000"/>
            </a:xfrm>
            <a:custGeom>
              <a:avLst/>
              <a:gdLst>
                <a:gd name="T0" fmla="*/ 23 w 582"/>
                <a:gd name="T1" fmla="*/ 951 h 1037"/>
                <a:gd name="T2" fmla="*/ 48 w 582"/>
                <a:gd name="T3" fmla="*/ 992 h 1037"/>
                <a:gd name="T4" fmla="*/ 110 w 582"/>
                <a:gd name="T5" fmla="*/ 1008 h 1037"/>
                <a:gd name="T6" fmla="*/ 144 w 582"/>
                <a:gd name="T7" fmla="*/ 863 h 1037"/>
                <a:gd name="T8" fmla="*/ 140 w 582"/>
                <a:gd name="T9" fmla="*/ 1022 h 1037"/>
                <a:gd name="T10" fmla="*/ 368 w 582"/>
                <a:gd name="T11" fmla="*/ 996 h 1037"/>
                <a:gd name="T12" fmla="*/ 475 w 582"/>
                <a:gd name="T13" fmla="*/ 951 h 1037"/>
                <a:gd name="T14" fmla="*/ 568 w 582"/>
                <a:gd name="T15" fmla="*/ 1008 h 1037"/>
                <a:gd name="T16" fmla="*/ 543 w 582"/>
                <a:gd name="T17" fmla="*/ 895 h 1037"/>
                <a:gd name="T18" fmla="*/ 502 w 582"/>
                <a:gd name="T19" fmla="*/ 265 h 1037"/>
                <a:gd name="T20" fmla="*/ 496 w 582"/>
                <a:gd name="T21" fmla="*/ 71 h 1037"/>
                <a:gd name="T22" fmla="*/ 489 w 582"/>
                <a:gd name="T23" fmla="*/ 66 h 1037"/>
                <a:gd name="T24" fmla="*/ 474 w 582"/>
                <a:gd name="T25" fmla="*/ 20 h 1037"/>
                <a:gd name="T26" fmla="*/ 446 w 582"/>
                <a:gd name="T27" fmla="*/ 10 h 1037"/>
                <a:gd name="T28" fmla="*/ 462 w 582"/>
                <a:gd name="T29" fmla="*/ 30 h 1037"/>
                <a:gd name="T30" fmla="*/ 324 w 582"/>
                <a:gd name="T31" fmla="*/ 113 h 1037"/>
                <a:gd name="T32" fmla="*/ 323 w 582"/>
                <a:gd name="T33" fmla="*/ 114 h 1037"/>
                <a:gd name="T34" fmla="*/ 306 w 582"/>
                <a:gd name="T35" fmla="*/ 107 h 1037"/>
                <a:gd name="T36" fmla="*/ 267 w 582"/>
                <a:gd name="T37" fmla="*/ 102 h 1037"/>
                <a:gd name="T38" fmla="*/ 253 w 582"/>
                <a:gd name="T39" fmla="*/ 115 h 1037"/>
                <a:gd name="T40" fmla="*/ 234 w 582"/>
                <a:gd name="T41" fmla="*/ 153 h 1037"/>
                <a:gd name="T42" fmla="*/ 184 w 582"/>
                <a:gd name="T43" fmla="*/ 237 h 1037"/>
                <a:gd name="T44" fmla="*/ 159 w 582"/>
                <a:gd name="T45" fmla="*/ 354 h 1037"/>
                <a:gd name="T46" fmla="*/ 142 w 582"/>
                <a:gd name="T47" fmla="*/ 471 h 1037"/>
                <a:gd name="T48" fmla="*/ 128 w 582"/>
                <a:gd name="T49" fmla="*/ 554 h 1037"/>
                <a:gd name="T50" fmla="*/ 122 w 582"/>
                <a:gd name="T51" fmla="*/ 633 h 1037"/>
                <a:gd name="T52" fmla="*/ 67 w 582"/>
                <a:gd name="T53" fmla="*/ 765 h 1037"/>
                <a:gd name="T54" fmla="*/ 4 w 582"/>
                <a:gd name="T55" fmla="*/ 893 h 1037"/>
                <a:gd name="T56" fmla="*/ 23 w 582"/>
                <a:gd name="T57" fmla="*/ 951 h 1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82" h="1037">
                  <a:moveTo>
                    <a:pt x="23" y="951"/>
                  </a:moveTo>
                  <a:cubicBezTo>
                    <a:pt x="41" y="962"/>
                    <a:pt x="48" y="992"/>
                    <a:pt x="48" y="992"/>
                  </a:cubicBezTo>
                  <a:cubicBezTo>
                    <a:pt x="48" y="992"/>
                    <a:pt x="114" y="1037"/>
                    <a:pt x="110" y="1008"/>
                  </a:cubicBezTo>
                  <a:cubicBezTo>
                    <a:pt x="105" y="979"/>
                    <a:pt x="144" y="863"/>
                    <a:pt x="144" y="863"/>
                  </a:cubicBezTo>
                  <a:cubicBezTo>
                    <a:pt x="140" y="1022"/>
                    <a:pt x="140" y="1022"/>
                    <a:pt x="140" y="1022"/>
                  </a:cubicBezTo>
                  <a:cubicBezTo>
                    <a:pt x="140" y="1022"/>
                    <a:pt x="353" y="1012"/>
                    <a:pt x="368" y="996"/>
                  </a:cubicBezTo>
                  <a:cubicBezTo>
                    <a:pt x="384" y="980"/>
                    <a:pt x="475" y="951"/>
                    <a:pt x="475" y="951"/>
                  </a:cubicBezTo>
                  <a:cubicBezTo>
                    <a:pt x="475" y="951"/>
                    <a:pt x="554" y="1014"/>
                    <a:pt x="568" y="1008"/>
                  </a:cubicBezTo>
                  <a:cubicBezTo>
                    <a:pt x="582" y="1003"/>
                    <a:pt x="543" y="895"/>
                    <a:pt x="543" y="895"/>
                  </a:cubicBezTo>
                  <a:cubicBezTo>
                    <a:pt x="502" y="265"/>
                    <a:pt x="502" y="265"/>
                    <a:pt x="502" y="265"/>
                  </a:cubicBezTo>
                  <a:cubicBezTo>
                    <a:pt x="502" y="265"/>
                    <a:pt x="513" y="77"/>
                    <a:pt x="496" y="71"/>
                  </a:cubicBezTo>
                  <a:cubicBezTo>
                    <a:pt x="493" y="70"/>
                    <a:pt x="491" y="68"/>
                    <a:pt x="489" y="66"/>
                  </a:cubicBezTo>
                  <a:cubicBezTo>
                    <a:pt x="478" y="56"/>
                    <a:pt x="475" y="36"/>
                    <a:pt x="474" y="20"/>
                  </a:cubicBezTo>
                  <a:cubicBezTo>
                    <a:pt x="473" y="0"/>
                    <a:pt x="446" y="10"/>
                    <a:pt x="446" y="10"/>
                  </a:cubicBezTo>
                  <a:cubicBezTo>
                    <a:pt x="462" y="30"/>
                    <a:pt x="462" y="30"/>
                    <a:pt x="462" y="30"/>
                  </a:cubicBezTo>
                  <a:cubicBezTo>
                    <a:pt x="324" y="113"/>
                    <a:pt x="324" y="113"/>
                    <a:pt x="324" y="113"/>
                  </a:cubicBezTo>
                  <a:cubicBezTo>
                    <a:pt x="323" y="114"/>
                    <a:pt x="323" y="114"/>
                    <a:pt x="323" y="114"/>
                  </a:cubicBezTo>
                  <a:cubicBezTo>
                    <a:pt x="318" y="111"/>
                    <a:pt x="312" y="109"/>
                    <a:pt x="306" y="107"/>
                  </a:cubicBezTo>
                  <a:cubicBezTo>
                    <a:pt x="294" y="102"/>
                    <a:pt x="278" y="97"/>
                    <a:pt x="267" y="102"/>
                  </a:cubicBezTo>
                  <a:cubicBezTo>
                    <a:pt x="262" y="105"/>
                    <a:pt x="256" y="109"/>
                    <a:pt x="253" y="115"/>
                  </a:cubicBezTo>
                  <a:cubicBezTo>
                    <a:pt x="245" y="127"/>
                    <a:pt x="239" y="139"/>
                    <a:pt x="234" y="153"/>
                  </a:cubicBezTo>
                  <a:cubicBezTo>
                    <a:pt x="184" y="237"/>
                    <a:pt x="184" y="237"/>
                    <a:pt x="184" y="237"/>
                  </a:cubicBezTo>
                  <a:cubicBezTo>
                    <a:pt x="184" y="237"/>
                    <a:pt x="159" y="349"/>
                    <a:pt x="159" y="354"/>
                  </a:cubicBezTo>
                  <a:cubicBezTo>
                    <a:pt x="159" y="358"/>
                    <a:pt x="151" y="460"/>
                    <a:pt x="142" y="471"/>
                  </a:cubicBezTo>
                  <a:cubicBezTo>
                    <a:pt x="133" y="482"/>
                    <a:pt x="124" y="538"/>
                    <a:pt x="128" y="554"/>
                  </a:cubicBezTo>
                  <a:cubicBezTo>
                    <a:pt x="131" y="571"/>
                    <a:pt x="122" y="633"/>
                    <a:pt x="122" y="633"/>
                  </a:cubicBezTo>
                  <a:cubicBezTo>
                    <a:pt x="86" y="663"/>
                    <a:pt x="67" y="765"/>
                    <a:pt x="67" y="765"/>
                  </a:cubicBezTo>
                  <a:cubicBezTo>
                    <a:pt x="67" y="765"/>
                    <a:pt x="9" y="880"/>
                    <a:pt x="4" y="893"/>
                  </a:cubicBezTo>
                  <a:cubicBezTo>
                    <a:pt x="0" y="906"/>
                    <a:pt x="6" y="940"/>
                    <a:pt x="23" y="95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7" name="ïṣ1ïďe">
              <a:extLst>
                <a:ext uri="{FF2B5EF4-FFF2-40B4-BE49-F238E27FC236}">
                  <a16:creationId xmlns:a16="http://schemas.microsoft.com/office/drawing/2014/main" id="{296A4B63-E3E3-4759-AC08-3E0E140A5E9D}"/>
                </a:ext>
              </a:extLst>
            </p:cNvPr>
            <p:cNvSpPr/>
            <p:nvPr/>
          </p:nvSpPr>
          <p:spPr bwMode="auto">
            <a:xfrm>
              <a:off x="8191501" y="2268538"/>
              <a:ext cx="11113" cy="20638"/>
            </a:xfrm>
            <a:custGeom>
              <a:avLst/>
              <a:gdLst>
                <a:gd name="T0" fmla="*/ 3 w 7"/>
                <a:gd name="T1" fmla="*/ 0 h 14"/>
                <a:gd name="T2" fmla="*/ 0 w 7"/>
                <a:gd name="T3" fmla="*/ 1 h 14"/>
                <a:gd name="T4" fmla="*/ 3 w 7"/>
                <a:gd name="T5" fmla="*/ 5 h 14"/>
                <a:gd name="T6" fmla="*/ 7 w 7"/>
                <a:gd name="T7" fmla="*/ 14 h 14"/>
                <a:gd name="T8" fmla="*/ 5 w 7"/>
                <a:gd name="T9" fmla="*/ 3 h 14"/>
                <a:gd name="T10" fmla="*/ 3 w 7"/>
                <a:gd name="T11" fmla="*/ 0 h 14"/>
              </a:gdLst>
              <a:ahLst/>
              <a:cxnLst>
                <a:cxn ang="0">
                  <a:pos x="T0" y="T1"/>
                </a:cxn>
                <a:cxn ang="0">
                  <a:pos x="T2" y="T3"/>
                </a:cxn>
                <a:cxn ang="0">
                  <a:pos x="T4" y="T5"/>
                </a:cxn>
                <a:cxn ang="0">
                  <a:pos x="T6" y="T7"/>
                </a:cxn>
                <a:cxn ang="0">
                  <a:pos x="T8" y="T9"/>
                </a:cxn>
                <a:cxn ang="0">
                  <a:pos x="T10" y="T11"/>
                </a:cxn>
              </a:cxnLst>
              <a:rect l="0" t="0" r="r" b="b"/>
              <a:pathLst>
                <a:path w="7" h="14">
                  <a:moveTo>
                    <a:pt x="3" y="0"/>
                  </a:moveTo>
                  <a:cubicBezTo>
                    <a:pt x="1" y="1"/>
                    <a:pt x="0" y="1"/>
                    <a:pt x="0" y="1"/>
                  </a:cubicBezTo>
                  <a:cubicBezTo>
                    <a:pt x="3" y="5"/>
                    <a:pt x="3" y="5"/>
                    <a:pt x="3" y="5"/>
                  </a:cubicBezTo>
                  <a:cubicBezTo>
                    <a:pt x="5" y="8"/>
                    <a:pt x="7" y="11"/>
                    <a:pt x="7" y="14"/>
                  </a:cubicBezTo>
                  <a:cubicBezTo>
                    <a:pt x="7" y="10"/>
                    <a:pt x="7" y="6"/>
                    <a:pt x="5" y="3"/>
                  </a:cubicBezTo>
                  <a:cubicBezTo>
                    <a:pt x="3" y="0"/>
                    <a:pt x="3" y="0"/>
                    <a:pt x="3" y="0"/>
                  </a:cubicBezTo>
                </a:path>
              </a:pathLst>
            </a:custGeom>
            <a:solidFill>
              <a:srgbClr val="E4AE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8" name="íS1íďe">
              <a:extLst>
                <a:ext uri="{FF2B5EF4-FFF2-40B4-BE49-F238E27FC236}">
                  <a16:creationId xmlns:a16="http://schemas.microsoft.com/office/drawing/2014/main" id="{AE1E24DE-4E4B-46BF-8DEE-6615706D0F2A}"/>
                </a:ext>
              </a:extLst>
            </p:cNvPr>
            <p:cNvSpPr/>
            <p:nvPr/>
          </p:nvSpPr>
          <p:spPr bwMode="auto">
            <a:xfrm>
              <a:off x="8012113" y="2268538"/>
              <a:ext cx="242888" cy="225425"/>
            </a:xfrm>
            <a:custGeom>
              <a:avLst/>
              <a:gdLst>
                <a:gd name="T0" fmla="*/ 163 w 165"/>
                <a:gd name="T1" fmla="*/ 55 h 153"/>
                <a:gd name="T2" fmla="*/ 53 w 165"/>
                <a:gd name="T3" fmla="*/ 148 h 153"/>
                <a:gd name="T4" fmla="*/ 2 w 165"/>
                <a:gd name="T5" fmla="*/ 103 h 153"/>
                <a:gd name="T6" fmla="*/ 0 w 165"/>
                <a:gd name="T7" fmla="*/ 105 h 153"/>
                <a:gd name="T8" fmla="*/ 53 w 165"/>
                <a:gd name="T9" fmla="*/ 153 h 153"/>
                <a:gd name="T10" fmla="*/ 165 w 165"/>
                <a:gd name="T11" fmla="*/ 58 h 153"/>
                <a:gd name="T12" fmla="*/ 165 w 165"/>
                <a:gd name="T13" fmla="*/ 58 h 153"/>
                <a:gd name="T14" fmla="*/ 163 w 165"/>
                <a:gd name="T15" fmla="*/ 55 h 153"/>
                <a:gd name="T16" fmla="*/ 125 w 165"/>
                <a:gd name="T17" fmla="*/ 0 h 153"/>
                <a:gd name="T18" fmla="*/ 125 w 165"/>
                <a:gd name="T19" fmla="*/ 0 h 153"/>
                <a:gd name="T20" fmla="*/ 127 w 165"/>
                <a:gd name="T21" fmla="*/ 3 h 153"/>
                <a:gd name="T22" fmla="*/ 125 w 165"/>
                <a:gd name="T23" fmla="*/ 1 h 153"/>
                <a:gd name="T24" fmla="*/ 125 w 165"/>
                <a:gd name="T2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5" h="153">
                  <a:moveTo>
                    <a:pt x="163" y="55"/>
                  </a:moveTo>
                  <a:cubicBezTo>
                    <a:pt x="53" y="148"/>
                    <a:pt x="53" y="148"/>
                    <a:pt x="53" y="148"/>
                  </a:cubicBezTo>
                  <a:cubicBezTo>
                    <a:pt x="53" y="148"/>
                    <a:pt x="17" y="123"/>
                    <a:pt x="2" y="103"/>
                  </a:cubicBezTo>
                  <a:cubicBezTo>
                    <a:pt x="0" y="105"/>
                    <a:pt x="0" y="105"/>
                    <a:pt x="0" y="105"/>
                  </a:cubicBezTo>
                  <a:cubicBezTo>
                    <a:pt x="14" y="125"/>
                    <a:pt x="53" y="153"/>
                    <a:pt x="53" y="153"/>
                  </a:cubicBezTo>
                  <a:cubicBezTo>
                    <a:pt x="165" y="58"/>
                    <a:pt x="165" y="58"/>
                    <a:pt x="165" y="58"/>
                  </a:cubicBezTo>
                  <a:cubicBezTo>
                    <a:pt x="165" y="58"/>
                    <a:pt x="165" y="58"/>
                    <a:pt x="165" y="58"/>
                  </a:cubicBezTo>
                  <a:cubicBezTo>
                    <a:pt x="164" y="57"/>
                    <a:pt x="163" y="56"/>
                    <a:pt x="163" y="55"/>
                  </a:cubicBezTo>
                  <a:moveTo>
                    <a:pt x="125" y="0"/>
                  </a:moveTo>
                  <a:cubicBezTo>
                    <a:pt x="125" y="0"/>
                    <a:pt x="125" y="0"/>
                    <a:pt x="125" y="0"/>
                  </a:cubicBezTo>
                  <a:cubicBezTo>
                    <a:pt x="127" y="3"/>
                    <a:pt x="127" y="3"/>
                    <a:pt x="127" y="3"/>
                  </a:cubicBezTo>
                  <a:cubicBezTo>
                    <a:pt x="126" y="2"/>
                    <a:pt x="126" y="1"/>
                    <a:pt x="125" y="1"/>
                  </a:cubicBezTo>
                  <a:cubicBezTo>
                    <a:pt x="125" y="0"/>
                    <a:pt x="125" y="0"/>
                    <a:pt x="125"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9" name="iṡ1îḓè">
              <a:extLst>
                <a:ext uri="{FF2B5EF4-FFF2-40B4-BE49-F238E27FC236}">
                  <a16:creationId xmlns:a16="http://schemas.microsoft.com/office/drawing/2014/main" id="{B798E96D-D940-409A-90D0-64BFA8612D20}"/>
                </a:ext>
              </a:extLst>
            </p:cNvPr>
            <p:cNvSpPr/>
            <p:nvPr/>
          </p:nvSpPr>
          <p:spPr bwMode="auto">
            <a:xfrm>
              <a:off x="8012113" y="2249488"/>
              <a:ext cx="242888" cy="236538"/>
            </a:xfrm>
            <a:custGeom>
              <a:avLst/>
              <a:gdLst>
                <a:gd name="T0" fmla="*/ 0 w 165"/>
                <a:gd name="T1" fmla="*/ 113 h 161"/>
                <a:gd name="T2" fmla="*/ 53 w 165"/>
                <a:gd name="T3" fmla="*/ 161 h 161"/>
                <a:gd name="T4" fmla="*/ 165 w 165"/>
                <a:gd name="T5" fmla="*/ 66 h 161"/>
                <a:gd name="T6" fmla="*/ 150 w 165"/>
                <a:gd name="T7" fmla="*/ 20 h 161"/>
                <a:gd name="T8" fmla="*/ 122 w 165"/>
                <a:gd name="T9" fmla="*/ 10 h 161"/>
                <a:gd name="T10" fmla="*/ 125 w 165"/>
                <a:gd name="T11" fmla="*/ 14 h 161"/>
                <a:gd name="T12" fmla="*/ 122 w 165"/>
                <a:gd name="T13" fmla="*/ 39 h 161"/>
                <a:gd name="T14" fmla="*/ 120 w 165"/>
                <a:gd name="T15" fmla="*/ 40 h 161"/>
                <a:gd name="T16" fmla="*/ 0 w 165"/>
                <a:gd name="T17" fmla="*/ 11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161">
                  <a:moveTo>
                    <a:pt x="0" y="113"/>
                  </a:moveTo>
                  <a:cubicBezTo>
                    <a:pt x="14" y="133"/>
                    <a:pt x="53" y="161"/>
                    <a:pt x="53" y="161"/>
                  </a:cubicBezTo>
                  <a:cubicBezTo>
                    <a:pt x="165" y="66"/>
                    <a:pt x="165" y="66"/>
                    <a:pt x="165" y="66"/>
                  </a:cubicBezTo>
                  <a:cubicBezTo>
                    <a:pt x="154" y="56"/>
                    <a:pt x="151" y="36"/>
                    <a:pt x="150" y="20"/>
                  </a:cubicBezTo>
                  <a:cubicBezTo>
                    <a:pt x="149" y="0"/>
                    <a:pt x="122" y="10"/>
                    <a:pt x="122" y="10"/>
                  </a:cubicBezTo>
                  <a:cubicBezTo>
                    <a:pt x="125" y="14"/>
                    <a:pt x="125" y="14"/>
                    <a:pt x="125" y="14"/>
                  </a:cubicBezTo>
                  <a:cubicBezTo>
                    <a:pt x="131" y="21"/>
                    <a:pt x="130" y="33"/>
                    <a:pt x="122" y="39"/>
                  </a:cubicBezTo>
                  <a:cubicBezTo>
                    <a:pt x="122" y="39"/>
                    <a:pt x="121" y="39"/>
                    <a:pt x="120" y="40"/>
                  </a:cubicBezTo>
                  <a:cubicBezTo>
                    <a:pt x="0" y="113"/>
                    <a:pt x="0" y="113"/>
                    <a:pt x="0" y="1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0" name="îS1íḋe">
              <a:extLst>
                <a:ext uri="{FF2B5EF4-FFF2-40B4-BE49-F238E27FC236}">
                  <a16:creationId xmlns:a16="http://schemas.microsoft.com/office/drawing/2014/main" id="{1C51ADAB-F64F-4B4D-B36D-E87CF1A692A2}"/>
                </a:ext>
              </a:extLst>
            </p:cNvPr>
            <p:cNvSpPr/>
            <p:nvPr/>
          </p:nvSpPr>
          <p:spPr bwMode="auto">
            <a:xfrm>
              <a:off x="8008938" y="2414588"/>
              <a:ext cx="3175" cy="1588"/>
            </a:xfrm>
            <a:custGeom>
              <a:avLst/>
              <a:gdLst>
                <a:gd name="T0" fmla="*/ 0 w 2"/>
                <a:gd name="T1" fmla="*/ 0 h 1"/>
                <a:gd name="T2" fmla="*/ 1 w 2"/>
                <a:gd name="T3" fmla="*/ 0 h 1"/>
                <a:gd name="T4" fmla="*/ 1 w 2"/>
                <a:gd name="T5" fmla="*/ 1 h 1"/>
                <a:gd name="T6" fmla="*/ 1 w 2"/>
                <a:gd name="T7" fmla="*/ 1 h 1"/>
                <a:gd name="T8" fmla="*/ 2 w 2"/>
                <a:gd name="T9" fmla="*/ 0 h 1"/>
                <a:gd name="T10" fmla="*/ 2 w 2"/>
                <a:gd name="T11" fmla="*/ 0 h 1"/>
                <a:gd name="T12" fmla="*/ 2 w 2"/>
                <a:gd name="T13" fmla="*/ 0 h 1"/>
                <a:gd name="T14" fmla="*/ 2 w 2"/>
                <a:gd name="T15" fmla="*/ 0 h 1"/>
                <a:gd name="T16" fmla="*/ 0 w 2"/>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
                  <a:moveTo>
                    <a:pt x="0" y="0"/>
                  </a:moveTo>
                  <a:cubicBezTo>
                    <a:pt x="1" y="0"/>
                    <a:pt x="1" y="0"/>
                    <a:pt x="1" y="0"/>
                  </a:cubicBezTo>
                  <a:cubicBezTo>
                    <a:pt x="1" y="0"/>
                    <a:pt x="1" y="1"/>
                    <a:pt x="1" y="1"/>
                  </a:cubicBezTo>
                  <a:cubicBezTo>
                    <a:pt x="1" y="1"/>
                    <a:pt x="1" y="1"/>
                    <a:pt x="1" y="1"/>
                  </a:cubicBezTo>
                  <a:cubicBezTo>
                    <a:pt x="2" y="0"/>
                    <a:pt x="2" y="0"/>
                    <a:pt x="2" y="0"/>
                  </a:cubicBezTo>
                  <a:cubicBezTo>
                    <a:pt x="2" y="0"/>
                    <a:pt x="2" y="0"/>
                    <a:pt x="2" y="0"/>
                  </a:cubicBezTo>
                  <a:cubicBezTo>
                    <a:pt x="2" y="0"/>
                    <a:pt x="2" y="0"/>
                    <a:pt x="2" y="0"/>
                  </a:cubicBezTo>
                  <a:cubicBezTo>
                    <a:pt x="2" y="0"/>
                    <a:pt x="2" y="0"/>
                    <a:pt x="2" y="0"/>
                  </a:cubicBezTo>
                  <a:cubicBezTo>
                    <a:pt x="2" y="0"/>
                    <a:pt x="1" y="0"/>
                    <a:pt x="0" y="0"/>
                  </a:cubicBezTo>
                </a:path>
              </a:pathLst>
            </a:custGeom>
            <a:solidFill>
              <a:srgbClr val="E4AE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1" name="ïṡḻiḋè">
              <a:extLst>
                <a:ext uri="{FF2B5EF4-FFF2-40B4-BE49-F238E27FC236}">
                  <a16:creationId xmlns:a16="http://schemas.microsoft.com/office/drawing/2014/main" id="{CA531D51-ECC4-48A4-9F48-79E0578AD131}"/>
                </a:ext>
              </a:extLst>
            </p:cNvPr>
            <p:cNvSpPr/>
            <p:nvPr/>
          </p:nvSpPr>
          <p:spPr bwMode="auto">
            <a:xfrm>
              <a:off x="7943851" y="2414588"/>
              <a:ext cx="71438" cy="66675"/>
            </a:xfrm>
            <a:custGeom>
              <a:avLst/>
              <a:gdLst>
                <a:gd name="T0" fmla="*/ 46 w 48"/>
                <a:gd name="T1" fmla="*/ 0 h 45"/>
                <a:gd name="T2" fmla="*/ 46 w 48"/>
                <a:gd name="T3" fmla="*/ 0 h 45"/>
                <a:gd name="T4" fmla="*/ 45 w 48"/>
                <a:gd name="T5" fmla="*/ 1 h 45"/>
                <a:gd name="T6" fmla="*/ 45 w 48"/>
                <a:gd name="T7" fmla="*/ 1 h 45"/>
                <a:gd name="T8" fmla="*/ 26 w 48"/>
                <a:gd name="T9" fmla="*/ 36 h 45"/>
                <a:gd name="T10" fmla="*/ 25 w 48"/>
                <a:gd name="T11" fmla="*/ 38 h 45"/>
                <a:gd name="T12" fmla="*/ 1 w 48"/>
                <a:gd name="T13" fmla="*/ 19 h 45"/>
                <a:gd name="T14" fmla="*/ 0 w 48"/>
                <a:gd name="T15" fmla="*/ 22 h 45"/>
                <a:gd name="T16" fmla="*/ 27 w 48"/>
                <a:gd name="T17" fmla="*/ 45 h 45"/>
                <a:gd name="T18" fmla="*/ 28 w 48"/>
                <a:gd name="T19" fmla="*/ 42 h 45"/>
                <a:gd name="T20" fmla="*/ 48 w 48"/>
                <a:gd name="T21" fmla="*/ 2 h 45"/>
                <a:gd name="T22" fmla="*/ 46 w 48"/>
                <a:gd name="T2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5">
                  <a:moveTo>
                    <a:pt x="46" y="0"/>
                  </a:moveTo>
                  <a:cubicBezTo>
                    <a:pt x="46" y="0"/>
                    <a:pt x="46" y="0"/>
                    <a:pt x="46" y="0"/>
                  </a:cubicBezTo>
                  <a:cubicBezTo>
                    <a:pt x="45" y="1"/>
                    <a:pt x="45" y="1"/>
                    <a:pt x="45" y="1"/>
                  </a:cubicBezTo>
                  <a:cubicBezTo>
                    <a:pt x="45" y="1"/>
                    <a:pt x="45" y="1"/>
                    <a:pt x="45" y="1"/>
                  </a:cubicBezTo>
                  <a:cubicBezTo>
                    <a:pt x="36" y="11"/>
                    <a:pt x="25" y="26"/>
                    <a:pt x="26" y="36"/>
                  </a:cubicBezTo>
                  <a:cubicBezTo>
                    <a:pt x="26" y="38"/>
                    <a:pt x="26" y="38"/>
                    <a:pt x="25" y="38"/>
                  </a:cubicBezTo>
                  <a:cubicBezTo>
                    <a:pt x="21" y="38"/>
                    <a:pt x="11" y="30"/>
                    <a:pt x="1" y="19"/>
                  </a:cubicBezTo>
                  <a:cubicBezTo>
                    <a:pt x="1" y="20"/>
                    <a:pt x="0" y="21"/>
                    <a:pt x="0" y="22"/>
                  </a:cubicBezTo>
                  <a:cubicBezTo>
                    <a:pt x="10" y="34"/>
                    <a:pt x="23" y="45"/>
                    <a:pt x="27" y="45"/>
                  </a:cubicBezTo>
                  <a:cubicBezTo>
                    <a:pt x="28" y="45"/>
                    <a:pt x="28" y="44"/>
                    <a:pt x="28" y="42"/>
                  </a:cubicBezTo>
                  <a:cubicBezTo>
                    <a:pt x="27" y="33"/>
                    <a:pt x="39" y="13"/>
                    <a:pt x="48" y="2"/>
                  </a:cubicBezTo>
                  <a:cubicBezTo>
                    <a:pt x="47" y="2"/>
                    <a:pt x="47" y="1"/>
                    <a:pt x="46"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2" name="ïşlíḍè">
              <a:extLst>
                <a:ext uri="{FF2B5EF4-FFF2-40B4-BE49-F238E27FC236}">
                  <a16:creationId xmlns:a16="http://schemas.microsoft.com/office/drawing/2014/main" id="{6EA8822D-D1D6-4E89-B66E-EFCA1FEC1B1B}"/>
                </a:ext>
              </a:extLst>
            </p:cNvPr>
            <p:cNvSpPr/>
            <p:nvPr/>
          </p:nvSpPr>
          <p:spPr bwMode="auto">
            <a:xfrm>
              <a:off x="8012113" y="2414588"/>
              <a:ext cx="4763" cy="3175"/>
            </a:xfrm>
            <a:custGeom>
              <a:avLst/>
              <a:gdLst>
                <a:gd name="T0" fmla="*/ 0 w 3"/>
                <a:gd name="T1" fmla="*/ 0 h 2"/>
                <a:gd name="T2" fmla="*/ 0 w 3"/>
                <a:gd name="T3" fmla="*/ 0 h 2"/>
                <a:gd name="T4" fmla="*/ 0 w 3"/>
                <a:gd name="T5" fmla="*/ 0 h 2"/>
                <a:gd name="T6" fmla="*/ 2 w 3"/>
                <a:gd name="T7" fmla="*/ 2 h 2"/>
                <a:gd name="T8" fmla="*/ 3 w 3"/>
                <a:gd name="T9" fmla="*/ 1 h 2"/>
                <a:gd name="T10" fmla="*/ 0 w 3"/>
                <a:gd name="T11" fmla="*/ 0 h 2"/>
              </a:gdLst>
              <a:ahLst/>
              <a:cxnLst>
                <a:cxn ang="0">
                  <a:pos x="T0" y="T1"/>
                </a:cxn>
                <a:cxn ang="0">
                  <a:pos x="T2" y="T3"/>
                </a:cxn>
                <a:cxn ang="0">
                  <a:pos x="T4" y="T5"/>
                </a:cxn>
                <a:cxn ang="0">
                  <a:pos x="T6" y="T7"/>
                </a:cxn>
                <a:cxn ang="0">
                  <a:pos x="T8" y="T9"/>
                </a:cxn>
                <a:cxn ang="0">
                  <a:pos x="T10" y="T11"/>
                </a:cxn>
              </a:cxnLst>
              <a:rect l="0" t="0" r="r" b="b"/>
              <a:pathLst>
                <a:path w="3" h="2">
                  <a:moveTo>
                    <a:pt x="0" y="0"/>
                  </a:moveTo>
                  <a:cubicBezTo>
                    <a:pt x="0" y="0"/>
                    <a:pt x="0" y="0"/>
                    <a:pt x="0" y="0"/>
                  </a:cubicBezTo>
                  <a:cubicBezTo>
                    <a:pt x="0" y="0"/>
                    <a:pt x="0" y="0"/>
                    <a:pt x="0" y="0"/>
                  </a:cubicBezTo>
                  <a:cubicBezTo>
                    <a:pt x="1" y="1"/>
                    <a:pt x="1" y="2"/>
                    <a:pt x="2" y="2"/>
                  </a:cubicBezTo>
                  <a:cubicBezTo>
                    <a:pt x="2" y="2"/>
                    <a:pt x="3" y="1"/>
                    <a:pt x="3" y="1"/>
                  </a:cubicBezTo>
                  <a:cubicBezTo>
                    <a:pt x="2" y="1"/>
                    <a:pt x="1" y="0"/>
                    <a:pt x="0"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3" name="íśḻîḋê">
              <a:extLst>
                <a:ext uri="{FF2B5EF4-FFF2-40B4-BE49-F238E27FC236}">
                  <a16:creationId xmlns:a16="http://schemas.microsoft.com/office/drawing/2014/main" id="{DDB954EF-1E44-4026-9009-92D17576FA13}"/>
                </a:ext>
              </a:extLst>
            </p:cNvPr>
            <p:cNvSpPr/>
            <p:nvPr/>
          </p:nvSpPr>
          <p:spPr bwMode="auto">
            <a:xfrm>
              <a:off x="7932738" y="2401888"/>
              <a:ext cx="77788" cy="80963"/>
            </a:xfrm>
            <a:custGeom>
              <a:avLst/>
              <a:gdLst>
                <a:gd name="T0" fmla="*/ 0 w 53"/>
                <a:gd name="T1" fmla="*/ 18 h 55"/>
                <a:gd name="T2" fmla="*/ 34 w 53"/>
                <a:gd name="T3" fmla="*/ 45 h 55"/>
                <a:gd name="T4" fmla="*/ 53 w 53"/>
                <a:gd name="T5" fmla="*/ 9 h 55"/>
                <a:gd name="T6" fmla="*/ 14 w 53"/>
                <a:gd name="T7" fmla="*/ 4 h 55"/>
                <a:gd name="T8" fmla="*/ 0 w 53"/>
                <a:gd name="T9" fmla="*/ 18 h 55"/>
              </a:gdLst>
              <a:ahLst/>
              <a:cxnLst>
                <a:cxn ang="0">
                  <a:pos x="T0" y="T1"/>
                </a:cxn>
                <a:cxn ang="0">
                  <a:pos x="T2" y="T3"/>
                </a:cxn>
                <a:cxn ang="0">
                  <a:pos x="T4" y="T5"/>
                </a:cxn>
                <a:cxn ang="0">
                  <a:pos x="T6" y="T7"/>
                </a:cxn>
                <a:cxn ang="0">
                  <a:pos x="T8" y="T9"/>
                </a:cxn>
              </a:cxnLst>
              <a:rect l="0" t="0" r="r" b="b"/>
              <a:pathLst>
                <a:path w="53" h="55">
                  <a:moveTo>
                    <a:pt x="0" y="18"/>
                  </a:moveTo>
                  <a:cubicBezTo>
                    <a:pt x="14" y="35"/>
                    <a:pt x="35" y="55"/>
                    <a:pt x="34" y="45"/>
                  </a:cubicBezTo>
                  <a:cubicBezTo>
                    <a:pt x="33" y="35"/>
                    <a:pt x="45" y="19"/>
                    <a:pt x="53" y="9"/>
                  </a:cubicBezTo>
                  <a:cubicBezTo>
                    <a:pt x="41" y="4"/>
                    <a:pt x="25" y="0"/>
                    <a:pt x="14" y="4"/>
                  </a:cubicBezTo>
                  <a:cubicBezTo>
                    <a:pt x="9" y="7"/>
                    <a:pt x="4" y="12"/>
                    <a:pt x="0" y="1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4" name="ïṧľíḋé">
              <a:extLst>
                <a:ext uri="{FF2B5EF4-FFF2-40B4-BE49-F238E27FC236}">
                  <a16:creationId xmlns:a16="http://schemas.microsoft.com/office/drawing/2014/main" id="{58370192-9CC3-443A-AFBB-426D7BEF7FED}"/>
                </a:ext>
              </a:extLst>
            </p:cNvPr>
            <p:cNvSpPr/>
            <p:nvPr/>
          </p:nvSpPr>
          <p:spPr bwMode="auto">
            <a:xfrm>
              <a:off x="7972426" y="2536825"/>
              <a:ext cx="26988" cy="26988"/>
            </a:xfrm>
            <a:prstGeom prst="ellipse">
              <a:avLst/>
            </a:prstGeom>
            <a:solidFill>
              <a:srgbClr val="FF718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5" name="ï$lïḋè">
              <a:extLst>
                <a:ext uri="{FF2B5EF4-FFF2-40B4-BE49-F238E27FC236}">
                  <a16:creationId xmlns:a16="http://schemas.microsoft.com/office/drawing/2014/main" id="{FAE7A543-4A62-48AD-BF6C-D6E5609C8EA4}"/>
                </a:ext>
              </a:extLst>
            </p:cNvPr>
            <p:cNvSpPr/>
            <p:nvPr/>
          </p:nvSpPr>
          <p:spPr bwMode="auto">
            <a:xfrm>
              <a:off x="7874001" y="2889250"/>
              <a:ext cx="26988" cy="25400"/>
            </a:xfrm>
            <a:prstGeom prst="ellipse">
              <a:avLst/>
            </a:prstGeom>
            <a:solidFill>
              <a:srgbClr val="FF718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6" name="îṣlïďè">
              <a:extLst>
                <a:ext uri="{FF2B5EF4-FFF2-40B4-BE49-F238E27FC236}">
                  <a16:creationId xmlns:a16="http://schemas.microsoft.com/office/drawing/2014/main" id="{03736655-18FC-4782-B42A-9FCC1833449E}"/>
                </a:ext>
              </a:extLst>
            </p:cNvPr>
            <p:cNvSpPr/>
            <p:nvPr/>
          </p:nvSpPr>
          <p:spPr bwMode="auto">
            <a:xfrm>
              <a:off x="7762876" y="3244850"/>
              <a:ext cx="25400" cy="26988"/>
            </a:xfrm>
            <a:prstGeom prst="ellipse">
              <a:avLst/>
            </a:prstGeom>
            <a:solidFill>
              <a:srgbClr val="FF718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7" name="íśḻîḋê">
              <a:extLst>
                <a:ext uri="{FF2B5EF4-FFF2-40B4-BE49-F238E27FC236}">
                  <a16:creationId xmlns:a16="http://schemas.microsoft.com/office/drawing/2014/main" id="{E778C14C-479F-43DF-897A-EA1C91768AEC}"/>
                </a:ext>
              </a:extLst>
            </p:cNvPr>
            <p:cNvSpPr/>
            <p:nvPr/>
          </p:nvSpPr>
          <p:spPr bwMode="auto">
            <a:xfrm>
              <a:off x="7759701" y="3633788"/>
              <a:ext cx="23813" cy="25400"/>
            </a:xfrm>
            <a:prstGeom prst="ellipse">
              <a:avLst/>
            </a:prstGeom>
            <a:solidFill>
              <a:srgbClr val="FF718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8" name="ïṧḻïḍé">
              <a:extLst>
                <a:ext uri="{FF2B5EF4-FFF2-40B4-BE49-F238E27FC236}">
                  <a16:creationId xmlns:a16="http://schemas.microsoft.com/office/drawing/2014/main" id="{3B749BDD-1180-4507-8C91-FE1ADFD9D80E}"/>
                </a:ext>
              </a:extLst>
            </p:cNvPr>
            <p:cNvSpPr/>
            <p:nvPr/>
          </p:nvSpPr>
          <p:spPr bwMode="auto">
            <a:xfrm>
              <a:off x="7915276" y="2703513"/>
              <a:ext cx="26988" cy="26988"/>
            </a:xfrm>
            <a:prstGeom prst="ellipse">
              <a:avLst/>
            </a:prstGeom>
            <a:solidFill>
              <a:srgbClr val="FF718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9" name="îşḷiḑé">
              <a:extLst>
                <a:ext uri="{FF2B5EF4-FFF2-40B4-BE49-F238E27FC236}">
                  <a16:creationId xmlns:a16="http://schemas.microsoft.com/office/drawing/2014/main" id="{1A041E49-98AC-4619-A1EA-12F463C248AC}"/>
                </a:ext>
              </a:extLst>
            </p:cNvPr>
            <p:cNvSpPr/>
            <p:nvPr/>
          </p:nvSpPr>
          <p:spPr bwMode="auto">
            <a:xfrm>
              <a:off x="7826376" y="3065463"/>
              <a:ext cx="26988" cy="25400"/>
            </a:xfrm>
            <a:prstGeom prst="ellipse">
              <a:avLst/>
            </a:prstGeom>
            <a:solidFill>
              <a:srgbClr val="FF718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0" name="îṥ1íḋe">
              <a:extLst>
                <a:ext uri="{FF2B5EF4-FFF2-40B4-BE49-F238E27FC236}">
                  <a16:creationId xmlns:a16="http://schemas.microsoft.com/office/drawing/2014/main" id="{BB2D8940-455F-430A-BB3B-CD1B9335516F}"/>
                </a:ext>
              </a:extLst>
            </p:cNvPr>
            <p:cNvSpPr/>
            <p:nvPr/>
          </p:nvSpPr>
          <p:spPr bwMode="auto">
            <a:xfrm>
              <a:off x="7742238" y="3421063"/>
              <a:ext cx="25400" cy="25400"/>
            </a:xfrm>
            <a:prstGeom prst="ellipse">
              <a:avLst/>
            </a:prstGeom>
            <a:solidFill>
              <a:srgbClr val="FF718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1" name="iSḷïḓê">
              <a:extLst>
                <a:ext uri="{FF2B5EF4-FFF2-40B4-BE49-F238E27FC236}">
                  <a16:creationId xmlns:a16="http://schemas.microsoft.com/office/drawing/2014/main" id="{A81037F2-B5C8-4B3D-85F9-B883F698F5DB}"/>
                </a:ext>
              </a:extLst>
            </p:cNvPr>
            <p:cNvSpPr/>
            <p:nvPr/>
          </p:nvSpPr>
          <p:spPr bwMode="auto">
            <a:xfrm>
              <a:off x="7761288" y="3676650"/>
              <a:ext cx="25400" cy="26988"/>
            </a:xfrm>
            <a:prstGeom prst="ellipse">
              <a:avLst/>
            </a:prstGeom>
            <a:solidFill>
              <a:srgbClr val="FF718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2" name="iṡlíḋê">
              <a:extLst>
                <a:ext uri="{FF2B5EF4-FFF2-40B4-BE49-F238E27FC236}">
                  <a16:creationId xmlns:a16="http://schemas.microsoft.com/office/drawing/2014/main" id="{A5B6690F-E9E0-4F6B-B4E0-2B76E2A77198}"/>
                </a:ext>
              </a:extLst>
            </p:cNvPr>
            <p:cNvSpPr/>
            <p:nvPr/>
          </p:nvSpPr>
          <p:spPr bwMode="auto">
            <a:xfrm>
              <a:off x="8258176" y="2349500"/>
              <a:ext cx="4763" cy="3175"/>
            </a:xfrm>
            <a:custGeom>
              <a:avLst/>
              <a:gdLst>
                <a:gd name="T0" fmla="*/ 0 w 3"/>
                <a:gd name="T1" fmla="*/ 0 h 2"/>
                <a:gd name="T2" fmla="*/ 0 w 3"/>
                <a:gd name="T3" fmla="*/ 0 h 2"/>
                <a:gd name="T4" fmla="*/ 3 w 3"/>
                <a:gd name="T5" fmla="*/ 2 h 2"/>
                <a:gd name="T6" fmla="*/ 3 w 3"/>
                <a:gd name="T7" fmla="*/ 1 h 2"/>
                <a:gd name="T8" fmla="*/ 0 w 3"/>
                <a:gd name="T9" fmla="*/ 0 h 2"/>
              </a:gdLst>
              <a:ahLst/>
              <a:cxnLst>
                <a:cxn ang="0">
                  <a:pos x="T0" y="T1"/>
                </a:cxn>
                <a:cxn ang="0">
                  <a:pos x="T2" y="T3"/>
                </a:cxn>
                <a:cxn ang="0">
                  <a:pos x="T4" y="T5"/>
                </a:cxn>
                <a:cxn ang="0">
                  <a:pos x="T6" y="T7"/>
                </a:cxn>
                <a:cxn ang="0">
                  <a:pos x="T8" y="T9"/>
                </a:cxn>
              </a:cxnLst>
              <a:rect l="0" t="0" r="r" b="b"/>
              <a:pathLst>
                <a:path w="3" h="2">
                  <a:moveTo>
                    <a:pt x="0" y="0"/>
                  </a:moveTo>
                  <a:cubicBezTo>
                    <a:pt x="0" y="0"/>
                    <a:pt x="0" y="0"/>
                    <a:pt x="0" y="0"/>
                  </a:cubicBezTo>
                  <a:cubicBezTo>
                    <a:pt x="1" y="0"/>
                    <a:pt x="2" y="1"/>
                    <a:pt x="3" y="2"/>
                  </a:cubicBezTo>
                  <a:cubicBezTo>
                    <a:pt x="3" y="1"/>
                    <a:pt x="3" y="1"/>
                    <a:pt x="3" y="1"/>
                  </a:cubicBezTo>
                  <a:cubicBezTo>
                    <a:pt x="2" y="0"/>
                    <a:pt x="1" y="0"/>
                    <a:pt x="0" y="0"/>
                  </a:cubicBezTo>
                </a:path>
              </a:pathLst>
            </a:custGeom>
            <a:solidFill>
              <a:srgbClr val="4B62E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3" name="isľíḑé">
              <a:extLst>
                <a:ext uri="{FF2B5EF4-FFF2-40B4-BE49-F238E27FC236}">
                  <a16:creationId xmlns:a16="http://schemas.microsoft.com/office/drawing/2014/main" id="{F8272602-DF79-4221-B3C8-CACC103B8DF1}"/>
                </a:ext>
              </a:extLst>
            </p:cNvPr>
            <p:cNvSpPr/>
            <p:nvPr/>
          </p:nvSpPr>
          <p:spPr bwMode="auto">
            <a:xfrm>
              <a:off x="7969251" y="2349500"/>
              <a:ext cx="293688" cy="1295400"/>
            </a:xfrm>
            <a:custGeom>
              <a:avLst/>
              <a:gdLst>
                <a:gd name="T0" fmla="*/ 0 w 199"/>
                <a:gd name="T1" fmla="*/ 634 h 882"/>
                <a:gd name="T2" fmla="*/ 114 w 199"/>
                <a:gd name="T3" fmla="*/ 875 h 882"/>
                <a:gd name="T4" fmla="*/ 146 w 199"/>
                <a:gd name="T5" fmla="*/ 882 h 882"/>
                <a:gd name="T6" fmla="*/ 149 w 199"/>
                <a:gd name="T7" fmla="*/ 882 h 882"/>
                <a:gd name="T8" fmla="*/ 118 w 199"/>
                <a:gd name="T9" fmla="*/ 875 h 882"/>
                <a:gd name="T10" fmla="*/ 4 w 199"/>
                <a:gd name="T11" fmla="*/ 635 h 882"/>
                <a:gd name="T12" fmla="*/ 0 w 199"/>
                <a:gd name="T13" fmla="*/ 634 h 882"/>
                <a:gd name="T14" fmla="*/ 196 w 199"/>
                <a:gd name="T15" fmla="*/ 0 h 882"/>
                <a:gd name="T16" fmla="*/ 194 w 199"/>
                <a:gd name="T17" fmla="*/ 3 h 882"/>
                <a:gd name="T18" fmla="*/ 194 w 199"/>
                <a:gd name="T19" fmla="*/ 3 h 882"/>
                <a:gd name="T20" fmla="*/ 194 w 199"/>
                <a:gd name="T21" fmla="*/ 3 h 882"/>
                <a:gd name="T22" fmla="*/ 194 w 199"/>
                <a:gd name="T23" fmla="*/ 4 h 882"/>
                <a:gd name="T24" fmla="*/ 103 w 199"/>
                <a:gd name="T25" fmla="*/ 194 h 882"/>
                <a:gd name="T26" fmla="*/ 32 w 199"/>
                <a:gd name="T27" fmla="*/ 390 h 882"/>
                <a:gd name="T28" fmla="*/ 8 w 199"/>
                <a:gd name="T29" fmla="*/ 500 h 882"/>
                <a:gd name="T30" fmla="*/ 13 w 199"/>
                <a:gd name="T31" fmla="*/ 500 h 882"/>
                <a:gd name="T32" fmla="*/ 37 w 199"/>
                <a:gd name="T33" fmla="*/ 390 h 882"/>
                <a:gd name="T34" fmla="*/ 107 w 199"/>
                <a:gd name="T35" fmla="*/ 194 h 882"/>
                <a:gd name="T36" fmla="*/ 198 w 199"/>
                <a:gd name="T37" fmla="*/ 4 h 882"/>
                <a:gd name="T38" fmla="*/ 199 w 199"/>
                <a:gd name="T39" fmla="*/ 2 h 882"/>
                <a:gd name="T40" fmla="*/ 196 w 199"/>
                <a:gd name="T41" fmla="*/ 0 h 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9" h="882">
                  <a:moveTo>
                    <a:pt x="0" y="634"/>
                  </a:moveTo>
                  <a:cubicBezTo>
                    <a:pt x="15" y="701"/>
                    <a:pt x="77" y="854"/>
                    <a:pt x="114" y="875"/>
                  </a:cubicBezTo>
                  <a:cubicBezTo>
                    <a:pt x="122" y="880"/>
                    <a:pt x="134" y="882"/>
                    <a:pt x="146" y="882"/>
                  </a:cubicBezTo>
                  <a:cubicBezTo>
                    <a:pt x="147" y="882"/>
                    <a:pt x="148" y="882"/>
                    <a:pt x="149" y="882"/>
                  </a:cubicBezTo>
                  <a:cubicBezTo>
                    <a:pt x="137" y="882"/>
                    <a:pt x="126" y="880"/>
                    <a:pt x="118" y="875"/>
                  </a:cubicBezTo>
                  <a:cubicBezTo>
                    <a:pt x="82" y="854"/>
                    <a:pt x="20" y="702"/>
                    <a:pt x="4" y="635"/>
                  </a:cubicBezTo>
                  <a:cubicBezTo>
                    <a:pt x="3" y="635"/>
                    <a:pt x="1" y="634"/>
                    <a:pt x="0" y="634"/>
                  </a:cubicBezTo>
                  <a:moveTo>
                    <a:pt x="196" y="0"/>
                  </a:moveTo>
                  <a:cubicBezTo>
                    <a:pt x="194" y="0"/>
                    <a:pt x="194" y="2"/>
                    <a:pt x="194" y="3"/>
                  </a:cubicBezTo>
                  <a:cubicBezTo>
                    <a:pt x="194" y="3"/>
                    <a:pt x="194" y="3"/>
                    <a:pt x="194" y="3"/>
                  </a:cubicBezTo>
                  <a:cubicBezTo>
                    <a:pt x="194" y="3"/>
                    <a:pt x="194" y="3"/>
                    <a:pt x="194" y="3"/>
                  </a:cubicBezTo>
                  <a:cubicBezTo>
                    <a:pt x="194" y="3"/>
                    <a:pt x="194" y="4"/>
                    <a:pt x="194" y="4"/>
                  </a:cubicBezTo>
                  <a:cubicBezTo>
                    <a:pt x="194" y="4"/>
                    <a:pt x="120" y="164"/>
                    <a:pt x="103" y="194"/>
                  </a:cubicBezTo>
                  <a:cubicBezTo>
                    <a:pt x="86" y="223"/>
                    <a:pt x="46" y="356"/>
                    <a:pt x="32" y="390"/>
                  </a:cubicBezTo>
                  <a:cubicBezTo>
                    <a:pt x="25" y="407"/>
                    <a:pt x="16" y="454"/>
                    <a:pt x="8" y="500"/>
                  </a:cubicBezTo>
                  <a:cubicBezTo>
                    <a:pt x="10" y="500"/>
                    <a:pt x="11" y="500"/>
                    <a:pt x="13" y="500"/>
                  </a:cubicBezTo>
                  <a:cubicBezTo>
                    <a:pt x="20" y="453"/>
                    <a:pt x="30" y="407"/>
                    <a:pt x="37" y="390"/>
                  </a:cubicBezTo>
                  <a:cubicBezTo>
                    <a:pt x="50" y="356"/>
                    <a:pt x="90" y="223"/>
                    <a:pt x="107" y="194"/>
                  </a:cubicBezTo>
                  <a:cubicBezTo>
                    <a:pt x="124" y="164"/>
                    <a:pt x="198" y="4"/>
                    <a:pt x="198" y="4"/>
                  </a:cubicBezTo>
                  <a:cubicBezTo>
                    <a:pt x="198" y="4"/>
                    <a:pt x="198" y="3"/>
                    <a:pt x="199" y="2"/>
                  </a:cubicBezTo>
                  <a:cubicBezTo>
                    <a:pt x="198" y="1"/>
                    <a:pt x="197" y="0"/>
                    <a:pt x="196"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4" name="îşḷïḍe">
              <a:extLst>
                <a:ext uri="{FF2B5EF4-FFF2-40B4-BE49-F238E27FC236}">
                  <a16:creationId xmlns:a16="http://schemas.microsoft.com/office/drawing/2014/main" id="{3D417236-A359-4108-8727-41BADC07B03F}"/>
                </a:ext>
              </a:extLst>
            </p:cNvPr>
            <p:cNvSpPr/>
            <p:nvPr/>
          </p:nvSpPr>
          <p:spPr bwMode="auto">
            <a:xfrm>
              <a:off x="8255001" y="235426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5" name="îṩḻïḋè">
              <a:extLst>
                <a:ext uri="{FF2B5EF4-FFF2-40B4-BE49-F238E27FC236}">
                  <a16:creationId xmlns:a16="http://schemas.microsoft.com/office/drawing/2014/main" id="{12AFCDAF-EAB4-4E1F-8AEE-89DBDCF99073}"/>
                </a:ext>
              </a:extLst>
            </p:cNvPr>
            <p:cNvSpPr/>
            <p:nvPr/>
          </p:nvSpPr>
          <p:spPr bwMode="auto">
            <a:xfrm>
              <a:off x="7967663" y="2335213"/>
              <a:ext cx="574675" cy="1335088"/>
            </a:xfrm>
            <a:custGeom>
              <a:avLst/>
              <a:gdLst>
                <a:gd name="T0" fmla="*/ 199 w 390"/>
                <a:gd name="T1" fmla="*/ 14 h 909"/>
                <a:gd name="T2" fmla="*/ 217 w 390"/>
                <a:gd name="T3" fmla="*/ 23 h 909"/>
                <a:gd name="T4" fmla="*/ 273 w 390"/>
                <a:gd name="T5" fmla="*/ 66 h 909"/>
                <a:gd name="T6" fmla="*/ 359 w 390"/>
                <a:gd name="T7" fmla="*/ 150 h 909"/>
                <a:gd name="T8" fmla="*/ 376 w 390"/>
                <a:gd name="T9" fmla="*/ 331 h 909"/>
                <a:gd name="T10" fmla="*/ 255 w 390"/>
                <a:gd name="T11" fmla="*/ 554 h 909"/>
                <a:gd name="T12" fmla="*/ 276 w 390"/>
                <a:gd name="T13" fmla="*/ 626 h 909"/>
                <a:gd name="T14" fmla="*/ 265 w 390"/>
                <a:gd name="T15" fmla="*/ 731 h 909"/>
                <a:gd name="T16" fmla="*/ 273 w 390"/>
                <a:gd name="T17" fmla="*/ 783 h 909"/>
                <a:gd name="T18" fmla="*/ 260 w 390"/>
                <a:gd name="T19" fmla="*/ 835 h 909"/>
                <a:gd name="T20" fmla="*/ 259 w 390"/>
                <a:gd name="T21" fmla="*/ 859 h 909"/>
                <a:gd name="T22" fmla="*/ 119 w 390"/>
                <a:gd name="T23" fmla="*/ 885 h 909"/>
                <a:gd name="T24" fmla="*/ 2 w 390"/>
                <a:gd name="T25" fmla="*/ 622 h 909"/>
                <a:gd name="T26" fmla="*/ 38 w 390"/>
                <a:gd name="T27" fmla="*/ 400 h 909"/>
                <a:gd name="T28" fmla="*/ 108 w 390"/>
                <a:gd name="T29" fmla="*/ 204 h 909"/>
                <a:gd name="T30" fmla="*/ 199 w 390"/>
                <a:gd name="T31" fmla="*/ 14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0" h="909">
                  <a:moveTo>
                    <a:pt x="199" y="14"/>
                  </a:moveTo>
                  <a:cubicBezTo>
                    <a:pt x="199" y="14"/>
                    <a:pt x="198" y="0"/>
                    <a:pt x="217" y="23"/>
                  </a:cubicBezTo>
                  <a:cubicBezTo>
                    <a:pt x="236" y="46"/>
                    <a:pt x="273" y="66"/>
                    <a:pt x="273" y="66"/>
                  </a:cubicBezTo>
                  <a:cubicBezTo>
                    <a:pt x="273" y="66"/>
                    <a:pt x="355" y="124"/>
                    <a:pt x="359" y="150"/>
                  </a:cubicBezTo>
                  <a:cubicBezTo>
                    <a:pt x="364" y="177"/>
                    <a:pt x="390" y="293"/>
                    <a:pt x="376" y="331"/>
                  </a:cubicBezTo>
                  <a:cubicBezTo>
                    <a:pt x="362" y="369"/>
                    <a:pt x="255" y="554"/>
                    <a:pt x="255" y="554"/>
                  </a:cubicBezTo>
                  <a:cubicBezTo>
                    <a:pt x="255" y="554"/>
                    <a:pt x="283" y="587"/>
                    <a:pt x="276" y="626"/>
                  </a:cubicBezTo>
                  <a:cubicBezTo>
                    <a:pt x="270" y="665"/>
                    <a:pt x="262" y="719"/>
                    <a:pt x="265" y="731"/>
                  </a:cubicBezTo>
                  <a:cubicBezTo>
                    <a:pt x="269" y="743"/>
                    <a:pt x="261" y="773"/>
                    <a:pt x="273" y="783"/>
                  </a:cubicBezTo>
                  <a:cubicBezTo>
                    <a:pt x="286" y="793"/>
                    <a:pt x="299" y="811"/>
                    <a:pt x="260" y="835"/>
                  </a:cubicBezTo>
                  <a:cubicBezTo>
                    <a:pt x="260" y="835"/>
                    <a:pt x="253" y="855"/>
                    <a:pt x="259" y="859"/>
                  </a:cubicBezTo>
                  <a:cubicBezTo>
                    <a:pt x="266" y="864"/>
                    <a:pt x="161" y="909"/>
                    <a:pt x="119" y="885"/>
                  </a:cubicBezTo>
                  <a:cubicBezTo>
                    <a:pt x="78" y="861"/>
                    <a:pt x="3" y="665"/>
                    <a:pt x="2" y="622"/>
                  </a:cubicBezTo>
                  <a:cubicBezTo>
                    <a:pt x="0" y="578"/>
                    <a:pt x="24" y="434"/>
                    <a:pt x="38" y="400"/>
                  </a:cubicBezTo>
                  <a:cubicBezTo>
                    <a:pt x="51" y="366"/>
                    <a:pt x="91" y="233"/>
                    <a:pt x="108" y="204"/>
                  </a:cubicBezTo>
                  <a:cubicBezTo>
                    <a:pt x="125" y="174"/>
                    <a:pt x="199" y="14"/>
                    <a:pt x="199" y="14"/>
                  </a:cubicBezTo>
                </a:path>
              </a:pathLst>
            </a:custGeom>
            <a:solidFill>
              <a:srgbClr val="4C498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6" name="íşḻïḍe">
              <a:extLst>
                <a:ext uri="{FF2B5EF4-FFF2-40B4-BE49-F238E27FC236}">
                  <a16:creationId xmlns:a16="http://schemas.microsoft.com/office/drawing/2014/main" id="{7F845388-0A05-40AC-9CB1-76DA0E5EBA9C}"/>
                </a:ext>
              </a:extLst>
            </p:cNvPr>
            <p:cNvSpPr/>
            <p:nvPr/>
          </p:nvSpPr>
          <p:spPr bwMode="auto">
            <a:xfrm>
              <a:off x="8213726" y="2540000"/>
              <a:ext cx="90488" cy="169863"/>
            </a:xfrm>
            <a:custGeom>
              <a:avLst/>
              <a:gdLst>
                <a:gd name="T0" fmla="*/ 2 w 62"/>
                <a:gd name="T1" fmla="*/ 103 h 116"/>
                <a:gd name="T2" fmla="*/ 1 w 62"/>
                <a:gd name="T3" fmla="*/ 116 h 116"/>
                <a:gd name="T4" fmla="*/ 2 w 62"/>
                <a:gd name="T5" fmla="*/ 103 h 116"/>
                <a:gd name="T6" fmla="*/ 62 w 62"/>
                <a:gd name="T7" fmla="*/ 0 h 116"/>
                <a:gd name="T8" fmla="*/ 2 w 62"/>
                <a:gd name="T9" fmla="*/ 103 h 116"/>
                <a:gd name="T10" fmla="*/ 62 w 62"/>
                <a:gd name="T11" fmla="*/ 0 h 116"/>
              </a:gdLst>
              <a:ahLst/>
              <a:cxnLst>
                <a:cxn ang="0">
                  <a:pos x="T0" y="T1"/>
                </a:cxn>
                <a:cxn ang="0">
                  <a:pos x="T2" y="T3"/>
                </a:cxn>
                <a:cxn ang="0">
                  <a:pos x="T4" y="T5"/>
                </a:cxn>
                <a:cxn ang="0">
                  <a:pos x="T6" y="T7"/>
                </a:cxn>
                <a:cxn ang="0">
                  <a:pos x="T8" y="T9"/>
                </a:cxn>
                <a:cxn ang="0">
                  <a:pos x="T10" y="T11"/>
                </a:cxn>
              </a:cxnLst>
              <a:rect l="0" t="0" r="r" b="b"/>
              <a:pathLst>
                <a:path w="62" h="116">
                  <a:moveTo>
                    <a:pt x="2" y="103"/>
                  </a:moveTo>
                  <a:cubicBezTo>
                    <a:pt x="1" y="108"/>
                    <a:pt x="0" y="112"/>
                    <a:pt x="1" y="116"/>
                  </a:cubicBezTo>
                  <a:cubicBezTo>
                    <a:pt x="1" y="116"/>
                    <a:pt x="1" y="111"/>
                    <a:pt x="2" y="103"/>
                  </a:cubicBezTo>
                  <a:moveTo>
                    <a:pt x="62" y="0"/>
                  </a:moveTo>
                  <a:cubicBezTo>
                    <a:pt x="16" y="30"/>
                    <a:pt x="5" y="79"/>
                    <a:pt x="2" y="103"/>
                  </a:cubicBezTo>
                  <a:cubicBezTo>
                    <a:pt x="10" y="57"/>
                    <a:pt x="62" y="0"/>
                    <a:pt x="62" y="0"/>
                  </a:cubicBezTo>
                </a:path>
              </a:pathLst>
            </a:custGeom>
            <a:solidFill>
              <a:srgbClr val="4442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7" name="iš1iḓe">
              <a:extLst>
                <a:ext uri="{FF2B5EF4-FFF2-40B4-BE49-F238E27FC236}">
                  <a16:creationId xmlns:a16="http://schemas.microsoft.com/office/drawing/2014/main" id="{D8D44AA0-6D4F-4AF1-BDAC-CD98E536324C}"/>
                </a:ext>
              </a:extLst>
            </p:cNvPr>
            <p:cNvSpPr/>
            <p:nvPr/>
          </p:nvSpPr>
          <p:spPr bwMode="auto">
            <a:xfrm>
              <a:off x="8069263" y="2709863"/>
              <a:ext cx="106363" cy="366713"/>
            </a:xfrm>
            <a:custGeom>
              <a:avLst/>
              <a:gdLst>
                <a:gd name="T0" fmla="*/ 72 w 72"/>
                <a:gd name="T1" fmla="*/ 0 h 250"/>
                <a:gd name="T2" fmla="*/ 17 w 72"/>
                <a:gd name="T3" fmla="*/ 143 h 250"/>
                <a:gd name="T4" fmla="*/ 0 w 72"/>
                <a:gd name="T5" fmla="*/ 250 h 250"/>
                <a:gd name="T6" fmla="*/ 8 w 72"/>
                <a:gd name="T7" fmla="*/ 248 h 250"/>
                <a:gd name="T8" fmla="*/ 14 w 72"/>
                <a:gd name="T9" fmla="*/ 245 h 250"/>
                <a:gd name="T10" fmla="*/ 16 w 72"/>
                <a:gd name="T11" fmla="*/ 246 h 250"/>
                <a:gd name="T12" fmla="*/ 18 w 72"/>
                <a:gd name="T13" fmla="*/ 245 h 250"/>
                <a:gd name="T14" fmla="*/ 22 w 72"/>
                <a:gd name="T15" fmla="*/ 246 h 250"/>
                <a:gd name="T16" fmla="*/ 31 w 72"/>
                <a:gd name="T17" fmla="*/ 182 h 250"/>
                <a:gd name="T18" fmla="*/ 72 w 72"/>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250">
                  <a:moveTo>
                    <a:pt x="72" y="0"/>
                  </a:moveTo>
                  <a:cubicBezTo>
                    <a:pt x="72" y="0"/>
                    <a:pt x="20" y="113"/>
                    <a:pt x="17" y="143"/>
                  </a:cubicBezTo>
                  <a:cubicBezTo>
                    <a:pt x="15" y="169"/>
                    <a:pt x="3" y="231"/>
                    <a:pt x="0" y="250"/>
                  </a:cubicBezTo>
                  <a:cubicBezTo>
                    <a:pt x="4" y="249"/>
                    <a:pt x="6" y="249"/>
                    <a:pt x="8" y="248"/>
                  </a:cubicBezTo>
                  <a:cubicBezTo>
                    <a:pt x="9" y="246"/>
                    <a:pt x="12" y="245"/>
                    <a:pt x="14" y="245"/>
                  </a:cubicBezTo>
                  <a:cubicBezTo>
                    <a:pt x="15" y="245"/>
                    <a:pt x="15" y="245"/>
                    <a:pt x="16" y="246"/>
                  </a:cubicBezTo>
                  <a:cubicBezTo>
                    <a:pt x="17" y="245"/>
                    <a:pt x="18" y="245"/>
                    <a:pt x="18" y="245"/>
                  </a:cubicBezTo>
                  <a:cubicBezTo>
                    <a:pt x="20" y="245"/>
                    <a:pt x="21" y="246"/>
                    <a:pt x="22" y="246"/>
                  </a:cubicBezTo>
                  <a:cubicBezTo>
                    <a:pt x="26" y="227"/>
                    <a:pt x="33" y="196"/>
                    <a:pt x="31" y="182"/>
                  </a:cubicBezTo>
                  <a:cubicBezTo>
                    <a:pt x="29" y="162"/>
                    <a:pt x="72" y="2"/>
                    <a:pt x="72" y="0"/>
                  </a:cubicBezTo>
                </a:path>
              </a:pathLst>
            </a:custGeom>
            <a:solidFill>
              <a:srgbClr val="4442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8" name="iSļïdè">
              <a:extLst>
                <a:ext uri="{FF2B5EF4-FFF2-40B4-BE49-F238E27FC236}">
                  <a16:creationId xmlns:a16="http://schemas.microsoft.com/office/drawing/2014/main" id="{A3CE5CFD-FFCF-4D2E-8288-C2C03F31A8DF}"/>
                </a:ext>
              </a:extLst>
            </p:cNvPr>
            <p:cNvSpPr/>
            <p:nvPr/>
          </p:nvSpPr>
          <p:spPr bwMode="auto">
            <a:xfrm>
              <a:off x="8150226" y="3379788"/>
              <a:ext cx="149225" cy="179388"/>
            </a:xfrm>
            <a:custGeom>
              <a:avLst/>
              <a:gdLst>
                <a:gd name="T0" fmla="*/ 0 w 101"/>
                <a:gd name="T1" fmla="*/ 0 h 123"/>
                <a:gd name="T2" fmla="*/ 71 w 101"/>
                <a:gd name="T3" fmla="*/ 123 h 123"/>
                <a:gd name="T4" fmla="*/ 73 w 101"/>
                <a:gd name="T5" fmla="*/ 123 h 123"/>
                <a:gd name="T6" fmla="*/ 0 w 101"/>
                <a:gd name="T7" fmla="*/ 0 h 123"/>
              </a:gdLst>
              <a:ahLst/>
              <a:cxnLst>
                <a:cxn ang="0">
                  <a:pos x="T0" y="T1"/>
                </a:cxn>
                <a:cxn ang="0">
                  <a:pos x="T2" y="T3"/>
                </a:cxn>
                <a:cxn ang="0">
                  <a:pos x="T4" y="T5"/>
                </a:cxn>
                <a:cxn ang="0">
                  <a:pos x="T6" y="T7"/>
                </a:cxn>
              </a:cxnLst>
              <a:rect l="0" t="0" r="r" b="b"/>
              <a:pathLst>
                <a:path w="101" h="123">
                  <a:moveTo>
                    <a:pt x="0" y="0"/>
                  </a:moveTo>
                  <a:cubicBezTo>
                    <a:pt x="0" y="0"/>
                    <a:pt x="42" y="123"/>
                    <a:pt x="71" y="123"/>
                  </a:cubicBezTo>
                  <a:cubicBezTo>
                    <a:pt x="71" y="123"/>
                    <a:pt x="72" y="123"/>
                    <a:pt x="73" y="123"/>
                  </a:cubicBezTo>
                  <a:cubicBezTo>
                    <a:pt x="101" y="115"/>
                    <a:pt x="1" y="2"/>
                    <a:pt x="0" y="0"/>
                  </a:cubicBezTo>
                </a:path>
              </a:pathLst>
            </a:custGeom>
            <a:solidFill>
              <a:srgbClr val="4442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9" name="i$1íḓè">
              <a:extLst>
                <a:ext uri="{FF2B5EF4-FFF2-40B4-BE49-F238E27FC236}">
                  <a16:creationId xmlns:a16="http://schemas.microsoft.com/office/drawing/2014/main" id="{92A3B43E-EE3E-4462-BA54-686C496112A1}"/>
                </a:ext>
              </a:extLst>
            </p:cNvPr>
            <p:cNvSpPr/>
            <p:nvPr/>
          </p:nvSpPr>
          <p:spPr bwMode="auto">
            <a:xfrm>
              <a:off x="8270876" y="3336925"/>
              <a:ext cx="66675" cy="119063"/>
            </a:xfrm>
            <a:custGeom>
              <a:avLst/>
              <a:gdLst>
                <a:gd name="T0" fmla="*/ 44 w 45"/>
                <a:gd name="T1" fmla="*/ 56 h 81"/>
                <a:gd name="T2" fmla="*/ 39 w 45"/>
                <a:gd name="T3" fmla="*/ 62 h 81"/>
                <a:gd name="T4" fmla="*/ 42 w 45"/>
                <a:gd name="T5" fmla="*/ 63 h 81"/>
                <a:gd name="T6" fmla="*/ 44 w 45"/>
                <a:gd name="T7" fmla="*/ 60 h 81"/>
                <a:gd name="T8" fmla="*/ 44 w 45"/>
                <a:gd name="T9" fmla="*/ 56 h 81"/>
                <a:gd name="T10" fmla="*/ 0 w 45"/>
                <a:gd name="T11" fmla="*/ 0 h 81"/>
                <a:gd name="T12" fmla="*/ 6 w 45"/>
                <a:gd name="T13" fmla="*/ 59 h 81"/>
                <a:gd name="T14" fmla="*/ 17 w 45"/>
                <a:gd name="T15" fmla="*/ 81 h 81"/>
                <a:gd name="T16" fmla="*/ 33 w 45"/>
                <a:gd name="T17" fmla="*/ 69 h 81"/>
                <a:gd name="T18" fmla="*/ 39 w 45"/>
                <a:gd name="T19" fmla="*/ 62 h 81"/>
                <a:gd name="T20" fmla="*/ 0 w 45"/>
                <a:gd name="T21"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81">
                  <a:moveTo>
                    <a:pt x="44" y="56"/>
                  </a:moveTo>
                  <a:cubicBezTo>
                    <a:pt x="43" y="56"/>
                    <a:pt x="41" y="58"/>
                    <a:pt x="39" y="62"/>
                  </a:cubicBezTo>
                  <a:cubicBezTo>
                    <a:pt x="40" y="63"/>
                    <a:pt x="41" y="63"/>
                    <a:pt x="42" y="63"/>
                  </a:cubicBezTo>
                  <a:cubicBezTo>
                    <a:pt x="43" y="63"/>
                    <a:pt x="44" y="62"/>
                    <a:pt x="44" y="60"/>
                  </a:cubicBezTo>
                  <a:cubicBezTo>
                    <a:pt x="45" y="57"/>
                    <a:pt x="45" y="56"/>
                    <a:pt x="44" y="56"/>
                  </a:cubicBezTo>
                  <a:moveTo>
                    <a:pt x="0" y="0"/>
                  </a:moveTo>
                  <a:cubicBezTo>
                    <a:pt x="6" y="59"/>
                    <a:pt x="6" y="59"/>
                    <a:pt x="6" y="59"/>
                  </a:cubicBezTo>
                  <a:cubicBezTo>
                    <a:pt x="8" y="76"/>
                    <a:pt x="12" y="81"/>
                    <a:pt x="17" y="81"/>
                  </a:cubicBezTo>
                  <a:cubicBezTo>
                    <a:pt x="22" y="81"/>
                    <a:pt x="28" y="75"/>
                    <a:pt x="33" y="69"/>
                  </a:cubicBezTo>
                  <a:cubicBezTo>
                    <a:pt x="35" y="66"/>
                    <a:pt x="37" y="64"/>
                    <a:pt x="39" y="62"/>
                  </a:cubicBezTo>
                  <a:cubicBezTo>
                    <a:pt x="27" y="53"/>
                    <a:pt x="2" y="1"/>
                    <a:pt x="0" y="0"/>
                  </a:cubicBezTo>
                </a:path>
              </a:pathLst>
            </a:custGeom>
            <a:solidFill>
              <a:srgbClr val="4442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0" name="íṡḷîḋè">
              <a:extLst>
                <a:ext uri="{FF2B5EF4-FFF2-40B4-BE49-F238E27FC236}">
                  <a16:creationId xmlns:a16="http://schemas.microsoft.com/office/drawing/2014/main" id="{C02609DB-8C4A-4B24-8063-1FE0F2754A68}"/>
                </a:ext>
              </a:extLst>
            </p:cNvPr>
            <p:cNvSpPr/>
            <p:nvPr/>
          </p:nvSpPr>
          <p:spPr bwMode="auto">
            <a:xfrm>
              <a:off x="7721601" y="2384425"/>
              <a:ext cx="268288" cy="687388"/>
            </a:xfrm>
            <a:custGeom>
              <a:avLst/>
              <a:gdLst>
                <a:gd name="T0" fmla="*/ 2 w 183"/>
                <a:gd name="T1" fmla="*/ 463 h 468"/>
                <a:gd name="T2" fmla="*/ 0 w 183"/>
                <a:gd name="T3" fmla="*/ 468 h 468"/>
                <a:gd name="T4" fmla="*/ 2 w 183"/>
                <a:gd name="T5" fmla="*/ 467 h 468"/>
                <a:gd name="T6" fmla="*/ 2 w 183"/>
                <a:gd name="T7" fmla="*/ 463 h 468"/>
                <a:gd name="T8" fmla="*/ 183 w 183"/>
                <a:gd name="T9" fmla="*/ 15 h 468"/>
                <a:gd name="T10" fmla="*/ 182 w 183"/>
                <a:gd name="T11" fmla="*/ 15 h 468"/>
                <a:gd name="T12" fmla="*/ 182 w 183"/>
                <a:gd name="T13" fmla="*/ 15 h 468"/>
                <a:gd name="T14" fmla="*/ 183 w 183"/>
                <a:gd name="T15" fmla="*/ 15 h 468"/>
                <a:gd name="T16" fmla="*/ 161 w 183"/>
                <a:gd name="T17" fmla="*/ 0 h 468"/>
                <a:gd name="T18" fmla="*/ 160 w 183"/>
                <a:gd name="T19" fmla="*/ 0 h 468"/>
                <a:gd name="T20" fmla="*/ 178 w 183"/>
                <a:gd name="T21" fmla="*/ 3 h 468"/>
                <a:gd name="T22" fmla="*/ 161 w 183"/>
                <a:gd name="T23"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468">
                  <a:moveTo>
                    <a:pt x="2" y="463"/>
                  </a:moveTo>
                  <a:cubicBezTo>
                    <a:pt x="1" y="464"/>
                    <a:pt x="1" y="466"/>
                    <a:pt x="0" y="468"/>
                  </a:cubicBezTo>
                  <a:cubicBezTo>
                    <a:pt x="1" y="468"/>
                    <a:pt x="2" y="468"/>
                    <a:pt x="2" y="467"/>
                  </a:cubicBezTo>
                  <a:cubicBezTo>
                    <a:pt x="2" y="466"/>
                    <a:pt x="2" y="464"/>
                    <a:pt x="2" y="463"/>
                  </a:cubicBezTo>
                  <a:moveTo>
                    <a:pt x="183" y="15"/>
                  </a:moveTo>
                  <a:cubicBezTo>
                    <a:pt x="183" y="15"/>
                    <a:pt x="183" y="15"/>
                    <a:pt x="182" y="15"/>
                  </a:cubicBezTo>
                  <a:cubicBezTo>
                    <a:pt x="182" y="15"/>
                    <a:pt x="182" y="15"/>
                    <a:pt x="182" y="15"/>
                  </a:cubicBezTo>
                  <a:cubicBezTo>
                    <a:pt x="183" y="15"/>
                    <a:pt x="183" y="15"/>
                    <a:pt x="183" y="15"/>
                  </a:cubicBezTo>
                  <a:moveTo>
                    <a:pt x="161" y="0"/>
                  </a:moveTo>
                  <a:cubicBezTo>
                    <a:pt x="161" y="0"/>
                    <a:pt x="161" y="0"/>
                    <a:pt x="160" y="0"/>
                  </a:cubicBezTo>
                  <a:cubicBezTo>
                    <a:pt x="168" y="0"/>
                    <a:pt x="174" y="2"/>
                    <a:pt x="178" y="3"/>
                  </a:cubicBezTo>
                  <a:cubicBezTo>
                    <a:pt x="174" y="2"/>
                    <a:pt x="168" y="0"/>
                    <a:pt x="161" y="0"/>
                  </a:cubicBezTo>
                </a:path>
              </a:pathLst>
            </a:custGeom>
            <a:solidFill>
              <a:srgbClr val="4B62E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1" name="ïślïdè">
              <a:extLst>
                <a:ext uri="{FF2B5EF4-FFF2-40B4-BE49-F238E27FC236}">
                  <a16:creationId xmlns:a16="http://schemas.microsoft.com/office/drawing/2014/main" id="{D22F08B3-B27A-4C1F-9DD9-160CE53C14C2}"/>
                </a:ext>
              </a:extLst>
            </p:cNvPr>
            <p:cNvSpPr/>
            <p:nvPr/>
          </p:nvSpPr>
          <p:spPr bwMode="auto">
            <a:xfrm>
              <a:off x="7723188" y="2406650"/>
              <a:ext cx="265113" cy="663575"/>
            </a:xfrm>
            <a:custGeom>
              <a:avLst/>
              <a:gdLst>
                <a:gd name="T0" fmla="*/ 147 w 180"/>
                <a:gd name="T1" fmla="*/ 25 h 452"/>
                <a:gd name="T2" fmla="*/ 104 w 180"/>
                <a:gd name="T3" fmla="*/ 100 h 452"/>
                <a:gd name="T4" fmla="*/ 56 w 180"/>
                <a:gd name="T5" fmla="*/ 207 h 452"/>
                <a:gd name="T6" fmla="*/ 16 w 180"/>
                <a:gd name="T7" fmla="*/ 404 h 452"/>
                <a:gd name="T8" fmla="*/ 0 w 180"/>
                <a:gd name="T9" fmla="*/ 448 h 452"/>
                <a:gd name="T10" fmla="*/ 0 w 180"/>
                <a:gd name="T11" fmla="*/ 452 h 452"/>
                <a:gd name="T12" fmla="*/ 3 w 180"/>
                <a:gd name="T13" fmla="*/ 452 h 452"/>
                <a:gd name="T14" fmla="*/ 20 w 180"/>
                <a:gd name="T15" fmla="*/ 404 h 452"/>
                <a:gd name="T16" fmla="*/ 61 w 180"/>
                <a:gd name="T17" fmla="*/ 207 h 452"/>
                <a:gd name="T18" fmla="*/ 108 w 180"/>
                <a:gd name="T19" fmla="*/ 100 h 452"/>
                <a:gd name="T20" fmla="*/ 150 w 180"/>
                <a:gd name="T21" fmla="*/ 28 h 452"/>
                <a:gd name="T22" fmla="*/ 147 w 180"/>
                <a:gd name="T23" fmla="*/ 25 h 452"/>
                <a:gd name="T24" fmla="*/ 180 w 180"/>
                <a:gd name="T25" fmla="*/ 0 h 452"/>
                <a:gd name="T26" fmla="*/ 178 w 180"/>
                <a:gd name="T27" fmla="*/ 1 h 452"/>
                <a:gd name="T28" fmla="*/ 179 w 180"/>
                <a:gd name="T29" fmla="*/ 1 h 452"/>
                <a:gd name="T30" fmla="*/ 180 w 180"/>
                <a:gd name="T31" fmla="*/ 0 h 452"/>
                <a:gd name="T32" fmla="*/ 180 w 180"/>
                <a:gd name="T33" fmla="*/ 0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0" h="452">
                  <a:moveTo>
                    <a:pt x="147" y="25"/>
                  </a:moveTo>
                  <a:cubicBezTo>
                    <a:pt x="136" y="43"/>
                    <a:pt x="118" y="79"/>
                    <a:pt x="104" y="100"/>
                  </a:cubicBezTo>
                  <a:cubicBezTo>
                    <a:pt x="85" y="127"/>
                    <a:pt x="56" y="207"/>
                    <a:pt x="56" y="207"/>
                  </a:cubicBezTo>
                  <a:cubicBezTo>
                    <a:pt x="56" y="207"/>
                    <a:pt x="21" y="397"/>
                    <a:pt x="16" y="404"/>
                  </a:cubicBezTo>
                  <a:cubicBezTo>
                    <a:pt x="14" y="407"/>
                    <a:pt x="7" y="425"/>
                    <a:pt x="0" y="448"/>
                  </a:cubicBezTo>
                  <a:cubicBezTo>
                    <a:pt x="0" y="449"/>
                    <a:pt x="0" y="451"/>
                    <a:pt x="0" y="452"/>
                  </a:cubicBezTo>
                  <a:cubicBezTo>
                    <a:pt x="1" y="452"/>
                    <a:pt x="2" y="452"/>
                    <a:pt x="3" y="452"/>
                  </a:cubicBezTo>
                  <a:cubicBezTo>
                    <a:pt x="11" y="427"/>
                    <a:pt x="18" y="407"/>
                    <a:pt x="20" y="404"/>
                  </a:cubicBezTo>
                  <a:cubicBezTo>
                    <a:pt x="25" y="397"/>
                    <a:pt x="61" y="207"/>
                    <a:pt x="61" y="207"/>
                  </a:cubicBezTo>
                  <a:cubicBezTo>
                    <a:pt x="61" y="207"/>
                    <a:pt x="89" y="127"/>
                    <a:pt x="108" y="100"/>
                  </a:cubicBezTo>
                  <a:cubicBezTo>
                    <a:pt x="122" y="80"/>
                    <a:pt x="138" y="47"/>
                    <a:pt x="150" y="28"/>
                  </a:cubicBezTo>
                  <a:cubicBezTo>
                    <a:pt x="149" y="27"/>
                    <a:pt x="148" y="26"/>
                    <a:pt x="147" y="25"/>
                  </a:cubicBezTo>
                  <a:moveTo>
                    <a:pt x="180" y="0"/>
                  </a:moveTo>
                  <a:cubicBezTo>
                    <a:pt x="180" y="0"/>
                    <a:pt x="179" y="1"/>
                    <a:pt x="178" y="1"/>
                  </a:cubicBezTo>
                  <a:cubicBezTo>
                    <a:pt x="179" y="1"/>
                    <a:pt x="179" y="1"/>
                    <a:pt x="179" y="1"/>
                  </a:cubicBezTo>
                  <a:cubicBezTo>
                    <a:pt x="179" y="1"/>
                    <a:pt x="180" y="1"/>
                    <a:pt x="180" y="0"/>
                  </a:cubicBezTo>
                  <a:cubicBezTo>
                    <a:pt x="180" y="0"/>
                    <a:pt x="180" y="0"/>
                    <a:pt x="180"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2" name="ï$ḷiḋé">
              <a:extLst>
                <a:ext uri="{FF2B5EF4-FFF2-40B4-BE49-F238E27FC236}">
                  <a16:creationId xmlns:a16="http://schemas.microsoft.com/office/drawing/2014/main" id="{99A28EE3-86BE-4F74-A858-CF88B362EBDC}"/>
                </a:ext>
              </a:extLst>
            </p:cNvPr>
            <p:cNvSpPr/>
            <p:nvPr/>
          </p:nvSpPr>
          <p:spPr bwMode="auto">
            <a:xfrm>
              <a:off x="7940676" y="2438400"/>
              <a:ext cx="4763" cy="9525"/>
            </a:xfrm>
            <a:custGeom>
              <a:avLst/>
              <a:gdLst>
                <a:gd name="T0" fmla="*/ 2 w 4"/>
                <a:gd name="T1" fmla="*/ 0 h 6"/>
                <a:gd name="T2" fmla="*/ 0 w 4"/>
                <a:gd name="T3" fmla="*/ 3 h 6"/>
                <a:gd name="T4" fmla="*/ 3 w 4"/>
                <a:gd name="T5" fmla="*/ 6 h 6"/>
                <a:gd name="T6" fmla="*/ 4 w 4"/>
                <a:gd name="T7" fmla="*/ 3 h 6"/>
                <a:gd name="T8" fmla="*/ 2 w 4"/>
                <a:gd name="T9" fmla="*/ 0 h 6"/>
              </a:gdLst>
              <a:ahLst/>
              <a:cxnLst>
                <a:cxn ang="0">
                  <a:pos x="T0" y="T1"/>
                </a:cxn>
                <a:cxn ang="0">
                  <a:pos x="T2" y="T3"/>
                </a:cxn>
                <a:cxn ang="0">
                  <a:pos x="T4" y="T5"/>
                </a:cxn>
                <a:cxn ang="0">
                  <a:pos x="T6" y="T7"/>
                </a:cxn>
                <a:cxn ang="0">
                  <a:pos x="T8" y="T9"/>
                </a:cxn>
              </a:cxnLst>
              <a:rect l="0" t="0" r="r" b="b"/>
              <a:pathLst>
                <a:path w="4" h="6">
                  <a:moveTo>
                    <a:pt x="2" y="0"/>
                  </a:moveTo>
                  <a:cubicBezTo>
                    <a:pt x="1" y="1"/>
                    <a:pt x="1" y="2"/>
                    <a:pt x="0" y="3"/>
                  </a:cubicBezTo>
                  <a:cubicBezTo>
                    <a:pt x="1" y="4"/>
                    <a:pt x="2" y="5"/>
                    <a:pt x="3" y="6"/>
                  </a:cubicBezTo>
                  <a:cubicBezTo>
                    <a:pt x="3" y="5"/>
                    <a:pt x="4" y="4"/>
                    <a:pt x="4" y="3"/>
                  </a:cubicBezTo>
                  <a:cubicBezTo>
                    <a:pt x="3" y="2"/>
                    <a:pt x="3" y="1"/>
                    <a:pt x="2" y="0"/>
                  </a:cubicBezTo>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3" name="íṩlîḑè">
              <a:extLst>
                <a:ext uri="{FF2B5EF4-FFF2-40B4-BE49-F238E27FC236}">
                  <a16:creationId xmlns:a16="http://schemas.microsoft.com/office/drawing/2014/main" id="{BB8DC9A2-A5AA-4264-AC8E-CC9F998CAF7F}"/>
                </a:ext>
              </a:extLst>
            </p:cNvPr>
            <p:cNvSpPr/>
            <p:nvPr/>
          </p:nvSpPr>
          <p:spPr bwMode="auto">
            <a:xfrm>
              <a:off x="7942263" y="2408238"/>
              <a:ext cx="44450" cy="34925"/>
            </a:xfrm>
            <a:custGeom>
              <a:avLst/>
              <a:gdLst>
                <a:gd name="T0" fmla="*/ 29 w 30"/>
                <a:gd name="T1" fmla="*/ 0 h 24"/>
                <a:gd name="T2" fmla="*/ 6 w 30"/>
                <a:gd name="T3" fmla="*/ 13 h 24"/>
                <a:gd name="T4" fmla="*/ 0 w 30"/>
                <a:gd name="T5" fmla="*/ 21 h 24"/>
                <a:gd name="T6" fmla="*/ 2 w 30"/>
                <a:gd name="T7" fmla="*/ 24 h 24"/>
                <a:gd name="T8" fmla="*/ 10 w 30"/>
                <a:gd name="T9" fmla="*/ 13 h 24"/>
                <a:gd name="T10" fmla="*/ 30 w 30"/>
                <a:gd name="T11" fmla="*/ 0 h 24"/>
                <a:gd name="T12" fmla="*/ 29 w 30"/>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30" h="24">
                  <a:moveTo>
                    <a:pt x="29" y="0"/>
                  </a:moveTo>
                  <a:cubicBezTo>
                    <a:pt x="24" y="2"/>
                    <a:pt x="13" y="7"/>
                    <a:pt x="6" y="13"/>
                  </a:cubicBezTo>
                  <a:cubicBezTo>
                    <a:pt x="4" y="15"/>
                    <a:pt x="2" y="18"/>
                    <a:pt x="0" y="21"/>
                  </a:cubicBezTo>
                  <a:cubicBezTo>
                    <a:pt x="1" y="22"/>
                    <a:pt x="1" y="23"/>
                    <a:pt x="2" y="24"/>
                  </a:cubicBezTo>
                  <a:cubicBezTo>
                    <a:pt x="5" y="19"/>
                    <a:pt x="8" y="15"/>
                    <a:pt x="10" y="13"/>
                  </a:cubicBezTo>
                  <a:cubicBezTo>
                    <a:pt x="16" y="8"/>
                    <a:pt x="23" y="4"/>
                    <a:pt x="30" y="0"/>
                  </a:cubicBezTo>
                  <a:cubicBezTo>
                    <a:pt x="30" y="0"/>
                    <a:pt x="30" y="0"/>
                    <a:pt x="29"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4" name="îŝlíḓê">
              <a:extLst>
                <a:ext uri="{FF2B5EF4-FFF2-40B4-BE49-F238E27FC236}">
                  <a16:creationId xmlns:a16="http://schemas.microsoft.com/office/drawing/2014/main" id="{83377F6E-129B-4425-B1AC-E997016ACC5E}"/>
                </a:ext>
              </a:extLst>
            </p:cNvPr>
            <p:cNvSpPr/>
            <p:nvPr/>
          </p:nvSpPr>
          <p:spPr bwMode="auto">
            <a:xfrm>
              <a:off x="7629526" y="3209925"/>
              <a:ext cx="60325" cy="165100"/>
            </a:xfrm>
            <a:custGeom>
              <a:avLst/>
              <a:gdLst>
                <a:gd name="T0" fmla="*/ 5 w 41"/>
                <a:gd name="T1" fmla="*/ 101 h 112"/>
                <a:gd name="T2" fmla="*/ 1 w 41"/>
                <a:gd name="T3" fmla="*/ 107 h 112"/>
                <a:gd name="T4" fmla="*/ 0 w 41"/>
                <a:gd name="T5" fmla="*/ 112 h 112"/>
                <a:gd name="T6" fmla="*/ 1 w 41"/>
                <a:gd name="T7" fmla="*/ 112 h 112"/>
                <a:gd name="T8" fmla="*/ 3 w 41"/>
                <a:gd name="T9" fmla="*/ 110 h 112"/>
                <a:gd name="T10" fmla="*/ 5 w 41"/>
                <a:gd name="T11" fmla="*/ 101 h 112"/>
                <a:gd name="T12" fmla="*/ 39 w 41"/>
                <a:gd name="T13" fmla="*/ 0 h 112"/>
                <a:gd name="T14" fmla="*/ 39 w 41"/>
                <a:gd name="T15" fmla="*/ 3 h 112"/>
                <a:gd name="T16" fmla="*/ 41 w 41"/>
                <a:gd name="T17" fmla="*/ 0 h 112"/>
                <a:gd name="T18" fmla="*/ 39 w 41"/>
                <a:gd name="T1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112">
                  <a:moveTo>
                    <a:pt x="5" y="101"/>
                  </a:moveTo>
                  <a:cubicBezTo>
                    <a:pt x="3" y="103"/>
                    <a:pt x="2" y="106"/>
                    <a:pt x="1" y="107"/>
                  </a:cubicBezTo>
                  <a:cubicBezTo>
                    <a:pt x="0" y="110"/>
                    <a:pt x="0" y="111"/>
                    <a:pt x="0" y="112"/>
                  </a:cubicBezTo>
                  <a:cubicBezTo>
                    <a:pt x="0" y="112"/>
                    <a:pt x="1" y="112"/>
                    <a:pt x="1" y="112"/>
                  </a:cubicBezTo>
                  <a:cubicBezTo>
                    <a:pt x="1" y="112"/>
                    <a:pt x="2" y="111"/>
                    <a:pt x="3" y="110"/>
                  </a:cubicBezTo>
                  <a:cubicBezTo>
                    <a:pt x="3" y="108"/>
                    <a:pt x="4" y="105"/>
                    <a:pt x="5" y="101"/>
                  </a:cubicBezTo>
                  <a:moveTo>
                    <a:pt x="39" y="0"/>
                  </a:moveTo>
                  <a:cubicBezTo>
                    <a:pt x="39" y="1"/>
                    <a:pt x="39" y="2"/>
                    <a:pt x="39" y="3"/>
                  </a:cubicBezTo>
                  <a:cubicBezTo>
                    <a:pt x="40" y="2"/>
                    <a:pt x="40" y="1"/>
                    <a:pt x="41" y="0"/>
                  </a:cubicBezTo>
                  <a:cubicBezTo>
                    <a:pt x="40" y="0"/>
                    <a:pt x="40" y="0"/>
                    <a:pt x="39" y="0"/>
                  </a:cubicBezTo>
                </a:path>
              </a:pathLst>
            </a:custGeom>
            <a:solidFill>
              <a:srgbClr val="4B62E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5" name="íş1îḑe">
              <a:extLst>
                <a:ext uri="{FF2B5EF4-FFF2-40B4-BE49-F238E27FC236}">
                  <a16:creationId xmlns:a16="http://schemas.microsoft.com/office/drawing/2014/main" id="{419C0833-3567-4DF6-9C65-1B781A0C2D50}"/>
                </a:ext>
              </a:extLst>
            </p:cNvPr>
            <p:cNvSpPr/>
            <p:nvPr/>
          </p:nvSpPr>
          <p:spPr bwMode="auto">
            <a:xfrm>
              <a:off x="7634288" y="3209925"/>
              <a:ext cx="60325" cy="161925"/>
            </a:xfrm>
            <a:custGeom>
              <a:avLst/>
              <a:gdLst>
                <a:gd name="T0" fmla="*/ 38 w 41"/>
                <a:gd name="T1" fmla="*/ 0 h 110"/>
                <a:gd name="T2" fmla="*/ 36 w 41"/>
                <a:gd name="T3" fmla="*/ 3 h 110"/>
                <a:gd name="T4" fmla="*/ 36 w 41"/>
                <a:gd name="T5" fmla="*/ 10 h 110"/>
                <a:gd name="T6" fmla="*/ 2 w 41"/>
                <a:gd name="T7" fmla="*/ 101 h 110"/>
                <a:gd name="T8" fmla="*/ 0 w 41"/>
                <a:gd name="T9" fmla="*/ 110 h 110"/>
                <a:gd name="T10" fmla="*/ 40 w 41"/>
                <a:gd name="T11" fmla="*/ 10 h 110"/>
                <a:gd name="T12" fmla="*/ 41 w 41"/>
                <a:gd name="T13" fmla="*/ 1 h 110"/>
                <a:gd name="T14" fmla="*/ 38 w 41"/>
                <a:gd name="T15" fmla="*/ 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110">
                  <a:moveTo>
                    <a:pt x="38" y="0"/>
                  </a:moveTo>
                  <a:cubicBezTo>
                    <a:pt x="37" y="1"/>
                    <a:pt x="37" y="2"/>
                    <a:pt x="36" y="3"/>
                  </a:cubicBezTo>
                  <a:cubicBezTo>
                    <a:pt x="36" y="6"/>
                    <a:pt x="36" y="8"/>
                    <a:pt x="36" y="10"/>
                  </a:cubicBezTo>
                  <a:cubicBezTo>
                    <a:pt x="36" y="36"/>
                    <a:pt x="15" y="80"/>
                    <a:pt x="2" y="101"/>
                  </a:cubicBezTo>
                  <a:cubicBezTo>
                    <a:pt x="1" y="105"/>
                    <a:pt x="0" y="108"/>
                    <a:pt x="0" y="110"/>
                  </a:cubicBezTo>
                  <a:cubicBezTo>
                    <a:pt x="9" y="99"/>
                    <a:pt x="41" y="41"/>
                    <a:pt x="40" y="10"/>
                  </a:cubicBezTo>
                  <a:cubicBezTo>
                    <a:pt x="40" y="8"/>
                    <a:pt x="40" y="4"/>
                    <a:pt x="41" y="1"/>
                  </a:cubicBezTo>
                  <a:cubicBezTo>
                    <a:pt x="40" y="1"/>
                    <a:pt x="39" y="1"/>
                    <a:pt x="38"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6" name="îŝļïḋè">
              <a:extLst>
                <a:ext uri="{FF2B5EF4-FFF2-40B4-BE49-F238E27FC236}">
                  <a16:creationId xmlns:a16="http://schemas.microsoft.com/office/drawing/2014/main" id="{27E79B2A-A759-413B-86DA-2C4E20698644}"/>
                </a:ext>
              </a:extLst>
            </p:cNvPr>
            <p:cNvSpPr/>
            <p:nvPr/>
          </p:nvSpPr>
          <p:spPr bwMode="auto">
            <a:xfrm>
              <a:off x="7621588" y="2355850"/>
              <a:ext cx="369888" cy="1027113"/>
            </a:xfrm>
            <a:custGeom>
              <a:avLst/>
              <a:gdLst>
                <a:gd name="T0" fmla="*/ 251 w 252"/>
                <a:gd name="T1" fmla="*/ 25 h 700"/>
                <a:gd name="T2" fmla="*/ 153 w 252"/>
                <a:gd name="T3" fmla="*/ 64 h 700"/>
                <a:gd name="T4" fmla="*/ 104 w 252"/>
                <a:gd name="T5" fmla="*/ 91 h 700"/>
                <a:gd name="T6" fmla="*/ 80 w 252"/>
                <a:gd name="T7" fmla="*/ 234 h 700"/>
                <a:gd name="T8" fmla="*/ 63 w 252"/>
                <a:gd name="T9" fmla="*/ 327 h 700"/>
                <a:gd name="T10" fmla="*/ 43 w 252"/>
                <a:gd name="T11" fmla="*/ 478 h 700"/>
                <a:gd name="T12" fmla="*/ 2 w 252"/>
                <a:gd name="T13" fmla="*/ 694 h 700"/>
                <a:gd name="T14" fmla="*/ 45 w 252"/>
                <a:gd name="T15" fmla="*/ 592 h 700"/>
                <a:gd name="T16" fmla="*/ 86 w 252"/>
                <a:gd name="T17" fmla="*/ 439 h 700"/>
                <a:gd name="T18" fmla="*/ 126 w 252"/>
                <a:gd name="T19" fmla="*/ 242 h 700"/>
                <a:gd name="T20" fmla="*/ 174 w 252"/>
                <a:gd name="T21" fmla="*/ 135 h 700"/>
                <a:gd name="T22" fmla="*/ 225 w 252"/>
                <a:gd name="T23" fmla="*/ 49 h 700"/>
                <a:gd name="T24" fmla="*/ 252 w 252"/>
                <a:gd name="T25" fmla="*/ 35 h 700"/>
                <a:gd name="T26" fmla="*/ 251 w 252"/>
                <a:gd name="T27" fmla="*/ 25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2" h="700">
                  <a:moveTo>
                    <a:pt x="251" y="25"/>
                  </a:moveTo>
                  <a:cubicBezTo>
                    <a:pt x="251" y="25"/>
                    <a:pt x="205" y="0"/>
                    <a:pt x="153" y="64"/>
                  </a:cubicBezTo>
                  <a:cubicBezTo>
                    <a:pt x="153" y="64"/>
                    <a:pt x="115" y="86"/>
                    <a:pt x="104" y="91"/>
                  </a:cubicBezTo>
                  <a:cubicBezTo>
                    <a:pt x="93" y="96"/>
                    <a:pt x="80" y="234"/>
                    <a:pt x="80" y="234"/>
                  </a:cubicBezTo>
                  <a:cubicBezTo>
                    <a:pt x="80" y="234"/>
                    <a:pt x="56" y="293"/>
                    <a:pt x="63" y="327"/>
                  </a:cubicBezTo>
                  <a:cubicBezTo>
                    <a:pt x="69" y="361"/>
                    <a:pt x="43" y="478"/>
                    <a:pt x="43" y="478"/>
                  </a:cubicBezTo>
                  <a:cubicBezTo>
                    <a:pt x="43" y="478"/>
                    <a:pt x="0" y="688"/>
                    <a:pt x="2" y="694"/>
                  </a:cubicBezTo>
                  <a:cubicBezTo>
                    <a:pt x="3" y="700"/>
                    <a:pt x="46" y="628"/>
                    <a:pt x="45" y="592"/>
                  </a:cubicBezTo>
                  <a:cubicBezTo>
                    <a:pt x="44" y="557"/>
                    <a:pt x="80" y="446"/>
                    <a:pt x="86" y="439"/>
                  </a:cubicBezTo>
                  <a:cubicBezTo>
                    <a:pt x="91" y="432"/>
                    <a:pt x="126" y="242"/>
                    <a:pt x="126" y="242"/>
                  </a:cubicBezTo>
                  <a:cubicBezTo>
                    <a:pt x="126" y="242"/>
                    <a:pt x="155" y="162"/>
                    <a:pt x="174" y="135"/>
                  </a:cubicBezTo>
                  <a:cubicBezTo>
                    <a:pt x="192" y="109"/>
                    <a:pt x="215" y="58"/>
                    <a:pt x="225" y="49"/>
                  </a:cubicBezTo>
                  <a:cubicBezTo>
                    <a:pt x="234" y="40"/>
                    <a:pt x="252" y="35"/>
                    <a:pt x="252" y="35"/>
                  </a:cubicBezTo>
                  <a:cubicBezTo>
                    <a:pt x="251" y="25"/>
                    <a:pt x="251" y="25"/>
                    <a:pt x="251" y="25"/>
                  </a:cubicBezTo>
                </a:path>
              </a:pathLst>
            </a:custGeom>
            <a:solidFill>
              <a:srgbClr val="4C498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7" name="ïṡ1íďê">
              <a:extLst>
                <a:ext uri="{FF2B5EF4-FFF2-40B4-BE49-F238E27FC236}">
                  <a16:creationId xmlns:a16="http://schemas.microsoft.com/office/drawing/2014/main" id="{A88F1AE5-6950-4637-AB5E-BC457F6EB016}"/>
                </a:ext>
              </a:extLst>
            </p:cNvPr>
            <p:cNvSpPr/>
            <p:nvPr/>
          </p:nvSpPr>
          <p:spPr bwMode="auto">
            <a:xfrm>
              <a:off x="7334251" y="2986088"/>
              <a:ext cx="357188" cy="228600"/>
            </a:xfrm>
            <a:custGeom>
              <a:avLst/>
              <a:gdLst>
                <a:gd name="T0" fmla="*/ 243 w 243"/>
                <a:gd name="T1" fmla="*/ 57 h 155"/>
                <a:gd name="T2" fmla="*/ 112 w 243"/>
                <a:gd name="T3" fmla="*/ 28 h 155"/>
                <a:gd name="T4" fmla="*/ 69 w 243"/>
                <a:gd name="T5" fmla="*/ 126 h 155"/>
                <a:gd name="T6" fmla="*/ 232 w 243"/>
                <a:gd name="T7" fmla="*/ 150 h 155"/>
                <a:gd name="T8" fmla="*/ 243 w 243"/>
                <a:gd name="T9" fmla="*/ 57 h 155"/>
              </a:gdLst>
              <a:ahLst/>
              <a:cxnLst>
                <a:cxn ang="0">
                  <a:pos x="T0" y="T1"/>
                </a:cxn>
                <a:cxn ang="0">
                  <a:pos x="T2" y="T3"/>
                </a:cxn>
                <a:cxn ang="0">
                  <a:pos x="T4" y="T5"/>
                </a:cxn>
                <a:cxn ang="0">
                  <a:pos x="T6" y="T7"/>
                </a:cxn>
                <a:cxn ang="0">
                  <a:pos x="T8" y="T9"/>
                </a:cxn>
              </a:cxnLst>
              <a:rect l="0" t="0" r="r" b="b"/>
              <a:pathLst>
                <a:path w="243" h="155">
                  <a:moveTo>
                    <a:pt x="243" y="57"/>
                  </a:moveTo>
                  <a:cubicBezTo>
                    <a:pt x="243" y="57"/>
                    <a:pt x="155" y="0"/>
                    <a:pt x="112" y="28"/>
                  </a:cubicBezTo>
                  <a:cubicBezTo>
                    <a:pt x="70" y="57"/>
                    <a:pt x="0" y="97"/>
                    <a:pt x="69" y="126"/>
                  </a:cubicBezTo>
                  <a:cubicBezTo>
                    <a:pt x="137" y="155"/>
                    <a:pt x="232" y="150"/>
                    <a:pt x="232" y="150"/>
                  </a:cubicBezTo>
                  <a:cubicBezTo>
                    <a:pt x="243" y="57"/>
                    <a:pt x="243" y="57"/>
                    <a:pt x="243" y="57"/>
                  </a:cubicBezTo>
                </a:path>
              </a:pathLst>
            </a:custGeom>
            <a:solidFill>
              <a:srgbClr val="FEC2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8" name="ïšḻídè">
              <a:extLst>
                <a:ext uri="{FF2B5EF4-FFF2-40B4-BE49-F238E27FC236}">
                  <a16:creationId xmlns:a16="http://schemas.microsoft.com/office/drawing/2014/main" id="{579AD6B6-06A1-43DF-B8EC-112768A7C2F0}"/>
                </a:ext>
              </a:extLst>
            </p:cNvPr>
            <p:cNvSpPr/>
            <p:nvPr/>
          </p:nvSpPr>
          <p:spPr bwMode="auto">
            <a:xfrm>
              <a:off x="7759701" y="3805238"/>
              <a:ext cx="146050" cy="398463"/>
            </a:xfrm>
            <a:custGeom>
              <a:avLst/>
              <a:gdLst>
                <a:gd name="T0" fmla="*/ 26 w 100"/>
                <a:gd name="T1" fmla="*/ 0 h 271"/>
                <a:gd name="T2" fmla="*/ 15 w 100"/>
                <a:gd name="T3" fmla="*/ 57 h 271"/>
                <a:gd name="T4" fmla="*/ 46 w 100"/>
                <a:gd name="T5" fmla="*/ 271 h 271"/>
                <a:gd name="T6" fmla="*/ 74 w 100"/>
                <a:gd name="T7" fmla="*/ 225 h 271"/>
                <a:gd name="T8" fmla="*/ 100 w 100"/>
                <a:gd name="T9" fmla="*/ 159 h 271"/>
                <a:gd name="T10" fmla="*/ 68 w 100"/>
                <a:gd name="T11" fmla="*/ 59 h 271"/>
                <a:gd name="T12" fmla="*/ 26 w 100"/>
                <a:gd name="T13" fmla="*/ 0 h 271"/>
              </a:gdLst>
              <a:ahLst/>
              <a:cxnLst>
                <a:cxn ang="0">
                  <a:pos x="T0" y="T1"/>
                </a:cxn>
                <a:cxn ang="0">
                  <a:pos x="T2" y="T3"/>
                </a:cxn>
                <a:cxn ang="0">
                  <a:pos x="T4" y="T5"/>
                </a:cxn>
                <a:cxn ang="0">
                  <a:pos x="T6" y="T7"/>
                </a:cxn>
                <a:cxn ang="0">
                  <a:pos x="T8" y="T9"/>
                </a:cxn>
                <a:cxn ang="0">
                  <a:pos x="T10" y="T11"/>
                </a:cxn>
                <a:cxn ang="0">
                  <a:pos x="T12" y="T13"/>
                </a:cxn>
              </a:cxnLst>
              <a:rect l="0" t="0" r="r" b="b"/>
              <a:pathLst>
                <a:path w="100" h="271">
                  <a:moveTo>
                    <a:pt x="26" y="0"/>
                  </a:moveTo>
                  <a:cubicBezTo>
                    <a:pt x="26" y="0"/>
                    <a:pt x="0" y="24"/>
                    <a:pt x="15" y="57"/>
                  </a:cubicBezTo>
                  <a:cubicBezTo>
                    <a:pt x="28" y="85"/>
                    <a:pt x="39" y="226"/>
                    <a:pt x="46" y="271"/>
                  </a:cubicBezTo>
                  <a:cubicBezTo>
                    <a:pt x="57" y="253"/>
                    <a:pt x="70" y="232"/>
                    <a:pt x="74" y="225"/>
                  </a:cubicBezTo>
                  <a:cubicBezTo>
                    <a:pt x="79" y="216"/>
                    <a:pt x="92" y="180"/>
                    <a:pt x="100" y="159"/>
                  </a:cubicBezTo>
                  <a:cubicBezTo>
                    <a:pt x="91" y="139"/>
                    <a:pt x="68" y="80"/>
                    <a:pt x="68" y="59"/>
                  </a:cubicBezTo>
                  <a:cubicBezTo>
                    <a:pt x="68" y="33"/>
                    <a:pt x="26" y="0"/>
                    <a:pt x="26" y="0"/>
                  </a:cubicBezTo>
                </a:path>
              </a:pathLst>
            </a:custGeom>
            <a:solidFill>
              <a:srgbClr val="B9C6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9" name="iṣḻíďé">
              <a:extLst>
                <a:ext uri="{FF2B5EF4-FFF2-40B4-BE49-F238E27FC236}">
                  <a16:creationId xmlns:a16="http://schemas.microsoft.com/office/drawing/2014/main" id="{09A5A249-BA7D-4806-B895-641598F06B01}"/>
                </a:ext>
              </a:extLst>
            </p:cNvPr>
            <p:cNvSpPr/>
            <p:nvPr/>
          </p:nvSpPr>
          <p:spPr bwMode="auto">
            <a:xfrm>
              <a:off x="7991476" y="4494213"/>
              <a:ext cx="206375" cy="39688"/>
            </a:xfrm>
            <a:custGeom>
              <a:avLst/>
              <a:gdLst>
                <a:gd name="T0" fmla="*/ 47 w 140"/>
                <a:gd name="T1" fmla="*/ 0 h 27"/>
                <a:gd name="T2" fmla="*/ 13 w 140"/>
                <a:gd name="T3" fmla="*/ 10 h 27"/>
                <a:gd name="T4" fmla="*/ 57 w 140"/>
                <a:gd name="T5" fmla="*/ 27 h 27"/>
                <a:gd name="T6" fmla="*/ 140 w 140"/>
                <a:gd name="T7" fmla="*/ 22 h 27"/>
                <a:gd name="T8" fmla="*/ 47 w 140"/>
                <a:gd name="T9" fmla="*/ 0 h 27"/>
              </a:gdLst>
              <a:ahLst/>
              <a:cxnLst>
                <a:cxn ang="0">
                  <a:pos x="T0" y="T1"/>
                </a:cxn>
                <a:cxn ang="0">
                  <a:pos x="T2" y="T3"/>
                </a:cxn>
                <a:cxn ang="0">
                  <a:pos x="T4" y="T5"/>
                </a:cxn>
                <a:cxn ang="0">
                  <a:pos x="T6" y="T7"/>
                </a:cxn>
                <a:cxn ang="0">
                  <a:pos x="T8" y="T9"/>
                </a:cxn>
              </a:cxnLst>
              <a:rect l="0" t="0" r="r" b="b"/>
              <a:pathLst>
                <a:path w="140" h="27">
                  <a:moveTo>
                    <a:pt x="47" y="0"/>
                  </a:moveTo>
                  <a:cubicBezTo>
                    <a:pt x="33" y="0"/>
                    <a:pt x="21" y="2"/>
                    <a:pt x="13" y="10"/>
                  </a:cubicBezTo>
                  <a:cubicBezTo>
                    <a:pt x="0" y="24"/>
                    <a:pt x="26" y="27"/>
                    <a:pt x="57" y="27"/>
                  </a:cubicBezTo>
                  <a:cubicBezTo>
                    <a:pt x="94" y="27"/>
                    <a:pt x="140" y="22"/>
                    <a:pt x="140" y="22"/>
                  </a:cubicBezTo>
                  <a:cubicBezTo>
                    <a:pt x="140" y="22"/>
                    <a:pt x="87" y="0"/>
                    <a:pt x="47" y="0"/>
                  </a:cubicBezTo>
                </a:path>
              </a:pathLst>
            </a:custGeom>
            <a:solidFill>
              <a:srgbClr val="B9C6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0" name="iṩļíḍe">
              <a:extLst>
                <a:ext uri="{FF2B5EF4-FFF2-40B4-BE49-F238E27FC236}">
                  <a16:creationId xmlns:a16="http://schemas.microsoft.com/office/drawing/2014/main" id="{DA6A4CBC-C148-4DB0-8D7C-6A9BCAF03ED6}"/>
                </a:ext>
              </a:extLst>
            </p:cNvPr>
            <p:cNvSpPr/>
            <p:nvPr/>
          </p:nvSpPr>
          <p:spPr bwMode="auto">
            <a:xfrm>
              <a:off x="8116888" y="4551363"/>
              <a:ext cx="146050" cy="95250"/>
            </a:xfrm>
            <a:custGeom>
              <a:avLst/>
              <a:gdLst>
                <a:gd name="T0" fmla="*/ 0 w 99"/>
                <a:gd name="T1" fmla="*/ 0 h 65"/>
                <a:gd name="T2" fmla="*/ 59 w 99"/>
                <a:gd name="T3" fmla="*/ 65 h 65"/>
                <a:gd name="T4" fmla="*/ 65 w 99"/>
                <a:gd name="T5" fmla="*/ 65 h 65"/>
                <a:gd name="T6" fmla="*/ 0 w 99"/>
                <a:gd name="T7" fmla="*/ 0 h 65"/>
              </a:gdLst>
              <a:ahLst/>
              <a:cxnLst>
                <a:cxn ang="0">
                  <a:pos x="T0" y="T1"/>
                </a:cxn>
                <a:cxn ang="0">
                  <a:pos x="T2" y="T3"/>
                </a:cxn>
                <a:cxn ang="0">
                  <a:pos x="T4" y="T5"/>
                </a:cxn>
                <a:cxn ang="0">
                  <a:pos x="T6" y="T7"/>
                </a:cxn>
              </a:cxnLst>
              <a:rect l="0" t="0" r="r" b="b"/>
              <a:pathLst>
                <a:path w="99" h="65">
                  <a:moveTo>
                    <a:pt x="0" y="0"/>
                  </a:moveTo>
                  <a:cubicBezTo>
                    <a:pt x="0" y="0"/>
                    <a:pt x="28" y="65"/>
                    <a:pt x="59" y="65"/>
                  </a:cubicBezTo>
                  <a:cubicBezTo>
                    <a:pt x="61" y="65"/>
                    <a:pt x="63" y="65"/>
                    <a:pt x="65" y="65"/>
                  </a:cubicBezTo>
                  <a:cubicBezTo>
                    <a:pt x="99" y="55"/>
                    <a:pt x="0" y="0"/>
                    <a:pt x="0" y="0"/>
                  </a:cubicBezTo>
                </a:path>
              </a:pathLst>
            </a:custGeom>
            <a:solidFill>
              <a:srgbClr val="B9C6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1" name="iśļîḑé">
              <a:extLst>
                <a:ext uri="{FF2B5EF4-FFF2-40B4-BE49-F238E27FC236}">
                  <a16:creationId xmlns:a16="http://schemas.microsoft.com/office/drawing/2014/main" id="{BB34791A-8E08-4BD8-876A-6D4579B71990}"/>
                </a:ext>
              </a:extLst>
            </p:cNvPr>
            <p:cNvSpPr/>
            <p:nvPr/>
          </p:nvSpPr>
          <p:spPr bwMode="auto">
            <a:xfrm>
              <a:off x="7683501" y="4481513"/>
              <a:ext cx="60325" cy="19050"/>
            </a:xfrm>
            <a:custGeom>
              <a:avLst/>
              <a:gdLst>
                <a:gd name="T0" fmla="*/ 0 w 42"/>
                <a:gd name="T1" fmla="*/ 0 h 13"/>
                <a:gd name="T2" fmla="*/ 18 w 42"/>
                <a:gd name="T3" fmla="*/ 13 h 13"/>
                <a:gd name="T4" fmla="*/ 26 w 42"/>
                <a:gd name="T5" fmla="*/ 11 h 13"/>
                <a:gd name="T6" fmla="*/ 0 w 42"/>
                <a:gd name="T7" fmla="*/ 0 h 13"/>
              </a:gdLst>
              <a:ahLst/>
              <a:cxnLst>
                <a:cxn ang="0">
                  <a:pos x="T0" y="T1"/>
                </a:cxn>
                <a:cxn ang="0">
                  <a:pos x="T2" y="T3"/>
                </a:cxn>
                <a:cxn ang="0">
                  <a:pos x="T4" y="T5"/>
                </a:cxn>
                <a:cxn ang="0">
                  <a:pos x="T6" y="T7"/>
                </a:cxn>
              </a:cxnLst>
              <a:rect l="0" t="0" r="r" b="b"/>
              <a:pathLst>
                <a:path w="42" h="13">
                  <a:moveTo>
                    <a:pt x="0" y="0"/>
                  </a:moveTo>
                  <a:cubicBezTo>
                    <a:pt x="0" y="0"/>
                    <a:pt x="7" y="13"/>
                    <a:pt x="18" y="13"/>
                  </a:cubicBezTo>
                  <a:cubicBezTo>
                    <a:pt x="21" y="13"/>
                    <a:pt x="23" y="12"/>
                    <a:pt x="26" y="11"/>
                  </a:cubicBezTo>
                  <a:cubicBezTo>
                    <a:pt x="42" y="2"/>
                    <a:pt x="0" y="0"/>
                    <a:pt x="0" y="0"/>
                  </a:cubicBezTo>
                </a:path>
              </a:pathLst>
            </a:custGeom>
            <a:solidFill>
              <a:srgbClr val="B9C6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2" name="iŝ1ïḓe">
              <a:extLst>
                <a:ext uri="{FF2B5EF4-FFF2-40B4-BE49-F238E27FC236}">
                  <a16:creationId xmlns:a16="http://schemas.microsoft.com/office/drawing/2014/main" id="{D0D9AB2E-8349-42A0-864B-196BE6A878F0}"/>
                </a:ext>
              </a:extLst>
            </p:cNvPr>
            <p:cNvSpPr/>
            <p:nvPr/>
          </p:nvSpPr>
          <p:spPr bwMode="auto">
            <a:xfrm>
              <a:off x="7604126" y="4498975"/>
              <a:ext cx="179388" cy="92075"/>
            </a:xfrm>
            <a:custGeom>
              <a:avLst/>
              <a:gdLst>
                <a:gd name="T0" fmla="*/ 0 w 122"/>
                <a:gd name="T1" fmla="*/ 1 h 63"/>
                <a:gd name="T2" fmla="*/ 90 w 122"/>
                <a:gd name="T3" fmla="*/ 63 h 63"/>
                <a:gd name="T4" fmla="*/ 99 w 122"/>
                <a:gd name="T5" fmla="*/ 60 h 63"/>
                <a:gd name="T6" fmla="*/ 0 w 122"/>
                <a:gd name="T7" fmla="*/ 1 h 63"/>
                <a:gd name="T8" fmla="*/ 0 w 122"/>
                <a:gd name="T9" fmla="*/ 0 h 63"/>
                <a:gd name="T10" fmla="*/ 0 w 122"/>
                <a:gd name="T11" fmla="*/ 1 h 63"/>
                <a:gd name="T12" fmla="*/ 0 w 122"/>
                <a:gd name="T13" fmla="*/ 0 h 63"/>
              </a:gdLst>
              <a:ahLst/>
              <a:cxnLst>
                <a:cxn ang="0">
                  <a:pos x="T0" y="T1"/>
                </a:cxn>
                <a:cxn ang="0">
                  <a:pos x="T2" y="T3"/>
                </a:cxn>
                <a:cxn ang="0">
                  <a:pos x="T4" y="T5"/>
                </a:cxn>
                <a:cxn ang="0">
                  <a:pos x="T6" y="T7"/>
                </a:cxn>
                <a:cxn ang="0">
                  <a:pos x="T8" y="T9"/>
                </a:cxn>
                <a:cxn ang="0">
                  <a:pos x="T10" y="T11"/>
                </a:cxn>
                <a:cxn ang="0">
                  <a:pos x="T12" y="T13"/>
                </a:cxn>
              </a:cxnLst>
              <a:rect l="0" t="0" r="r" b="b"/>
              <a:pathLst>
                <a:path w="122" h="63">
                  <a:moveTo>
                    <a:pt x="0" y="1"/>
                  </a:moveTo>
                  <a:cubicBezTo>
                    <a:pt x="5" y="5"/>
                    <a:pt x="62" y="63"/>
                    <a:pt x="90" y="63"/>
                  </a:cubicBezTo>
                  <a:cubicBezTo>
                    <a:pt x="94" y="63"/>
                    <a:pt x="97" y="62"/>
                    <a:pt x="99" y="60"/>
                  </a:cubicBezTo>
                  <a:cubicBezTo>
                    <a:pt x="122" y="43"/>
                    <a:pt x="7" y="5"/>
                    <a:pt x="0" y="1"/>
                  </a:cubicBezTo>
                  <a:moveTo>
                    <a:pt x="0" y="0"/>
                  </a:moveTo>
                  <a:cubicBezTo>
                    <a:pt x="0" y="0"/>
                    <a:pt x="0" y="1"/>
                    <a:pt x="0" y="1"/>
                  </a:cubicBezTo>
                  <a:cubicBezTo>
                    <a:pt x="0" y="0"/>
                    <a:pt x="0" y="0"/>
                    <a:pt x="0" y="0"/>
                  </a:cubicBezTo>
                </a:path>
              </a:pathLst>
            </a:custGeom>
            <a:solidFill>
              <a:srgbClr val="B9C6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3" name="íśḷíḓê">
              <a:extLst>
                <a:ext uri="{FF2B5EF4-FFF2-40B4-BE49-F238E27FC236}">
                  <a16:creationId xmlns:a16="http://schemas.microsoft.com/office/drawing/2014/main" id="{08F383BD-D13E-4B03-8BF4-ADA3F661477F}"/>
                </a:ext>
              </a:extLst>
            </p:cNvPr>
            <p:cNvSpPr/>
            <p:nvPr/>
          </p:nvSpPr>
          <p:spPr bwMode="auto">
            <a:xfrm>
              <a:off x="8042276" y="4957763"/>
              <a:ext cx="134938" cy="47625"/>
            </a:xfrm>
            <a:custGeom>
              <a:avLst/>
              <a:gdLst>
                <a:gd name="T0" fmla="*/ 5 w 92"/>
                <a:gd name="T1" fmla="*/ 0 h 33"/>
                <a:gd name="T2" fmla="*/ 11 w 92"/>
                <a:gd name="T3" fmla="*/ 12 h 33"/>
                <a:gd name="T4" fmla="*/ 65 w 92"/>
                <a:gd name="T5" fmla="*/ 33 h 33"/>
                <a:gd name="T6" fmla="*/ 92 w 92"/>
                <a:gd name="T7" fmla="*/ 28 h 33"/>
                <a:gd name="T8" fmla="*/ 5 w 92"/>
                <a:gd name="T9" fmla="*/ 0 h 33"/>
              </a:gdLst>
              <a:ahLst/>
              <a:cxnLst>
                <a:cxn ang="0">
                  <a:pos x="T0" y="T1"/>
                </a:cxn>
                <a:cxn ang="0">
                  <a:pos x="T2" y="T3"/>
                </a:cxn>
                <a:cxn ang="0">
                  <a:pos x="T4" y="T5"/>
                </a:cxn>
                <a:cxn ang="0">
                  <a:pos x="T6" y="T7"/>
                </a:cxn>
                <a:cxn ang="0">
                  <a:pos x="T8" y="T9"/>
                </a:cxn>
              </a:cxnLst>
              <a:rect l="0" t="0" r="r" b="b"/>
              <a:pathLst>
                <a:path w="92" h="33">
                  <a:moveTo>
                    <a:pt x="5" y="0"/>
                  </a:moveTo>
                  <a:cubicBezTo>
                    <a:pt x="0" y="0"/>
                    <a:pt x="1" y="3"/>
                    <a:pt x="11" y="12"/>
                  </a:cubicBezTo>
                  <a:cubicBezTo>
                    <a:pt x="30" y="28"/>
                    <a:pt x="50" y="33"/>
                    <a:pt x="65" y="33"/>
                  </a:cubicBezTo>
                  <a:cubicBezTo>
                    <a:pt x="81" y="33"/>
                    <a:pt x="92" y="28"/>
                    <a:pt x="92" y="28"/>
                  </a:cubicBezTo>
                  <a:cubicBezTo>
                    <a:pt x="78" y="26"/>
                    <a:pt x="19" y="0"/>
                    <a:pt x="5" y="0"/>
                  </a:cubicBezTo>
                </a:path>
              </a:pathLst>
            </a:custGeom>
            <a:solidFill>
              <a:srgbClr val="B9C6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4" name="ïSḻïḑê">
              <a:extLst>
                <a:ext uri="{FF2B5EF4-FFF2-40B4-BE49-F238E27FC236}">
                  <a16:creationId xmlns:a16="http://schemas.microsoft.com/office/drawing/2014/main" id="{79940B22-DAEB-4342-A561-76612497F1AD}"/>
                </a:ext>
              </a:extLst>
            </p:cNvPr>
            <p:cNvSpPr/>
            <p:nvPr/>
          </p:nvSpPr>
          <p:spPr bwMode="auto">
            <a:xfrm>
              <a:off x="7988301" y="5053013"/>
              <a:ext cx="114300" cy="44450"/>
            </a:xfrm>
            <a:custGeom>
              <a:avLst/>
              <a:gdLst>
                <a:gd name="T0" fmla="*/ 77 w 77"/>
                <a:gd name="T1" fmla="*/ 0 h 30"/>
                <a:gd name="T2" fmla="*/ 34 w 77"/>
                <a:gd name="T3" fmla="*/ 30 h 30"/>
                <a:gd name="T4" fmla="*/ 40 w 77"/>
                <a:gd name="T5" fmla="*/ 30 h 30"/>
                <a:gd name="T6" fmla="*/ 77 w 77"/>
                <a:gd name="T7" fmla="*/ 0 h 30"/>
              </a:gdLst>
              <a:ahLst/>
              <a:cxnLst>
                <a:cxn ang="0">
                  <a:pos x="T0" y="T1"/>
                </a:cxn>
                <a:cxn ang="0">
                  <a:pos x="T2" y="T3"/>
                </a:cxn>
                <a:cxn ang="0">
                  <a:pos x="T4" y="T5"/>
                </a:cxn>
                <a:cxn ang="0">
                  <a:pos x="T6" y="T7"/>
                </a:cxn>
              </a:cxnLst>
              <a:rect l="0" t="0" r="r" b="b"/>
              <a:pathLst>
                <a:path w="77" h="30">
                  <a:moveTo>
                    <a:pt x="77" y="0"/>
                  </a:moveTo>
                  <a:cubicBezTo>
                    <a:pt x="77" y="0"/>
                    <a:pt x="0" y="26"/>
                    <a:pt x="34" y="30"/>
                  </a:cubicBezTo>
                  <a:cubicBezTo>
                    <a:pt x="36" y="30"/>
                    <a:pt x="38" y="30"/>
                    <a:pt x="40" y="30"/>
                  </a:cubicBezTo>
                  <a:cubicBezTo>
                    <a:pt x="69" y="30"/>
                    <a:pt x="77" y="0"/>
                    <a:pt x="77" y="0"/>
                  </a:cubicBezTo>
                </a:path>
              </a:pathLst>
            </a:custGeom>
            <a:solidFill>
              <a:srgbClr val="B9C6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5" name="i$ḷïḓê">
              <a:extLst>
                <a:ext uri="{FF2B5EF4-FFF2-40B4-BE49-F238E27FC236}">
                  <a16:creationId xmlns:a16="http://schemas.microsoft.com/office/drawing/2014/main" id="{1E2C9407-3B7B-49A9-8291-A3F98C4CE014}"/>
                </a:ext>
              </a:extLst>
            </p:cNvPr>
            <p:cNvSpPr/>
            <p:nvPr/>
          </p:nvSpPr>
          <p:spPr bwMode="auto">
            <a:xfrm>
              <a:off x="8023226" y="5119688"/>
              <a:ext cx="119063" cy="60325"/>
            </a:xfrm>
            <a:custGeom>
              <a:avLst/>
              <a:gdLst>
                <a:gd name="T0" fmla="*/ 9 w 82"/>
                <a:gd name="T1" fmla="*/ 0 h 41"/>
                <a:gd name="T2" fmla="*/ 2 w 82"/>
                <a:gd name="T3" fmla="*/ 5 h 41"/>
                <a:gd name="T4" fmla="*/ 72 w 82"/>
                <a:gd name="T5" fmla="*/ 41 h 41"/>
                <a:gd name="T6" fmla="*/ 77 w 82"/>
                <a:gd name="T7" fmla="*/ 39 h 41"/>
                <a:gd name="T8" fmla="*/ 82 w 82"/>
                <a:gd name="T9" fmla="*/ 24 h 41"/>
                <a:gd name="T10" fmla="*/ 9 w 82"/>
                <a:gd name="T11" fmla="*/ 0 h 41"/>
              </a:gdLst>
              <a:ahLst/>
              <a:cxnLst>
                <a:cxn ang="0">
                  <a:pos x="T0" y="T1"/>
                </a:cxn>
                <a:cxn ang="0">
                  <a:pos x="T2" y="T3"/>
                </a:cxn>
                <a:cxn ang="0">
                  <a:pos x="T4" y="T5"/>
                </a:cxn>
                <a:cxn ang="0">
                  <a:pos x="T6" y="T7"/>
                </a:cxn>
                <a:cxn ang="0">
                  <a:pos x="T8" y="T9"/>
                </a:cxn>
                <a:cxn ang="0">
                  <a:pos x="T10" y="T11"/>
                </a:cxn>
              </a:cxnLst>
              <a:rect l="0" t="0" r="r" b="b"/>
              <a:pathLst>
                <a:path w="82" h="41">
                  <a:moveTo>
                    <a:pt x="9" y="0"/>
                  </a:moveTo>
                  <a:cubicBezTo>
                    <a:pt x="5" y="0"/>
                    <a:pt x="2" y="2"/>
                    <a:pt x="2" y="5"/>
                  </a:cubicBezTo>
                  <a:cubicBezTo>
                    <a:pt x="0" y="18"/>
                    <a:pt x="54" y="41"/>
                    <a:pt x="72" y="41"/>
                  </a:cubicBezTo>
                  <a:cubicBezTo>
                    <a:pt x="74" y="41"/>
                    <a:pt x="76" y="40"/>
                    <a:pt x="77" y="39"/>
                  </a:cubicBezTo>
                  <a:cubicBezTo>
                    <a:pt x="80" y="35"/>
                    <a:pt x="82" y="29"/>
                    <a:pt x="82" y="24"/>
                  </a:cubicBezTo>
                  <a:cubicBezTo>
                    <a:pt x="77" y="23"/>
                    <a:pt x="29" y="0"/>
                    <a:pt x="9" y="0"/>
                  </a:cubicBezTo>
                </a:path>
              </a:pathLst>
            </a:custGeom>
            <a:solidFill>
              <a:srgbClr val="B9C6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6" name="ïṣḻïdé">
              <a:extLst>
                <a:ext uri="{FF2B5EF4-FFF2-40B4-BE49-F238E27FC236}">
                  <a16:creationId xmlns:a16="http://schemas.microsoft.com/office/drawing/2014/main" id="{37B955EC-4593-4B55-B8EE-00102821487E}"/>
                </a:ext>
              </a:extLst>
            </p:cNvPr>
            <p:cNvSpPr/>
            <p:nvPr/>
          </p:nvSpPr>
          <p:spPr bwMode="auto">
            <a:xfrm>
              <a:off x="7637463" y="5076825"/>
              <a:ext cx="160338" cy="20638"/>
            </a:xfrm>
            <a:custGeom>
              <a:avLst/>
              <a:gdLst>
                <a:gd name="T0" fmla="*/ 31 w 109"/>
                <a:gd name="T1" fmla="*/ 0 h 13"/>
                <a:gd name="T2" fmla="*/ 0 w 109"/>
                <a:gd name="T3" fmla="*/ 10 h 13"/>
                <a:gd name="T4" fmla="*/ 109 w 109"/>
                <a:gd name="T5" fmla="*/ 13 h 13"/>
                <a:gd name="T6" fmla="*/ 31 w 109"/>
                <a:gd name="T7" fmla="*/ 0 h 13"/>
              </a:gdLst>
              <a:ahLst/>
              <a:cxnLst>
                <a:cxn ang="0">
                  <a:pos x="T0" y="T1"/>
                </a:cxn>
                <a:cxn ang="0">
                  <a:pos x="T2" y="T3"/>
                </a:cxn>
                <a:cxn ang="0">
                  <a:pos x="T4" y="T5"/>
                </a:cxn>
                <a:cxn ang="0">
                  <a:pos x="T6" y="T7"/>
                </a:cxn>
              </a:cxnLst>
              <a:rect l="0" t="0" r="r" b="b"/>
              <a:pathLst>
                <a:path w="109" h="13">
                  <a:moveTo>
                    <a:pt x="31" y="0"/>
                  </a:moveTo>
                  <a:cubicBezTo>
                    <a:pt x="17" y="0"/>
                    <a:pt x="6" y="2"/>
                    <a:pt x="0" y="10"/>
                  </a:cubicBezTo>
                  <a:cubicBezTo>
                    <a:pt x="109" y="13"/>
                    <a:pt x="109" y="13"/>
                    <a:pt x="109" y="13"/>
                  </a:cubicBezTo>
                  <a:cubicBezTo>
                    <a:pt x="103" y="13"/>
                    <a:pt x="61" y="0"/>
                    <a:pt x="31" y="0"/>
                  </a:cubicBezTo>
                </a:path>
              </a:pathLst>
            </a:custGeom>
            <a:solidFill>
              <a:srgbClr val="B9C6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7" name="íSlíḋè">
              <a:extLst>
                <a:ext uri="{FF2B5EF4-FFF2-40B4-BE49-F238E27FC236}">
                  <a16:creationId xmlns:a16="http://schemas.microsoft.com/office/drawing/2014/main" id="{7173BB9E-33EC-42E6-B8A2-62721207878E}"/>
                </a:ext>
              </a:extLst>
            </p:cNvPr>
            <p:cNvSpPr/>
            <p:nvPr/>
          </p:nvSpPr>
          <p:spPr bwMode="auto">
            <a:xfrm>
              <a:off x="7624763" y="5108575"/>
              <a:ext cx="61913" cy="11113"/>
            </a:xfrm>
            <a:custGeom>
              <a:avLst/>
              <a:gdLst>
                <a:gd name="T0" fmla="*/ 22 w 42"/>
                <a:gd name="T1" fmla="*/ 0 h 8"/>
                <a:gd name="T2" fmla="*/ 13 w 42"/>
                <a:gd name="T3" fmla="*/ 1 h 8"/>
                <a:gd name="T4" fmla="*/ 40 w 42"/>
                <a:gd name="T5" fmla="*/ 8 h 8"/>
                <a:gd name="T6" fmla="*/ 42 w 42"/>
                <a:gd name="T7" fmla="*/ 8 h 8"/>
                <a:gd name="T8" fmla="*/ 22 w 42"/>
                <a:gd name="T9" fmla="*/ 0 h 8"/>
              </a:gdLst>
              <a:ahLst/>
              <a:cxnLst>
                <a:cxn ang="0">
                  <a:pos x="T0" y="T1"/>
                </a:cxn>
                <a:cxn ang="0">
                  <a:pos x="T2" y="T3"/>
                </a:cxn>
                <a:cxn ang="0">
                  <a:pos x="T4" y="T5"/>
                </a:cxn>
                <a:cxn ang="0">
                  <a:pos x="T6" y="T7"/>
                </a:cxn>
                <a:cxn ang="0">
                  <a:pos x="T8" y="T9"/>
                </a:cxn>
              </a:cxnLst>
              <a:rect l="0" t="0" r="r" b="b"/>
              <a:pathLst>
                <a:path w="42" h="8">
                  <a:moveTo>
                    <a:pt x="22" y="0"/>
                  </a:moveTo>
                  <a:cubicBezTo>
                    <a:pt x="19" y="0"/>
                    <a:pt x="16" y="0"/>
                    <a:pt x="13" y="1"/>
                  </a:cubicBezTo>
                  <a:cubicBezTo>
                    <a:pt x="0" y="7"/>
                    <a:pt x="31" y="8"/>
                    <a:pt x="40" y="8"/>
                  </a:cubicBezTo>
                  <a:cubicBezTo>
                    <a:pt x="41" y="8"/>
                    <a:pt x="42" y="8"/>
                    <a:pt x="42" y="8"/>
                  </a:cubicBezTo>
                  <a:cubicBezTo>
                    <a:pt x="42" y="8"/>
                    <a:pt x="33" y="0"/>
                    <a:pt x="22" y="0"/>
                  </a:cubicBezTo>
                </a:path>
              </a:pathLst>
            </a:custGeom>
            <a:solidFill>
              <a:srgbClr val="B9C6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8" name="i$ḻîďé">
              <a:extLst>
                <a:ext uri="{FF2B5EF4-FFF2-40B4-BE49-F238E27FC236}">
                  <a16:creationId xmlns:a16="http://schemas.microsoft.com/office/drawing/2014/main" id="{E4C488E2-4FDA-4B99-A782-17F572F80744}"/>
                </a:ext>
              </a:extLst>
            </p:cNvPr>
            <p:cNvSpPr/>
            <p:nvPr/>
          </p:nvSpPr>
          <p:spPr bwMode="auto">
            <a:xfrm>
              <a:off x="7929563" y="5321300"/>
              <a:ext cx="28575" cy="30163"/>
            </a:xfrm>
            <a:custGeom>
              <a:avLst/>
              <a:gdLst>
                <a:gd name="T0" fmla="*/ 19 w 19"/>
                <a:gd name="T1" fmla="*/ 0 h 20"/>
                <a:gd name="T2" fmla="*/ 0 w 19"/>
                <a:gd name="T3" fmla="*/ 20 h 20"/>
                <a:gd name="T4" fmla="*/ 19 w 19"/>
                <a:gd name="T5" fmla="*/ 0 h 20"/>
              </a:gdLst>
              <a:ahLst/>
              <a:cxnLst>
                <a:cxn ang="0">
                  <a:pos x="T0" y="T1"/>
                </a:cxn>
                <a:cxn ang="0">
                  <a:pos x="T2" y="T3"/>
                </a:cxn>
                <a:cxn ang="0">
                  <a:pos x="T4" y="T5"/>
                </a:cxn>
              </a:cxnLst>
              <a:rect l="0" t="0" r="r" b="b"/>
              <a:pathLst>
                <a:path w="19" h="20">
                  <a:moveTo>
                    <a:pt x="19" y="0"/>
                  </a:moveTo>
                  <a:cubicBezTo>
                    <a:pt x="0" y="20"/>
                    <a:pt x="0" y="20"/>
                    <a:pt x="0" y="20"/>
                  </a:cubicBezTo>
                  <a:cubicBezTo>
                    <a:pt x="10" y="17"/>
                    <a:pt x="17" y="10"/>
                    <a:pt x="19" y="0"/>
                  </a:cubicBezTo>
                </a:path>
              </a:pathLst>
            </a:custGeom>
            <a:solidFill>
              <a:srgbClr val="B5778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9" name="ïŝḷïḋè">
              <a:extLst>
                <a:ext uri="{FF2B5EF4-FFF2-40B4-BE49-F238E27FC236}">
                  <a16:creationId xmlns:a16="http://schemas.microsoft.com/office/drawing/2014/main" id="{44443284-2079-46E0-AF6B-8B3FAA4E75BC}"/>
                </a:ext>
              </a:extLst>
            </p:cNvPr>
            <p:cNvSpPr/>
            <p:nvPr/>
          </p:nvSpPr>
          <p:spPr bwMode="auto">
            <a:xfrm>
              <a:off x="7331076" y="5130800"/>
              <a:ext cx="538163" cy="303213"/>
            </a:xfrm>
            <a:custGeom>
              <a:avLst/>
              <a:gdLst>
                <a:gd name="T0" fmla="*/ 3 w 366"/>
                <a:gd name="T1" fmla="*/ 182 h 207"/>
                <a:gd name="T2" fmla="*/ 123 w 366"/>
                <a:gd name="T3" fmla="*/ 201 h 207"/>
                <a:gd name="T4" fmla="*/ 237 w 366"/>
                <a:gd name="T5" fmla="*/ 173 h 207"/>
                <a:gd name="T6" fmla="*/ 342 w 366"/>
                <a:gd name="T7" fmla="*/ 155 h 207"/>
                <a:gd name="T8" fmla="*/ 347 w 366"/>
                <a:gd name="T9" fmla="*/ 120 h 207"/>
                <a:gd name="T10" fmla="*/ 347 w 366"/>
                <a:gd name="T11" fmla="*/ 117 h 207"/>
                <a:gd name="T12" fmla="*/ 344 w 366"/>
                <a:gd name="T13" fmla="*/ 65 h 207"/>
                <a:gd name="T14" fmla="*/ 341 w 366"/>
                <a:gd name="T15" fmla="*/ 20 h 207"/>
                <a:gd name="T16" fmla="*/ 224 w 366"/>
                <a:gd name="T17" fmla="*/ 32 h 207"/>
                <a:gd name="T18" fmla="*/ 195 w 366"/>
                <a:gd name="T19" fmla="*/ 3 h 207"/>
                <a:gd name="T20" fmla="*/ 181 w 366"/>
                <a:gd name="T21" fmla="*/ 31 h 207"/>
                <a:gd name="T22" fmla="*/ 126 w 366"/>
                <a:gd name="T23" fmla="*/ 91 h 207"/>
                <a:gd name="T24" fmla="*/ 86 w 366"/>
                <a:gd name="T25" fmla="*/ 116 h 207"/>
                <a:gd name="T26" fmla="*/ 16 w 366"/>
                <a:gd name="T27" fmla="*/ 139 h 207"/>
                <a:gd name="T28" fmla="*/ 0 w 366"/>
                <a:gd name="T29" fmla="*/ 161 h 207"/>
                <a:gd name="T30" fmla="*/ 3 w 366"/>
                <a:gd name="T31" fmla="*/ 182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6" h="207">
                  <a:moveTo>
                    <a:pt x="3" y="182"/>
                  </a:moveTo>
                  <a:cubicBezTo>
                    <a:pt x="8" y="205"/>
                    <a:pt x="86" y="207"/>
                    <a:pt x="123" y="201"/>
                  </a:cubicBezTo>
                  <a:cubicBezTo>
                    <a:pt x="160" y="195"/>
                    <a:pt x="237" y="173"/>
                    <a:pt x="237" y="173"/>
                  </a:cubicBezTo>
                  <a:cubicBezTo>
                    <a:pt x="237" y="173"/>
                    <a:pt x="318" y="165"/>
                    <a:pt x="342" y="155"/>
                  </a:cubicBezTo>
                  <a:cubicBezTo>
                    <a:pt x="366" y="145"/>
                    <a:pt x="347" y="120"/>
                    <a:pt x="347" y="120"/>
                  </a:cubicBezTo>
                  <a:cubicBezTo>
                    <a:pt x="347" y="120"/>
                    <a:pt x="347" y="119"/>
                    <a:pt x="347" y="117"/>
                  </a:cubicBezTo>
                  <a:cubicBezTo>
                    <a:pt x="348" y="108"/>
                    <a:pt x="349" y="74"/>
                    <a:pt x="344" y="65"/>
                  </a:cubicBezTo>
                  <a:cubicBezTo>
                    <a:pt x="337" y="55"/>
                    <a:pt x="341" y="20"/>
                    <a:pt x="341" y="20"/>
                  </a:cubicBezTo>
                  <a:cubicBezTo>
                    <a:pt x="341" y="20"/>
                    <a:pt x="226" y="42"/>
                    <a:pt x="224" y="32"/>
                  </a:cubicBezTo>
                  <a:cubicBezTo>
                    <a:pt x="222" y="21"/>
                    <a:pt x="204" y="6"/>
                    <a:pt x="195" y="3"/>
                  </a:cubicBezTo>
                  <a:cubicBezTo>
                    <a:pt x="187" y="0"/>
                    <a:pt x="181" y="31"/>
                    <a:pt x="181" y="31"/>
                  </a:cubicBezTo>
                  <a:cubicBezTo>
                    <a:pt x="181" y="31"/>
                    <a:pt x="129" y="75"/>
                    <a:pt x="126" y="91"/>
                  </a:cubicBezTo>
                  <a:cubicBezTo>
                    <a:pt x="122" y="107"/>
                    <a:pt x="86" y="116"/>
                    <a:pt x="86" y="116"/>
                  </a:cubicBezTo>
                  <a:cubicBezTo>
                    <a:pt x="86" y="116"/>
                    <a:pt x="30" y="131"/>
                    <a:pt x="16" y="139"/>
                  </a:cubicBezTo>
                  <a:cubicBezTo>
                    <a:pt x="7" y="143"/>
                    <a:pt x="1" y="151"/>
                    <a:pt x="0" y="161"/>
                  </a:cubicBezTo>
                  <a:cubicBezTo>
                    <a:pt x="0" y="168"/>
                    <a:pt x="1" y="175"/>
                    <a:pt x="3" y="182"/>
                  </a:cubicBezTo>
                </a:path>
              </a:pathLst>
            </a:custGeom>
            <a:solidFill>
              <a:srgbClr val="CA849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0" name="iṡḷîḑè">
              <a:extLst>
                <a:ext uri="{FF2B5EF4-FFF2-40B4-BE49-F238E27FC236}">
                  <a16:creationId xmlns:a16="http://schemas.microsoft.com/office/drawing/2014/main" id="{D316B994-99FD-462F-8C06-6824F0CA1F31}"/>
                </a:ext>
              </a:extLst>
            </p:cNvPr>
            <p:cNvSpPr/>
            <p:nvPr/>
          </p:nvSpPr>
          <p:spPr bwMode="auto">
            <a:xfrm>
              <a:off x="7331076" y="5302250"/>
              <a:ext cx="520700" cy="128588"/>
            </a:xfrm>
            <a:custGeom>
              <a:avLst/>
              <a:gdLst>
                <a:gd name="T0" fmla="*/ 347 w 354"/>
                <a:gd name="T1" fmla="*/ 0 h 87"/>
                <a:gd name="T2" fmla="*/ 231 w 354"/>
                <a:gd name="T3" fmla="*/ 26 h 87"/>
                <a:gd name="T4" fmla="*/ 137 w 354"/>
                <a:gd name="T5" fmla="*/ 50 h 87"/>
                <a:gd name="T6" fmla="*/ 59 w 354"/>
                <a:gd name="T7" fmla="*/ 55 h 87"/>
                <a:gd name="T8" fmla="*/ 1 w 354"/>
                <a:gd name="T9" fmla="*/ 44 h 87"/>
                <a:gd name="T10" fmla="*/ 3 w 354"/>
                <a:gd name="T11" fmla="*/ 65 h 87"/>
                <a:gd name="T12" fmla="*/ 82 w 354"/>
                <a:gd name="T13" fmla="*/ 87 h 87"/>
                <a:gd name="T14" fmla="*/ 123 w 354"/>
                <a:gd name="T15" fmla="*/ 84 h 87"/>
                <a:gd name="T16" fmla="*/ 237 w 354"/>
                <a:gd name="T17" fmla="*/ 56 h 87"/>
                <a:gd name="T18" fmla="*/ 342 w 354"/>
                <a:gd name="T19" fmla="*/ 38 h 87"/>
                <a:gd name="T20" fmla="*/ 354 w 354"/>
                <a:gd name="T21" fmla="*/ 22 h 87"/>
                <a:gd name="T22" fmla="*/ 347 w 354"/>
                <a:gd name="T23" fmla="*/ 3 h 87"/>
                <a:gd name="T24" fmla="*/ 347 w 354"/>
                <a:gd name="T25" fmla="*/ 0 h 87"/>
                <a:gd name="T26" fmla="*/ 347 w 354"/>
                <a:gd name="T27" fmla="*/ 0 h 87"/>
                <a:gd name="T28" fmla="*/ 347 w 354"/>
                <a:gd name="T29"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4" h="87">
                  <a:moveTo>
                    <a:pt x="347" y="0"/>
                  </a:moveTo>
                  <a:cubicBezTo>
                    <a:pt x="231" y="26"/>
                    <a:pt x="231" y="26"/>
                    <a:pt x="231" y="26"/>
                  </a:cubicBezTo>
                  <a:cubicBezTo>
                    <a:pt x="231" y="26"/>
                    <a:pt x="174" y="50"/>
                    <a:pt x="137" y="50"/>
                  </a:cubicBezTo>
                  <a:cubicBezTo>
                    <a:pt x="119" y="50"/>
                    <a:pt x="88" y="55"/>
                    <a:pt x="59" y="55"/>
                  </a:cubicBezTo>
                  <a:cubicBezTo>
                    <a:pt x="36" y="55"/>
                    <a:pt x="15" y="52"/>
                    <a:pt x="1" y="44"/>
                  </a:cubicBezTo>
                  <a:cubicBezTo>
                    <a:pt x="0" y="51"/>
                    <a:pt x="1" y="58"/>
                    <a:pt x="3" y="65"/>
                  </a:cubicBezTo>
                  <a:cubicBezTo>
                    <a:pt x="6" y="81"/>
                    <a:pt x="46" y="87"/>
                    <a:pt x="82" y="87"/>
                  </a:cubicBezTo>
                  <a:cubicBezTo>
                    <a:pt x="97" y="87"/>
                    <a:pt x="112" y="86"/>
                    <a:pt x="123" y="84"/>
                  </a:cubicBezTo>
                  <a:cubicBezTo>
                    <a:pt x="160" y="78"/>
                    <a:pt x="237" y="56"/>
                    <a:pt x="237" y="56"/>
                  </a:cubicBezTo>
                  <a:cubicBezTo>
                    <a:pt x="237" y="56"/>
                    <a:pt x="318" y="48"/>
                    <a:pt x="342" y="38"/>
                  </a:cubicBezTo>
                  <a:cubicBezTo>
                    <a:pt x="351" y="34"/>
                    <a:pt x="354" y="28"/>
                    <a:pt x="354" y="22"/>
                  </a:cubicBezTo>
                  <a:cubicBezTo>
                    <a:pt x="354" y="12"/>
                    <a:pt x="347" y="3"/>
                    <a:pt x="347" y="3"/>
                  </a:cubicBezTo>
                  <a:cubicBezTo>
                    <a:pt x="347" y="3"/>
                    <a:pt x="347" y="2"/>
                    <a:pt x="347" y="0"/>
                  </a:cubicBezTo>
                  <a:cubicBezTo>
                    <a:pt x="347" y="0"/>
                    <a:pt x="347" y="0"/>
                    <a:pt x="347" y="0"/>
                  </a:cubicBezTo>
                  <a:cubicBezTo>
                    <a:pt x="347" y="0"/>
                    <a:pt x="347" y="0"/>
                    <a:pt x="347" y="0"/>
                  </a:cubicBezTo>
                </a:path>
              </a:pathLst>
            </a:custGeom>
            <a:solidFill>
              <a:srgbClr val="B5778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1" name="ïsḻíďe">
              <a:extLst>
                <a:ext uri="{FF2B5EF4-FFF2-40B4-BE49-F238E27FC236}">
                  <a16:creationId xmlns:a16="http://schemas.microsoft.com/office/drawing/2014/main" id="{558AE8E2-3FEA-41AA-A7B0-50CB132C7F15}"/>
                </a:ext>
              </a:extLst>
            </p:cNvPr>
            <p:cNvSpPr/>
            <p:nvPr/>
          </p:nvSpPr>
          <p:spPr bwMode="auto">
            <a:xfrm>
              <a:off x="7566026" y="5270500"/>
              <a:ext cx="39688" cy="69850"/>
            </a:xfrm>
            <a:custGeom>
              <a:avLst/>
              <a:gdLst>
                <a:gd name="T0" fmla="*/ 0 w 27"/>
                <a:gd name="T1" fmla="*/ 0 h 48"/>
                <a:gd name="T2" fmla="*/ 27 w 27"/>
                <a:gd name="T3" fmla="*/ 48 h 48"/>
                <a:gd name="T4" fmla="*/ 0 w 27"/>
                <a:gd name="T5" fmla="*/ 0 h 48"/>
              </a:gdLst>
              <a:ahLst/>
              <a:cxnLst>
                <a:cxn ang="0">
                  <a:pos x="T0" y="T1"/>
                </a:cxn>
                <a:cxn ang="0">
                  <a:pos x="T2" y="T3"/>
                </a:cxn>
                <a:cxn ang="0">
                  <a:pos x="T4" y="T5"/>
                </a:cxn>
              </a:cxnLst>
              <a:rect l="0" t="0" r="r" b="b"/>
              <a:pathLst>
                <a:path w="27" h="48">
                  <a:moveTo>
                    <a:pt x="0" y="0"/>
                  </a:moveTo>
                  <a:cubicBezTo>
                    <a:pt x="0" y="0"/>
                    <a:pt x="5" y="36"/>
                    <a:pt x="27" y="48"/>
                  </a:cubicBezTo>
                  <a:cubicBezTo>
                    <a:pt x="0" y="0"/>
                    <a:pt x="0" y="0"/>
                    <a:pt x="0" y="0"/>
                  </a:cubicBezTo>
                </a:path>
              </a:pathLst>
            </a:custGeom>
            <a:solidFill>
              <a:srgbClr val="B5778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2" name="iṡliďé">
              <a:extLst>
                <a:ext uri="{FF2B5EF4-FFF2-40B4-BE49-F238E27FC236}">
                  <a16:creationId xmlns:a16="http://schemas.microsoft.com/office/drawing/2014/main" id="{28F42D0F-60DB-411E-8868-BD1A3A3CE448}"/>
                </a:ext>
              </a:extLst>
            </p:cNvPr>
            <p:cNvSpPr/>
            <p:nvPr/>
          </p:nvSpPr>
          <p:spPr bwMode="auto">
            <a:xfrm>
              <a:off x="7780338" y="2044700"/>
              <a:ext cx="241300" cy="147638"/>
            </a:xfrm>
            <a:custGeom>
              <a:avLst/>
              <a:gdLst>
                <a:gd name="T0" fmla="*/ 56 w 164"/>
                <a:gd name="T1" fmla="*/ 0 h 100"/>
                <a:gd name="T2" fmla="*/ 37 w 164"/>
                <a:gd name="T3" fmla="*/ 6 h 100"/>
                <a:gd name="T4" fmla="*/ 12 w 164"/>
                <a:gd name="T5" fmla="*/ 17 h 100"/>
                <a:gd name="T6" fmla="*/ 7 w 164"/>
                <a:gd name="T7" fmla="*/ 16 h 100"/>
                <a:gd name="T8" fmla="*/ 1 w 164"/>
                <a:gd name="T9" fmla="*/ 14 h 100"/>
                <a:gd name="T10" fmla="*/ 0 w 164"/>
                <a:gd name="T11" fmla="*/ 16 h 100"/>
                <a:gd name="T12" fmla="*/ 7 w 164"/>
                <a:gd name="T13" fmla="*/ 19 h 100"/>
                <a:gd name="T14" fmla="*/ 12 w 164"/>
                <a:gd name="T15" fmla="*/ 19 h 100"/>
                <a:gd name="T16" fmla="*/ 37 w 164"/>
                <a:gd name="T17" fmla="*/ 9 h 100"/>
                <a:gd name="T18" fmla="*/ 56 w 164"/>
                <a:gd name="T19" fmla="*/ 2 h 100"/>
                <a:gd name="T20" fmla="*/ 67 w 164"/>
                <a:gd name="T21" fmla="*/ 6 h 100"/>
                <a:gd name="T22" fmla="*/ 80 w 164"/>
                <a:gd name="T23" fmla="*/ 45 h 100"/>
                <a:gd name="T24" fmla="*/ 105 w 164"/>
                <a:gd name="T25" fmla="*/ 54 h 100"/>
                <a:gd name="T26" fmla="*/ 117 w 164"/>
                <a:gd name="T27" fmla="*/ 78 h 100"/>
                <a:gd name="T28" fmla="*/ 132 w 164"/>
                <a:gd name="T29" fmla="*/ 100 h 100"/>
                <a:gd name="T30" fmla="*/ 137 w 164"/>
                <a:gd name="T31" fmla="*/ 100 h 100"/>
                <a:gd name="T32" fmla="*/ 147 w 164"/>
                <a:gd name="T33" fmla="*/ 99 h 100"/>
                <a:gd name="T34" fmla="*/ 157 w 164"/>
                <a:gd name="T35" fmla="*/ 97 h 100"/>
                <a:gd name="T36" fmla="*/ 157 w 164"/>
                <a:gd name="T37" fmla="*/ 97 h 100"/>
                <a:gd name="T38" fmla="*/ 159 w 164"/>
                <a:gd name="T39" fmla="*/ 97 h 100"/>
                <a:gd name="T40" fmla="*/ 163 w 164"/>
                <a:gd name="T41" fmla="*/ 96 h 100"/>
                <a:gd name="T42" fmla="*/ 163 w 164"/>
                <a:gd name="T43" fmla="*/ 92 h 100"/>
                <a:gd name="T44" fmla="*/ 163 w 164"/>
                <a:gd name="T45" fmla="*/ 92 h 100"/>
                <a:gd name="T46" fmla="*/ 163 w 164"/>
                <a:gd name="T47" fmla="*/ 94 h 100"/>
                <a:gd name="T48" fmla="*/ 159 w 164"/>
                <a:gd name="T49" fmla="*/ 95 h 100"/>
                <a:gd name="T50" fmla="*/ 157 w 164"/>
                <a:gd name="T51" fmla="*/ 95 h 100"/>
                <a:gd name="T52" fmla="*/ 157 w 164"/>
                <a:gd name="T53" fmla="*/ 95 h 100"/>
                <a:gd name="T54" fmla="*/ 146 w 164"/>
                <a:gd name="T55" fmla="*/ 96 h 100"/>
                <a:gd name="T56" fmla="*/ 136 w 164"/>
                <a:gd name="T57" fmla="*/ 98 h 100"/>
                <a:gd name="T58" fmla="*/ 132 w 164"/>
                <a:gd name="T59" fmla="*/ 98 h 100"/>
                <a:gd name="T60" fmla="*/ 117 w 164"/>
                <a:gd name="T61" fmla="*/ 76 h 100"/>
                <a:gd name="T62" fmla="*/ 105 w 164"/>
                <a:gd name="T63" fmla="*/ 51 h 100"/>
                <a:gd name="T64" fmla="*/ 80 w 164"/>
                <a:gd name="T65" fmla="*/ 43 h 100"/>
                <a:gd name="T66" fmla="*/ 67 w 164"/>
                <a:gd name="T67" fmla="*/ 4 h 100"/>
                <a:gd name="T68" fmla="*/ 56 w 164"/>
                <a:gd name="T6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4" h="100">
                  <a:moveTo>
                    <a:pt x="56" y="0"/>
                  </a:moveTo>
                  <a:cubicBezTo>
                    <a:pt x="49" y="0"/>
                    <a:pt x="42" y="3"/>
                    <a:pt x="37" y="6"/>
                  </a:cubicBezTo>
                  <a:cubicBezTo>
                    <a:pt x="29" y="11"/>
                    <a:pt x="20" y="17"/>
                    <a:pt x="12" y="17"/>
                  </a:cubicBezTo>
                  <a:cubicBezTo>
                    <a:pt x="10" y="17"/>
                    <a:pt x="8" y="17"/>
                    <a:pt x="7" y="16"/>
                  </a:cubicBezTo>
                  <a:cubicBezTo>
                    <a:pt x="5" y="16"/>
                    <a:pt x="3" y="15"/>
                    <a:pt x="1" y="14"/>
                  </a:cubicBezTo>
                  <a:cubicBezTo>
                    <a:pt x="1" y="14"/>
                    <a:pt x="0" y="15"/>
                    <a:pt x="0" y="16"/>
                  </a:cubicBezTo>
                  <a:cubicBezTo>
                    <a:pt x="2" y="17"/>
                    <a:pt x="5" y="18"/>
                    <a:pt x="7" y="19"/>
                  </a:cubicBezTo>
                  <a:cubicBezTo>
                    <a:pt x="8" y="19"/>
                    <a:pt x="10" y="19"/>
                    <a:pt x="12" y="19"/>
                  </a:cubicBezTo>
                  <a:cubicBezTo>
                    <a:pt x="20" y="19"/>
                    <a:pt x="29" y="13"/>
                    <a:pt x="37" y="9"/>
                  </a:cubicBezTo>
                  <a:cubicBezTo>
                    <a:pt x="42" y="5"/>
                    <a:pt x="49" y="2"/>
                    <a:pt x="56" y="2"/>
                  </a:cubicBezTo>
                  <a:cubicBezTo>
                    <a:pt x="60" y="2"/>
                    <a:pt x="64" y="3"/>
                    <a:pt x="67" y="6"/>
                  </a:cubicBezTo>
                  <a:cubicBezTo>
                    <a:pt x="77" y="16"/>
                    <a:pt x="69" y="36"/>
                    <a:pt x="80" y="45"/>
                  </a:cubicBezTo>
                  <a:cubicBezTo>
                    <a:pt x="87" y="51"/>
                    <a:pt x="98" y="49"/>
                    <a:pt x="105" y="54"/>
                  </a:cubicBezTo>
                  <a:cubicBezTo>
                    <a:pt x="113" y="58"/>
                    <a:pt x="115" y="69"/>
                    <a:pt x="117" y="78"/>
                  </a:cubicBezTo>
                  <a:cubicBezTo>
                    <a:pt x="119" y="87"/>
                    <a:pt x="123" y="97"/>
                    <a:pt x="132" y="100"/>
                  </a:cubicBezTo>
                  <a:cubicBezTo>
                    <a:pt x="133" y="100"/>
                    <a:pt x="135" y="100"/>
                    <a:pt x="137" y="100"/>
                  </a:cubicBezTo>
                  <a:cubicBezTo>
                    <a:pt x="140" y="100"/>
                    <a:pt x="143" y="100"/>
                    <a:pt x="147" y="99"/>
                  </a:cubicBezTo>
                  <a:cubicBezTo>
                    <a:pt x="150" y="98"/>
                    <a:pt x="153" y="97"/>
                    <a:pt x="157" y="97"/>
                  </a:cubicBezTo>
                  <a:cubicBezTo>
                    <a:pt x="157" y="97"/>
                    <a:pt x="157" y="97"/>
                    <a:pt x="157" y="97"/>
                  </a:cubicBezTo>
                  <a:cubicBezTo>
                    <a:pt x="158" y="97"/>
                    <a:pt x="159" y="97"/>
                    <a:pt x="159" y="97"/>
                  </a:cubicBezTo>
                  <a:cubicBezTo>
                    <a:pt x="160" y="97"/>
                    <a:pt x="162" y="97"/>
                    <a:pt x="163" y="96"/>
                  </a:cubicBezTo>
                  <a:cubicBezTo>
                    <a:pt x="163" y="95"/>
                    <a:pt x="164" y="93"/>
                    <a:pt x="163" y="92"/>
                  </a:cubicBezTo>
                  <a:cubicBezTo>
                    <a:pt x="163" y="92"/>
                    <a:pt x="163" y="92"/>
                    <a:pt x="163" y="92"/>
                  </a:cubicBezTo>
                  <a:cubicBezTo>
                    <a:pt x="163" y="92"/>
                    <a:pt x="163" y="93"/>
                    <a:pt x="163" y="94"/>
                  </a:cubicBezTo>
                  <a:cubicBezTo>
                    <a:pt x="162" y="95"/>
                    <a:pt x="160" y="95"/>
                    <a:pt x="159" y="95"/>
                  </a:cubicBezTo>
                  <a:cubicBezTo>
                    <a:pt x="159" y="95"/>
                    <a:pt x="158" y="95"/>
                    <a:pt x="157" y="95"/>
                  </a:cubicBezTo>
                  <a:cubicBezTo>
                    <a:pt x="157" y="95"/>
                    <a:pt x="157" y="95"/>
                    <a:pt x="157" y="95"/>
                  </a:cubicBezTo>
                  <a:cubicBezTo>
                    <a:pt x="153" y="95"/>
                    <a:pt x="150" y="96"/>
                    <a:pt x="146" y="96"/>
                  </a:cubicBezTo>
                  <a:cubicBezTo>
                    <a:pt x="143" y="97"/>
                    <a:pt x="140" y="98"/>
                    <a:pt x="136" y="98"/>
                  </a:cubicBezTo>
                  <a:cubicBezTo>
                    <a:pt x="135" y="98"/>
                    <a:pt x="133" y="98"/>
                    <a:pt x="132" y="98"/>
                  </a:cubicBezTo>
                  <a:cubicBezTo>
                    <a:pt x="123" y="95"/>
                    <a:pt x="119" y="85"/>
                    <a:pt x="117" y="76"/>
                  </a:cubicBezTo>
                  <a:cubicBezTo>
                    <a:pt x="115" y="67"/>
                    <a:pt x="113" y="56"/>
                    <a:pt x="105" y="51"/>
                  </a:cubicBezTo>
                  <a:cubicBezTo>
                    <a:pt x="98" y="46"/>
                    <a:pt x="87" y="49"/>
                    <a:pt x="80" y="43"/>
                  </a:cubicBezTo>
                  <a:cubicBezTo>
                    <a:pt x="69" y="34"/>
                    <a:pt x="77" y="13"/>
                    <a:pt x="67" y="4"/>
                  </a:cubicBezTo>
                  <a:cubicBezTo>
                    <a:pt x="64" y="1"/>
                    <a:pt x="60" y="0"/>
                    <a:pt x="56" y="0"/>
                  </a:cubicBezTo>
                </a:path>
              </a:pathLst>
            </a:custGeom>
            <a:solidFill>
              <a:srgbClr val="E4AE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3" name="îṥḷîḑè">
              <a:extLst>
                <a:ext uri="{FF2B5EF4-FFF2-40B4-BE49-F238E27FC236}">
                  <a16:creationId xmlns:a16="http://schemas.microsoft.com/office/drawing/2014/main" id="{B328F606-FD90-45C9-BCBE-2A7201840738}"/>
                </a:ext>
              </a:extLst>
            </p:cNvPr>
            <p:cNvSpPr/>
            <p:nvPr/>
          </p:nvSpPr>
          <p:spPr bwMode="auto">
            <a:xfrm>
              <a:off x="7780338" y="2068513"/>
              <a:ext cx="1588" cy="1588"/>
            </a:xfrm>
            <a:prstGeom prst="ellipse">
              <a:avLst/>
            </a:prstGeom>
            <a:solidFill>
              <a:srgbClr val="E4AE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4" name="iṥlide">
              <a:extLst>
                <a:ext uri="{FF2B5EF4-FFF2-40B4-BE49-F238E27FC236}">
                  <a16:creationId xmlns:a16="http://schemas.microsoft.com/office/drawing/2014/main" id="{188D963F-A615-45D8-836A-58BD19B7D221}"/>
                </a:ext>
              </a:extLst>
            </p:cNvPr>
            <p:cNvSpPr/>
            <p:nvPr/>
          </p:nvSpPr>
          <p:spPr bwMode="auto">
            <a:xfrm>
              <a:off x="8153401" y="2201863"/>
              <a:ext cx="1588" cy="1588"/>
            </a:xfrm>
            <a:custGeom>
              <a:avLst/>
              <a:gdLst>
                <a:gd name="T0" fmla="*/ 1 w 1"/>
                <a:gd name="T1" fmla="*/ 0 h 1"/>
                <a:gd name="T2" fmla="*/ 0 w 1"/>
                <a:gd name="T3" fmla="*/ 1 h 1"/>
                <a:gd name="T4" fmla="*/ 0 w 1"/>
                <a:gd name="T5" fmla="*/ 1 h 1"/>
                <a:gd name="T6" fmla="*/ 1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0" y="0"/>
                    <a:pt x="0" y="0"/>
                    <a:pt x="0" y="1"/>
                  </a:cubicBezTo>
                  <a:cubicBezTo>
                    <a:pt x="0" y="1"/>
                    <a:pt x="0" y="1"/>
                    <a:pt x="0" y="1"/>
                  </a:cubicBezTo>
                  <a:cubicBezTo>
                    <a:pt x="0" y="1"/>
                    <a:pt x="1" y="0"/>
                    <a:pt x="1" y="0"/>
                  </a:cubicBezTo>
                  <a:cubicBezTo>
                    <a:pt x="1" y="0"/>
                    <a:pt x="1" y="0"/>
                    <a:pt x="1" y="0"/>
                  </a:cubicBezTo>
                </a:path>
              </a:pathLst>
            </a:custGeom>
            <a:solidFill>
              <a:srgbClr val="CD9C9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5" name="iSlîďé">
              <a:extLst>
                <a:ext uri="{FF2B5EF4-FFF2-40B4-BE49-F238E27FC236}">
                  <a16:creationId xmlns:a16="http://schemas.microsoft.com/office/drawing/2014/main" id="{DAE05179-E783-43EE-A412-1654A582A8F4}"/>
                </a:ext>
              </a:extLst>
            </p:cNvPr>
            <p:cNvSpPr/>
            <p:nvPr/>
          </p:nvSpPr>
          <p:spPr bwMode="auto">
            <a:xfrm>
              <a:off x="8020051" y="2098675"/>
              <a:ext cx="134938" cy="104775"/>
            </a:xfrm>
            <a:custGeom>
              <a:avLst/>
              <a:gdLst>
                <a:gd name="T0" fmla="*/ 29 w 92"/>
                <a:gd name="T1" fmla="*/ 0 h 72"/>
                <a:gd name="T2" fmla="*/ 26 w 92"/>
                <a:gd name="T3" fmla="*/ 1 h 72"/>
                <a:gd name="T4" fmla="*/ 3 w 92"/>
                <a:gd name="T5" fmla="*/ 22 h 72"/>
                <a:gd name="T6" fmla="*/ 1 w 92"/>
                <a:gd name="T7" fmla="*/ 35 h 72"/>
                <a:gd name="T8" fmla="*/ 0 w 92"/>
                <a:gd name="T9" fmla="*/ 37 h 72"/>
                <a:gd name="T10" fmla="*/ 0 w 92"/>
                <a:gd name="T11" fmla="*/ 37 h 72"/>
                <a:gd name="T12" fmla="*/ 0 w 92"/>
                <a:gd name="T13" fmla="*/ 44 h 72"/>
                <a:gd name="T14" fmla="*/ 0 w 92"/>
                <a:gd name="T15" fmla="*/ 44 h 72"/>
                <a:gd name="T16" fmla="*/ 3 w 92"/>
                <a:gd name="T17" fmla="*/ 24 h 72"/>
                <a:gd name="T18" fmla="*/ 26 w 92"/>
                <a:gd name="T19" fmla="*/ 3 h 72"/>
                <a:gd name="T20" fmla="*/ 29 w 92"/>
                <a:gd name="T21" fmla="*/ 3 h 72"/>
                <a:gd name="T22" fmla="*/ 64 w 92"/>
                <a:gd name="T23" fmla="*/ 27 h 72"/>
                <a:gd name="T24" fmla="*/ 90 w 92"/>
                <a:gd name="T25" fmla="*/ 69 h 72"/>
                <a:gd name="T26" fmla="*/ 91 w 92"/>
                <a:gd name="T27" fmla="*/ 72 h 72"/>
                <a:gd name="T28" fmla="*/ 92 w 92"/>
                <a:gd name="T29" fmla="*/ 71 h 72"/>
                <a:gd name="T30" fmla="*/ 90 w 92"/>
                <a:gd name="T31" fmla="*/ 67 h 72"/>
                <a:gd name="T32" fmla="*/ 64 w 92"/>
                <a:gd name="T33" fmla="*/ 25 h 72"/>
                <a:gd name="T34" fmla="*/ 29 w 92"/>
                <a:gd name="T35"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2" h="72">
                  <a:moveTo>
                    <a:pt x="29" y="0"/>
                  </a:moveTo>
                  <a:cubicBezTo>
                    <a:pt x="28" y="0"/>
                    <a:pt x="27" y="0"/>
                    <a:pt x="26" y="1"/>
                  </a:cubicBezTo>
                  <a:cubicBezTo>
                    <a:pt x="15" y="2"/>
                    <a:pt x="7" y="11"/>
                    <a:pt x="3" y="22"/>
                  </a:cubicBezTo>
                  <a:cubicBezTo>
                    <a:pt x="2" y="26"/>
                    <a:pt x="1" y="30"/>
                    <a:pt x="1" y="35"/>
                  </a:cubicBezTo>
                  <a:cubicBezTo>
                    <a:pt x="0" y="36"/>
                    <a:pt x="0" y="37"/>
                    <a:pt x="0" y="37"/>
                  </a:cubicBezTo>
                  <a:cubicBezTo>
                    <a:pt x="0" y="37"/>
                    <a:pt x="0" y="37"/>
                    <a:pt x="0" y="37"/>
                  </a:cubicBezTo>
                  <a:cubicBezTo>
                    <a:pt x="0" y="39"/>
                    <a:pt x="0" y="42"/>
                    <a:pt x="0" y="44"/>
                  </a:cubicBezTo>
                  <a:cubicBezTo>
                    <a:pt x="0" y="44"/>
                    <a:pt x="0" y="44"/>
                    <a:pt x="0" y="44"/>
                  </a:cubicBezTo>
                  <a:cubicBezTo>
                    <a:pt x="0" y="37"/>
                    <a:pt x="1" y="30"/>
                    <a:pt x="3" y="24"/>
                  </a:cubicBezTo>
                  <a:cubicBezTo>
                    <a:pt x="7" y="14"/>
                    <a:pt x="15" y="4"/>
                    <a:pt x="26" y="3"/>
                  </a:cubicBezTo>
                  <a:cubicBezTo>
                    <a:pt x="27" y="3"/>
                    <a:pt x="28" y="3"/>
                    <a:pt x="29" y="3"/>
                  </a:cubicBezTo>
                  <a:cubicBezTo>
                    <a:pt x="43" y="3"/>
                    <a:pt x="55" y="15"/>
                    <a:pt x="64" y="27"/>
                  </a:cubicBezTo>
                  <a:cubicBezTo>
                    <a:pt x="73" y="40"/>
                    <a:pt x="82" y="54"/>
                    <a:pt x="90" y="69"/>
                  </a:cubicBezTo>
                  <a:cubicBezTo>
                    <a:pt x="90" y="70"/>
                    <a:pt x="91" y="71"/>
                    <a:pt x="91" y="72"/>
                  </a:cubicBezTo>
                  <a:cubicBezTo>
                    <a:pt x="91" y="71"/>
                    <a:pt x="91" y="71"/>
                    <a:pt x="92" y="71"/>
                  </a:cubicBezTo>
                  <a:cubicBezTo>
                    <a:pt x="91" y="69"/>
                    <a:pt x="90" y="68"/>
                    <a:pt x="90" y="67"/>
                  </a:cubicBezTo>
                  <a:cubicBezTo>
                    <a:pt x="82" y="52"/>
                    <a:pt x="73" y="38"/>
                    <a:pt x="64" y="25"/>
                  </a:cubicBezTo>
                  <a:cubicBezTo>
                    <a:pt x="55" y="13"/>
                    <a:pt x="43" y="0"/>
                    <a:pt x="29" y="0"/>
                  </a:cubicBezTo>
                </a:path>
              </a:pathLst>
            </a:custGeom>
            <a:solidFill>
              <a:srgbClr val="E4AE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6" name="ïṣļïḑe">
              <a:extLst>
                <a:ext uri="{FF2B5EF4-FFF2-40B4-BE49-F238E27FC236}">
                  <a16:creationId xmlns:a16="http://schemas.microsoft.com/office/drawing/2014/main" id="{F6CD40C8-41A3-4040-B5C6-6D7EAC6DD2D5}"/>
                </a:ext>
              </a:extLst>
            </p:cNvPr>
            <p:cNvSpPr/>
            <p:nvPr/>
          </p:nvSpPr>
          <p:spPr bwMode="auto">
            <a:xfrm>
              <a:off x="7670801" y="1803400"/>
              <a:ext cx="554038" cy="428625"/>
            </a:xfrm>
            <a:custGeom>
              <a:avLst/>
              <a:gdLst>
                <a:gd name="T0" fmla="*/ 301 w 377"/>
                <a:gd name="T1" fmla="*/ 225 h 291"/>
                <a:gd name="T2" fmla="*/ 263 w 377"/>
                <a:gd name="T3" fmla="*/ 201 h 291"/>
                <a:gd name="T4" fmla="*/ 240 w 377"/>
                <a:gd name="T5" fmla="*/ 222 h 291"/>
                <a:gd name="T6" fmla="*/ 237 w 377"/>
                <a:gd name="T7" fmla="*/ 254 h 291"/>
                <a:gd name="T8" fmla="*/ 237 w 377"/>
                <a:gd name="T9" fmla="*/ 258 h 291"/>
                <a:gd name="T10" fmla="*/ 231 w 377"/>
                <a:gd name="T11" fmla="*/ 259 h 291"/>
                <a:gd name="T12" fmla="*/ 220 w 377"/>
                <a:gd name="T13" fmla="*/ 260 h 291"/>
                <a:gd name="T14" fmla="*/ 206 w 377"/>
                <a:gd name="T15" fmla="*/ 262 h 291"/>
                <a:gd name="T16" fmla="*/ 191 w 377"/>
                <a:gd name="T17" fmla="*/ 240 h 291"/>
                <a:gd name="T18" fmla="*/ 179 w 377"/>
                <a:gd name="T19" fmla="*/ 215 h 291"/>
                <a:gd name="T20" fmla="*/ 154 w 377"/>
                <a:gd name="T21" fmla="*/ 207 h 291"/>
                <a:gd name="T22" fmla="*/ 141 w 377"/>
                <a:gd name="T23" fmla="*/ 168 h 291"/>
                <a:gd name="T24" fmla="*/ 111 w 377"/>
                <a:gd name="T25" fmla="*/ 170 h 291"/>
                <a:gd name="T26" fmla="*/ 81 w 377"/>
                <a:gd name="T27" fmla="*/ 180 h 291"/>
                <a:gd name="T28" fmla="*/ 71 w 377"/>
                <a:gd name="T29" fmla="*/ 176 h 291"/>
                <a:gd name="T30" fmla="*/ 47 w 377"/>
                <a:gd name="T31" fmla="*/ 174 h 291"/>
                <a:gd name="T32" fmla="*/ 19 w 377"/>
                <a:gd name="T33" fmla="*/ 169 h 291"/>
                <a:gd name="T34" fmla="*/ 9 w 377"/>
                <a:gd name="T35" fmla="*/ 151 h 291"/>
                <a:gd name="T36" fmla="*/ 2 w 377"/>
                <a:gd name="T37" fmla="*/ 123 h 291"/>
                <a:gd name="T38" fmla="*/ 9 w 377"/>
                <a:gd name="T39" fmla="*/ 95 h 291"/>
                <a:gd name="T40" fmla="*/ 44 w 377"/>
                <a:gd name="T41" fmla="*/ 75 h 291"/>
                <a:gd name="T42" fmla="*/ 66 w 377"/>
                <a:gd name="T43" fmla="*/ 49 h 291"/>
                <a:gd name="T44" fmla="*/ 88 w 377"/>
                <a:gd name="T45" fmla="*/ 22 h 291"/>
                <a:gd name="T46" fmla="*/ 121 w 377"/>
                <a:gd name="T47" fmla="*/ 17 h 291"/>
                <a:gd name="T48" fmla="*/ 131 w 377"/>
                <a:gd name="T49" fmla="*/ 22 h 291"/>
                <a:gd name="T50" fmla="*/ 143 w 377"/>
                <a:gd name="T51" fmla="*/ 18 h 291"/>
                <a:gd name="T52" fmla="*/ 269 w 377"/>
                <a:gd name="T53" fmla="*/ 9 h 291"/>
                <a:gd name="T54" fmla="*/ 318 w 377"/>
                <a:gd name="T55" fmla="*/ 21 h 291"/>
                <a:gd name="T56" fmla="*/ 351 w 377"/>
                <a:gd name="T57" fmla="*/ 57 h 291"/>
                <a:gd name="T58" fmla="*/ 356 w 377"/>
                <a:gd name="T59" fmla="*/ 97 h 291"/>
                <a:gd name="T60" fmla="*/ 368 w 377"/>
                <a:gd name="T61" fmla="*/ 122 h 291"/>
                <a:gd name="T62" fmla="*/ 362 w 377"/>
                <a:gd name="T63" fmla="*/ 196 h 291"/>
                <a:gd name="T64" fmla="*/ 348 w 377"/>
                <a:gd name="T65" fmla="*/ 277 h 291"/>
                <a:gd name="T66" fmla="*/ 338 w 377"/>
                <a:gd name="T67" fmla="*/ 288 h 291"/>
                <a:gd name="T68" fmla="*/ 327 w 377"/>
                <a:gd name="T69" fmla="*/ 267 h 291"/>
                <a:gd name="T70" fmla="*/ 301 w 377"/>
                <a:gd name="T71" fmla="*/ 225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77" h="291">
                  <a:moveTo>
                    <a:pt x="301" y="225"/>
                  </a:moveTo>
                  <a:cubicBezTo>
                    <a:pt x="291" y="212"/>
                    <a:pt x="278" y="198"/>
                    <a:pt x="263" y="201"/>
                  </a:cubicBezTo>
                  <a:cubicBezTo>
                    <a:pt x="252" y="202"/>
                    <a:pt x="244" y="211"/>
                    <a:pt x="240" y="222"/>
                  </a:cubicBezTo>
                  <a:cubicBezTo>
                    <a:pt x="237" y="232"/>
                    <a:pt x="236" y="243"/>
                    <a:pt x="237" y="254"/>
                  </a:cubicBezTo>
                  <a:cubicBezTo>
                    <a:pt x="238" y="255"/>
                    <a:pt x="237" y="256"/>
                    <a:pt x="237" y="258"/>
                  </a:cubicBezTo>
                  <a:cubicBezTo>
                    <a:pt x="235" y="259"/>
                    <a:pt x="233" y="259"/>
                    <a:pt x="231" y="259"/>
                  </a:cubicBezTo>
                  <a:cubicBezTo>
                    <a:pt x="228" y="259"/>
                    <a:pt x="224" y="259"/>
                    <a:pt x="220" y="260"/>
                  </a:cubicBezTo>
                  <a:cubicBezTo>
                    <a:pt x="215" y="262"/>
                    <a:pt x="211" y="263"/>
                    <a:pt x="206" y="262"/>
                  </a:cubicBezTo>
                  <a:cubicBezTo>
                    <a:pt x="197" y="259"/>
                    <a:pt x="193" y="249"/>
                    <a:pt x="191" y="240"/>
                  </a:cubicBezTo>
                  <a:cubicBezTo>
                    <a:pt x="189" y="231"/>
                    <a:pt x="187" y="220"/>
                    <a:pt x="179" y="215"/>
                  </a:cubicBezTo>
                  <a:cubicBezTo>
                    <a:pt x="172" y="210"/>
                    <a:pt x="161" y="213"/>
                    <a:pt x="154" y="207"/>
                  </a:cubicBezTo>
                  <a:cubicBezTo>
                    <a:pt x="143" y="198"/>
                    <a:pt x="151" y="177"/>
                    <a:pt x="141" y="168"/>
                  </a:cubicBezTo>
                  <a:cubicBezTo>
                    <a:pt x="133" y="161"/>
                    <a:pt x="120" y="165"/>
                    <a:pt x="111" y="170"/>
                  </a:cubicBezTo>
                  <a:cubicBezTo>
                    <a:pt x="101" y="176"/>
                    <a:pt x="91" y="183"/>
                    <a:pt x="81" y="180"/>
                  </a:cubicBezTo>
                  <a:cubicBezTo>
                    <a:pt x="77" y="179"/>
                    <a:pt x="74" y="177"/>
                    <a:pt x="71" y="176"/>
                  </a:cubicBezTo>
                  <a:cubicBezTo>
                    <a:pt x="63" y="173"/>
                    <a:pt x="55" y="174"/>
                    <a:pt x="47" y="174"/>
                  </a:cubicBezTo>
                  <a:cubicBezTo>
                    <a:pt x="37" y="175"/>
                    <a:pt x="27" y="175"/>
                    <a:pt x="19" y="169"/>
                  </a:cubicBezTo>
                  <a:cubicBezTo>
                    <a:pt x="14" y="164"/>
                    <a:pt x="11" y="158"/>
                    <a:pt x="9" y="151"/>
                  </a:cubicBezTo>
                  <a:cubicBezTo>
                    <a:pt x="5" y="142"/>
                    <a:pt x="3" y="133"/>
                    <a:pt x="2" y="123"/>
                  </a:cubicBezTo>
                  <a:cubicBezTo>
                    <a:pt x="0" y="113"/>
                    <a:pt x="3" y="103"/>
                    <a:pt x="9" y="95"/>
                  </a:cubicBezTo>
                  <a:cubicBezTo>
                    <a:pt x="18" y="85"/>
                    <a:pt x="33" y="83"/>
                    <a:pt x="44" y="75"/>
                  </a:cubicBezTo>
                  <a:cubicBezTo>
                    <a:pt x="54" y="68"/>
                    <a:pt x="60" y="58"/>
                    <a:pt x="66" y="49"/>
                  </a:cubicBezTo>
                  <a:cubicBezTo>
                    <a:pt x="73" y="39"/>
                    <a:pt x="79" y="29"/>
                    <a:pt x="88" y="22"/>
                  </a:cubicBezTo>
                  <a:cubicBezTo>
                    <a:pt x="97" y="15"/>
                    <a:pt x="110" y="11"/>
                    <a:pt x="121" y="17"/>
                  </a:cubicBezTo>
                  <a:cubicBezTo>
                    <a:pt x="124" y="19"/>
                    <a:pt x="127" y="21"/>
                    <a:pt x="131" y="22"/>
                  </a:cubicBezTo>
                  <a:cubicBezTo>
                    <a:pt x="135" y="22"/>
                    <a:pt x="140" y="21"/>
                    <a:pt x="143" y="18"/>
                  </a:cubicBezTo>
                  <a:cubicBezTo>
                    <a:pt x="182" y="0"/>
                    <a:pt x="226" y="3"/>
                    <a:pt x="269" y="9"/>
                  </a:cubicBezTo>
                  <a:cubicBezTo>
                    <a:pt x="285" y="11"/>
                    <a:pt x="303" y="14"/>
                    <a:pt x="318" y="21"/>
                  </a:cubicBezTo>
                  <a:cubicBezTo>
                    <a:pt x="333" y="28"/>
                    <a:pt x="347" y="41"/>
                    <a:pt x="351" y="57"/>
                  </a:cubicBezTo>
                  <a:cubicBezTo>
                    <a:pt x="355" y="70"/>
                    <a:pt x="352" y="85"/>
                    <a:pt x="356" y="97"/>
                  </a:cubicBezTo>
                  <a:cubicBezTo>
                    <a:pt x="359" y="106"/>
                    <a:pt x="365" y="113"/>
                    <a:pt x="368" y="122"/>
                  </a:cubicBezTo>
                  <a:cubicBezTo>
                    <a:pt x="377" y="145"/>
                    <a:pt x="366" y="171"/>
                    <a:pt x="362" y="196"/>
                  </a:cubicBezTo>
                  <a:cubicBezTo>
                    <a:pt x="357" y="223"/>
                    <a:pt x="359" y="252"/>
                    <a:pt x="348" y="277"/>
                  </a:cubicBezTo>
                  <a:cubicBezTo>
                    <a:pt x="346" y="282"/>
                    <a:pt x="343" y="291"/>
                    <a:pt x="338" y="288"/>
                  </a:cubicBezTo>
                  <a:cubicBezTo>
                    <a:pt x="334" y="285"/>
                    <a:pt x="329" y="271"/>
                    <a:pt x="327" y="267"/>
                  </a:cubicBezTo>
                  <a:cubicBezTo>
                    <a:pt x="319" y="252"/>
                    <a:pt x="310" y="238"/>
                    <a:pt x="301" y="225"/>
                  </a:cubicBezTo>
                </a:path>
              </a:pathLst>
            </a:custGeom>
            <a:solidFill>
              <a:srgbClr val="9A5E7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7" name="íšlîḍé">
              <a:extLst>
                <a:ext uri="{FF2B5EF4-FFF2-40B4-BE49-F238E27FC236}">
                  <a16:creationId xmlns:a16="http://schemas.microsoft.com/office/drawing/2014/main" id="{17D8AB56-71B6-4108-B77B-0C7F029252EF}"/>
                </a:ext>
              </a:extLst>
            </p:cNvPr>
            <p:cNvSpPr/>
            <p:nvPr/>
          </p:nvSpPr>
          <p:spPr bwMode="auto">
            <a:xfrm>
              <a:off x="8104188" y="2582863"/>
              <a:ext cx="252413" cy="490538"/>
            </a:xfrm>
            <a:custGeom>
              <a:avLst/>
              <a:gdLst>
                <a:gd name="T0" fmla="*/ 24 w 171"/>
                <a:gd name="T1" fmla="*/ 319 h 334"/>
                <a:gd name="T2" fmla="*/ 21 w 171"/>
                <a:gd name="T3" fmla="*/ 321 h 334"/>
                <a:gd name="T4" fmla="*/ 0 w 171"/>
                <a:gd name="T5" fmla="*/ 333 h 334"/>
                <a:gd name="T6" fmla="*/ 1 w 171"/>
                <a:gd name="T7" fmla="*/ 334 h 334"/>
                <a:gd name="T8" fmla="*/ 25 w 171"/>
                <a:gd name="T9" fmla="*/ 321 h 334"/>
                <a:gd name="T10" fmla="*/ 27 w 171"/>
                <a:gd name="T11" fmla="*/ 320 h 334"/>
                <a:gd name="T12" fmla="*/ 24 w 171"/>
                <a:gd name="T13" fmla="*/ 319 h 334"/>
                <a:gd name="T14" fmla="*/ 169 w 171"/>
                <a:gd name="T15" fmla="*/ 0 h 334"/>
                <a:gd name="T16" fmla="*/ 97 w 171"/>
                <a:gd name="T17" fmla="*/ 112 h 334"/>
                <a:gd name="T18" fmla="*/ 69 w 171"/>
                <a:gd name="T19" fmla="*/ 152 h 334"/>
                <a:gd name="T20" fmla="*/ 72 w 171"/>
                <a:gd name="T21" fmla="*/ 178 h 334"/>
                <a:gd name="T22" fmla="*/ 54 w 171"/>
                <a:gd name="T23" fmla="*/ 246 h 334"/>
                <a:gd name="T24" fmla="*/ 52 w 171"/>
                <a:gd name="T25" fmla="*/ 280 h 334"/>
                <a:gd name="T26" fmla="*/ 42 w 171"/>
                <a:gd name="T27" fmla="*/ 315 h 334"/>
                <a:gd name="T28" fmla="*/ 38 w 171"/>
                <a:gd name="T29" fmla="*/ 326 h 334"/>
                <a:gd name="T30" fmla="*/ 39 w 171"/>
                <a:gd name="T31" fmla="*/ 328 h 334"/>
                <a:gd name="T32" fmla="*/ 47 w 171"/>
                <a:gd name="T33" fmla="*/ 315 h 334"/>
                <a:gd name="T34" fmla="*/ 56 w 171"/>
                <a:gd name="T35" fmla="*/ 280 h 334"/>
                <a:gd name="T36" fmla="*/ 58 w 171"/>
                <a:gd name="T37" fmla="*/ 246 h 334"/>
                <a:gd name="T38" fmla="*/ 77 w 171"/>
                <a:gd name="T39" fmla="*/ 178 h 334"/>
                <a:gd name="T40" fmla="*/ 74 w 171"/>
                <a:gd name="T41" fmla="*/ 152 h 334"/>
                <a:gd name="T42" fmla="*/ 102 w 171"/>
                <a:gd name="T43" fmla="*/ 112 h 334"/>
                <a:gd name="T44" fmla="*/ 171 w 171"/>
                <a:gd name="T45" fmla="*/ 0 h 334"/>
                <a:gd name="T46" fmla="*/ 169 w 171"/>
                <a:gd name="T47" fmla="*/ 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1" h="334">
                  <a:moveTo>
                    <a:pt x="24" y="319"/>
                  </a:moveTo>
                  <a:cubicBezTo>
                    <a:pt x="23" y="319"/>
                    <a:pt x="22" y="320"/>
                    <a:pt x="21" y="321"/>
                  </a:cubicBezTo>
                  <a:cubicBezTo>
                    <a:pt x="16" y="326"/>
                    <a:pt x="5" y="331"/>
                    <a:pt x="0" y="333"/>
                  </a:cubicBezTo>
                  <a:cubicBezTo>
                    <a:pt x="1" y="334"/>
                    <a:pt x="1" y="334"/>
                    <a:pt x="1" y="334"/>
                  </a:cubicBezTo>
                  <a:cubicBezTo>
                    <a:pt x="1" y="334"/>
                    <a:pt x="19" y="328"/>
                    <a:pt x="25" y="321"/>
                  </a:cubicBezTo>
                  <a:cubicBezTo>
                    <a:pt x="26" y="321"/>
                    <a:pt x="26" y="320"/>
                    <a:pt x="27" y="320"/>
                  </a:cubicBezTo>
                  <a:cubicBezTo>
                    <a:pt x="26" y="319"/>
                    <a:pt x="25" y="319"/>
                    <a:pt x="24" y="319"/>
                  </a:cubicBezTo>
                  <a:moveTo>
                    <a:pt x="169" y="0"/>
                  </a:moveTo>
                  <a:cubicBezTo>
                    <a:pt x="120" y="0"/>
                    <a:pt x="97" y="112"/>
                    <a:pt x="97" y="112"/>
                  </a:cubicBezTo>
                  <a:cubicBezTo>
                    <a:pt x="97" y="112"/>
                    <a:pt x="66" y="138"/>
                    <a:pt x="69" y="152"/>
                  </a:cubicBezTo>
                  <a:cubicBezTo>
                    <a:pt x="72" y="160"/>
                    <a:pt x="73" y="169"/>
                    <a:pt x="72" y="178"/>
                  </a:cubicBezTo>
                  <a:cubicBezTo>
                    <a:pt x="72" y="178"/>
                    <a:pt x="50" y="232"/>
                    <a:pt x="54" y="246"/>
                  </a:cubicBezTo>
                  <a:cubicBezTo>
                    <a:pt x="58" y="261"/>
                    <a:pt x="52" y="280"/>
                    <a:pt x="52" y="280"/>
                  </a:cubicBezTo>
                  <a:cubicBezTo>
                    <a:pt x="52" y="280"/>
                    <a:pt x="39" y="308"/>
                    <a:pt x="42" y="315"/>
                  </a:cubicBezTo>
                  <a:cubicBezTo>
                    <a:pt x="44" y="320"/>
                    <a:pt x="40" y="324"/>
                    <a:pt x="38" y="326"/>
                  </a:cubicBezTo>
                  <a:cubicBezTo>
                    <a:pt x="39" y="328"/>
                    <a:pt x="39" y="328"/>
                    <a:pt x="39" y="328"/>
                  </a:cubicBezTo>
                  <a:cubicBezTo>
                    <a:pt x="39" y="328"/>
                    <a:pt x="49" y="323"/>
                    <a:pt x="47" y="315"/>
                  </a:cubicBezTo>
                  <a:cubicBezTo>
                    <a:pt x="44" y="308"/>
                    <a:pt x="56" y="280"/>
                    <a:pt x="56" y="280"/>
                  </a:cubicBezTo>
                  <a:cubicBezTo>
                    <a:pt x="56" y="280"/>
                    <a:pt x="62" y="261"/>
                    <a:pt x="58" y="246"/>
                  </a:cubicBezTo>
                  <a:cubicBezTo>
                    <a:pt x="55" y="232"/>
                    <a:pt x="77" y="178"/>
                    <a:pt x="77" y="178"/>
                  </a:cubicBezTo>
                  <a:cubicBezTo>
                    <a:pt x="77" y="169"/>
                    <a:pt x="76" y="160"/>
                    <a:pt x="74" y="152"/>
                  </a:cubicBezTo>
                  <a:cubicBezTo>
                    <a:pt x="70" y="138"/>
                    <a:pt x="102" y="112"/>
                    <a:pt x="102" y="112"/>
                  </a:cubicBezTo>
                  <a:cubicBezTo>
                    <a:pt x="102" y="112"/>
                    <a:pt x="124" y="4"/>
                    <a:pt x="171" y="0"/>
                  </a:cubicBezTo>
                  <a:cubicBezTo>
                    <a:pt x="170" y="0"/>
                    <a:pt x="169" y="0"/>
                    <a:pt x="169" y="0"/>
                  </a:cubicBezTo>
                </a:path>
              </a:pathLst>
            </a:custGeom>
            <a:solidFill>
              <a:srgbClr val="4442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8" name="íṣḷiḋé">
              <a:extLst>
                <a:ext uri="{FF2B5EF4-FFF2-40B4-BE49-F238E27FC236}">
                  <a16:creationId xmlns:a16="http://schemas.microsoft.com/office/drawing/2014/main" id="{E265A39F-8DFA-4B31-9BD9-E7C812832E14}"/>
                </a:ext>
              </a:extLst>
            </p:cNvPr>
            <p:cNvSpPr/>
            <p:nvPr/>
          </p:nvSpPr>
          <p:spPr bwMode="auto">
            <a:xfrm>
              <a:off x="7678738" y="3059113"/>
              <a:ext cx="4763" cy="6350"/>
            </a:xfrm>
            <a:custGeom>
              <a:avLst/>
              <a:gdLst>
                <a:gd name="T0" fmla="*/ 4 w 4"/>
                <a:gd name="T1" fmla="*/ 0 h 4"/>
                <a:gd name="T2" fmla="*/ 0 w 4"/>
                <a:gd name="T3" fmla="*/ 3 h 4"/>
                <a:gd name="T4" fmla="*/ 2 w 4"/>
                <a:gd name="T5" fmla="*/ 4 h 4"/>
                <a:gd name="T6" fmla="*/ 4 w 4"/>
                <a:gd name="T7" fmla="*/ 3 h 4"/>
                <a:gd name="T8" fmla="*/ 4 w 4"/>
                <a:gd name="T9" fmla="*/ 0 h 4"/>
              </a:gdLst>
              <a:ahLst/>
              <a:cxnLst>
                <a:cxn ang="0">
                  <a:pos x="T0" y="T1"/>
                </a:cxn>
                <a:cxn ang="0">
                  <a:pos x="T2" y="T3"/>
                </a:cxn>
                <a:cxn ang="0">
                  <a:pos x="T4" y="T5"/>
                </a:cxn>
                <a:cxn ang="0">
                  <a:pos x="T6" y="T7"/>
                </a:cxn>
                <a:cxn ang="0">
                  <a:pos x="T8" y="T9"/>
                </a:cxn>
              </a:cxnLst>
              <a:rect l="0" t="0" r="r" b="b"/>
              <a:pathLst>
                <a:path w="4" h="4">
                  <a:moveTo>
                    <a:pt x="4" y="0"/>
                  </a:moveTo>
                  <a:cubicBezTo>
                    <a:pt x="3" y="1"/>
                    <a:pt x="1" y="2"/>
                    <a:pt x="0" y="3"/>
                  </a:cubicBezTo>
                  <a:cubicBezTo>
                    <a:pt x="0" y="3"/>
                    <a:pt x="1" y="4"/>
                    <a:pt x="2" y="4"/>
                  </a:cubicBezTo>
                  <a:cubicBezTo>
                    <a:pt x="2" y="4"/>
                    <a:pt x="3" y="3"/>
                    <a:pt x="4" y="3"/>
                  </a:cubicBezTo>
                  <a:cubicBezTo>
                    <a:pt x="4" y="2"/>
                    <a:pt x="4" y="1"/>
                    <a:pt x="4" y="0"/>
                  </a:cubicBezTo>
                </a:path>
              </a:pathLst>
            </a:custGeom>
            <a:solidFill>
              <a:srgbClr val="413E6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9" name="îṥḷíḑe">
              <a:extLst>
                <a:ext uri="{FF2B5EF4-FFF2-40B4-BE49-F238E27FC236}">
                  <a16:creationId xmlns:a16="http://schemas.microsoft.com/office/drawing/2014/main" id="{C6C9ED5E-AB59-460F-B976-22F7C8D9D6F3}"/>
                </a:ext>
              </a:extLst>
            </p:cNvPr>
            <p:cNvSpPr/>
            <p:nvPr/>
          </p:nvSpPr>
          <p:spPr bwMode="auto">
            <a:xfrm>
              <a:off x="7694613" y="3209925"/>
              <a:ext cx="77788" cy="36513"/>
            </a:xfrm>
            <a:custGeom>
              <a:avLst/>
              <a:gdLst>
                <a:gd name="T0" fmla="*/ 0 w 53"/>
                <a:gd name="T1" fmla="*/ 0 h 25"/>
                <a:gd name="T2" fmla="*/ 0 w 53"/>
                <a:gd name="T3" fmla="*/ 1 h 25"/>
                <a:gd name="T4" fmla="*/ 33 w 53"/>
                <a:gd name="T5" fmla="*/ 15 h 25"/>
                <a:gd name="T6" fmla="*/ 52 w 53"/>
                <a:gd name="T7" fmla="*/ 25 h 25"/>
                <a:gd name="T8" fmla="*/ 52 w 53"/>
                <a:gd name="T9" fmla="*/ 25 h 25"/>
                <a:gd name="T10" fmla="*/ 53 w 53"/>
                <a:gd name="T11" fmla="*/ 25 h 25"/>
                <a:gd name="T12" fmla="*/ 37 w 53"/>
                <a:gd name="T13" fmla="*/ 15 h 25"/>
                <a:gd name="T14" fmla="*/ 0 w 53"/>
                <a:gd name="T15" fmla="*/ 0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25">
                  <a:moveTo>
                    <a:pt x="0" y="0"/>
                  </a:moveTo>
                  <a:cubicBezTo>
                    <a:pt x="0" y="0"/>
                    <a:pt x="0" y="1"/>
                    <a:pt x="0" y="1"/>
                  </a:cubicBezTo>
                  <a:cubicBezTo>
                    <a:pt x="12" y="4"/>
                    <a:pt x="28" y="9"/>
                    <a:pt x="33" y="15"/>
                  </a:cubicBezTo>
                  <a:cubicBezTo>
                    <a:pt x="38" y="23"/>
                    <a:pt x="47" y="25"/>
                    <a:pt x="52" y="25"/>
                  </a:cubicBezTo>
                  <a:cubicBezTo>
                    <a:pt x="52" y="25"/>
                    <a:pt x="52" y="25"/>
                    <a:pt x="52" y="25"/>
                  </a:cubicBezTo>
                  <a:cubicBezTo>
                    <a:pt x="53" y="25"/>
                    <a:pt x="53" y="25"/>
                    <a:pt x="53" y="25"/>
                  </a:cubicBezTo>
                  <a:cubicBezTo>
                    <a:pt x="48" y="24"/>
                    <a:pt x="41" y="22"/>
                    <a:pt x="37" y="15"/>
                  </a:cubicBezTo>
                  <a:cubicBezTo>
                    <a:pt x="32" y="8"/>
                    <a:pt x="13" y="3"/>
                    <a:pt x="0"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0" name="iṧḻïḋê">
              <a:extLst>
                <a:ext uri="{FF2B5EF4-FFF2-40B4-BE49-F238E27FC236}">
                  <a16:creationId xmlns:a16="http://schemas.microsoft.com/office/drawing/2014/main" id="{4D927F1A-0158-47AD-86C3-A4D8BCDDD3CF}"/>
                </a:ext>
              </a:extLst>
            </p:cNvPr>
            <p:cNvSpPr/>
            <p:nvPr/>
          </p:nvSpPr>
          <p:spPr bwMode="auto">
            <a:xfrm>
              <a:off x="7770813" y="3246438"/>
              <a:ext cx="3175" cy="0"/>
            </a:xfrm>
            <a:custGeom>
              <a:avLst/>
              <a:gdLst>
                <a:gd name="T0" fmla="*/ 1 w 2"/>
                <a:gd name="T1" fmla="*/ 0 w 2"/>
                <a:gd name="T2" fmla="*/ 2 w 2"/>
                <a:gd name="T3" fmla="*/ 1 w 2"/>
              </a:gdLst>
              <a:ahLst/>
              <a:cxnLst>
                <a:cxn ang="0">
                  <a:pos x="T0" y="0"/>
                </a:cxn>
                <a:cxn ang="0">
                  <a:pos x="T1" y="0"/>
                </a:cxn>
                <a:cxn ang="0">
                  <a:pos x="T2" y="0"/>
                </a:cxn>
                <a:cxn ang="0">
                  <a:pos x="T3" y="0"/>
                </a:cxn>
              </a:cxnLst>
              <a:rect l="0" t="0" r="r" b="b"/>
              <a:pathLst>
                <a:path w="2">
                  <a:moveTo>
                    <a:pt x="1" y="0"/>
                  </a:moveTo>
                  <a:cubicBezTo>
                    <a:pt x="1" y="0"/>
                    <a:pt x="1" y="0"/>
                    <a:pt x="0" y="0"/>
                  </a:cubicBezTo>
                  <a:cubicBezTo>
                    <a:pt x="1" y="0"/>
                    <a:pt x="2" y="0"/>
                    <a:pt x="2" y="0"/>
                  </a:cubicBezTo>
                  <a:cubicBezTo>
                    <a:pt x="2" y="0"/>
                    <a:pt x="2" y="0"/>
                    <a:pt x="1" y="0"/>
                  </a:cubicBezTo>
                </a:path>
              </a:pathLst>
            </a:custGeom>
            <a:solidFill>
              <a:srgbClr val="E5657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1" name="ïṣľîḍè">
              <a:extLst>
                <a:ext uri="{FF2B5EF4-FFF2-40B4-BE49-F238E27FC236}">
                  <a16:creationId xmlns:a16="http://schemas.microsoft.com/office/drawing/2014/main" id="{8DC882A1-A6FB-4699-9ECD-04E4E9590142}"/>
                </a:ext>
              </a:extLst>
            </p:cNvPr>
            <p:cNvSpPr/>
            <p:nvPr/>
          </p:nvSpPr>
          <p:spPr bwMode="auto">
            <a:xfrm>
              <a:off x="7686676" y="3208338"/>
              <a:ext cx="3175" cy="1588"/>
            </a:xfrm>
            <a:custGeom>
              <a:avLst/>
              <a:gdLst>
                <a:gd name="T0" fmla="*/ 1 w 2"/>
                <a:gd name="T1" fmla="*/ 0 h 1"/>
                <a:gd name="T2" fmla="*/ 0 w 2"/>
                <a:gd name="T3" fmla="*/ 1 h 1"/>
                <a:gd name="T4" fmla="*/ 2 w 2"/>
                <a:gd name="T5" fmla="*/ 1 h 1"/>
                <a:gd name="T6" fmla="*/ 2 w 2"/>
                <a:gd name="T7" fmla="*/ 1 h 1"/>
                <a:gd name="T8" fmla="*/ 1 w 2"/>
                <a:gd name="T9" fmla="*/ 0 h 1"/>
              </a:gdLst>
              <a:ahLst/>
              <a:cxnLst>
                <a:cxn ang="0">
                  <a:pos x="T0" y="T1"/>
                </a:cxn>
                <a:cxn ang="0">
                  <a:pos x="T2" y="T3"/>
                </a:cxn>
                <a:cxn ang="0">
                  <a:pos x="T4" y="T5"/>
                </a:cxn>
                <a:cxn ang="0">
                  <a:pos x="T6" y="T7"/>
                </a:cxn>
                <a:cxn ang="0">
                  <a:pos x="T8" y="T9"/>
                </a:cxn>
              </a:cxnLst>
              <a:rect l="0" t="0" r="r" b="b"/>
              <a:pathLst>
                <a:path w="2" h="1">
                  <a:moveTo>
                    <a:pt x="1" y="0"/>
                  </a:moveTo>
                  <a:cubicBezTo>
                    <a:pt x="0" y="0"/>
                    <a:pt x="0" y="1"/>
                    <a:pt x="0" y="1"/>
                  </a:cubicBezTo>
                  <a:cubicBezTo>
                    <a:pt x="1" y="1"/>
                    <a:pt x="1" y="1"/>
                    <a:pt x="2" y="1"/>
                  </a:cubicBezTo>
                  <a:cubicBezTo>
                    <a:pt x="2" y="1"/>
                    <a:pt x="2" y="1"/>
                    <a:pt x="2" y="1"/>
                  </a:cubicBezTo>
                  <a:cubicBezTo>
                    <a:pt x="2" y="0"/>
                    <a:pt x="1" y="0"/>
                    <a:pt x="1" y="0"/>
                  </a:cubicBezTo>
                </a:path>
              </a:pathLst>
            </a:custGeom>
            <a:solidFill>
              <a:srgbClr val="4358C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2" name="iŝḻîdê">
              <a:extLst>
                <a:ext uri="{FF2B5EF4-FFF2-40B4-BE49-F238E27FC236}">
                  <a16:creationId xmlns:a16="http://schemas.microsoft.com/office/drawing/2014/main" id="{6E146846-5B21-4E19-8DBC-0CDF5387C57C}"/>
                </a:ext>
              </a:extLst>
            </p:cNvPr>
            <p:cNvSpPr/>
            <p:nvPr/>
          </p:nvSpPr>
          <p:spPr bwMode="auto">
            <a:xfrm>
              <a:off x="7689851" y="3209925"/>
              <a:ext cx="4763" cy="1588"/>
            </a:xfrm>
            <a:custGeom>
              <a:avLst/>
              <a:gdLst>
                <a:gd name="T0" fmla="*/ 0 w 3"/>
                <a:gd name="T1" fmla="*/ 0 h 1"/>
                <a:gd name="T2" fmla="*/ 0 w 3"/>
                <a:gd name="T3" fmla="*/ 0 h 1"/>
                <a:gd name="T4" fmla="*/ 3 w 3"/>
                <a:gd name="T5" fmla="*/ 1 h 1"/>
                <a:gd name="T6" fmla="*/ 3 w 3"/>
                <a:gd name="T7" fmla="*/ 0 h 1"/>
                <a:gd name="T8" fmla="*/ 0 w 3"/>
                <a:gd name="T9" fmla="*/ 0 h 1"/>
              </a:gdLst>
              <a:ahLst/>
              <a:cxnLst>
                <a:cxn ang="0">
                  <a:pos x="T0" y="T1"/>
                </a:cxn>
                <a:cxn ang="0">
                  <a:pos x="T2" y="T3"/>
                </a:cxn>
                <a:cxn ang="0">
                  <a:pos x="T4" y="T5"/>
                </a:cxn>
                <a:cxn ang="0">
                  <a:pos x="T6" y="T7"/>
                </a:cxn>
                <a:cxn ang="0">
                  <a:pos x="T8" y="T9"/>
                </a:cxn>
              </a:cxnLst>
              <a:rect l="0" t="0" r="r" b="b"/>
              <a:pathLst>
                <a:path w="3" h="1">
                  <a:moveTo>
                    <a:pt x="0" y="0"/>
                  </a:moveTo>
                  <a:cubicBezTo>
                    <a:pt x="0" y="0"/>
                    <a:pt x="0" y="0"/>
                    <a:pt x="0" y="0"/>
                  </a:cubicBezTo>
                  <a:cubicBezTo>
                    <a:pt x="1" y="1"/>
                    <a:pt x="2" y="1"/>
                    <a:pt x="3" y="1"/>
                  </a:cubicBezTo>
                  <a:cubicBezTo>
                    <a:pt x="3" y="1"/>
                    <a:pt x="3" y="0"/>
                    <a:pt x="3" y="0"/>
                  </a:cubicBezTo>
                  <a:cubicBezTo>
                    <a:pt x="2" y="0"/>
                    <a:pt x="1" y="0"/>
                    <a:pt x="0" y="0"/>
                  </a:cubicBezTo>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3" name="iṩ1îḓè">
              <a:extLst>
                <a:ext uri="{FF2B5EF4-FFF2-40B4-BE49-F238E27FC236}">
                  <a16:creationId xmlns:a16="http://schemas.microsoft.com/office/drawing/2014/main" id="{FD666687-41EB-4256-9502-C86BC6581D90}"/>
                </a:ext>
              </a:extLst>
            </p:cNvPr>
            <p:cNvSpPr/>
            <p:nvPr/>
          </p:nvSpPr>
          <p:spPr bwMode="auto">
            <a:xfrm>
              <a:off x="7669213" y="3059113"/>
              <a:ext cx="19050" cy="150813"/>
            </a:xfrm>
            <a:custGeom>
              <a:avLst/>
              <a:gdLst>
                <a:gd name="T0" fmla="*/ 4 w 13"/>
                <a:gd name="T1" fmla="*/ 101 h 103"/>
                <a:gd name="T2" fmla="*/ 4 w 13"/>
                <a:gd name="T3" fmla="*/ 101 h 103"/>
                <a:gd name="T4" fmla="*/ 0 w 13"/>
                <a:gd name="T5" fmla="*/ 101 h 103"/>
                <a:gd name="T6" fmla="*/ 12 w 13"/>
                <a:gd name="T7" fmla="*/ 103 h 103"/>
                <a:gd name="T8" fmla="*/ 13 w 13"/>
                <a:gd name="T9" fmla="*/ 102 h 103"/>
                <a:gd name="T10" fmla="*/ 4 w 13"/>
                <a:gd name="T11" fmla="*/ 101 h 103"/>
                <a:gd name="T12" fmla="*/ 10 w 13"/>
                <a:gd name="T13" fmla="*/ 0 h 103"/>
                <a:gd name="T14" fmla="*/ 10 w 13"/>
                <a:gd name="T15" fmla="*/ 0 h 103"/>
                <a:gd name="T16" fmla="*/ 10 w 13"/>
                <a:gd name="T17" fmla="*/ 3 h 103"/>
                <a:gd name="T18" fmla="*/ 12 w 13"/>
                <a:gd name="T19" fmla="*/ 2 h 103"/>
                <a:gd name="T20" fmla="*/ 10 w 13"/>
                <a:gd name="T21"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03">
                  <a:moveTo>
                    <a:pt x="4" y="101"/>
                  </a:moveTo>
                  <a:cubicBezTo>
                    <a:pt x="4" y="101"/>
                    <a:pt x="4" y="101"/>
                    <a:pt x="4" y="101"/>
                  </a:cubicBezTo>
                  <a:cubicBezTo>
                    <a:pt x="4" y="101"/>
                    <a:pt x="3" y="101"/>
                    <a:pt x="0" y="101"/>
                  </a:cubicBezTo>
                  <a:cubicBezTo>
                    <a:pt x="2" y="101"/>
                    <a:pt x="7" y="102"/>
                    <a:pt x="12" y="103"/>
                  </a:cubicBezTo>
                  <a:cubicBezTo>
                    <a:pt x="12" y="103"/>
                    <a:pt x="12" y="102"/>
                    <a:pt x="13" y="102"/>
                  </a:cubicBezTo>
                  <a:cubicBezTo>
                    <a:pt x="7" y="101"/>
                    <a:pt x="4" y="101"/>
                    <a:pt x="4" y="101"/>
                  </a:cubicBezTo>
                  <a:moveTo>
                    <a:pt x="10" y="0"/>
                  </a:moveTo>
                  <a:cubicBezTo>
                    <a:pt x="10" y="0"/>
                    <a:pt x="10" y="0"/>
                    <a:pt x="10" y="0"/>
                  </a:cubicBezTo>
                  <a:cubicBezTo>
                    <a:pt x="10" y="1"/>
                    <a:pt x="10" y="2"/>
                    <a:pt x="10" y="3"/>
                  </a:cubicBezTo>
                  <a:cubicBezTo>
                    <a:pt x="10" y="3"/>
                    <a:pt x="11" y="2"/>
                    <a:pt x="12" y="2"/>
                  </a:cubicBezTo>
                  <a:cubicBezTo>
                    <a:pt x="11" y="1"/>
                    <a:pt x="10" y="0"/>
                    <a:pt x="10" y="0"/>
                  </a:cubicBezTo>
                </a:path>
              </a:pathLst>
            </a:custGeom>
            <a:solidFill>
              <a:srgbClr val="4442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4" name="íşḷîdè">
              <a:extLst>
                <a:ext uri="{FF2B5EF4-FFF2-40B4-BE49-F238E27FC236}">
                  <a16:creationId xmlns:a16="http://schemas.microsoft.com/office/drawing/2014/main" id="{A36F827B-29A7-4F84-9B5C-E484D86E96F2}"/>
                </a:ext>
              </a:extLst>
            </p:cNvPr>
            <p:cNvSpPr/>
            <p:nvPr/>
          </p:nvSpPr>
          <p:spPr bwMode="auto">
            <a:xfrm>
              <a:off x="7600951" y="3063875"/>
              <a:ext cx="80963" cy="142875"/>
            </a:xfrm>
            <a:custGeom>
              <a:avLst/>
              <a:gdLst>
                <a:gd name="T0" fmla="*/ 53 w 55"/>
                <a:gd name="T1" fmla="*/ 0 h 98"/>
                <a:gd name="T2" fmla="*/ 46 w 55"/>
                <a:gd name="T3" fmla="*/ 98 h 98"/>
                <a:gd name="T4" fmla="*/ 47 w 55"/>
                <a:gd name="T5" fmla="*/ 98 h 98"/>
                <a:gd name="T6" fmla="*/ 51 w 55"/>
                <a:gd name="T7" fmla="*/ 98 h 98"/>
                <a:gd name="T8" fmla="*/ 51 w 55"/>
                <a:gd name="T9" fmla="*/ 98 h 98"/>
                <a:gd name="T10" fmla="*/ 51 w 55"/>
                <a:gd name="T11" fmla="*/ 98 h 98"/>
                <a:gd name="T12" fmla="*/ 55 w 55"/>
                <a:gd name="T13" fmla="*/ 1 h 98"/>
                <a:gd name="T14" fmla="*/ 53 w 55"/>
                <a:gd name="T15" fmla="*/ 0 h 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98">
                  <a:moveTo>
                    <a:pt x="53" y="0"/>
                  </a:moveTo>
                  <a:cubicBezTo>
                    <a:pt x="0" y="31"/>
                    <a:pt x="46" y="98"/>
                    <a:pt x="46" y="98"/>
                  </a:cubicBezTo>
                  <a:cubicBezTo>
                    <a:pt x="46" y="98"/>
                    <a:pt x="47" y="98"/>
                    <a:pt x="47" y="98"/>
                  </a:cubicBezTo>
                  <a:cubicBezTo>
                    <a:pt x="50" y="98"/>
                    <a:pt x="51" y="98"/>
                    <a:pt x="51" y="98"/>
                  </a:cubicBezTo>
                  <a:cubicBezTo>
                    <a:pt x="51" y="98"/>
                    <a:pt x="51" y="98"/>
                    <a:pt x="51" y="98"/>
                  </a:cubicBezTo>
                  <a:cubicBezTo>
                    <a:pt x="51" y="98"/>
                    <a:pt x="51" y="98"/>
                    <a:pt x="51" y="98"/>
                  </a:cubicBezTo>
                  <a:cubicBezTo>
                    <a:pt x="51" y="98"/>
                    <a:pt x="6" y="32"/>
                    <a:pt x="55" y="1"/>
                  </a:cubicBezTo>
                  <a:cubicBezTo>
                    <a:pt x="54" y="1"/>
                    <a:pt x="53" y="0"/>
                    <a:pt x="53" y="0"/>
                  </a:cubicBezTo>
                </a:path>
              </a:pathLst>
            </a:custGeom>
            <a:solidFill>
              <a:srgbClr val="E4AE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5" name="ïṡ1îḑê">
              <a:extLst>
                <a:ext uri="{FF2B5EF4-FFF2-40B4-BE49-F238E27FC236}">
                  <a16:creationId xmlns:a16="http://schemas.microsoft.com/office/drawing/2014/main" id="{50116963-597A-4E56-AFA0-9262A537A4F8}"/>
                </a:ext>
              </a:extLst>
            </p:cNvPr>
            <p:cNvSpPr/>
            <p:nvPr/>
          </p:nvSpPr>
          <p:spPr bwMode="auto">
            <a:xfrm>
              <a:off x="7727951" y="3062288"/>
              <a:ext cx="44450" cy="9525"/>
            </a:xfrm>
            <a:custGeom>
              <a:avLst/>
              <a:gdLst>
                <a:gd name="T0" fmla="*/ 27 w 30"/>
                <a:gd name="T1" fmla="*/ 0 h 7"/>
                <a:gd name="T2" fmla="*/ 10 w 30"/>
                <a:gd name="T3" fmla="*/ 3 h 7"/>
                <a:gd name="T4" fmla="*/ 0 w 30"/>
                <a:gd name="T5" fmla="*/ 6 h 7"/>
                <a:gd name="T6" fmla="*/ 0 w 30"/>
                <a:gd name="T7" fmla="*/ 7 h 7"/>
                <a:gd name="T8" fmla="*/ 14 w 30"/>
                <a:gd name="T9" fmla="*/ 3 h 7"/>
                <a:gd name="T10" fmla="*/ 30 w 30"/>
                <a:gd name="T11" fmla="*/ 0 h 7"/>
                <a:gd name="T12" fmla="*/ 27 w 30"/>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30" h="7">
                  <a:moveTo>
                    <a:pt x="27" y="0"/>
                  </a:moveTo>
                  <a:cubicBezTo>
                    <a:pt x="22" y="0"/>
                    <a:pt x="17" y="1"/>
                    <a:pt x="10" y="3"/>
                  </a:cubicBezTo>
                  <a:cubicBezTo>
                    <a:pt x="6" y="4"/>
                    <a:pt x="3" y="5"/>
                    <a:pt x="0" y="6"/>
                  </a:cubicBezTo>
                  <a:cubicBezTo>
                    <a:pt x="0" y="6"/>
                    <a:pt x="0" y="7"/>
                    <a:pt x="0" y="7"/>
                  </a:cubicBezTo>
                  <a:cubicBezTo>
                    <a:pt x="4" y="6"/>
                    <a:pt x="8" y="5"/>
                    <a:pt x="14" y="3"/>
                  </a:cubicBezTo>
                  <a:cubicBezTo>
                    <a:pt x="20" y="1"/>
                    <a:pt x="25" y="0"/>
                    <a:pt x="30" y="0"/>
                  </a:cubicBezTo>
                  <a:cubicBezTo>
                    <a:pt x="29" y="0"/>
                    <a:pt x="28" y="0"/>
                    <a:pt x="27"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6" name="iṣļíḓê">
              <a:extLst>
                <a:ext uri="{FF2B5EF4-FFF2-40B4-BE49-F238E27FC236}">
                  <a16:creationId xmlns:a16="http://schemas.microsoft.com/office/drawing/2014/main" id="{1A61854A-5E83-4703-A80F-DCD113E625FD}"/>
                </a:ext>
              </a:extLst>
            </p:cNvPr>
            <p:cNvSpPr/>
            <p:nvPr/>
          </p:nvSpPr>
          <p:spPr bwMode="auto">
            <a:xfrm>
              <a:off x="7721601" y="3070225"/>
              <a:ext cx="1588" cy="1588"/>
            </a:xfrm>
            <a:custGeom>
              <a:avLst/>
              <a:gdLst>
                <a:gd name="T0" fmla="*/ 2 w 2"/>
                <a:gd name="T1" fmla="*/ 0 h 1"/>
                <a:gd name="T2" fmla="*/ 0 w 2"/>
                <a:gd name="T3" fmla="*/ 1 h 1"/>
                <a:gd name="T4" fmla="*/ 0 w 2"/>
                <a:gd name="T5" fmla="*/ 1 h 1"/>
                <a:gd name="T6" fmla="*/ 2 w 2"/>
                <a:gd name="T7" fmla="*/ 1 h 1"/>
                <a:gd name="T8" fmla="*/ 2 w 2"/>
                <a:gd name="T9" fmla="*/ 0 h 1"/>
              </a:gdLst>
              <a:ahLst/>
              <a:cxnLst>
                <a:cxn ang="0">
                  <a:pos x="T0" y="T1"/>
                </a:cxn>
                <a:cxn ang="0">
                  <a:pos x="T2" y="T3"/>
                </a:cxn>
                <a:cxn ang="0">
                  <a:pos x="T4" y="T5"/>
                </a:cxn>
                <a:cxn ang="0">
                  <a:pos x="T6" y="T7"/>
                </a:cxn>
                <a:cxn ang="0">
                  <a:pos x="T8" y="T9"/>
                </a:cxn>
              </a:cxnLst>
              <a:rect l="0" t="0" r="r" b="b"/>
              <a:pathLst>
                <a:path w="2" h="1">
                  <a:moveTo>
                    <a:pt x="2" y="0"/>
                  </a:moveTo>
                  <a:cubicBezTo>
                    <a:pt x="2" y="1"/>
                    <a:pt x="1" y="1"/>
                    <a:pt x="0" y="1"/>
                  </a:cubicBezTo>
                  <a:cubicBezTo>
                    <a:pt x="0" y="1"/>
                    <a:pt x="0" y="1"/>
                    <a:pt x="0" y="1"/>
                  </a:cubicBezTo>
                  <a:cubicBezTo>
                    <a:pt x="1" y="1"/>
                    <a:pt x="2" y="1"/>
                    <a:pt x="2" y="1"/>
                  </a:cubicBezTo>
                  <a:cubicBezTo>
                    <a:pt x="2" y="1"/>
                    <a:pt x="2" y="1"/>
                    <a:pt x="2" y="0"/>
                  </a:cubicBezTo>
                </a:path>
              </a:pathLst>
            </a:custGeom>
            <a:solidFill>
              <a:srgbClr val="4358C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7" name="iṣlídé">
              <a:extLst>
                <a:ext uri="{FF2B5EF4-FFF2-40B4-BE49-F238E27FC236}">
                  <a16:creationId xmlns:a16="http://schemas.microsoft.com/office/drawing/2014/main" id="{012A7D93-DA6C-4116-A275-4A9285696C43}"/>
                </a:ext>
              </a:extLst>
            </p:cNvPr>
            <p:cNvSpPr/>
            <p:nvPr/>
          </p:nvSpPr>
          <p:spPr bwMode="auto">
            <a:xfrm>
              <a:off x="7723188" y="3070225"/>
              <a:ext cx="4763" cy="1588"/>
            </a:xfrm>
            <a:custGeom>
              <a:avLst/>
              <a:gdLst>
                <a:gd name="T0" fmla="*/ 3 w 3"/>
                <a:gd name="T1" fmla="*/ 0 h 1"/>
                <a:gd name="T2" fmla="*/ 0 w 3"/>
                <a:gd name="T3" fmla="*/ 0 h 1"/>
                <a:gd name="T4" fmla="*/ 0 w 3"/>
                <a:gd name="T5" fmla="*/ 1 h 1"/>
                <a:gd name="T6" fmla="*/ 3 w 3"/>
                <a:gd name="T7" fmla="*/ 1 h 1"/>
                <a:gd name="T8" fmla="*/ 3 w 3"/>
                <a:gd name="T9" fmla="*/ 0 h 1"/>
              </a:gdLst>
              <a:ahLst/>
              <a:cxnLst>
                <a:cxn ang="0">
                  <a:pos x="T0" y="T1"/>
                </a:cxn>
                <a:cxn ang="0">
                  <a:pos x="T2" y="T3"/>
                </a:cxn>
                <a:cxn ang="0">
                  <a:pos x="T4" y="T5"/>
                </a:cxn>
                <a:cxn ang="0">
                  <a:pos x="T6" y="T7"/>
                </a:cxn>
                <a:cxn ang="0">
                  <a:pos x="T8" y="T9"/>
                </a:cxn>
              </a:cxnLst>
              <a:rect l="0" t="0" r="r" b="b"/>
              <a:pathLst>
                <a:path w="3" h="1">
                  <a:moveTo>
                    <a:pt x="3" y="0"/>
                  </a:moveTo>
                  <a:cubicBezTo>
                    <a:pt x="2" y="0"/>
                    <a:pt x="1" y="0"/>
                    <a:pt x="0" y="0"/>
                  </a:cubicBezTo>
                  <a:cubicBezTo>
                    <a:pt x="0" y="1"/>
                    <a:pt x="0" y="1"/>
                    <a:pt x="0" y="1"/>
                  </a:cubicBezTo>
                  <a:cubicBezTo>
                    <a:pt x="1" y="1"/>
                    <a:pt x="2" y="1"/>
                    <a:pt x="3" y="1"/>
                  </a:cubicBezTo>
                  <a:cubicBezTo>
                    <a:pt x="3" y="1"/>
                    <a:pt x="3" y="0"/>
                    <a:pt x="3" y="0"/>
                  </a:cubicBezTo>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8" name="îşľïḍe">
              <a:extLst>
                <a:ext uri="{FF2B5EF4-FFF2-40B4-BE49-F238E27FC236}">
                  <a16:creationId xmlns:a16="http://schemas.microsoft.com/office/drawing/2014/main" id="{432E2A9B-ADF9-4FD3-8B34-46CB9A51101B}"/>
                </a:ext>
              </a:extLst>
            </p:cNvPr>
            <p:cNvSpPr/>
            <p:nvPr/>
          </p:nvSpPr>
          <p:spPr bwMode="auto">
            <a:xfrm>
              <a:off x="7716838" y="3071813"/>
              <a:ext cx="4763" cy="0"/>
            </a:xfrm>
            <a:custGeom>
              <a:avLst/>
              <a:gdLst>
                <a:gd name="T0" fmla="*/ 3 w 3"/>
                <a:gd name="T1" fmla="*/ 0 w 3"/>
                <a:gd name="T2" fmla="*/ 2 w 3"/>
                <a:gd name="T3" fmla="*/ 3 w 3"/>
                <a:gd name="T4" fmla="*/ 3 w 3"/>
              </a:gdLst>
              <a:ahLst/>
              <a:cxnLst>
                <a:cxn ang="0">
                  <a:pos x="T0" y="0"/>
                </a:cxn>
                <a:cxn ang="0">
                  <a:pos x="T1" y="0"/>
                </a:cxn>
                <a:cxn ang="0">
                  <a:pos x="T2" y="0"/>
                </a:cxn>
                <a:cxn ang="0">
                  <a:pos x="T3" y="0"/>
                </a:cxn>
                <a:cxn ang="0">
                  <a:pos x="T4" y="0"/>
                </a:cxn>
              </a:cxnLst>
              <a:rect l="0" t="0" r="r" b="b"/>
              <a:pathLst>
                <a:path w="3">
                  <a:moveTo>
                    <a:pt x="3" y="0"/>
                  </a:moveTo>
                  <a:cubicBezTo>
                    <a:pt x="2" y="0"/>
                    <a:pt x="1" y="0"/>
                    <a:pt x="0" y="0"/>
                  </a:cubicBezTo>
                  <a:cubicBezTo>
                    <a:pt x="1" y="0"/>
                    <a:pt x="2" y="0"/>
                    <a:pt x="2" y="0"/>
                  </a:cubicBezTo>
                  <a:cubicBezTo>
                    <a:pt x="3" y="0"/>
                    <a:pt x="3" y="0"/>
                    <a:pt x="3" y="0"/>
                  </a:cubicBezTo>
                  <a:cubicBezTo>
                    <a:pt x="3" y="0"/>
                    <a:pt x="3" y="0"/>
                    <a:pt x="3" y="0"/>
                  </a:cubicBezTo>
                </a:path>
              </a:pathLst>
            </a:custGeom>
            <a:solidFill>
              <a:srgbClr val="4442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9" name="ïṣ1îḍè">
              <a:extLst>
                <a:ext uri="{FF2B5EF4-FFF2-40B4-BE49-F238E27FC236}">
                  <a16:creationId xmlns:a16="http://schemas.microsoft.com/office/drawing/2014/main" id="{215294CE-E7CD-4D85-B77A-2D72DD1F0C14}"/>
                </a:ext>
              </a:extLst>
            </p:cNvPr>
            <p:cNvSpPr/>
            <p:nvPr/>
          </p:nvSpPr>
          <p:spPr bwMode="auto">
            <a:xfrm>
              <a:off x="7904163" y="3084513"/>
              <a:ext cx="77788" cy="6350"/>
            </a:xfrm>
            <a:custGeom>
              <a:avLst/>
              <a:gdLst>
                <a:gd name="T0" fmla="*/ 52 w 52"/>
                <a:gd name="T1" fmla="*/ 0 h 5"/>
                <a:gd name="T2" fmla="*/ 12 w 52"/>
                <a:gd name="T3" fmla="*/ 4 h 5"/>
                <a:gd name="T4" fmla="*/ 0 w 52"/>
                <a:gd name="T5" fmla="*/ 5 h 5"/>
                <a:gd name="T6" fmla="*/ 2 w 52"/>
                <a:gd name="T7" fmla="*/ 5 h 5"/>
                <a:gd name="T8" fmla="*/ 16 w 52"/>
                <a:gd name="T9" fmla="*/ 4 h 5"/>
                <a:gd name="T10" fmla="*/ 52 w 52"/>
                <a:gd name="T11" fmla="*/ 1 h 5"/>
                <a:gd name="T12" fmla="*/ 52 w 52"/>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52" h="5">
                  <a:moveTo>
                    <a:pt x="52" y="0"/>
                  </a:moveTo>
                  <a:cubicBezTo>
                    <a:pt x="36" y="1"/>
                    <a:pt x="21" y="2"/>
                    <a:pt x="12" y="4"/>
                  </a:cubicBezTo>
                  <a:cubicBezTo>
                    <a:pt x="8" y="4"/>
                    <a:pt x="4" y="4"/>
                    <a:pt x="0" y="5"/>
                  </a:cubicBezTo>
                  <a:cubicBezTo>
                    <a:pt x="0" y="5"/>
                    <a:pt x="1" y="5"/>
                    <a:pt x="2" y="5"/>
                  </a:cubicBezTo>
                  <a:cubicBezTo>
                    <a:pt x="7" y="5"/>
                    <a:pt x="12" y="4"/>
                    <a:pt x="16" y="4"/>
                  </a:cubicBezTo>
                  <a:cubicBezTo>
                    <a:pt x="25" y="3"/>
                    <a:pt x="38" y="2"/>
                    <a:pt x="52" y="1"/>
                  </a:cubicBezTo>
                  <a:cubicBezTo>
                    <a:pt x="52" y="1"/>
                    <a:pt x="52" y="1"/>
                    <a:pt x="52"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0" name="íśļiďê">
              <a:extLst>
                <a:ext uri="{FF2B5EF4-FFF2-40B4-BE49-F238E27FC236}">
                  <a16:creationId xmlns:a16="http://schemas.microsoft.com/office/drawing/2014/main" id="{800408BC-D0FB-4A4B-9205-E52E40ECD203}"/>
                </a:ext>
              </a:extLst>
            </p:cNvPr>
            <p:cNvSpPr/>
            <p:nvPr/>
          </p:nvSpPr>
          <p:spPr bwMode="auto">
            <a:xfrm>
              <a:off x="7981951" y="3084513"/>
              <a:ext cx="6350" cy="0"/>
            </a:xfrm>
            <a:custGeom>
              <a:avLst/>
              <a:gdLst>
                <a:gd name="T0" fmla="*/ 5 w 5"/>
                <a:gd name="T1" fmla="*/ 0 h 1"/>
                <a:gd name="T2" fmla="*/ 0 w 5"/>
                <a:gd name="T3" fmla="*/ 0 h 1"/>
                <a:gd name="T4" fmla="*/ 0 w 5"/>
                <a:gd name="T5" fmla="*/ 1 h 1"/>
                <a:gd name="T6" fmla="*/ 5 w 5"/>
                <a:gd name="T7" fmla="*/ 0 h 1"/>
                <a:gd name="T8" fmla="*/ 5 w 5"/>
                <a:gd name="T9" fmla="*/ 0 h 1"/>
              </a:gdLst>
              <a:ahLst/>
              <a:cxnLst>
                <a:cxn ang="0">
                  <a:pos x="T0" y="T1"/>
                </a:cxn>
                <a:cxn ang="0">
                  <a:pos x="T2" y="T3"/>
                </a:cxn>
                <a:cxn ang="0">
                  <a:pos x="T4" y="T5"/>
                </a:cxn>
                <a:cxn ang="0">
                  <a:pos x="T6" y="T7"/>
                </a:cxn>
                <a:cxn ang="0">
                  <a:pos x="T8" y="T9"/>
                </a:cxn>
              </a:cxnLst>
              <a:rect l="0" t="0" r="r" b="b"/>
              <a:pathLst>
                <a:path w="5" h="1">
                  <a:moveTo>
                    <a:pt x="5" y="0"/>
                  </a:moveTo>
                  <a:cubicBezTo>
                    <a:pt x="3" y="0"/>
                    <a:pt x="2" y="0"/>
                    <a:pt x="0" y="0"/>
                  </a:cubicBezTo>
                  <a:cubicBezTo>
                    <a:pt x="0" y="1"/>
                    <a:pt x="0" y="1"/>
                    <a:pt x="0" y="1"/>
                  </a:cubicBezTo>
                  <a:cubicBezTo>
                    <a:pt x="1" y="1"/>
                    <a:pt x="3" y="1"/>
                    <a:pt x="5" y="0"/>
                  </a:cubicBezTo>
                  <a:cubicBezTo>
                    <a:pt x="5" y="0"/>
                    <a:pt x="5" y="0"/>
                    <a:pt x="5" y="0"/>
                  </a:cubicBezTo>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1" name="íṩ1iḍè">
              <a:extLst>
                <a:ext uri="{FF2B5EF4-FFF2-40B4-BE49-F238E27FC236}">
                  <a16:creationId xmlns:a16="http://schemas.microsoft.com/office/drawing/2014/main" id="{8EE9B8F5-2D5C-4C8D-89DC-0F0DE689F228}"/>
                </a:ext>
              </a:extLst>
            </p:cNvPr>
            <p:cNvSpPr/>
            <p:nvPr/>
          </p:nvSpPr>
          <p:spPr bwMode="auto">
            <a:xfrm>
              <a:off x="7988301" y="3076575"/>
              <a:ext cx="80963" cy="7938"/>
            </a:xfrm>
            <a:custGeom>
              <a:avLst/>
              <a:gdLst>
                <a:gd name="T0" fmla="*/ 55 w 55"/>
                <a:gd name="T1" fmla="*/ 0 h 5"/>
                <a:gd name="T2" fmla="*/ 0 w 55"/>
                <a:gd name="T3" fmla="*/ 5 h 5"/>
                <a:gd name="T4" fmla="*/ 0 w 55"/>
                <a:gd name="T5" fmla="*/ 5 h 5"/>
                <a:gd name="T6" fmla="*/ 55 w 55"/>
                <a:gd name="T7" fmla="*/ 1 h 5"/>
                <a:gd name="T8" fmla="*/ 55 w 55"/>
                <a:gd name="T9" fmla="*/ 0 h 5"/>
              </a:gdLst>
              <a:ahLst/>
              <a:cxnLst>
                <a:cxn ang="0">
                  <a:pos x="T0" y="T1"/>
                </a:cxn>
                <a:cxn ang="0">
                  <a:pos x="T2" y="T3"/>
                </a:cxn>
                <a:cxn ang="0">
                  <a:pos x="T4" y="T5"/>
                </a:cxn>
                <a:cxn ang="0">
                  <a:pos x="T6" y="T7"/>
                </a:cxn>
                <a:cxn ang="0">
                  <a:pos x="T8" y="T9"/>
                </a:cxn>
              </a:cxnLst>
              <a:rect l="0" t="0" r="r" b="b"/>
              <a:pathLst>
                <a:path w="55" h="5">
                  <a:moveTo>
                    <a:pt x="55" y="0"/>
                  </a:moveTo>
                  <a:cubicBezTo>
                    <a:pt x="43" y="2"/>
                    <a:pt x="21" y="4"/>
                    <a:pt x="0" y="5"/>
                  </a:cubicBezTo>
                  <a:cubicBezTo>
                    <a:pt x="0" y="5"/>
                    <a:pt x="0" y="5"/>
                    <a:pt x="0" y="5"/>
                  </a:cubicBezTo>
                  <a:cubicBezTo>
                    <a:pt x="20" y="4"/>
                    <a:pt x="41" y="3"/>
                    <a:pt x="55" y="1"/>
                  </a:cubicBezTo>
                  <a:cubicBezTo>
                    <a:pt x="55" y="1"/>
                    <a:pt x="55" y="0"/>
                    <a:pt x="55" y="0"/>
                  </a:cubicBezTo>
                </a:path>
              </a:pathLst>
            </a:custGeom>
            <a:solidFill>
              <a:srgbClr val="4442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2" name="iṧļíḍe">
              <a:extLst>
                <a:ext uri="{FF2B5EF4-FFF2-40B4-BE49-F238E27FC236}">
                  <a16:creationId xmlns:a16="http://schemas.microsoft.com/office/drawing/2014/main" id="{7FD4EEB0-73DD-4FED-960A-CA30511CDA17}"/>
                </a:ext>
              </a:extLst>
            </p:cNvPr>
            <p:cNvSpPr/>
            <p:nvPr/>
          </p:nvSpPr>
          <p:spPr bwMode="auto">
            <a:xfrm>
              <a:off x="8069263" y="3068638"/>
              <a:ext cx="23813" cy="9525"/>
            </a:xfrm>
            <a:custGeom>
              <a:avLst/>
              <a:gdLst>
                <a:gd name="T0" fmla="*/ 14 w 16"/>
                <a:gd name="T1" fmla="*/ 0 h 6"/>
                <a:gd name="T2" fmla="*/ 8 w 16"/>
                <a:gd name="T3" fmla="*/ 3 h 6"/>
                <a:gd name="T4" fmla="*/ 0 w 16"/>
                <a:gd name="T5" fmla="*/ 5 h 6"/>
                <a:gd name="T6" fmla="*/ 0 w 16"/>
                <a:gd name="T7" fmla="*/ 6 h 6"/>
                <a:gd name="T8" fmla="*/ 12 w 16"/>
                <a:gd name="T9" fmla="*/ 3 h 6"/>
                <a:gd name="T10" fmla="*/ 16 w 16"/>
                <a:gd name="T11" fmla="*/ 1 h 6"/>
                <a:gd name="T12" fmla="*/ 14 w 1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16" h="6">
                  <a:moveTo>
                    <a:pt x="14" y="0"/>
                  </a:moveTo>
                  <a:cubicBezTo>
                    <a:pt x="12" y="0"/>
                    <a:pt x="9" y="1"/>
                    <a:pt x="8" y="3"/>
                  </a:cubicBezTo>
                  <a:cubicBezTo>
                    <a:pt x="6" y="4"/>
                    <a:pt x="4" y="4"/>
                    <a:pt x="0" y="5"/>
                  </a:cubicBezTo>
                  <a:cubicBezTo>
                    <a:pt x="0" y="5"/>
                    <a:pt x="0" y="6"/>
                    <a:pt x="0" y="6"/>
                  </a:cubicBezTo>
                  <a:cubicBezTo>
                    <a:pt x="6" y="5"/>
                    <a:pt x="11" y="4"/>
                    <a:pt x="12" y="3"/>
                  </a:cubicBezTo>
                  <a:cubicBezTo>
                    <a:pt x="13" y="2"/>
                    <a:pt x="15" y="1"/>
                    <a:pt x="16" y="1"/>
                  </a:cubicBezTo>
                  <a:cubicBezTo>
                    <a:pt x="15" y="0"/>
                    <a:pt x="15" y="0"/>
                    <a:pt x="14" y="0"/>
                  </a:cubicBezTo>
                </a:path>
              </a:pathLst>
            </a:custGeom>
            <a:solidFill>
              <a:srgbClr val="3D3B6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3" name="işḻiďe">
              <a:extLst>
                <a:ext uri="{FF2B5EF4-FFF2-40B4-BE49-F238E27FC236}">
                  <a16:creationId xmlns:a16="http://schemas.microsoft.com/office/drawing/2014/main" id="{FA2CE0DA-BB59-454B-B487-BDA523895D88}"/>
                </a:ext>
              </a:extLst>
            </p:cNvPr>
            <p:cNvSpPr/>
            <p:nvPr/>
          </p:nvSpPr>
          <p:spPr bwMode="auto">
            <a:xfrm>
              <a:off x="7780338" y="3244850"/>
              <a:ext cx="188913" cy="36513"/>
            </a:xfrm>
            <a:custGeom>
              <a:avLst/>
              <a:gdLst>
                <a:gd name="T0" fmla="*/ 3 w 129"/>
                <a:gd name="T1" fmla="*/ 0 h 24"/>
                <a:gd name="T2" fmla="*/ 0 w 129"/>
                <a:gd name="T3" fmla="*/ 1 h 24"/>
                <a:gd name="T4" fmla="*/ 129 w 129"/>
                <a:gd name="T5" fmla="*/ 24 h 24"/>
                <a:gd name="T6" fmla="*/ 129 w 129"/>
                <a:gd name="T7" fmla="*/ 23 h 24"/>
                <a:gd name="T8" fmla="*/ 3 w 129"/>
                <a:gd name="T9" fmla="*/ 0 h 24"/>
              </a:gdLst>
              <a:ahLst/>
              <a:cxnLst>
                <a:cxn ang="0">
                  <a:pos x="T0" y="T1"/>
                </a:cxn>
                <a:cxn ang="0">
                  <a:pos x="T2" y="T3"/>
                </a:cxn>
                <a:cxn ang="0">
                  <a:pos x="T4" y="T5"/>
                </a:cxn>
                <a:cxn ang="0">
                  <a:pos x="T6" y="T7"/>
                </a:cxn>
                <a:cxn ang="0">
                  <a:pos x="T8" y="T9"/>
                </a:cxn>
              </a:cxnLst>
              <a:rect l="0" t="0" r="r" b="b"/>
              <a:pathLst>
                <a:path w="129" h="24">
                  <a:moveTo>
                    <a:pt x="3" y="0"/>
                  </a:moveTo>
                  <a:cubicBezTo>
                    <a:pt x="3" y="0"/>
                    <a:pt x="2" y="1"/>
                    <a:pt x="0" y="1"/>
                  </a:cubicBezTo>
                  <a:cubicBezTo>
                    <a:pt x="10" y="3"/>
                    <a:pt x="69" y="13"/>
                    <a:pt x="129" y="24"/>
                  </a:cubicBezTo>
                  <a:cubicBezTo>
                    <a:pt x="129" y="24"/>
                    <a:pt x="129" y="23"/>
                    <a:pt x="129" y="23"/>
                  </a:cubicBezTo>
                  <a:cubicBezTo>
                    <a:pt x="64" y="11"/>
                    <a:pt x="3" y="0"/>
                    <a:pt x="3"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4" name="ïṧ1ïḑê">
              <a:extLst>
                <a:ext uri="{FF2B5EF4-FFF2-40B4-BE49-F238E27FC236}">
                  <a16:creationId xmlns:a16="http://schemas.microsoft.com/office/drawing/2014/main" id="{68D6835D-7F99-40F6-9447-74E2940548FA}"/>
                </a:ext>
              </a:extLst>
            </p:cNvPr>
            <p:cNvSpPr/>
            <p:nvPr/>
          </p:nvSpPr>
          <p:spPr bwMode="auto">
            <a:xfrm>
              <a:off x="7969251" y="3279775"/>
              <a:ext cx="6350" cy="3175"/>
            </a:xfrm>
            <a:custGeom>
              <a:avLst/>
              <a:gdLst>
                <a:gd name="T0" fmla="*/ 0 w 4"/>
                <a:gd name="T1" fmla="*/ 0 h 2"/>
                <a:gd name="T2" fmla="*/ 0 w 4"/>
                <a:gd name="T3" fmla="*/ 1 h 2"/>
                <a:gd name="T4" fmla="*/ 4 w 4"/>
                <a:gd name="T5" fmla="*/ 2 h 2"/>
                <a:gd name="T6" fmla="*/ 4 w 4"/>
                <a:gd name="T7" fmla="*/ 1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cubicBezTo>
                    <a:pt x="0" y="0"/>
                    <a:pt x="0" y="1"/>
                    <a:pt x="0" y="1"/>
                  </a:cubicBezTo>
                  <a:cubicBezTo>
                    <a:pt x="1" y="1"/>
                    <a:pt x="3" y="2"/>
                    <a:pt x="4" y="2"/>
                  </a:cubicBezTo>
                  <a:cubicBezTo>
                    <a:pt x="4" y="2"/>
                    <a:pt x="4" y="1"/>
                    <a:pt x="4" y="1"/>
                  </a:cubicBezTo>
                  <a:cubicBezTo>
                    <a:pt x="3" y="1"/>
                    <a:pt x="1" y="0"/>
                    <a:pt x="0" y="0"/>
                  </a:cubicBezTo>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5" name="ïŝ1ídé">
              <a:extLst>
                <a:ext uri="{FF2B5EF4-FFF2-40B4-BE49-F238E27FC236}">
                  <a16:creationId xmlns:a16="http://schemas.microsoft.com/office/drawing/2014/main" id="{79F53A74-6ACA-4C47-8605-F1B6A28AC44C}"/>
                </a:ext>
              </a:extLst>
            </p:cNvPr>
            <p:cNvSpPr/>
            <p:nvPr/>
          </p:nvSpPr>
          <p:spPr bwMode="auto">
            <a:xfrm>
              <a:off x="7975601" y="3281363"/>
              <a:ext cx="222250" cy="38100"/>
            </a:xfrm>
            <a:custGeom>
              <a:avLst/>
              <a:gdLst>
                <a:gd name="T0" fmla="*/ 0 w 151"/>
                <a:gd name="T1" fmla="*/ 0 h 26"/>
                <a:gd name="T2" fmla="*/ 0 w 151"/>
                <a:gd name="T3" fmla="*/ 1 h 26"/>
                <a:gd name="T4" fmla="*/ 115 w 151"/>
                <a:gd name="T5" fmla="*/ 22 h 26"/>
                <a:gd name="T6" fmla="*/ 149 w 151"/>
                <a:gd name="T7" fmla="*/ 26 h 26"/>
                <a:gd name="T8" fmla="*/ 151 w 151"/>
                <a:gd name="T9" fmla="*/ 26 h 26"/>
                <a:gd name="T10" fmla="*/ 119 w 151"/>
                <a:gd name="T11" fmla="*/ 22 h 26"/>
                <a:gd name="T12" fmla="*/ 0 w 151"/>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51" h="26">
                  <a:moveTo>
                    <a:pt x="0" y="0"/>
                  </a:moveTo>
                  <a:cubicBezTo>
                    <a:pt x="0" y="0"/>
                    <a:pt x="0" y="1"/>
                    <a:pt x="0" y="1"/>
                  </a:cubicBezTo>
                  <a:cubicBezTo>
                    <a:pt x="45" y="9"/>
                    <a:pt x="89" y="17"/>
                    <a:pt x="115" y="22"/>
                  </a:cubicBezTo>
                  <a:cubicBezTo>
                    <a:pt x="127" y="25"/>
                    <a:pt x="138" y="26"/>
                    <a:pt x="149" y="26"/>
                  </a:cubicBezTo>
                  <a:cubicBezTo>
                    <a:pt x="150" y="26"/>
                    <a:pt x="151" y="26"/>
                    <a:pt x="151" y="26"/>
                  </a:cubicBezTo>
                  <a:cubicBezTo>
                    <a:pt x="141" y="25"/>
                    <a:pt x="130" y="24"/>
                    <a:pt x="119" y="22"/>
                  </a:cubicBezTo>
                  <a:cubicBezTo>
                    <a:pt x="93" y="17"/>
                    <a:pt x="46" y="8"/>
                    <a:pt x="0" y="0"/>
                  </a:cubicBezTo>
                </a:path>
              </a:pathLst>
            </a:custGeom>
            <a:solidFill>
              <a:srgbClr val="4442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6" name="íSḷídé">
              <a:extLst>
                <a:ext uri="{FF2B5EF4-FFF2-40B4-BE49-F238E27FC236}">
                  <a16:creationId xmlns:a16="http://schemas.microsoft.com/office/drawing/2014/main" id="{0CD2C809-91C5-4DA3-800A-EF929DC2F51E}"/>
                </a:ext>
              </a:extLst>
            </p:cNvPr>
            <p:cNvSpPr/>
            <p:nvPr/>
          </p:nvSpPr>
          <p:spPr bwMode="auto">
            <a:xfrm>
              <a:off x="7604126" y="2525713"/>
              <a:ext cx="903288" cy="806450"/>
            </a:xfrm>
            <a:custGeom>
              <a:avLst/>
              <a:gdLst>
                <a:gd name="T0" fmla="*/ 595 w 615"/>
                <a:gd name="T1" fmla="*/ 167 h 549"/>
                <a:gd name="T2" fmla="*/ 615 w 615"/>
                <a:gd name="T3" fmla="*/ 224 h 549"/>
                <a:gd name="T4" fmla="*/ 545 w 615"/>
                <a:gd name="T5" fmla="*/ 437 h 549"/>
                <a:gd name="T6" fmla="*/ 490 w 615"/>
                <a:gd name="T7" fmla="*/ 521 h 549"/>
                <a:gd name="T8" fmla="*/ 372 w 615"/>
                <a:gd name="T9" fmla="*/ 536 h 549"/>
                <a:gd name="T10" fmla="*/ 123 w 615"/>
                <a:gd name="T11" fmla="*/ 490 h 549"/>
                <a:gd name="T12" fmla="*/ 99 w 615"/>
                <a:gd name="T13" fmla="*/ 481 h 549"/>
                <a:gd name="T14" fmla="*/ 49 w 615"/>
                <a:gd name="T15" fmla="*/ 464 h 549"/>
                <a:gd name="T16" fmla="*/ 60 w 615"/>
                <a:gd name="T17" fmla="*/ 363 h 549"/>
                <a:gd name="T18" fmla="*/ 99 w 615"/>
                <a:gd name="T19" fmla="*/ 368 h 549"/>
                <a:gd name="T20" fmla="*/ 140 w 615"/>
                <a:gd name="T21" fmla="*/ 377 h 549"/>
                <a:gd name="T22" fmla="*/ 221 w 615"/>
                <a:gd name="T23" fmla="*/ 384 h 549"/>
                <a:gd name="T24" fmla="*/ 329 w 615"/>
                <a:gd name="T25" fmla="*/ 373 h 549"/>
                <a:gd name="T26" fmla="*/ 342 w 615"/>
                <a:gd name="T27" fmla="*/ 373 h 549"/>
                <a:gd name="T28" fmla="*/ 366 w 615"/>
                <a:gd name="T29" fmla="*/ 360 h 549"/>
                <a:gd name="T30" fmla="*/ 380 w 615"/>
                <a:gd name="T31" fmla="*/ 367 h 549"/>
                <a:gd name="T32" fmla="*/ 388 w 615"/>
                <a:gd name="T33" fmla="*/ 354 h 549"/>
                <a:gd name="T34" fmla="*/ 397 w 615"/>
                <a:gd name="T35" fmla="*/ 319 h 549"/>
                <a:gd name="T36" fmla="*/ 399 w 615"/>
                <a:gd name="T37" fmla="*/ 285 h 549"/>
                <a:gd name="T38" fmla="*/ 418 w 615"/>
                <a:gd name="T39" fmla="*/ 217 h 549"/>
                <a:gd name="T40" fmla="*/ 415 w 615"/>
                <a:gd name="T41" fmla="*/ 191 h 549"/>
                <a:gd name="T42" fmla="*/ 443 w 615"/>
                <a:gd name="T43" fmla="*/ 151 h 549"/>
                <a:gd name="T44" fmla="*/ 540 w 615"/>
                <a:gd name="T45" fmla="*/ 49 h 549"/>
                <a:gd name="T46" fmla="*/ 595 w 615"/>
                <a:gd name="T47" fmla="*/ 167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15" h="549">
                  <a:moveTo>
                    <a:pt x="595" y="167"/>
                  </a:moveTo>
                  <a:cubicBezTo>
                    <a:pt x="615" y="224"/>
                    <a:pt x="615" y="224"/>
                    <a:pt x="615" y="224"/>
                  </a:cubicBezTo>
                  <a:cubicBezTo>
                    <a:pt x="615" y="224"/>
                    <a:pt x="567" y="400"/>
                    <a:pt x="545" y="437"/>
                  </a:cubicBezTo>
                  <a:cubicBezTo>
                    <a:pt x="523" y="474"/>
                    <a:pt x="490" y="521"/>
                    <a:pt x="490" y="521"/>
                  </a:cubicBezTo>
                  <a:cubicBezTo>
                    <a:pt x="490" y="521"/>
                    <a:pt x="436" y="549"/>
                    <a:pt x="372" y="536"/>
                  </a:cubicBezTo>
                  <a:cubicBezTo>
                    <a:pt x="308" y="524"/>
                    <a:pt x="123" y="490"/>
                    <a:pt x="123" y="490"/>
                  </a:cubicBezTo>
                  <a:cubicBezTo>
                    <a:pt x="123" y="490"/>
                    <a:pt x="107" y="493"/>
                    <a:pt x="99" y="481"/>
                  </a:cubicBezTo>
                  <a:cubicBezTo>
                    <a:pt x="91" y="470"/>
                    <a:pt x="49" y="464"/>
                    <a:pt x="49" y="464"/>
                  </a:cubicBezTo>
                  <a:cubicBezTo>
                    <a:pt x="49" y="464"/>
                    <a:pt x="0" y="393"/>
                    <a:pt x="60" y="363"/>
                  </a:cubicBezTo>
                  <a:cubicBezTo>
                    <a:pt x="60" y="363"/>
                    <a:pt x="67" y="379"/>
                    <a:pt x="99" y="368"/>
                  </a:cubicBezTo>
                  <a:cubicBezTo>
                    <a:pt x="131" y="357"/>
                    <a:pt x="140" y="377"/>
                    <a:pt x="140" y="377"/>
                  </a:cubicBezTo>
                  <a:cubicBezTo>
                    <a:pt x="140" y="377"/>
                    <a:pt x="192" y="387"/>
                    <a:pt x="221" y="384"/>
                  </a:cubicBezTo>
                  <a:cubicBezTo>
                    <a:pt x="250" y="380"/>
                    <a:pt x="322" y="379"/>
                    <a:pt x="329" y="373"/>
                  </a:cubicBezTo>
                  <a:cubicBezTo>
                    <a:pt x="333" y="369"/>
                    <a:pt x="339" y="370"/>
                    <a:pt x="342" y="373"/>
                  </a:cubicBezTo>
                  <a:cubicBezTo>
                    <a:pt x="342" y="373"/>
                    <a:pt x="360" y="367"/>
                    <a:pt x="366" y="360"/>
                  </a:cubicBezTo>
                  <a:cubicBezTo>
                    <a:pt x="372" y="353"/>
                    <a:pt x="380" y="367"/>
                    <a:pt x="380" y="367"/>
                  </a:cubicBezTo>
                  <a:cubicBezTo>
                    <a:pt x="380" y="367"/>
                    <a:pt x="390" y="362"/>
                    <a:pt x="388" y="354"/>
                  </a:cubicBezTo>
                  <a:cubicBezTo>
                    <a:pt x="385" y="347"/>
                    <a:pt x="397" y="319"/>
                    <a:pt x="397" y="319"/>
                  </a:cubicBezTo>
                  <a:cubicBezTo>
                    <a:pt x="397" y="319"/>
                    <a:pt x="403" y="300"/>
                    <a:pt x="399" y="285"/>
                  </a:cubicBezTo>
                  <a:cubicBezTo>
                    <a:pt x="396" y="271"/>
                    <a:pt x="418" y="217"/>
                    <a:pt x="418" y="217"/>
                  </a:cubicBezTo>
                  <a:cubicBezTo>
                    <a:pt x="418" y="208"/>
                    <a:pt x="417" y="199"/>
                    <a:pt x="415" y="191"/>
                  </a:cubicBezTo>
                  <a:cubicBezTo>
                    <a:pt x="411" y="177"/>
                    <a:pt x="443" y="151"/>
                    <a:pt x="443" y="151"/>
                  </a:cubicBezTo>
                  <a:cubicBezTo>
                    <a:pt x="443" y="151"/>
                    <a:pt x="474" y="0"/>
                    <a:pt x="540" y="49"/>
                  </a:cubicBezTo>
                  <a:cubicBezTo>
                    <a:pt x="606" y="99"/>
                    <a:pt x="595" y="167"/>
                    <a:pt x="595" y="167"/>
                  </a:cubicBezTo>
                </a:path>
              </a:pathLst>
            </a:custGeom>
            <a:solidFill>
              <a:srgbClr val="4C498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7" name="îṥļiḓé">
              <a:extLst>
                <a:ext uri="{FF2B5EF4-FFF2-40B4-BE49-F238E27FC236}">
                  <a16:creationId xmlns:a16="http://schemas.microsoft.com/office/drawing/2014/main" id="{1572AD42-36B8-4F9D-A543-AE18698D4042}"/>
                </a:ext>
              </a:extLst>
            </p:cNvPr>
            <p:cNvSpPr/>
            <p:nvPr/>
          </p:nvSpPr>
          <p:spPr bwMode="auto">
            <a:xfrm>
              <a:off x="7758113" y="3121025"/>
              <a:ext cx="38100" cy="103188"/>
            </a:xfrm>
            <a:custGeom>
              <a:avLst/>
              <a:gdLst>
                <a:gd name="T0" fmla="*/ 9 w 26"/>
                <a:gd name="T1" fmla="*/ 0 h 71"/>
                <a:gd name="T2" fmla="*/ 0 w 26"/>
                <a:gd name="T3" fmla="*/ 31 h 71"/>
                <a:gd name="T4" fmla="*/ 15 w 26"/>
                <a:gd name="T5" fmla="*/ 71 h 71"/>
                <a:gd name="T6" fmla="*/ 16 w 26"/>
                <a:gd name="T7" fmla="*/ 71 h 71"/>
                <a:gd name="T8" fmla="*/ 13 w 26"/>
                <a:gd name="T9" fmla="*/ 43 h 71"/>
                <a:gd name="T10" fmla="*/ 20 w 26"/>
                <a:gd name="T11" fmla="*/ 30 h 71"/>
                <a:gd name="T12" fmla="*/ 9 w 26"/>
                <a:gd name="T13" fmla="*/ 0 h 71"/>
              </a:gdLst>
              <a:ahLst/>
              <a:cxnLst>
                <a:cxn ang="0">
                  <a:pos x="T0" y="T1"/>
                </a:cxn>
                <a:cxn ang="0">
                  <a:pos x="T2" y="T3"/>
                </a:cxn>
                <a:cxn ang="0">
                  <a:pos x="T4" y="T5"/>
                </a:cxn>
                <a:cxn ang="0">
                  <a:pos x="T6" y="T7"/>
                </a:cxn>
                <a:cxn ang="0">
                  <a:pos x="T8" y="T9"/>
                </a:cxn>
                <a:cxn ang="0">
                  <a:pos x="T10" y="T11"/>
                </a:cxn>
                <a:cxn ang="0">
                  <a:pos x="T12" y="T13"/>
                </a:cxn>
              </a:cxnLst>
              <a:rect l="0" t="0" r="r" b="b"/>
              <a:pathLst>
                <a:path w="26" h="71">
                  <a:moveTo>
                    <a:pt x="9" y="0"/>
                  </a:moveTo>
                  <a:cubicBezTo>
                    <a:pt x="9" y="0"/>
                    <a:pt x="0" y="21"/>
                    <a:pt x="0" y="31"/>
                  </a:cubicBezTo>
                  <a:cubicBezTo>
                    <a:pt x="0" y="42"/>
                    <a:pt x="10" y="68"/>
                    <a:pt x="15" y="71"/>
                  </a:cubicBezTo>
                  <a:cubicBezTo>
                    <a:pt x="16" y="71"/>
                    <a:pt x="16" y="71"/>
                    <a:pt x="16" y="71"/>
                  </a:cubicBezTo>
                  <a:cubicBezTo>
                    <a:pt x="21" y="71"/>
                    <a:pt x="22" y="54"/>
                    <a:pt x="13" y="43"/>
                  </a:cubicBezTo>
                  <a:cubicBezTo>
                    <a:pt x="4" y="31"/>
                    <a:pt x="14" y="34"/>
                    <a:pt x="20" y="30"/>
                  </a:cubicBezTo>
                  <a:cubicBezTo>
                    <a:pt x="26" y="26"/>
                    <a:pt x="10" y="5"/>
                    <a:pt x="9" y="0"/>
                  </a:cubicBezTo>
                </a:path>
              </a:pathLst>
            </a:custGeom>
            <a:solidFill>
              <a:srgbClr val="4442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8" name="îṣlïḋé">
              <a:extLst>
                <a:ext uri="{FF2B5EF4-FFF2-40B4-BE49-F238E27FC236}">
                  <a16:creationId xmlns:a16="http://schemas.microsoft.com/office/drawing/2014/main" id="{497B405C-5356-4000-AB2D-769B132D8A83}"/>
                </a:ext>
              </a:extLst>
            </p:cNvPr>
            <p:cNvSpPr/>
            <p:nvPr/>
          </p:nvSpPr>
          <p:spPr bwMode="auto">
            <a:xfrm>
              <a:off x="8094663" y="3103563"/>
              <a:ext cx="93663" cy="100013"/>
            </a:xfrm>
            <a:custGeom>
              <a:avLst/>
              <a:gdLst>
                <a:gd name="T0" fmla="*/ 0 w 64"/>
                <a:gd name="T1" fmla="*/ 0 h 69"/>
                <a:gd name="T2" fmla="*/ 40 w 64"/>
                <a:gd name="T3" fmla="*/ 67 h 69"/>
                <a:gd name="T4" fmla="*/ 47 w 64"/>
                <a:gd name="T5" fmla="*/ 69 h 69"/>
                <a:gd name="T6" fmla="*/ 0 w 64"/>
                <a:gd name="T7" fmla="*/ 0 h 69"/>
              </a:gdLst>
              <a:ahLst/>
              <a:cxnLst>
                <a:cxn ang="0">
                  <a:pos x="T0" y="T1"/>
                </a:cxn>
                <a:cxn ang="0">
                  <a:pos x="T2" y="T3"/>
                </a:cxn>
                <a:cxn ang="0">
                  <a:pos x="T4" y="T5"/>
                </a:cxn>
                <a:cxn ang="0">
                  <a:pos x="T6" y="T7"/>
                </a:cxn>
              </a:cxnLst>
              <a:rect l="0" t="0" r="r" b="b"/>
              <a:pathLst>
                <a:path w="64" h="69">
                  <a:moveTo>
                    <a:pt x="0" y="0"/>
                  </a:moveTo>
                  <a:cubicBezTo>
                    <a:pt x="0" y="0"/>
                    <a:pt x="4" y="52"/>
                    <a:pt x="40" y="67"/>
                  </a:cubicBezTo>
                  <a:cubicBezTo>
                    <a:pt x="43" y="68"/>
                    <a:pt x="46" y="69"/>
                    <a:pt x="47" y="69"/>
                  </a:cubicBezTo>
                  <a:cubicBezTo>
                    <a:pt x="64" y="69"/>
                    <a:pt x="0" y="0"/>
                    <a:pt x="0" y="0"/>
                  </a:cubicBezTo>
                </a:path>
              </a:pathLst>
            </a:custGeom>
            <a:solidFill>
              <a:srgbClr val="4442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9" name="ísľíḋe">
              <a:extLst>
                <a:ext uri="{FF2B5EF4-FFF2-40B4-BE49-F238E27FC236}">
                  <a16:creationId xmlns:a16="http://schemas.microsoft.com/office/drawing/2014/main" id="{C2E33CE1-7F18-421B-BF1C-A42D3154DB28}"/>
                </a:ext>
              </a:extLst>
            </p:cNvPr>
            <p:cNvSpPr/>
            <p:nvPr/>
          </p:nvSpPr>
          <p:spPr bwMode="auto">
            <a:xfrm>
              <a:off x="8204201" y="3078163"/>
              <a:ext cx="77788" cy="66675"/>
            </a:xfrm>
            <a:custGeom>
              <a:avLst/>
              <a:gdLst>
                <a:gd name="T0" fmla="*/ 0 w 52"/>
                <a:gd name="T1" fmla="*/ 0 h 45"/>
                <a:gd name="T2" fmla="*/ 22 w 52"/>
                <a:gd name="T3" fmla="*/ 45 h 45"/>
                <a:gd name="T4" fmla="*/ 30 w 52"/>
                <a:gd name="T5" fmla="*/ 43 h 45"/>
                <a:gd name="T6" fmla="*/ 0 w 52"/>
                <a:gd name="T7" fmla="*/ 0 h 45"/>
              </a:gdLst>
              <a:ahLst/>
              <a:cxnLst>
                <a:cxn ang="0">
                  <a:pos x="T0" y="T1"/>
                </a:cxn>
                <a:cxn ang="0">
                  <a:pos x="T2" y="T3"/>
                </a:cxn>
                <a:cxn ang="0">
                  <a:pos x="T4" y="T5"/>
                </a:cxn>
                <a:cxn ang="0">
                  <a:pos x="T6" y="T7"/>
                </a:cxn>
              </a:cxnLst>
              <a:rect l="0" t="0" r="r" b="b"/>
              <a:pathLst>
                <a:path w="52" h="45">
                  <a:moveTo>
                    <a:pt x="0" y="0"/>
                  </a:moveTo>
                  <a:cubicBezTo>
                    <a:pt x="0" y="0"/>
                    <a:pt x="6" y="45"/>
                    <a:pt x="22" y="45"/>
                  </a:cubicBezTo>
                  <a:cubicBezTo>
                    <a:pt x="25" y="45"/>
                    <a:pt x="27" y="44"/>
                    <a:pt x="30" y="43"/>
                  </a:cubicBezTo>
                  <a:cubicBezTo>
                    <a:pt x="52" y="27"/>
                    <a:pt x="2" y="0"/>
                    <a:pt x="0" y="0"/>
                  </a:cubicBezTo>
                </a:path>
              </a:pathLst>
            </a:custGeom>
            <a:solidFill>
              <a:srgbClr val="4442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0" name="ïṡḻiḍé">
              <a:extLst>
                <a:ext uri="{FF2B5EF4-FFF2-40B4-BE49-F238E27FC236}">
                  <a16:creationId xmlns:a16="http://schemas.microsoft.com/office/drawing/2014/main" id="{23320049-45C1-4C3F-9E22-8865D7874980}"/>
                </a:ext>
              </a:extLst>
            </p:cNvPr>
            <p:cNvSpPr/>
            <p:nvPr/>
          </p:nvSpPr>
          <p:spPr bwMode="auto">
            <a:xfrm>
              <a:off x="8208963" y="3024188"/>
              <a:ext cx="106363" cy="42863"/>
            </a:xfrm>
            <a:custGeom>
              <a:avLst/>
              <a:gdLst>
                <a:gd name="T0" fmla="*/ 0 w 72"/>
                <a:gd name="T1" fmla="*/ 0 h 30"/>
                <a:gd name="T2" fmla="*/ 38 w 72"/>
                <a:gd name="T3" fmla="*/ 30 h 30"/>
                <a:gd name="T4" fmla="*/ 48 w 72"/>
                <a:gd name="T5" fmla="*/ 27 h 30"/>
                <a:gd name="T6" fmla="*/ 0 w 72"/>
                <a:gd name="T7" fmla="*/ 0 h 30"/>
              </a:gdLst>
              <a:ahLst/>
              <a:cxnLst>
                <a:cxn ang="0">
                  <a:pos x="T0" y="T1"/>
                </a:cxn>
                <a:cxn ang="0">
                  <a:pos x="T2" y="T3"/>
                </a:cxn>
                <a:cxn ang="0">
                  <a:pos x="T4" y="T5"/>
                </a:cxn>
                <a:cxn ang="0">
                  <a:pos x="T6" y="T7"/>
                </a:cxn>
              </a:cxnLst>
              <a:rect l="0" t="0" r="r" b="b"/>
              <a:pathLst>
                <a:path w="72" h="30">
                  <a:moveTo>
                    <a:pt x="0" y="0"/>
                  </a:moveTo>
                  <a:cubicBezTo>
                    <a:pt x="0" y="0"/>
                    <a:pt x="17" y="30"/>
                    <a:pt x="38" y="30"/>
                  </a:cubicBezTo>
                  <a:cubicBezTo>
                    <a:pt x="41" y="30"/>
                    <a:pt x="45" y="29"/>
                    <a:pt x="48" y="27"/>
                  </a:cubicBezTo>
                  <a:cubicBezTo>
                    <a:pt x="72" y="15"/>
                    <a:pt x="0" y="0"/>
                    <a:pt x="0" y="0"/>
                  </a:cubicBezTo>
                </a:path>
              </a:pathLst>
            </a:custGeom>
            <a:solidFill>
              <a:srgbClr val="4442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1" name="íšḷiďè">
              <a:extLst>
                <a:ext uri="{FF2B5EF4-FFF2-40B4-BE49-F238E27FC236}">
                  <a16:creationId xmlns:a16="http://schemas.microsoft.com/office/drawing/2014/main" id="{0667CCD7-B354-40FD-8393-ED6A775850C2}"/>
                </a:ext>
              </a:extLst>
            </p:cNvPr>
            <p:cNvSpPr/>
            <p:nvPr/>
          </p:nvSpPr>
          <p:spPr bwMode="auto">
            <a:xfrm>
              <a:off x="8216901" y="2003425"/>
              <a:ext cx="1588" cy="4763"/>
            </a:xfrm>
            <a:custGeom>
              <a:avLst/>
              <a:gdLst>
                <a:gd name="T0" fmla="*/ 0 w 1"/>
                <a:gd name="T1" fmla="*/ 0 h 3"/>
                <a:gd name="T2" fmla="*/ 0 w 1"/>
                <a:gd name="T3" fmla="*/ 0 h 3"/>
                <a:gd name="T4" fmla="*/ 1 w 1"/>
                <a:gd name="T5" fmla="*/ 3 h 3"/>
                <a:gd name="T6" fmla="*/ 0 w 1"/>
                <a:gd name="T7" fmla="*/ 0 h 3"/>
              </a:gdLst>
              <a:ahLst/>
              <a:cxnLst>
                <a:cxn ang="0">
                  <a:pos x="T0" y="T1"/>
                </a:cxn>
                <a:cxn ang="0">
                  <a:pos x="T2" y="T3"/>
                </a:cxn>
                <a:cxn ang="0">
                  <a:pos x="T4" y="T5"/>
                </a:cxn>
                <a:cxn ang="0">
                  <a:pos x="T6" y="T7"/>
                </a:cxn>
              </a:cxnLst>
              <a:rect l="0" t="0" r="r" b="b"/>
              <a:pathLst>
                <a:path w="1" h="3">
                  <a:moveTo>
                    <a:pt x="0" y="0"/>
                  </a:moveTo>
                  <a:cubicBezTo>
                    <a:pt x="0" y="0"/>
                    <a:pt x="0" y="0"/>
                    <a:pt x="0" y="0"/>
                  </a:cubicBezTo>
                  <a:cubicBezTo>
                    <a:pt x="1" y="1"/>
                    <a:pt x="1" y="2"/>
                    <a:pt x="1" y="3"/>
                  </a:cubicBezTo>
                  <a:cubicBezTo>
                    <a:pt x="1" y="2"/>
                    <a:pt x="1" y="1"/>
                    <a:pt x="0"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2" name="íşḷíḑè">
              <a:extLst>
                <a:ext uri="{FF2B5EF4-FFF2-40B4-BE49-F238E27FC236}">
                  <a16:creationId xmlns:a16="http://schemas.microsoft.com/office/drawing/2014/main" id="{07A47B14-DBF9-4F7C-9138-E1184B0D7B83}"/>
                </a:ext>
              </a:extLst>
            </p:cNvPr>
            <p:cNvSpPr/>
            <p:nvPr/>
          </p:nvSpPr>
          <p:spPr bwMode="auto">
            <a:xfrm>
              <a:off x="8020051" y="2149475"/>
              <a:ext cx="1588" cy="3175"/>
            </a:xfrm>
            <a:custGeom>
              <a:avLst/>
              <a:gdLst>
                <a:gd name="T0" fmla="*/ 1 w 1"/>
                <a:gd name="T1" fmla="*/ 0 h 2"/>
                <a:gd name="T2" fmla="*/ 0 w 1"/>
                <a:gd name="T3" fmla="*/ 2 h 2"/>
                <a:gd name="T4" fmla="*/ 0 w 1"/>
                <a:gd name="T5" fmla="*/ 2 h 2"/>
                <a:gd name="T6" fmla="*/ 1 w 1"/>
                <a:gd name="T7" fmla="*/ 0 h 2"/>
              </a:gdLst>
              <a:ahLst/>
              <a:cxnLst>
                <a:cxn ang="0">
                  <a:pos x="T0" y="T1"/>
                </a:cxn>
                <a:cxn ang="0">
                  <a:pos x="T2" y="T3"/>
                </a:cxn>
                <a:cxn ang="0">
                  <a:pos x="T4" y="T5"/>
                </a:cxn>
                <a:cxn ang="0">
                  <a:pos x="T6" y="T7"/>
                </a:cxn>
              </a:cxnLst>
              <a:rect l="0" t="0" r="r" b="b"/>
              <a:pathLst>
                <a:path w="1" h="2">
                  <a:moveTo>
                    <a:pt x="1" y="0"/>
                  </a:moveTo>
                  <a:cubicBezTo>
                    <a:pt x="0" y="1"/>
                    <a:pt x="0" y="1"/>
                    <a:pt x="0" y="2"/>
                  </a:cubicBezTo>
                  <a:cubicBezTo>
                    <a:pt x="0" y="2"/>
                    <a:pt x="0" y="2"/>
                    <a:pt x="0" y="2"/>
                  </a:cubicBezTo>
                  <a:cubicBezTo>
                    <a:pt x="0" y="2"/>
                    <a:pt x="0" y="1"/>
                    <a:pt x="1" y="0"/>
                  </a:cubicBezTo>
                </a:path>
              </a:pathLst>
            </a:custGeom>
            <a:solidFill>
              <a:srgbClr val="CD9C9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3" name="íṧ1íḍê">
              <a:extLst>
                <a:ext uri="{FF2B5EF4-FFF2-40B4-BE49-F238E27FC236}">
                  <a16:creationId xmlns:a16="http://schemas.microsoft.com/office/drawing/2014/main" id="{C9DB1C28-B545-4C06-AB9A-ABC0CA3F6B9B}"/>
                </a:ext>
              </a:extLst>
            </p:cNvPr>
            <p:cNvSpPr/>
            <p:nvPr/>
          </p:nvSpPr>
          <p:spPr bwMode="auto">
            <a:xfrm>
              <a:off x="8020051" y="2003425"/>
              <a:ext cx="198438" cy="223838"/>
            </a:xfrm>
            <a:custGeom>
              <a:avLst/>
              <a:gdLst>
                <a:gd name="T0" fmla="*/ 134 w 135"/>
                <a:gd name="T1" fmla="*/ 0 h 152"/>
                <a:gd name="T2" fmla="*/ 125 w 135"/>
                <a:gd name="T3" fmla="*/ 47 h 152"/>
                <a:gd name="T4" fmla="*/ 111 w 135"/>
                <a:gd name="T5" fmla="*/ 129 h 152"/>
                <a:gd name="T6" fmla="*/ 103 w 135"/>
                <a:gd name="T7" fmla="*/ 140 h 152"/>
                <a:gd name="T8" fmla="*/ 101 w 135"/>
                <a:gd name="T9" fmla="*/ 139 h 152"/>
                <a:gd name="T10" fmla="*/ 90 w 135"/>
                <a:gd name="T11" fmla="*/ 118 h 152"/>
                <a:gd name="T12" fmla="*/ 64 w 135"/>
                <a:gd name="T13" fmla="*/ 76 h 152"/>
                <a:gd name="T14" fmla="*/ 29 w 135"/>
                <a:gd name="T15" fmla="*/ 52 h 152"/>
                <a:gd name="T16" fmla="*/ 26 w 135"/>
                <a:gd name="T17" fmla="*/ 52 h 152"/>
                <a:gd name="T18" fmla="*/ 3 w 135"/>
                <a:gd name="T19" fmla="*/ 73 h 152"/>
                <a:gd name="T20" fmla="*/ 0 w 135"/>
                <a:gd name="T21" fmla="*/ 101 h 152"/>
                <a:gd name="T22" fmla="*/ 1 w 135"/>
                <a:gd name="T23" fmla="*/ 99 h 152"/>
                <a:gd name="T24" fmla="*/ 3 w 135"/>
                <a:gd name="T25" fmla="*/ 85 h 152"/>
                <a:gd name="T26" fmla="*/ 26 w 135"/>
                <a:gd name="T27" fmla="*/ 64 h 152"/>
                <a:gd name="T28" fmla="*/ 30 w 135"/>
                <a:gd name="T29" fmla="*/ 63 h 152"/>
                <a:gd name="T30" fmla="*/ 64 w 135"/>
                <a:gd name="T31" fmla="*/ 88 h 152"/>
                <a:gd name="T32" fmla="*/ 90 w 135"/>
                <a:gd name="T33" fmla="*/ 130 h 152"/>
                <a:gd name="T34" fmla="*/ 101 w 135"/>
                <a:gd name="T35" fmla="*/ 151 h 152"/>
                <a:gd name="T36" fmla="*/ 103 w 135"/>
                <a:gd name="T37" fmla="*/ 152 h 152"/>
                <a:gd name="T38" fmla="*/ 111 w 135"/>
                <a:gd name="T39" fmla="*/ 141 h 152"/>
                <a:gd name="T40" fmla="*/ 125 w 135"/>
                <a:gd name="T41" fmla="*/ 59 h 152"/>
                <a:gd name="T42" fmla="*/ 135 w 135"/>
                <a:gd name="T43" fmla="*/ 3 h 152"/>
                <a:gd name="T44" fmla="*/ 134 w 135"/>
                <a:gd name="T45"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5" h="152">
                  <a:moveTo>
                    <a:pt x="134" y="0"/>
                  </a:moveTo>
                  <a:cubicBezTo>
                    <a:pt x="133" y="15"/>
                    <a:pt x="128" y="32"/>
                    <a:pt x="125" y="47"/>
                  </a:cubicBezTo>
                  <a:cubicBezTo>
                    <a:pt x="120" y="74"/>
                    <a:pt x="122" y="103"/>
                    <a:pt x="111" y="129"/>
                  </a:cubicBezTo>
                  <a:cubicBezTo>
                    <a:pt x="109" y="133"/>
                    <a:pt x="107" y="140"/>
                    <a:pt x="103" y="140"/>
                  </a:cubicBezTo>
                  <a:cubicBezTo>
                    <a:pt x="102" y="140"/>
                    <a:pt x="101" y="140"/>
                    <a:pt x="101" y="139"/>
                  </a:cubicBezTo>
                  <a:cubicBezTo>
                    <a:pt x="96" y="137"/>
                    <a:pt x="92" y="123"/>
                    <a:pt x="90" y="118"/>
                  </a:cubicBezTo>
                  <a:cubicBezTo>
                    <a:pt x="82" y="104"/>
                    <a:pt x="73" y="89"/>
                    <a:pt x="64" y="76"/>
                  </a:cubicBezTo>
                  <a:cubicBezTo>
                    <a:pt x="55" y="64"/>
                    <a:pt x="43" y="52"/>
                    <a:pt x="29" y="52"/>
                  </a:cubicBezTo>
                  <a:cubicBezTo>
                    <a:pt x="28" y="52"/>
                    <a:pt x="27" y="52"/>
                    <a:pt x="26" y="52"/>
                  </a:cubicBezTo>
                  <a:cubicBezTo>
                    <a:pt x="15" y="54"/>
                    <a:pt x="7" y="63"/>
                    <a:pt x="3" y="73"/>
                  </a:cubicBezTo>
                  <a:cubicBezTo>
                    <a:pt x="1" y="82"/>
                    <a:pt x="0" y="91"/>
                    <a:pt x="0" y="101"/>
                  </a:cubicBezTo>
                  <a:cubicBezTo>
                    <a:pt x="0" y="100"/>
                    <a:pt x="0" y="100"/>
                    <a:pt x="1" y="99"/>
                  </a:cubicBezTo>
                  <a:cubicBezTo>
                    <a:pt x="1" y="94"/>
                    <a:pt x="2" y="89"/>
                    <a:pt x="3" y="85"/>
                  </a:cubicBezTo>
                  <a:cubicBezTo>
                    <a:pt x="7" y="75"/>
                    <a:pt x="15" y="65"/>
                    <a:pt x="26" y="64"/>
                  </a:cubicBezTo>
                  <a:cubicBezTo>
                    <a:pt x="27" y="64"/>
                    <a:pt x="28" y="63"/>
                    <a:pt x="30" y="63"/>
                  </a:cubicBezTo>
                  <a:cubicBezTo>
                    <a:pt x="44" y="63"/>
                    <a:pt x="55" y="76"/>
                    <a:pt x="64" y="88"/>
                  </a:cubicBezTo>
                  <a:cubicBezTo>
                    <a:pt x="73" y="101"/>
                    <a:pt x="82" y="115"/>
                    <a:pt x="90" y="130"/>
                  </a:cubicBezTo>
                  <a:cubicBezTo>
                    <a:pt x="92" y="134"/>
                    <a:pt x="97" y="149"/>
                    <a:pt x="101" y="151"/>
                  </a:cubicBezTo>
                  <a:cubicBezTo>
                    <a:pt x="101" y="152"/>
                    <a:pt x="102" y="152"/>
                    <a:pt x="103" y="152"/>
                  </a:cubicBezTo>
                  <a:cubicBezTo>
                    <a:pt x="107" y="152"/>
                    <a:pt x="109" y="145"/>
                    <a:pt x="111" y="141"/>
                  </a:cubicBezTo>
                  <a:cubicBezTo>
                    <a:pt x="122" y="115"/>
                    <a:pt x="120" y="86"/>
                    <a:pt x="125" y="59"/>
                  </a:cubicBezTo>
                  <a:cubicBezTo>
                    <a:pt x="128" y="40"/>
                    <a:pt x="135" y="21"/>
                    <a:pt x="135" y="3"/>
                  </a:cubicBezTo>
                  <a:cubicBezTo>
                    <a:pt x="135" y="2"/>
                    <a:pt x="135" y="1"/>
                    <a:pt x="134" y="0"/>
                  </a:cubicBezTo>
                </a:path>
              </a:pathLst>
            </a:custGeom>
            <a:solidFill>
              <a:srgbClr val="8A547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4" name="îšľîḓê">
              <a:extLst>
                <a:ext uri="{FF2B5EF4-FFF2-40B4-BE49-F238E27FC236}">
                  <a16:creationId xmlns:a16="http://schemas.microsoft.com/office/drawing/2014/main" id="{17CBD67A-5761-423C-8B0D-3C6EF7F35BB0}"/>
                </a:ext>
              </a:extLst>
            </p:cNvPr>
            <p:cNvSpPr/>
            <p:nvPr/>
          </p:nvSpPr>
          <p:spPr bwMode="auto">
            <a:xfrm>
              <a:off x="8020051" y="2162175"/>
              <a:ext cx="0" cy="15875"/>
            </a:xfrm>
            <a:custGeom>
              <a:avLst/>
              <a:gdLst>
                <a:gd name="T0" fmla="*/ 0 h 10"/>
                <a:gd name="T1" fmla="*/ 0 h 10"/>
                <a:gd name="T2" fmla="*/ 1 h 10"/>
                <a:gd name="T3" fmla="*/ 10 h 10"/>
                <a:gd name="T4" fmla="*/ 10 h 10"/>
                <a:gd name="T5" fmla="*/ 9 h 10"/>
                <a:gd name="T6" fmla="*/ 0 h 10"/>
              </a:gdLst>
              <a:ahLst/>
              <a:cxnLst>
                <a:cxn ang="0">
                  <a:pos x="0" y="T0"/>
                </a:cxn>
                <a:cxn ang="0">
                  <a:pos x="0" y="T1"/>
                </a:cxn>
                <a:cxn ang="0">
                  <a:pos x="0" y="T2"/>
                </a:cxn>
                <a:cxn ang="0">
                  <a:pos x="0" y="T3"/>
                </a:cxn>
                <a:cxn ang="0">
                  <a:pos x="0" y="T4"/>
                </a:cxn>
                <a:cxn ang="0">
                  <a:pos x="0" y="T5"/>
                </a:cxn>
                <a:cxn ang="0">
                  <a:pos x="0" y="T6"/>
                </a:cxn>
              </a:cxnLst>
              <a:rect l="0" t="0" r="r" b="b"/>
              <a:pathLst>
                <a:path h="10">
                  <a:moveTo>
                    <a:pt x="0" y="0"/>
                  </a:moveTo>
                  <a:cubicBezTo>
                    <a:pt x="0" y="0"/>
                    <a:pt x="0" y="0"/>
                    <a:pt x="0" y="0"/>
                  </a:cubicBezTo>
                  <a:cubicBezTo>
                    <a:pt x="0" y="1"/>
                    <a:pt x="0" y="1"/>
                    <a:pt x="0" y="1"/>
                  </a:cubicBezTo>
                  <a:cubicBezTo>
                    <a:pt x="0" y="4"/>
                    <a:pt x="0" y="7"/>
                    <a:pt x="0" y="10"/>
                  </a:cubicBezTo>
                  <a:cubicBezTo>
                    <a:pt x="0" y="10"/>
                    <a:pt x="0" y="10"/>
                    <a:pt x="0" y="10"/>
                  </a:cubicBezTo>
                  <a:cubicBezTo>
                    <a:pt x="0" y="10"/>
                    <a:pt x="0" y="9"/>
                    <a:pt x="0" y="9"/>
                  </a:cubicBezTo>
                  <a:cubicBezTo>
                    <a:pt x="0" y="6"/>
                    <a:pt x="0" y="3"/>
                    <a:pt x="0" y="0"/>
                  </a:cubicBezTo>
                </a:path>
              </a:pathLst>
            </a:custGeom>
            <a:solidFill>
              <a:srgbClr val="E4AE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5" name="işḷïḋê">
              <a:extLst>
                <a:ext uri="{FF2B5EF4-FFF2-40B4-BE49-F238E27FC236}">
                  <a16:creationId xmlns:a16="http://schemas.microsoft.com/office/drawing/2014/main" id="{82860DE8-8D06-4A9F-AAED-F997F78B591A}"/>
                </a:ext>
              </a:extLst>
            </p:cNvPr>
            <p:cNvSpPr/>
            <p:nvPr/>
          </p:nvSpPr>
          <p:spPr bwMode="auto">
            <a:xfrm>
              <a:off x="8020051" y="2162175"/>
              <a:ext cx="0" cy="1588"/>
            </a:xfrm>
            <a:custGeom>
              <a:avLst/>
              <a:gdLst>
                <a:gd name="T0" fmla="*/ 0 h 1"/>
                <a:gd name="T1" fmla="*/ 0 h 1"/>
                <a:gd name="T2" fmla="*/ 1 h 1"/>
                <a:gd name="T3" fmla="*/ 0 h 1"/>
              </a:gdLst>
              <a:ahLst/>
              <a:cxnLst>
                <a:cxn ang="0">
                  <a:pos x="0" y="T0"/>
                </a:cxn>
                <a:cxn ang="0">
                  <a:pos x="0" y="T1"/>
                </a:cxn>
                <a:cxn ang="0">
                  <a:pos x="0" y="T2"/>
                </a:cxn>
                <a:cxn ang="0">
                  <a:pos x="0" y="T3"/>
                </a:cxn>
              </a:cxnLst>
              <a:rect l="0" t="0" r="r" b="b"/>
              <a:pathLst>
                <a:path h="1">
                  <a:moveTo>
                    <a:pt x="0" y="0"/>
                  </a:moveTo>
                  <a:cubicBezTo>
                    <a:pt x="0" y="0"/>
                    <a:pt x="0" y="0"/>
                    <a:pt x="0" y="0"/>
                  </a:cubicBezTo>
                  <a:cubicBezTo>
                    <a:pt x="0" y="1"/>
                    <a:pt x="0" y="1"/>
                    <a:pt x="0" y="1"/>
                  </a:cubicBezTo>
                  <a:cubicBezTo>
                    <a:pt x="0" y="1"/>
                    <a:pt x="0" y="1"/>
                    <a:pt x="0" y="0"/>
                  </a:cubicBezTo>
                </a:path>
              </a:pathLst>
            </a:custGeom>
            <a:solidFill>
              <a:srgbClr val="CD9C9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6" name="îṡ1ïḓê">
              <a:extLst>
                <a:ext uri="{FF2B5EF4-FFF2-40B4-BE49-F238E27FC236}">
                  <a16:creationId xmlns:a16="http://schemas.microsoft.com/office/drawing/2014/main" id="{AFE7E15D-25EC-4E7D-8859-BF270A75D9D0}"/>
                </a:ext>
              </a:extLst>
            </p:cNvPr>
            <p:cNvSpPr/>
            <p:nvPr/>
          </p:nvSpPr>
          <p:spPr bwMode="auto">
            <a:xfrm>
              <a:off x="7672388" y="1968500"/>
              <a:ext cx="347663" cy="219075"/>
            </a:xfrm>
            <a:custGeom>
              <a:avLst/>
              <a:gdLst>
                <a:gd name="T0" fmla="*/ 1 w 236"/>
                <a:gd name="T1" fmla="*/ 0 h 149"/>
                <a:gd name="T2" fmla="*/ 1 w 236"/>
                <a:gd name="T3" fmla="*/ 10 h 149"/>
                <a:gd name="T4" fmla="*/ 8 w 236"/>
                <a:gd name="T5" fmla="*/ 38 h 149"/>
                <a:gd name="T6" fmla="*/ 18 w 236"/>
                <a:gd name="T7" fmla="*/ 56 h 149"/>
                <a:gd name="T8" fmla="*/ 37 w 236"/>
                <a:gd name="T9" fmla="*/ 62 h 149"/>
                <a:gd name="T10" fmla="*/ 46 w 236"/>
                <a:gd name="T11" fmla="*/ 61 h 149"/>
                <a:gd name="T12" fmla="*/ 56 w 236"/>
                <a:gd name="T13" fmla="*/ 61 h 149"/>
                <a:gd name="T14" fmla="*/ 70 w 236"/>
                <a:gd name="T15" fmla="*/ 63 h 149"/>
                <a:gd name="T16" fmla="*/ 80 w 236"/>
                <a:gd name="T17" fmla="*/ 67 h 149"/>
                <a:gd name="T18" fmla="*/ 85 w 236"/>
                <a:gd name="T19" fmla="*/ 68 h 149"/>
                <a:gd name="T20" fmla="*/ 110 w 236"/>
                <a:gd name="T21" fmla="*/ 58 h 149"/>
                <a:gd name="T22" fmla="*/ 129 w 236"/>
                <a:gd name="T23" fmla="*/ 51 h 149"/>
                <a:gd name="T24" fmla="*/ 140 w 236"/>
                <a:gd name="T25" fmla="*/ 55 h 149"/>
                <a:gd name="T26" fmla="*/ 153 w 236"/>
                <a:gd name="T27" fmla="*/ 94 h 149"/>
                <a:gd name="T28" fmla="*/ 178 w 236"/>
                <a:gd name="T29" fmla="*/ 103 h 149"/>
                <a:gd name="T30" fmla="*/ 190 w 236"/>
                <a:gd name="T31" fmla="*/ 127 h 149"/>
                <a:gd name="T32" fmla="*/ 205 w 236"/>
                <a:gd name="T33" fmla="*/ 148 h 149"/>
                <a:gd name="T34" fmla="*/ 209 w 236"/>
                <a:gd name="T35" fmla="*/ 149 h 149"/>
                <a:gd name="T36" fmla="*/ 219 w 236"/>
                <a:gd name="T37" fmla="*/ 147 h 149"/>
                <a:gd name="T38" fmla="*/ 230 w 236"/>
                <a:gd name="T39" fmla="*/ 146 h 149"/>
                <a:gd name="T40" fmla="*/ 230 w 236"/>
                <a:gd name="T41" fmla="*/ 146 h 149"/>
                <a:gd name="T42" fmla="*/ 232 w 236"/>
                <a:gd name="T43" fmla="*/ 146 h 149"/>
                <a:gd name="T44" fmla="*/ 236 w 236"/>
                <a:gd name="T45" fmla="*/ 145 h 149"/>
                <a:gd name="T46" fmla="*/ 236 w 236"/>
                <a:gd name="T47" fmla="*/ 142 h 149"/>
                <a:gd name="T48" fmla="*/ 236 w 236"/>
                <a:gd name="T49" fmla="*/ 142 h 149"/>
                <a:gd name="T50" fmla="*/ 236 w 236"/>
                <a:gd name="T51" fmla="*/ 133 h 149"/>
                <a:gd name="T52" fmla="*/ 236 w 236"/>
                <a:gd name="T53" fmla="*/ 132 h 149"/>
                <a:gd name="T54" fmla="*/ 236 w 236"/>
                <a:gd name="T55" fmla="*/ 133 h 149"/>
                <a:gd name="T56" fmla="*/ 232 w 236"/>
                <a:gd name="T57" fmla="*/ 134 h 149"/>
                <a:gd name="T58" fmla="*/ 230 w 236"/>
                <a:gd name="T59" fmla="*/ 134 h 149"/>
                <a:gd name="T60" fmla="*/ 230 w 236"/>
                <a:gd name="T61" fmla="*/ 134 h 149"/>
                <a:gd name="T62" fmla="*/ 220 w 236"/>
                <a:gd name="T63" fmla="*/ 136 h 149"/>
                <a:gd name="T64" fmla="*/ 210 w 236"/>
                <a:gd name="T65" fmla="*/ 137 h 149"/>
                <a:gd name="T66" fmla="*/ 205 w 236"/>
                <a:gd name="T67" fmla="*/ 137 h 149"/>
                <a:gd name="T68" fmla="*/ 190 w 236"/>
                <a:gd name="T69" fmla="*/ 115 h 149"/>
                <a:gd name="T70" fmla="*/ 178 w 236"/>
                <a:gd name="T71" fmla="*/ 91 h 149"/>
                <a:gd name="T72" fmla="*/ 153 w 236"/>
                <a:gd name="T73" fmla="*/ 82 h 149"/>
                <a:gd name="T74" fmla="*/ 140 w 236"/>
                <a:gd name="T75" fmla="*/ 43 h 149"/>
                <a:gd name="T76" fmla="*/ 129 w 236"/>
                <a:gd name="T77" fmla="*/ 39 h 149"/>
                <a:gd name="T78" fmla="*/ 110 w 236"/>
                <a:gd name="T79" fmla="*/ 46 h 149"/>
                <a:gd name="T80" fmla="*/ 85 w 236"/>
                <a:gd name="T81" fmla="*/ 56 h 149"/>
                <a:gd name="T82" fmla="*/ 80 w 236"/>
                <a:gd name="T83" fmla="*/ 56 h 149"/>
                <a:gd name="T84" fmla="*/ 70 w 236"/>
                <a:gd name="T85" fmla="*/ 51 h 149"/>
                <a:gd name="T86" fmla="*/ 56 w 236"/>
                <a:gd name="T87" fmla="*/ 49 h 149"/>
                <a:gd name="T88" fmla="*/ 46 w 236"/>
                <a:gd name="T89" fmla="*/ 50 h 149"/>
                <a:gd name="T90" fmla="*/ 37 w 236"/>
                <a:gd name="T91" fmla="*/ 50 h 149"/>
                <a:gd name="T92" fmla="*/ 18 w 236"/>
                <a:gd name="T93" fmla="*/ 44 h 149"/>
                <a:gd name="T94" fmla="*/ 8 w 236"/>
                <a:gd name="T95" fmla="*/ 27 h 149"/>
                <a:gd name="T96" fmla="*/ 1 w 236"/>
                <a:gd name="T97"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6" h="149">
                  <a:moveTo>
                    <a:pt x="1" y="0"/>
                  </a:moveTo>
                  <a:cubicBezTo>
                    <a:pt x="0" y="4"/>
                    <a:pt x="0" y="7"/>
                    <a:pt x="1" y="10"/>
                  </a:cubicBezTo>
                  <a:cubicBezTo>
                    <a:pt x="2" y="20"/>
                    <a:pt x="4" y="29"/>
                    <a:pt x="8" y="38"/>
                  </a:cubicBezTo>
                  <a:cubicBezTo>
                    <a:pt x="10" y="45"/>
                    <a:pt x="13" y="51"/>
                    <a:pt x="18" y="56"/>
                  </a:cubicBezTo>
                  <a:cubicBezTo>
                    <a:pt x="24" y="61"/>
                    <a:pt x="30" y="62"/>
                    <a:pt x="37" y="62"/>
                  </a:cubicBezTo>
                  <a:cubicBezTo>
                    <a:pt x="40" y="62"/>
                    <a:pt x="43" y="62"/>
                    <a:pt x="46" y="61"/>
                  </a:cubicBezTo>
                  <a:cubicBezTo>
                    <a:pt x="49" y="61"/>
                    <a:pt x="53" y="61"/>
                    <a:pt x="56" y="61"/>
                  </a:cubicBezTo>
                  <a:cubicBezTo>
                    <a:pt x="60" y="61"/>
                    <a:pt x="65" y="61"/>
                    <a:pt x="70" y="63"/>
                  </a:cubicBezTo>
                  <a:cubicBezTo>
                    <a:pt x="73" y="64"/>
                    <a:pt x="76" y="66"/>
                    <a:pt x="80" y="67"/>
                  </a:cubicBezTo>
                  <a:cubicBezTo>
                    <a:pt x="81" y="68"/>
                    <a:pt x="83" y="68"/>
                    <a:pt x="85" y="68"/>
                  </a:cubicBezTo>
                  <a:cubicBezTo>
                    <a:pt x="93" y="68"/>
                    <a:pt x="102" y="62"/>
                    <a:pt x="110" y="58"/>
                  </a:cubicBezTo>
                  <a:cubicBezTo>
                    <a:pt x="115" y="54"/>
                    <a:pt x="122" y="51"/>
                    <a:pt x="129" y="51"/>
                  </a:cubicBezTo>
                  <a:cubicBezTo>
                    <a:pt x="133" y="51"/>
                    <a:pt x="137" y="52"/>
                    <a:pt x="140" y="55"/>
                  </a:cubicBezTo>
                  <a:cubicBezTo>
                    <a:pt x="150" y="65"/>
                    <a:pt x="142" y="85"/>
                    <a:pt x="153" y="94"/>
                  </a:cubicBezTo>
                  <a:cubicBezTo>
                    <a:pt x="160" y="100"/>
                    <a:pt x="171" y="98"/>
                    <a:pt x="178" y="103"/>
                  </a:cubicBezTo>
                  <a:cubicBezTo>
                    <a:pt x="186" y="107"/>
                    <a:pt x="188" y="118"/>
                    <a:pt x="190" y="127"/>
                  </a:cubicBezTo>
                  <a:cubicBezTo>
                    <a:pt x="192" y="136"/>
                    <a:pt x="196" y="146"/>
                    <a:pt x="205" y="148"/>
                  </a:cubicBezTo>
                  <a:cubicBezTo>
                    <a:pt x="206" y="149"/>
                    <a:pt x="208" y="149"/>
                    <a:pt x="209" y="149"/>
                  </a:cubicBezTo>
                  <a:cubicBezTo>
                    <a:pt x="213" y="149"/>
                    <a:pt x="216" y="148"/>
                    <a:pt x="219" y="147"/>
                  </a:cubicBezTo>
                  <a:cubicBezTo>
                    <a:pt x="223" y="147"/>
                    <a:pt x="226" y="146"/>
                    <a:pt x="230" y="146"/>
                  </a:cubicBezTo>
                  <a:cubicBezTo>
                    <a:pt x="230" y="146"/>
                    <a:pt x="230" y="146"/>
                    <a:pt x="230" y="146"/>
                  </a:cubicBezTo>
                  <a:cubicBezTo>
                    <a:pt x="231" y="146"/>
                    <a:pt x="232" y="146"/>
                    <a:pt x="232" y="146"/>
                  </a:cubicBezTo>
                  <a:cubicBezTo>
                    <a:pt x="233" y="146"/>
                    <a:pt x="235" y="146"/>
                    <a:pt x="236" y="145"/>
                  </a:cubicBezTo>
                  <a:cubicBezTo>
                    <a:pt x="236" y="144"/>
                    <a:pt x="236" y="143"/>
                    <a:pt x="236" y="142"/>
                  </a:cubicBezTo>
                  <a:cubicBezTo>
                    <a:pt x="236" y="142"/>
                    <a:pt x="236" y="142"/>
                    <a:pt x="236" y="142"/>
                  </a:cubicBezTo>
                  <a:cubicBezTo>
                    <a:pt x="236" y="139"/>
                    <a:pt x="236" y="136"/>
                    <a:pt x="236" y="133"/>
                  </a:cubicBezTo>
                  <a:cubicBezTo>
                    <a:pt x="236" y="133"/>
                    <a:pt x="236" y="133"/>
                    <a:pt x="236" y="132"/>
                  </a:cubicBezTo>
                  <a:cubicBezTo>
                    <a:pt x="236" y="132"/>
                    <a:pt x="236" y="133"/>
                    <a:pt x="236" y="133"/>
                  </a:cubicBezTo>
                  <a:cubicBezTo>
                    <a:pt x="235" y="134"/>
                    <a:pt x="233" y="134"/>
                    <a:pt x="232" y="134"/>
                  </a:cubicBezTo>
                  <a:cubicBezTo>
                    <a:pt x="232" y="134"/>
                    <a:pt x="231" y="134"/>
                    <a:pt x="230" y="134"/>
                  </a:cubicBezTo>
                  <a:cubicBezTo>
                    <a:pt x="230" y="134"/>
                    <a:pt x="230" y="134"/>
                    <a:pt x="230" y="134"/>
                  </a:cubicBezTo>
                  <a:cubicBezTo>
                    <a:pt x="226" y="134"/>
                    <a:pt x="223" y="135"/>
                    <a:pt x="220" y="136"/>
                  </a:cubicBezTo>
                  <a:cubicBezTo>
                    <a:pt x="216" y="136"/>
                    <a:pt x="213" y="137"/>
                    <a:pt x="210" y="137"/>
                  </a:cubicBezTo>
                  <a:cubicBezTo>
                    <a:pt x="208" y="137"/>
                    <a:pt x="206" y="137"/>
                    <a:pt x="205" y="137"/>
                  </a:cubicBezTo>
                  <a:cubicBezTo>
                    <a:pt x="196" y="134"/>
                    <a:pt x="192" y="124"/>
                    <a:pt x="190" y="115"/>
                  </a:cubicBezTo>
                  <a:cubicBezTo>
                    <a:pt x="188" y="106"/>
                    <a:pt x="186" y="95"/>
                    <a:pt x="178" y="91"/>
                  </a:cubicBezTo>
                  <a:cubicBezTo>
                    <a:pt x="171" y="86"/>
                    <a:pt x="160" y="88"/>
                    <a:pt x="153" y="82"/>
                  </a:cubicBezTo>
                  <a:cubicBezTo>
                    <a:pt x="142" y="73"/>
                    <a:pt x="150" y="53"/>
                    <a:pt x="140" y="43"/>
                  </a:cubicBezTo>
                  <a:cubicBezTo>
                    <a:pt x="137" y="41"/>
                    <a:pt x="133" y="39"/>
                    <a:pt x="129" y="39"/>
                  </a:cubicBezTo>
                  <a:cubicBezTo>
                    <a:pt x="122" y="39"/>
                    <a:pt x="115" y="42"/>
                    <a:pt x="110" y="46"/>
                  </a:cubicBezTo>
                  <a:cubicBezTo>
                    <a:pt x="102" y="50"/>
                    <a:pt x="93" y="56"/>
                    <a:pt x="85" y="56"/>
                  </a:cubicBezTo>
                  <a:cubicBezTo>
                    <a:pt x="83" y="56"/>
                    <a:pt x="81" y="56"/>
                    <a:pt x="80" y="56"/>
                  </a:cubicBezTo>
                  <a:cubicBezTo>
                    <a:pt x="76" y="55"/>
                    <a:pt x="73" y="53"/>
                    <a:pt x="70" y="51"/>
                  </a:cubicBezTo>
                  <a:cubicBezTo>
                    <a:pt x="65" y="50"/>
                    <a:pt x="60" y="49"/>
                    <a:pt x="56" y="49"/>
                  </a:cubicBezTo>
                  <a:cubicBezTo>
                    <a:pt x="53" y="49"/>
                    <a:pt x="49" y="49"/>
                    <a:pt x="46" y="50"/>
                  </a:cubicBezTo>
                  <a:cubicBezTo>
                    <a:pt x="43" y="50"/>
                    <a:pt x="40" y="50"/>
                    <a:pt x="37" y="50"/>
                  </a:cubicBezTo>
                  <a:cubicBezTo>
                    <a:pt x="30" y="50"/>
                    <a:pt x="24" y="49"/>
                    <a:pt x="18" y="44"/>
                  </a:cubicBezTo>
                  <a:cubicBezTo>
                    <a:pt x="13" y="39"/>
                    <a:pt x="10" y="33"/>
                    <a:pt x="8" y="27"/>
                  </a:cubicBezTo>
                  <a:cubicBezTo>
                    <a:pt x="5" y="18"/>
                    <a:pt x="2" y="9"/>
                    <a:pt x="1" y="0"/>
                  </a:cubicBezTo>
                </a:path>
              </a:pathLst>
            </a:custGeom>
            <a:solidFill>
              <a:srgbClr val="8A547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7" name="ïṩḷïḑè">
              <a:extLst>
                <a:ext uri="{FF2B5EF4-FFF2-40B4-BE49-F238E27FC236}">
                  <a16:creationId xmlns:a16="http://schemas.microsoft.com/office/drawing/2014/main" id="{1FD47A56-6CB2-47A0-91E3-5F676A876D7D}"/>
                </a:ext>
              </a:extLst>
            </p:cNvPr>
            <p:cNvSpPr/>
            <p:nvPr/>
          </p:nvSpPr>
          <p:spPr bwMode="auto">
            <a:xfrm>
              <a:off x="3698876" y="5278438"/>
              <a:ext cx="254000" cy="219075"/>
            </a:xfrm>
            <a:custGeom>
              <a:avLst/>
              <a:gdLst>
                <a:gd name="T0" fmla="*/ 169 w 173"/>
                <a:gd name="T1" fmla="*/ 11 h 149"/>
                <a:gd name="T2" fmla="*/ 20 w 173"/>
                <a:gd name="T3" fmla="*/ 119 h 149"/>
                <a:gd name="T4" fmla="*/ 35 w 173"/>
                <a:gd name="T5" fmla="*/ 149 h 149"/>
                <a:gd name="T6" fmla="*/ 52 w 173"/>
                <a:gd name="T7" fmla="*/ 144 h 149"/>
                <a:gd name="T8" fmla="*/ 71 w 173"/>
                <a:gd name="T9" fmla="*/ 144 h 149"/>
                <a:gd name="T10" fmla="*/ 93 w 173"/>
                <a:gd name="T11" fmla="*/ 135 h 149"/>
                <a:gd name="T12" fmla="*/ 159 w 173"/>
                <a:gd name="T13" fmla="*/ 38 h 149"/>
                <a:gd name="T14" fmla="*/ 172 w 173"/>
                <a:gd name="T15" fmla="*/ 17 h 149"/>
                <a:gd name="T16" fmla="*/ 144 w 173"/>
                <a:gd name="T17" fmla="*/ 29 h 149"/>
                <a:gd name="T18" fmla="*/ 146 w 173"/>
                <a:gd name="T19" fmla="*/ 66 h 149"/>
                <a:gd name="T20" fmla="*/ 139 w 173"/>
                <a:gd name="T21" fmla="*/ 30 h 149"/>
                <a:gd name="T22" fmla="*/ 125 w 173"/>
                <a:gd name="T23" fmla="*/ 37 h 149"/>
                <a:gd name="T24" fmla="*/ 129 w 173"/>
                <a:gd name="T25" fmla="*/ 99 h 149"/>
                <a:gd name="T26" fmla="*/ 119 w 173"/>
                <a:gd name="T27" fmla="*/ 40 h 149"/>
                <a:gd name="T28" fmla="*/ 99 w 173"/>
                <a:gd name="T29" fmla="*/ 52 h 149"/>
                <a:gd name="T30" fmla="*/ 106 w 173"/>
                <a:gd name="T31" fmla="*/ 119 h 149"/>
                <a:gd name="T32" fmla="*/ 95 w 173"/>
                <a:gd name="T33" fmla="*/ 55 h 149"/>
                <a:gd name="T34" fmla="*/ 77 w 173"/>
                <a:gd name="T35" fmla="*/ 69 h 149"/>
                <a:gd name="T36" fmla="*/ 84 w 173"/>
                <a:gd name="T37" fmla="*/ 130 h 149"/>
                <a:gd name="T38" fmla="*/ 73 w 173"/>
                <a:gd name="T39" fmla="*/ 72 h 149"/>
                <a:gd name="T40" fmla="*/ 55 w 173"/>
                <a:gd name="T41" fmla="*/ 92 h 149"/>
                <a:gd name="T42" fmla="*/ 59 w 173"/>
                <a:gd name="T43" fmla="*/ 133 h 149"/>
                <a:gd name="T44" fmla="*/ 51 w 173"/>
                <a:gd name="T45" fmla="*/ 97 h 149"/>
                <a:gd name="T46" fmla="*/ 33 w 173"/>
                <a:gd name="T47" fmla="*/ 137 h 149"/>
                <a:gd name="T48" fmla="*/ 47 w 173"/>
                <a:gd name="T49" fmla="*/ 94 h 149"/>
                <a:gd name="T50" fmla="*/ 22 w 173"/>
                <a:gd name="T51" fmla="*/ 107 h 149"/>
                <a:gd name="T52" fmla="*/ 51 w 173"/>
                <a:gd name="T53" fmla="*/ 89 h 149"/>
                <a:gd name="T54" fmla="*/ 67 w 173"/>
                <a:gd name="T55" fmla="*/ 69 h 149"/>
                <a:gd name="T56" fmla="*/ 26 w 173"/>
                <a:gd name="T57" fmla="*/ 74 h 149"/>
                <a:gd name="T58" fmla="*/ 72 w 173"/>
                <a:gd name="T59" fmla="*/ 66 h 149"/>
                <a:gd name="T60" fmla="*/ 90 w 173"/>
                <a:gd name="T61" fmla="*/ 51 h 149"/>
                <a:gd name="T62" fmla="*/ 42 w 173"/>
                <a:gd name="T63" fmla="*/ 51 h 149"/>
                <a:gd name="T64" fmla="*/ 95 w 173"/>
                <a:gd name="T65" fmla="*/ 48 h 149"/>
                <a:gd name="T66" fmla="*/ 114 w 173"/>
                <a:gd name="T67" fmla="*/ 36 h 149"/>
                <a:gd name="T68" fmla="*/ 68 w 173"/>
                <a:gd name="T69" fmla="*/ 32 h 149"/>
                <a:gd name="T70" fmla="*/ 120 w 173"/>
                <a:gd name="T71" fmla="*/ 33 h 149"/>
                <a:gd name="T72" fmla="*/ 134 w 173"/>
                <a:gd name="T73" fmla="*/ 26 h 149"/>
                <a:gd name="T74" fmla="*/ 107 w 173"/>
                <a:gd name="T75" fmla="*/ 22 h 149"/>
                <a:gd name="T76" fmla="*/ 100 w 173"/>
                <a:gd name="T77" fmla="*/ 19 h 149"/>
                <a:gd name="T78" fmla="*/ 140 w 173"/>
                <a:gd name="T79" fmla="*/ 24 h 149"/>
                <a:gd name="T80" fmla="*/ 169 w 173"/>
                <a:gd name="T81" fmla="*/ 11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3" h="149">
                  <a:moveTo>
                    <a:pt x="169" y="11"/>
                  </a:moveTo>
                  <a:cubicBezTo>
                    <a:pt x="169" y="11"/>
                    <a:pt x="0" y="0"/>
                    <a:pt x="20" y="119"/>
                  </a:cubicBezTo>
                  <a:cubicBezTo>
                    <a:pt x="20" y="119"/>
                    <a:pt x="16" y="140"/>
                    <a:pt x="35" y="149"/>
                  </a:cubicBezTo>
                  <a:cubicBezTo>
                    <a:pt x="35" y="149"/>
                    <a:pt x="35" y="141"/>
                    <a:pt x="52" y="144"/>
                  </a:cubicBezTo>
                  <a:cubicBezTo>
                    <a:pt x="58" y="145"/>
                    <a:pt x="65" y="145"/>
                    <a:pt x="71" y="144"/>
                  </a:cubicBezTo>
                  <a:cubicBezTo>
                    <a:pt x="79" y="144"/>
                    <a:pt x="87" y="141"/>
                    <a:pt x="93" y="135"/>
                  </a:cubicBezTo>
                  <a:cubicBezTo>
                    <a:pt x="93" y="135"/>
                    <a:pt x="141" y="116"/>
                    <a:pt x="159" y="38"/>
                  </a:cubicBezTo>
                  <a:cubicBezTo>
                    <a:pt x="159" y="38"/>
                    <a:pt x="173" y="21"/>
                    <a:pt x="172" y="17"/>
                  </a:cubicBezTo>
                  <a:cubicBezTo>
                    <a:pt x="144" y="29"/>
                    <a:pt x="144" y="29"/>
                    <a:pt x="144" y="29"/>
                  </a:cubicBezTo>
                  <a:cubicBezTo>
                    <a:pt x="144" y="29"/>
                    <a:pt x="154" y="49"/>
                    <a:pt x="146" y="66"/>
                  </a:cubicBezTo>
                  <a:cubicBezTo>
                    <a:pt x="146" y="66"/>
                    <a:pt x="145" y="29"/>
                    <a:pt x="139" y="30"/>
                  </a:cubicBezTo>
                  <a:cubicBezTo>
                    <a:pt x="138" y="30"/>
                    <a:pt x="125" y="37"/>
                    <a:pt x="125" y="37"/>
                  </a:cubicBezTo>
                  <a:cubicBezTo>
                    <a:pt x="125" y="37"/>
                    <a:pt x="141" y="73"/>
                    <a:pt x="129" y="99"/>
                  </a:cubicBezTo>
                  <a:cubicBezTo>
                    <a:pt x="129" y="99"/>
                    <a:pt x="133" y="55"/>
                    <a:pt x="119" y="40"/>
                  </a:cubicBezTo>
                  <a:cubicBezTo>
                    <a:pt x="99" y="52"/>
                    <a:pt x="99" y="52"/>
                    <a:pt x="99" y="52"/>
                  </a:cubicBezTo>
                  <a:cubicBezTo>
                    <a:pt x="99" y="52"/>
                    <a:pt x="119" y="89"/>
                    <a:pt x="106" y="119"/>
                  </a:cubicBezTo>
                  <a:cubicBezTo>
                    <a:pt x="106" y="119"/>
                    <a:pt x="109" y="73"/>
                    <a:pt x="95" y="55"/>
                  </a:cubicBezTo>
                  <a:cubicBezTo>
                    <a:pt x="77" y="69"/>
                    <a:pt x="77" y="69"/>
                    <a:pt x="77" y="69"/>
                  </a:cubicBezTo>
                  <a:cubicBezTo>
                    <a:pt x="77" y="69"/>
                    <a:pt x="95" y="105"/>
                    <a:pt x="84" y="130"/>
                  </a:cubicBezTo>
                  <a:cubicBezTo>
                    <a:pt x="84" y="130"/>
                    <a:pt x="83" y="76"/>
                    <a:pt x="73" y="72"/>
                  </a:cubicBezTo>
                  <a:cubicBezTo>
                    <a:pt x="73" y="72"/>
                    <a:pt x="57" y="86"/>
                    <a:pt x="55" y="92"/>
                  </a:cubicBezTo>
                  <a:cubicBezTo>
                    <a:pt x="55" y="92"/>
                    <a:pt x="67" y="119"/>
                    <a:pt x="59" y="133"/>
                  </a:cubicBezTo>
                  <a:cubicBezTo>
                    <a:pt x="59" y="133"/>
                    <a:pt x="54" y="97"/>
                    <a:pt x="51" y="97"/>
                  </a:cubicBezTo>
                  <a:cubicBezTo>
                    <a:pt x="51" y="97"/>
                    <a:pt x="35" y="121"/>
                    <a:pt x="33" y="137"/>
                  </a:cubicBezTo>
                  <a:cubicBezTo>
                    <a:pt x="33" y="137"/>
                    <a:pt x="34" y="113"/>
                    <a:pt x="47" y="94"/>
                  </a:cubicBezTo>
                  <a:cubicBezTo>
                    <a:pt x="38" y="96"/>
                    <a:pt x="29" y="100"/>
                    <a:pt x="22" y="107"/>
                  </a:cubicBezTo>
                  <a:cubicBezTo>
                    <a:pt x="22" y="107"/>
                    <a:pt x="25" y="90"/>
                    <a:pt x="51" y="89"/>
                  </a:cubicBezTo>
                  <a:cubicBezTo>
                    <a:pt x="51" y="89"/>
                    <a:pt x="64" y="71"/>
                    <a:pt x="67" y="69"/>
                  </a:cubicBezTo>
                  <a:cubicBezTo>
                    <a:pt x="67" y="69"/>
                    <a:pt x="42" y="67"/>
                    <a:pt x="26" y="74"/>
                  </a:cubicBezTo>
                  <a:cubicBezTo>
                    <a:pt x="26" y="74"/>
                    <a:pt x="40" y="58"/>
                    <a:pt x="72" y="66"/>
                  </a:cubicBezTo>
                  <a:cubicBezTo>
                    <a:pt x="90" y="51"/>
                    <a:pt x="90" y="51"/>
                    <a:pt x="90" y="51"/>
                  </a:cubicBezTo>
                  <a:cubicBezTo>
                    <a:pt x="90" y="51"/>
                    <a:pt x="56" y="46"/>
                    <a:pt x="42" y="51"/>
                  </a:cubicBezTo>
                  <a:cubicBezTo>
                    <a:pt x="42" y="51"/>
                    <a:pt x="58" y="37"/>
                    <a:pt x="95" y="48"/>
                  </a:cubicBezTo>
                  <a:cubicBezTo>
                    <a:pt x="114" y="36"/>
                    <a:pt x="114" y="36"/>
                    <a:pt x="114" y="36"/>
                  </a:cubicBezTo>
                  <a:cubicBezTo>
                    <a:pt x="114" y="36"/>
                    <a:pt x="86" y="30"/>
                    <a:pt x="68" y="32"/>
                  </a:cubicBezTo>
                  <a:cubicBezTo>
                    <a:pt x="68" y="32"/>
                    <a:pt x="87" y="22"/>
                    <a:pt x="120" y="33"/>
                  </a:cubicBezTo>
                  <a:cubicBezTo>
                    <a:pt x="134" y="26"/>
                    <a:pt x="134" y="26"/>
                    <a:pt x="134" y="26"/>
                  </a:cubicBezTo>
                  <a:cubicBezTo>
                    <a:pt x="134" y="26"/>
                    <a:pt x="113" y="22"/>
                    <a:pt x="107" y="22"/>
                  </a:cubicBezTo>
                  <a:cubicBezTo>
                    <a:pt x="101" y="21"/>
                    <a:pt x="100" y="19"/>
                    <a:pt x="100" y="19"/>
                  </a:cubicBezTo>
                  <a:cubicBezTo>
                    <a:pt x="114" y="17"/>
                    <a:pt x="127" y="19"/>
                    <a:pt x="140" y="24"/>
                  </a:cubicBezTo>
                  <a:cubicBezTo>
                    <a:pt x="140" y="24"/>
                    <a:pt x="170" y="12"/>
                    <a:pt x="169" y="11"/>
                  </a:cubicBezTo>
                </a:path>
              </a:pathLst>
            </a:custGeom>
            <a:solidFill>
              <a:srgbClr val="536DF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8" name="î$ļiďé">
              <a:extLst>
                <a:ext uri="{FF2B5EF4-FFF2-40B4-BE49-F238E27FC236}">
                  <a16:creationId xmlns:a16="http://schemas.microsoft.com/office/drawing/2014/main" id="{9F1F740F-6B19-4F12-BC6E-060D6BD7DDC7}"/>
                </a:ext>
              </a:extLst>
            </p:cNvPr>
            <p:cNvSpPr/>
            <p:nvPr/>
          </p:nvSpPr>
          <p:spPr bwMode="auto">
            <a:xfrm>
              <a:off x="3600451" y="5484813"/>
              <a:ext cx="350838" cy="58738"/>
            </a:xfrm>
            <a:custGeom>
              <a:avLst/>
              <a:gdLst>
                <a:gd name="T0" fmla="*/ 91 w 239"/>
                <a:gd name="T1" fmla="*/ 0 h 40"/>
                <a:gd name="T2" fmla="*/ 0 w 239"/>
                <a:gd name="T3" fmla="*/ 20 h 40"/>
                <a:gd name="T4" fmla="*/ 120 w 239"/>
                <a:gd name="T5" fmla="*/ 40 h 40"/>
                <a:gd name="T6" fmla="*/ 239 w 239"/>
                <a:gd name="T7" fmla="*/ 20 h 40"/>
                <a:gd name="T8" fmla="*/ 153 w 239"/>
                <a:gd name="T9" fmla="*/ 0 h 40"/>
                <a:gd name="T10" fmla="*/ 138 w 239"/>
                <a:gd name="T11" fmla="*/ 4 h 40"/>
                <a:gd name="T12" fmla="*/ 132 w 239"/>
                <a:gd name="T13" fmla="*/ 5 h 40"/>
                <a:gd name="T14" fmla="*/ 119 w 239"/>
                <a:gd name="T15" fmla="*/ 4 h 40"/>
                <a:gd name="T16" fmla="*/ 113 w 239"/>
                <a:gd name="T17" fmla="*/ 3 h 40"/>
                <a:gd name="T18" fmla="*/ 102 w 239"/>
                <a:gd name="T19" fmla="*/ 9 h 40"/>
                <a:gd name="T20" fmla="*/ 91 w 239"/>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9" h="40">
                  <a:moveTo>
                    <a:pt x="91" y="0"/>
                  </a:moveTo>
                  <a:cubicBezTo>
                    <a:pt x="39" y="2"/>
                    <a:pt x="0" y="10"/>
                    <a:pt x="0" y="20"/>
                  </a:cubicBezTo>
                  <a:cubicBezTo>
                    <a:pt x="0" y="31"/>
                    <a:pt x="54" y="40"/>
                    <a:pt x="120" y="40"/>
                  </a:cubicBezTo>
                  <a:cubicBezTo>
                    <a:pt x="186" y="40"/>
                    <a:pt x="239" y="31"/>
                    <a:pt x="239" y="20"/>
                  </a:cubicBezTo>
                  <a:cubicBezTo>
                    <a:pt x="239" y="10"/>
                    <a:pt x="203" y="3"/>
                    <a:pt x="153" y="0"/>
                  </a:cubicBezTo>
                  <a:cubicBezTo>
                    <a:pt x="148" y="3"/>
                    <a:pt x="143" y="4"/>
                    <a:pt x="138" y="4"/>
                  </a:cubicBezTo>
                  <a:cubicBezTo>
                    <a:pt x="136" y="5"/>
                    <a:pt x="134" y="5"/>
                    <a:pt x="132" y="5"/>
                  </a:cubicBezTo>
                  <a:cubicBezTo>
                    <a:pt x="128" y="5"/>
                    <a:pt x="124" y="4"/>
                    <a:pt x="119" y="4"/>
                  </a:cubicBezTo>
                  <a:cubicBezTo>
                    <a:pt x="117" y="3"/>
                    <a:pt x="115" y="3"/>
                    <a:pt x="113" y="3"/>
                  </a:cubicBezTo>
                  <a:cubicBezTo>
                    <a:pt x="102" y="3"/>
                    <a:pt x="102" y="9"/>
                    <a:pt x="102" y="9"/>
                  </a:cubicBezTo>
                  <a:cubicBezTo>
                    <a:pt x="97" y="7"/>
                    <a:pt x="94" y="4"/>
                    <a:pt x="91" y="0"/>
                  </a:cubicBezTo>
                </a:path>
              </a:pathLst>
            </a:custGeom>
            <a:solidFill>
              <a:srgbClr val="EDF0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9" name="iṥḻïḍé">
              <a:extLst>
                <a:ext uri="{FF2B5EF4-FFF2-40B4-BE49-F238E27FC236}">
                  <a16:creationId xmlns:a16="http://schemas.microsoft.com/office/drawing/2014/main" id="{9C86B3C1-2DBA-4405-868E-BD8A46CE62C1}"/>
                </a:ext>
              </a:extLst>
            </p:cNvPr>
            <p:cNvSpPr/>
            <p:nvPr/>
          </p:nvSpPr>
          <p:spPr bwMode="auto">
            <a:xfrm>
              <a:off x="3733801" y="5483225"/>
              <a:ext cx="92075" cy="14288"/>
            </a:xfrm>
            <a:custGeom>
              <a:avLst/>
              <a:gdLst>
                <a:gd name="T0" fmla="*/ 29 w 62"/>
                <a:gd name="T1" fmla="*/ 0 h 10"/>
                <a:gd name="T2" fmla="*/ 0 w 62"/>
                <a:gd name="T3" fmla="*/ 1 h 10"/>
                <a:gd name="T4" fmla="*/ 11 w 62"/>
                <a:gd name="T5" fmla="*/ 10 h 10"/>
                <a:gd name="T6" fmla="*/ 22 w 62"/>
                <a:gd name="T7" fmla="*/ 4 h 10"/>
                <a:gd name="T8" fmla="*/ 28 w 62"/>
                <a:gd name="T9" fmla="*/ 5 h 10"/>
                <a:gd name="T10" fmla="*/ 41 w 62"/>
                <a:gd name="T11" fmla="*/ 6 h 10"/>
                <a:gd name="T12" fmla="*/ 47 w 62"/>
                <a:gd name="T13" fmla="*/ 5 h 10"/>
                <a:gd name="T14" fmla="*/ 62 w 62"/>
                <a:gd name="T15" fmla="*/ 1 h 10"/>
                <a:gd name="T16" fmla="*/ 29 w 62"/>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10">
                  <a:moveTo>
                    <a:pt x="29" y="0"/>
                  </a:moveTo>
                  <a:cubicBezTo>
                    <a:pt x="19" y="0"/>
                    <a:pt x="9" y="1"/>
                    <a:pt x="0" y="1"/>
                  </a:cubicBezTo>
                  <a:cubicBezTo>
                    <a:pt x="3" y="5"/>
                    <a:pt x="6" y="8"/>
                    <a:pt x="11" y="10"/>
                  </a:cubicBezTo>
                  <a:cubicBezTo>
                    <a:pt x="11" y="10"/>
                    <a:pt x="11" y="4"/>
                    <a:pt x="22" y="4"/>
                  </a:cubicBezTo>
                  <a:cubicBezTo>
                    <a:pt x="24" y="4"/>
                    <a:pt x="26" y="4"/>
                    <a:pt x="28" y="5"/>
                  </a:cubicBezTo>
                  <a:cubicBezTo>
                    <a:pt x="33" y="5"/>
                    <a:pt x="37" y="6"/>
                    <a:pt x="41" y="6"/>
                  </a:cubicBezTo>
                  <a:cubicBezTo>
                    <a:pt x="43" y="6"/>
                    <a:pt x="45" y="6"/>
                    <a:pt x="47" y="5"/>
                  </a:cubicBezTo>
                  <a:cubicBezTo>
                    <a:pt x="52" y="5"/>
                    <a:pt x="57" y="4"/>
                    <a:pt x="62" y="1"/>
                  </a:cubicBezTo>
                  <a:cubicBezTo>
                    <a:pt x="51" y="1"/>
                    <a:pt x="40" y="0"/>
                    <a:pt x="29" y="0"/>
                  </a:cubicBezTo>
                </a:path>
              </a:pathLst>
            </a:custGeom>
            <a:solidFill>
              <a:srgbClr val="536DF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0" name="íṣ1ïde">
              <a:extLst>
                <a:ext uri="{FF2B5EF4-FFF2-40B4-BE49-F238E27FC236}">
                  <a16:creationId xmlns:a16="http://schemas.microsoft.com/office/drawing/2014/main" id="{87834812-F6C5-4DC7-B0B1-E8E129F6AE49}"/>
                </a:ext>
              </a:extLst>
            </p:cNvPr>
            <p:cNvSpPr/>
            <p:nvPr/>
          </p:nvSpPr>
          <p:spPr bwMode="auto">
            <a:xfrm>
              <a:off x="4284663" y="4827588"/>
              <a:ext cx="144463" cy="123825"/>
            </a:xfrm>
            <a:custGeom>
              <a:avLst/>
              <a:gdLst>
                <a:gd name="T0" fmla="*/ 95 w 98"/>
                <a:gd name="T1" fmla="*/ 5 h 84"/>
                <a:gd name="T2" fmla="*/ 11 w 98"/>
                <a:gd name="T3" fmla="*/ 66 h 84"/>
                <a:gd name="T4" fmla="*/ 20 w 98"/>
                <a:gd name="T5" fmla="*/ 84 h 84"/>
                <a:gd name="T6" fmla="*/ 30 w 98"/>
                <a:gd name="T7" fmla="*/ 80 h 84"/>
                <a:gd name="T8" fmla="*/ 40 w 98"/>
                <a:gd name="T9" fmla="*/ 81 h 84"/>
                <a:gd name="T10" fmla="*/ 53 w 98"/>
                <a:gd name="T11" fmla="*/ 76 h 84"/>
                <a:gd name="T12" fmla="*/ 90 w 98"/>
                <a:gd name="T13" fmla="*/ 21 h 84"/>
                <a:gd name="T14" fmla="*/ 97 w 98"/>
                <a:gd name="T15" fmla="*/ 9 h 84"/>
                <a:gd name="T16" fmla="*/ 81 w 98"/>
                <a:gd name="T17" fmla="*/ 15 h 84"/>
                <a:gd name="T18" fmla="*/ 82 w 98"/>
                <a:gd name="T19" fmla="*/ 37 h 84"/>
                <a:gd name="T20" fmla="*/ 79 w 98"/>
                <a:gd name="T21" fmla="*/ 16 h 84"/>
                <a:gd name="T22" fmla="*/ 71 w 98"/>
                <a:gd name="T23" fmla="*/ 20 h 84"/>
                <a:gd name="T24" fmla="*/ 73 w 98"/>
                <a:gd name="T25" fmla="*/ 55 h 84"/>
                <a:gd name="T26" fmla="*/ 68 w 98"/>
                <a:gd name="T27" fmla="*/ 22 h 84"/>
                <a:gd name="T28" fmla="*/ 56 w 98"/>
                <a:gd name="T29" fmla="*/ 29 h 84"/>
                <a:gd name="T30" fmla="*/ 60 w 98"/>
                <a:gd name="T31" fmla="*/ 67 h 84"/>
                <a:gd name="T32" fmla="*/ 54 w 98"/>
                <a:gd name="T33" fmla="*/ 30 h 84"/>
                <a:gd name="T34" fmla="*/ 44 w 98"/>
                <a:gd name="T35" fmla="*/ 38 h 84"/>
                <a:gd name="T36" fmla="*/ 48 w 98"/>
                <a:gd name="T37" fmla="*/ 73 h 84"/>
                <a:gd name="T38" fmla="*/ 41 w 98"/>
                <a:gd name="T39" fmla="*/ 40 h 84"/>
                <a:gd name="T40" fmla="*/ 31 w 98"/>
                <a:gd name="T41" fmla="*/ 51 h 84"/>
                <a:gd name="T42" fmla="*/ 34 w 98"/>
                <a:gd name="T43" fmla="*/ 74 h 84"/>
                <a:gd name="T44" fmla="*/ 29 w 98"/>
                <a:gd name="T45" fmla="*/ 54 h 84"/>
                <a:gd name="T46" fmla="*/ 19 w 98"/>
                <a:gd name="T47" fmla="*/ 77 h 84"/>
                <a:gd name="T48" fmla="*/ 26 w 98"/>
                <a:gd name="T49" fmla="*/ 53 h 84"/>
                <a:gd name="T50" fmla="*/ 13 w 98"/>
                <a:gd name="T51" fmla="*/ 60 h 84"/>
                <a:gd name="T52" fmla="*/ 29 w 98"/>
                <a:gd name="T53" fmla="*/ 49 h 84"/>
                <a:gd name="T54" fmla="*/ 38 w 98"/>
                <a:gd name="T55" fmla="*/ 39 h 84"/>
                <a:gd name="T56" fmla="*/ 15 w 98"/>
                <a:gd name="T57" fmla="*/ 41 h 84"/>
                <a:gd name="T58" fmla="*/ 41 w 98"/>
                <a:gd name="T59" fmla="*/ 36 h 84"/>
                <a:gd name="T60" fmla="*/ 51 w 98"/>
                <a:gd name="T61" fmla="*/ 28 h 84"/>
                <a:gd name="T62" fmla="*/ 24 w 98"/>
                <a:gd name="T63" fmla="*/ 28 h 84"/>
                <a:gd name="T64" fmla="*/ 54 w 98"/>
                <a:gd name="T65" fmla="*/ 26 h 84"/>
                <a:gd name="T66" fmla="*/ 65 w 98"/>
                <a:gd name="T67" fmla="*/ 20 h 84"/>
                <a:gd name="T68" fmla="*/ 39 w 98"/>
                <a:gd name="T69" fmla="*/ 17 h 84"/>
                <a:gd name="T70" fmla="*/ 68 w 98"/>
                <a:gd name="T71" fmla="*/ 18 h 84"/>
                <a:gd name="T72" fmla="*/ 76 w 98"/>
                <a:gd name="T73" fmla="*/ 14 h 84"/>
                <a:gd name="T74" fmla="*/ 61 w 98"/>
                <a:gd name="T75" fmla="*/ 12 h 84"/>
                <a:gd name="T76" fmla="*/ 57 w 98"/>
                <a:gd name="T77" fmla="*/ 10 h 84"/>
                <a:gd name="T78" fmla="*/ 79 w 98"/>
                <a:gd name="T79" fmla="*/ 13 h 84"/>
                <a:gd name="T80" fmla="*/ 95 w 98"/>
                <a:gd name="T81" fmla="*/ 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8" h="84">
                  <a:moveTo>
                    <a:pt x="95" y="5"/>
                  </a:moveTo>
                  <a:cubicBezTo>
                    <a:pt x="95" y="5"/>
                    <a:pt x="0" y="0"/>
                    <a:pt x="11" y="66"/>
                  </a:cubicBezTo>
                  <a:cubicBezTo>
                    <a:pt x="10" y="73"/>
                    <a:pt x="14" y="80"/>
                    <a:pt x="20" y="84"/>
                  </a:cubicBezTo>
                  <a:cubicBezTo>
                    <a:pt x="20" y="84"/>
                    <a:pt x="20" y="79"/>
                    <a:pt x="30" y="80"/>
                  </a:cubicBezTo>
                  <a:cubicBezTo>
                    <a:pt x="33" y="81"/>
                    <a:pt x="37" y="81"/>
                    <a:pt x="40" y="81"/>
                  </a:cubicBezTo>
                  <a:cubicBezTo>
                    <a:pt x="45" y="80"/>
                    <a:pt x="49" y="79"/>
                    <a:pt x="53" y="76"/>
                  </a:cubicBezTo>
                  <a:cubicBezTo>
                    <a:pt x="53" y="76"/>
                    <a:pt x="79" y="65"/>
                    <a:pt x="90" y="21"/>
                  </a:cubicBezTo>
                  <a:cubicBezTo>
                    <a:pt x="90" y="21"/>
                    <a:pt x="98" y="11"/>
                    <a:pt x="97" y="9"/>
                  </a:cubicBezTo>
                  <a:cubicBezTo>
                    <a:pt x="81" y="15"/>
                    <a:pt x="81" y="15"/>
                    <a:pt x="81" y="15"/>
                  </a:cubicBezTo>
                  <a:cubicBezTo>
                    <a:pt x="81" y="15"/>
                    <a:pt x="87" y="27"/>
                    <a:pt x="82" y="37"/>
                  </a:cubicBezTo>
                  <a:cubicBezTo>
                    <a:pt x="82" y="37"/>
                    <a:pt x="82" y="16"/>
                    <a:pt x="79" y="16"/>
                  </a:cubicBezTo>
                  <a:cubicBezTo>
                    <a:pt x="78" y="16"/>
                    <a:pt x="71" y="20"/>
                    <a:pt x="71" y="20"/>
                  </a:cubicBezTo>
                  <a:cubicBezTo>
                    <a:pt x="71" y="20"/>
                    <a:pt x="80" y="40"/>
                    <a:pt x="73" y="55"/>
                  </a:cubicBezTo>
                  <a:cubicBezTo>
                    <a:pt x="73" y="55"/>
                    <a:pt x="76" y="30"/>
                    <a:pt x="68" y="22"/>
                  </a:cubicBezTo>
                  <a:cubicBezTo>
                    <a:pt x="56" y="29"/>
                    <a:pt x="56" y="29"/>
                    <a:pt x="56" y="29"/>
                  </a:cubicBezTo>
                  <a:cubicBezTo>
                    <a:pt x="56" y="29"/>
                    <a:pt x="67" y="50"/>
                    <a:pt x="60" y="67"/>
                  </a:cubicBezTo>
                  <a:cubicBezTo>
                    <a:pt x="60" y="67"/>
                    <a:pt x="62" y="40"/>
                    <a:pt x="54" y="30"/>
                  </a:cubicBezTo>
                  <a:cubicBezTo>
                    <a:pt x="44" y="38"/>
                    <a:pt x="44" y="38"/>
                    <a:pt x="44" y="38"/>
                  </a:cubicBezTo>
                  <a:cubicBezTo>
                    <a:pt x="44" y="38"/>
                    <a:pt x="54" y="59"/>
                    <a:pt x="48" y="73"/>
                  </a:cubicBezTo>
                  <a:cubicBezTo>
                    <a:pt x="48" y="73"/>
                    <a:pt x="47" y="43"/>
                    <a:pt x="41" y="40"/>
                  </a:cubicBezTo>
                  <a:cubicBezTo>
                    <a:pt x="37" y="44"/>
                    <a:pt x="34" y="47"/>
                    <a:pt x="31" y="51"/>
                  </a:cubicBezTo>
                  <a:cubicBezTo>
                    <a:pt x="31" y="51"/>
                    <a:pt x="38" y="66"/>
                    <a:pt x="34" y="74"/>
                  </a:cubicBezTo>
                  <a:cubicBezTo>
                    <a:pt x="34" y="74"/>
                    <a:pt x="31" y="54"/>
                    <a:pt x="29" y="54"/>
                  </a:cubicBezTo>
                  <a:cubicBezTo>
                    <a:pt x="29" y="54"/>
                    <a:pt x="20" y="67"/>
                    <a:pt x="19" y="77"/>
                  </a:cubicBezTo>
                  <a:cubicBezTo>
                    <a:pt x="19" y="68"/>
                    <a:pt x="22" y="60"/>
                    <a:pt x="26" y="53"/>
                  </a:cubicBezTo>
                  <a:cubicBezTo>
                    <a:pt x="21" y="54"/>
                    <a:pt x="17" y="56"/>
                    <a:pt x="13" y="60"/>
                  </a:cubicBezTo>
                  <a:cubicBezTo>
                    <a:pt x="13" y="60"/>
                    <a:pt x="14" y="50"/>
                    <a:pt x="29" y="49"/>
                  </a:cubicBezTo>
                  <a:cubicBezTo>
                    <a:pt x="29" y="49"/>
                    <a:pt x="36" y="39"/>
                    <a:pt x="38" y="39"/>
                  </a:cubicBezTo>
                  <a:cubicBezTo>
                    <a:pt x="38" y="39"/>
                    <a:pt x="24" y="37"/>
                    <a:pt x="15" y="41"/>
                  </a:cubicBezTo>
                  <a:cubicBezTo>
                    <a:pt x="15" y="41"/>
                    <a:pt x="23" y="32"/>
                    <a:pt x="41" y="36"/>
                  </a:cubicBezTo>
                  <a:cubicBezTo>
                    <a:pt x="51" y="28"/>
                    <a:pt x="51" y="28"/>
                    <a:pt x="51" y="28"/>
                  </a:cubicBezTo>
                  <a:cubicBezTo>
                    <a:pt x="51" y="28"/>
                    <a:pt x="32" y="25"/>
                    <a:pt x="24" y="28"/>
                  </a:cubicBezTo>
                  <a:cubicBezTo>
                    <a:pt x="24" y="28"/>
                    <a:pt x="33" y="20"/>
                    <a:pt x="54" y="26"/>
                  </a:cubicBezTo>
                  <a:cubicBezTo>
                    <a:pt x="65" y="20"/>
                    <a:pt x="65" y="20"/>
                    <a:pt x="65" y="20"/>
                  </a:cubicBezTo>
                  <a:cubicBezTo>
                    <a:pt x="56" y="18"/>
                    <a:pt x="48" y="17"/>
                    <a:pt x="39" y="17"/>
                  </a:cubicBezTo>
                  <a:cubicBezTo>
                    <a:pt x="39" y="17"/>
                    <a:pt x="49" y="12"/>
                    <a:pt x="68" y="18"/>
                  </a:cubicBezTo>
                  <a:cubicBezTo>
                    <a:pt x="76" y="14"/>
                    <a:pt x="76" y="14"/>
                    <a:pt x="76" y="14"/>
                  </a:cubicBezTo>
                  <a:cubicBezTo>
                    <a:pt x="76" y="14"/>
                    <a:pt x="64" y="12"/>
                    <a:pt x="61" y="12"/>
                  </a:cubicBezTo>
                  <a:cubicBezTo>
                    <a:pt x="57" y="11"/>
                    <a:pt x="57" y="10"/>
                    <a:pt x="57" y="10"/>
                  </a:cubicBezTo>
                  <a:cubicBezTo>
                    <a:pt x="64" y="9"/>
                    <a:pt x="72" y="10"/>
                    <a:pt x="79" y="13"/>
                  </a:cubicBezTo>
                  <a:cubicBezTo>
                    <a:pt x="79" y="13"/>
                    <a:pt x="96" y="6"/>
                    <a:pt x="95" y="5"/>
                  </a:cubicBezTo>
                </a:path>
              </a:pathLst>
            </a:custGeom>
            <a:solidFill>
              <a:srgbClr val="536DF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1" name="îṥļiḑe">
              <a:extLst>
                <a:ext uri="{FF2B5EF4-FFF2-40B4-BE49-F238E27FC236}">
                  <a16:creationId xmlns:a16="http://schemas.microsoft.com/office/drawing/2014/main" id="{356EBF3D-DF15-4756-A75D-F34B8B4C642B}"/>
                </a:ext>
              </a:extLst>
            </p:cNvPr>
            <p:cNvSpPr/>
            <p:nvPr/>
          </p:nvSpPr>
          <p:spPr bwMode="auto">
            <a:xfrm>
              <a:off x="4229101" y="4941888"/>
              <a:ext cx="198438" cy="34925"/>
            </a:xfrm>
            <a:custGeom>
              <a:avLst/>
              <a:gdLst>
                <a:gd name="T0" fmla="*/ 52 w 135"/>
                <a:gd name="T1" fmla="*/ 0 h 23"/>
                <a:gd name="T2" fmla="*/ 0 w 135"/>
                <a:gd name="T3" fmla="*/ 11 h 23"/>
                <a:gd name="T4" fmla="*/ 68 w 135"/>
                <a:gd name="T5" fmla="*/ 23 h 23"/>
                <a:gd name="T6" fmla="*/ 135 w 135"/>
                <a:gd name="T7" fmla="*/ 11 h 23"/>
                <a:gd name="T8" fmla="*/ 86 w 135"/>
                <a:gd name="T9" fmla="*/ 0 h 23"/>
                <a:gd name="T10" fmla="*/ 78 w 135"/>
                <a:gd name="T11" fmla="*/ 3 h 23"/>
                <a:gd name="T12" fmla="*/ 75 w 135"/>
                <a:gd name="T13" fmla="*/ 3 h 23"/>
                <a:gd name="T14" fmla="*/ 68 w 135"/>
                <a:gd name="T15" fmla="*/ 2 h 23"/>
                <a:gd name="T16" fmla="*/ 64 w 135"/>
                <a:gd name="T17" fmla="*/ 2 h 23"/>
                <a:gd name="T18" fmla="*/ 58 w 135"/>
                <a:gd name="T19" fmla="*/ 6 h 23"/>
                <a:gd name="T20" fmla="*/ 52 w 135"/>
                <a:gd name="T2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5" h="23">
                  <a:moveTo>
                    <a:pt x="52" y="0"/>
                  </a:moveTo>
                  <a:cubicBezTo>
                    <a:pt x="22" y="1"/>
                    <a:pt x="0" y="6"/>
                    <a:pt x="0" y="11"/>
                  </a:cubicBezTo>
                  <a:cubicBezTo>
                    <a:pt x="0" y="18"/>
                    <a:pt x="31" y="23"/>
                    <a:pt x="68" y="23"/>
                  </a:cubicBezTo>
                  <a:cubicBezTo>
                    <a:pt x="105" y="23"/>
                    <a:pt x="135" y="18"/>
                    <a:pt x="135" y="11"/>
                  </a:cubicBezTo>
                  <a:cubicBezTo>
                    <a:pt x="135" y="6"/>
                    <a:pt x="115" y="2"/>
                    <a:pt x="86" y="0"/>
                  </a:cubicBezTo>
                  <a:cubicBezTo>
                    <a:pt x="84" y="2"/>
                    <a:pt x="81" y="3"/>
                    <a:pt x="78" y="3"/>
                  </a:cubicBezTo>
                  <a:cubicBezTo>
                    <a:pt x="77" y="3"/>
                    <a:pt x="76" y="3"/>
                    <a:pt x="75" y="3"/>
                  </a:cubicBezTo>
                  <a:cubicBezTo>
                    <a:pt x="73" y="3"/>
                    <a:pt x="70" y="3"/>
                    <a:pt x="68" y="2"/>
                  </a:cubicBezTo>
                  <a:cubicBezTo>
                    <a:pt x="66" y="2"/>
                    <a:pt x="65" y="2"/>
                    <a:pt x="64" y="2"/>
                  </a:cubicBezTo>
                  <a:cubicBezTo>
                    <a:pt x="58" y="2"/>
                    <a:pt x="58" y="6"/>
                    <a:pt x="58" y="6"/>
                  </a:cubicBezTo>
                  <a:cubicBezTo>
                    <a:pt x="55" y="4"/>
                    <a:pt x="53" y="2"/>
                    <a:pt x="52" y="0"/>
                  </a:cubicBezTo>
                </a:path>
              </a:pathLst>
            </a:custGeom>
            <a:solidFill>
              <a:srgbClr val="EDF0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2" name="iṥḻiḑê">
              <a:extLst>
                <a:ext uri="{FF2B5EF4-FFF2-40B4-BE49-F238E27FC236}">
                  <a16:creationId xmlns:a16="http://schemas.microsoft.com/office/drawing/2014/main" id="{070B0BC3-445C-4BC5-9E6E-90110B832104}"/>
                </a:ext>
              </a:extLst>
            </p:cNvPr>
            <p:cNvSpPr/>
            <p:nvPr/>
          </p:nvSpPr>
          <p:spPr bwMode="auto">
            <a:xfrm>
              <a:off x="4305301" y="4941888"/>
              <a:ext cx="49213" cy="9525"/>
            </a:xfrm>
            <a:custGeom>
              <a:avLst/>
              <a:gdLst>
                <a:gd name="T0" fmla="*/ 16 w 34"/>
                <a:gd name="T1" fmla="*/ 0 h 6"/>
                <a:gd name="T2" fmla="*/ 0 w 34"/>
                <a:gd name="T3" fmla="*/ 0 h 6"/>
                <a:gd name="T4" fmla="*/ 6 w 34"/>
                <a:gd name="T5" fmla="*/ 6 h 6"/>
                <a:gd name="T6" fmla="*/ 12 w 34"/>
                <a:gd name="T7" fmla="*/ 2 h 6"/>
                <a:gd name="T8" fmla="*/ 16 w 34"/>
                <a:gd name="T9" fmla="*/ 2 h 6"/>
                <a:gd name="T10" fmla="*/ 23 w 34"/>
                <a:gd name="T11" fmla="*/ 3 h 6"/>
                <a:gd name="T12" fmla="*/ 26 w 34"/>
                <a:gd name="T13" fmla="*/ 3 h 6"/>
                <a:gd name="T14" fmla="*/ 34 w 34"/>
                <a:gd name="T15" fmla="*/ 0 h 6"/>
                <a:gd name="T16" fmla="*/ 16 w 34"/>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6">
                  <a:moveTo>
                    <a:pt x="16" y="0"/>
                  </a:moveTo>
                  <a:cubicBezTo>
                    <a:pt x="10" y="0"/>
                    <a:pt x="5" y="0"/>
                    <a:pt x="0" y="0"/>
                  </a:cubicBezTo>
                  <a:cubicBezTo>
                    <a:pt x="1" y="2"/>
                    <a:pt x="3" y="4"/>
                    <a:pt x="6" y="6"/>
                  </a:cubicBezTo>
                  <a:cubicBezTo>
                    <a:pt x="6" y="6"/>
                    <a:pt x="6" y="2"/>
                    <a:pt x="12" y="2"/>
                  </a:cubicBezTo>
                  <a:cubicBezTo>
                    <a:pt x="13" y="2"/>
                    <a:pt x="14" y="2"/>
                    <a:pt x="16" y="2"/>
                  </a:cubicBezTo>
                  <a:cubicBezTo>
                    <a:pt x="18" y="3"/>
                    <a:pt x="21" y="3"/>
                    <a:pt x="23" y="3"/>
                  </a:cubicBezTo>
                  <a:cubicBezTo>
                    <a:pt x="24" y="3"/>
                    <a:pt x="25" y="3"/>
                    <a:pt x="26" y="3"/>
                  </a:cubicBezTo>
                  <a:cubicBezTo>
                    <a:pt x="29" y="3"/>
                    <a:pt x="32" y="2"/>
                    <a:pt x="34" y="0"/>
                  </a:cubicBezTo>
                  <a:cubicBezTo>
                    <a:pt x="29" y="0"/>
                    <a:pt x="22" y="0"/>
                    <a:pt x="16" y="0"/>
                  </a:cubicBezTo>
                </a:path>
              </a:pathLst>
            </a:custGeom>
            <a:solidFill>
              <a:srgbClr val="536DF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3" name="íšlïďé">
              <a:extLst>
                <a:ext uri="{FF2B5EF4-FFF2-40B4-BE49-F238E27FC236}">
                  <a16:creationId xmlns:a16="http://schemas.microsoft.com/office/drawing/2014/main" id="{0B1958E8-48E0-41B0-99E2-ED0C30ACBE61}"/>
                </a:ext>
              </a:extLst>
            </p:cNvPr>
            <p:cNvSpPr/>
            <p:nvPr/>
          </p:nvSpPr>
          <p:spPr bwMode="auto">
            <a:xfrm>
              <a:off x="3429001" y="4910138"/>
              <a:ext cx="171450" cy="149225"/>
            </a:xfrm>
            <a:custGeom>
              <a:avLst/>
              <a:gdLst>
                <a:gd name="T0" fmla="*/ 115 w 117"/>
                <a:gd name="T1" fmla="*/ 7 h 102"/>
                <a:gd name="T2" fmla="*/ 13 w 117"/>
                <a:gd name="T3" fmla="*/ 81 h 102"/>
                <a:gd name="T4" fmla="*/ 24 w 117"/>
                <a:gd name="T5" fmla="*/ 102 h 102"/>
                <a:gd name="T6" fmla="*/ 35 w 117"/>
                <a:gd name="T7" fmla="*/ 98 h 102"/>
                <a:gd name="T8" fmla="*/ 48 w 117"/>
                <a:gd name="T9" fmla="*/ 98 h 102"/>
                <a:gd name="T10" fmla="*/ 63 w 117"/>
                <a:gd name="T11" fmla="*/ 92 h 102"/>
                <a:gd name="T12" fmla="*/ 108 w 117"/>
                <a:gd name="T13" fmla="*/ 26 h 102"/>
                <a:gd name="T14" fmla="*/ 117 w 117"/>
                <a:gd name="T15" fmla="*/ 11 h 102"/>
                <a:gd name="T16" fmla="*/ 97 w 117"/>
                <a:gd name="T17" fmla="*/ 20 h 102"/>
                <a:gd name="T18" fmla="*/ 99 w 117"/>
                <a:gd name="T19" fmla="*/ 45 h 102"/>
                <a:gd name="T20" fmla="*/ 94 w 117"/>
                <a:gd name="T21" fmla="*/ 21 h 102"/>
                <a:gd name="T22" fmla="*/ 84 w 117"/>
                <a:gd name="T23" fmla="*/ 26 h 102"/>
                <a:gd name="T24" fmla="*/ 87 w 117"/>
                <a:gd name="T25" fmla="*/ 68 h 102"/>
                <a:gd name="T26" fmla="*/ 81 w 117"/>
                <a:gd name="T27" fmla="*/ 27 h 102"/>
                <a:gd name="T28" fmla="*/ 67 w 117"/>
                <a:gd name="T29" fmla="*/ 35 h 102"/>
                <a:gd name="T30" fmla="*/ 71 w 117"/>
                <a:gd name="T31" fmla="*/ 81 h 102"/>
                <a:gd name="T32" fmla="*/ 64 w 117"/>
                <a:gd name="T33" fmla="*/ 37 h 102"/>
                <a:gd name="T34" fmla="*/ 52 w 117"/>
                <a:gd name="T35" fmla="*/ 47 h 102"/>
                <a:gd name="T36" fmla="*/ 57 w 117"/>
                <a:gd name="T37" fmla="*/ 89 h 102"/>
                <a:gd name="T38" fmla="*/ 49 w 117"/>
                <a:gd name="T39" fmla="*/ 49 h 102"/>
                <a:gd name="T40" fmla="*/ 37 w 117"/>
                <a:gd name="T41" fmla="*/ 63 h 102"/>
                <a:gd name="T42" fmla="*/ 40 w 117"/>
                <a:gd name="T43" fmla="*/ 90 h 102"/>
                <a:gd name="T44" fmla="*/ 34 w 117"/>
                <a:gd name="T45" fmla="*/ 66 h 102"/>
                <a:gd name="T46" fmla="*/ 22 w 117"/>
                <a:gd name="T47" fmla="*/ 93 h 102"/>
                <a:gd name="T48" fmla="*/ 31 w 117"/>
                <a:gd name="T49" fmla="*/ 64 h 102"/>
                <a:gd name="T50" fmla="*/ 15 w 117"/>
                <a:gd name="T51" fmla="*/ 73 h 102"/>
                <a:gd name="T52" fmla="*/ 34 w 117"/>
                <a:gd name="T53" fmla="*/ 60 h 102"/>
                <a:gd name="T54" fmla="*/ 45 w 117"/>
                <a:gd name="T55" fmla="*/ 47 h 102"/>
                <a:gd name="T56" fmla="*/ 17 w 117"/>
                <a:gd name="T57" fmla="*/ 50 h 102"/>
                <a:gd name="T58" fmla="*/ 48 w 117"/>
                <a:gd name="T59" fmla="*/ 44 h 102"/>
                <a:gd name="T60" fmla="*/ 61 w 117"/>
                <a:gd name="T61" fmla="*/ 34 h 102"/>
                <a:gd name="T62" fmla="*/ 28 w 117"/>
                <a:gd name="T63" fmla="*/ 35 h 102"/>
                <a:gd name="T64" fmla="*/ 64 w 117"/>
                <a:gd name="T65" fmla="*/ 32 h 102"/>
                <a:gd name="T66" fmla="*/ 77 w 117"/>
                <a:gd name="T67" fmla="*/ 24 h 102"/>
                <a:gd name="T68" fmla="*/ 46 w 117"/>
                <a:gd name="T69" fmla="*/ 22 h 102"/>
                <a:gd name="T70" fmla="*/ 81 w 117"/>
                <a:gd name="T71" fmla="*/ 22 h 102"/>
                <a:gd name="T72" fmla="*/ 91 w 117"/>
                <a:gd name="T73" fmla="*/ 18 h 102"/>
                <a:gd name="T74" fmla="*/ 72 w 117"/>
                <a:gd name="T75" fmla="*/ 15 h 102"/>
                <a:gd name="T76" fmla="*/ 68 w 117"/>
                <a:gd name="T77" fmla="*/ 13 h 102"/>
                <a:gd name="T78" fmla="*/ 95 w 117"/>
                <a:gd name="T79" fmla="*/ 16 h 102"/>
                <a:gd name="T80" fmla="*/ 115 w 117"/>
                <a:gd name="T81" fmla="*/ 7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7" h="102">
                  <a:moveTo>
                    <a:pt x="115" y="7"/>
                  </a:moveTo>
                  <a:cubicBezTo>
                    <a:pt x="115" y="7"/>
                    <a:pt x="0" y="0"/>
                    <a:pt x="13" y="81"/>
                  </a:cubicBezTo>
                  <a:cubicBezTo>
                    <a:pt x="12" y="89"/>
                    <a:pt x="16" y="98"/>
                    <a:pt x="24" y="102"/>
                  </a:cubicBezTo>
                  <a:cubicBezTo>
                    <a:pt x="24" y="102"/>
                    <a:pt x="24" y="96"/>
                    <a:pt x="35" y="98"/>
                  </a:cubicBezTo>
                  <a:cubicBezTo>
                    <a:pt x="40" y="98"/>
                    <a:pt x="44" y="99"/>
                    <a:pt x="48" y="98"/>
                  </a:cubicBezTo>
                  <a:cubicBezTo>
                    <a:pt x="54" y="98"/>
                    <a:pt x="59" y="96"/>
                    <a:pt x="63" y="92"/>
                  </a:cubicBezTo>
                  <a:cubicBezTo>
                    <a:pt x="63" y="92"/>
                    <a:pt x="96" y="79"/>
                    <a:pt x="108" y="26"/>
                  </a:cubicBezTo>
                  <a:cubicBezTo>
                    <a:pt x="108" y="26"/>
                    <a:pt x="117" y="14"/>
                    <a:pt x="117" y="11"/>
                  </a:cubicBezTo>
                  <a:cubicBezTo>
                    <a:pt x="97" y="20"/>
                    <a:pt x="97" y="20"/>
                    <a:pt x="97" y="20"/>
                  </a:cubicBezTo>
                  <a:cubicBezTo>
                    <a:pt x="97" y="20"/>
                    <a:pt x="104" y="34"/>
                    <a:pt x="99" y="45"/>
                  </a:cubicBezTo>
                  <a:cubicBezTo>
                    <a:pt x="99" y="45"/>
                    <a:pt x="98" y="20"/>
                    <a:pt x="94" y="21"/>
                  </a:cubicBezTo>
                  <a:cubicBezTo>
                    <a:pt x="94" y="21"/>
                    <a:pt x="84" y="26"/>
                    <a:pt x="84" y="26"/>
                  </a:cubicBezTo>
                  <a:cubicBezTo>
                    <a:pt x="84" y="26"/>
                    <a:pt x="96" y="50"/>
                    <a:pt x="87" y="68"/>
                  </a:cubicBezTo>
                  <a:cubicBezTo>
                    <a:pt x="87" y="68"/>
                    <a:pt x="90" y="38"/>
                    <a:pt x="81" y="27"/>
                  </a:cubicBezTo>
                  <a:cubicBezTo>
                    <a:pt x="67" y="35"/>
                    <a:pt x="67" y="35"/>
                    <a:pt x="67" y="35"/>
                  </a:cubicBezTo>
                  <a:cubicBezTo>
                    <a:pt x="67" y="35"/>
                    <a:pt x="80" y="61"/>
                    <a:pt x="71" y="81"/>
                  </a:cubicBezTo>
                  <a:cubicBezTo>
                    <a:pt x="71" y="81"/>
                    <a:pt x="74" y="50"/>
                    <a:pt x="64" y="37"/>
                  </a:cubicBezTo>
                  <a:cubicBezTo>
                    <a:pt x="52" y="47"/>
                    <a:pt x="52" y="47"/>
                    <a:pt x="52" y="47"/>
                  </a:cubicBezTo>
                  <a:cubicBezTo>
                    <a:pt x="52" y="47"/>
                    <a:pt x="64" y="72"/>
                    <a:pt x="57" y="89"/>
                  </a:cubicBezTo>
                  <a:cubicBezTo>
                    <a:pt x="57" y="89"/>
                    <a:pt x="56" y="52"/>
                    <a:pt x="49" y="49"/>
                  </a:cubicBezTo>
                  <a:cubicBezTo>
                    <a:pt x="49" y="49"/>
                    <a:pt x="38" y="59"/>
                    <a:pt x="37" y="63"/>
                  </a:cubicBezTo>
                  <a:cubicBezTo>
                    <a:pt x="37" y="63"/>
                    <a:pt x="45" y="81"/>
                    <a:pt x="40" y="90"/>
                  </a:cubicBezTo>
                  <a:cubicBezTo>
                    <a:pt x="40" y="90"/>
                    <a:pt x="37" y="66"/>
                    <a:pt x="34" y="66"/>
                  </a:cubicBezTo>
                  <a:cubicBezTo>
                    <a:pt x="34" y="66"/>
                    <a:pt x="23" y="82"/>
                    <a:pt x="22" y="93"/>
                  </a:cubicBezTo>
                  <a:cubicBezTo>
                    <a:pt x="22" y="83"/>
                    <a:pt x="26" y="73"/>
                    <a:pt x="31" y="64"/>
                  </a:cubicBezTo>
                  <a:cubicBezTo>
                    <a:pt x="25" y="65"/>
                    <a:pt x="19" y="68"/>
                    <a:pt x="15" y="73"/>
                  </a:cubicBezTo>
                  <a:cubicBezTo>
                    <a:pt x="15" y="73"/>
                    <a:pt x="16" y="61"/>
                    <a:pt x="34" y="60"/>
                  </a:cubicBezTo>
                  <a:cubicBezTo>
                    <a:pt x="34" y="60"/>
                    <a:pt x="43" y="48"/>
                    <a:pt x="45" y="47"/>
                  </a:cubicBezTo>
                  <a:cubicBezTo>
                    <a:pt x="45" y="47"/>
                    <a:pt x="28" y="46"/>
                    <a:pt x="17" y="50"/>
                  </a:cubicBezTo>
                  <a:cubicBezTo>
                    <a:pt x="17" y="50"/>
                    <a:pt x="27" y="40"/>
                    <a:pt x="48" y="44"/>
                  </a:cubicBezTo>
                  <a:cubicBezTo>
                    <a:pt x="61" y="34"/>
                    <a:pt x="61" y="34"/>
                    <a:pt x="61" y="34"/>
                  </a:cubicBezTo>
                  <a:cubicBezTo>
                    <a:pt x="61" y="34"/>
                    <a:pt x="38" y="31"/>
                    <a:pt x="28" y="35"/>
                  </a:cubicBezTo>
                  <a:cubicBezTo>
                    <a:pt x="28" y="35"/>
                    <a:pt x="39" y="25"/>
                    <a:pt x="64" y="32"/>
                  </a:cubicBezTo>
                  <a:cubicBezTo>
                    <a:pt x="77" y="24"/>
                    <a:pt x="77" y="24"/>
                    <a:pt x="77" y="24"/>
                  </a:cubicBezTo>
                  <a:cubicBezTo>
                    <a:pt x="77" y="24"/>
                    <a:pt x="58" y="20"/>
                    <a:pt x="46" y="22"/>
                  </a:cubicBezTo>
                  <a:cubicBezTo>
                    <a:pt x="46" y="22"/>
                    <a:pt x="58" y="15"/>
                    <a:pt x="81" y="22"/>
                  </a:cubicBezTo>
                  <a:cubicBezTo>
                    <a:pt x="91" y="18"/>
                    <a:pt x="91" y="18"/>
                    <a:pt x="91" y="18"/>
                  </a:cubicBezTo>
                  <a:cubicBezTo>
                    <a:pt x="91" y="18"/>
                    <a:pt x="76" y="15"/>
                    <a:pt x="72" y="15"/>
                  </a:cubicBezTo>
                  <a:cubicBezTo>
                    <a:pt x="68" y="14"/>
                    <a:pt x="68" y="13"/>
                    <a:pt x="68" y="13"/>
                  </a:cubicBezTo>
                  <a:cubicBezTo>
                    <a:pt x="77" y="11"/>
                    <a:pt x="86" y="12"/>
                    <a:pt x="95" y="16"/>
                  </a:cubicBezTo>
                  <a:cubicBezTo>
                    <a:pt x="95" y="16"/>
                    <a:pt x="115" y="9"/>
                    <a:pt x="115" y="7"/>
                  </a:cubicBezTo>
                </a:path>
              </a:pathLst>
            </a:custGeom>
            <a:solidFill>
              <a:srgbClr val="536DF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4" name="íşḻiḓê">
              <a:extLst>
                <a:ext uri="{FF2B5EF4-FFF2-40B4-BE49-F238E27FC236}">
                  <a16:creationId xmlns:a16="http://schemas.microsoft.com/office/drawing/2014/main" id="{B7E4A568-F7E4-45AB-A68D-606BFBB60D9F}"/>
                </a:ext>
              </a:extLst>
            </p:cNvPr>
            <p:cNvSpPr/>
            <p:nvPr/>
          </p:nvSpPr>
          <p:spPr bwMode="auto">
            <a:xfrm>
              <a:off x="3360738" y="5049838"/>
              <a:ext cx="239713" cy="41275"/>
            </a:xfrm>
            <a:custGeom>
              <a:avLst/>
              <a:gdLst>
                <a:gd name="T0" fmla="*/ 62 w 163"/>
                <a:gd name="T1" fmla="*/ 0 h 28"/>
                <a:gd name="T2" fmla="*/ 0 w 163"/>
                <a:gd name="T3" fmla="*/ 14 h 28"/>
                <a:gd name="T4" fmla="*/ 81 w 163"/>
                <a:gd name="T5" fmla="*/ 28 h 28"/>
                <a:gd name="T6" fmla="*/ 163 w 163"/>
                <a:gd name="T7" fmla="*/ 14 h 28"/>
                <a:gd name="T8" fmla="*/ 104 w 163"/>
                <a:gd name="T9" fmla="*/ 1 h 28"/>
                <a:gd name="T10" fmla="*/ 94 w 163"/>
                <a:gd name="T11" fmla="*/ 3 h 28"/>
                <a:gd name="T12" fmla="*/ 90 w 163"/>
                <a:gd name="T13" fmla="*/ 3 h 28"/>
                <a:gd name="T14" fmla="*/ 81 w 163"/>
                <a:gd name="T15" fmla="*/ 3 h 28"/>
                <a:gd name="T16" fmla="*/ 77 w 163"/>
                <a:gd name="T17" fmla="*/ 2 h 28"/>
                <a:gd name="T18" fmla="*/ 70 w 163"/>
                <a:gd name="T19" fmla="*/ 7 h 28"/>
                <a:gd name="T20" fmla="*/ 62 w 163"/>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28">
                  <a:moveTo>
                    <a:pt x="62" y="0"/>
                  </a:moveTo>
                  <a:cubicBezTo>
                    <a:pt x="27" y="2"/>
                    <a:pt x="0" y="7"/>
                    <a:pt x="0" y="14"/>
                  </a:cubicBezTo>
                  <a:cubicBezTo>
                    <a:pt x="0" y="21"/>
                    <a:pt x="36" y="28"/>
                    <a:pt x="81" y="28"/>
                  </a:cubicBezTo>
                  <a:cubicBezTo>
                    <a:pt x="126" y="28"/>
                    <a:pt x="163" y="21"/>
                    <a:pt x="163" y="14"/>
                  </a:cubicBezTo>
                  <a:cubicBezTo>
                    <a:pt x="163" y="8"/>
                    <a:pt x="138" y="2"/>
                    <a:pt x="104" y="1"/>
                  </a:cubicBezTo>
                  <a:cubicBezTo>
                    <a:pt x="101" y="2"/>
                    <a:pt x="97" y="3"/>
                    <a:pt x="94" y="3"/>
                  </a:cubicBezTo>
                  <a:cubicBezTo>
                    <a:pt x="93" y="3"/>
                    <a:pt x="91" y="3"/>
                    <a:pt x="90" y="3"/>
                  </a:cubicBezTo>
                  <a:cubicBezTo>
                    <a:pt x="87" y="3"/>
                    <a:pt x="84" y="3"/>
                    <a:pt x="81" y="3"/>
                  </a:cubicBezTo>
                  <a:cubicBezTo>
                    <a:pt x="80" y="2"/>
                    <a:pt x="78" y="2"/>
                    <a:pt x="77" y="2"/>
                  </a:cubicBezTo>
                  <a:cubicBezTo>
                    <a:pt x="70" y="2"/>
                    <a:pt x="70" y="7"/>
                    <a:pt x="70" y="7"/>
                  </a:cubicBezTo>
                  <a:cubicBezTo>
                    <a:pt x="67" y="5"/>
                    <a:pt x="64" y="3"/>
                    <a:pt x="62" y="0"/>
                  </a:cubicBezTo>
                </a:path>
              </a:pathLst>
            </a:custGeom>
            <a:solidFill>
              <a:srgbClr val="EDF0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5" name="ïšḻîḑe">
              <a:extLst>
                <a:ext uri="{FF2B5EF4-FFF2-40B4-BE49-F238E27FC236}">
                  <a16:creationId xmlns:a16="http://schemas.microsoft.com/office/drawing/2014/main" id="{94BC4A97-7121-4D00-9A6B-5127950838A5}"/>
                </a:ext>
              </a:extLst>
            </p:cNvPr>
            <p:cNvSpPr/>
            <p:nvPr/>
          </p:nvSpPr>
          <p:spPr bwMode="auto">
            <a:xfrm>
              <a:off x="3451226" y="5049838"/>
              <a:ext cx="61913" cy="9525"/>
            </a:xfrm>
            <a:custGeom>
              <a:avLst/>
              <a:gdLst>
                <a:gd name="T0" fmla="*/ 19 w 42"/>
                <a:gd name="T1" fmla="*/ 0 h 7"/>
                <a:gd name="T2" fmla="*/ 0 w 42"/>
                <a:gd name="T3" fmla="*/ 0 h 7"/>
                <a:gd name="T4" fmla="*/ 8 w 42"/>
                <a:gd name="T5" fmla="*/ 7 h 7"/>
                <a:gd name="T6" fmla="*/ 15 w 42"/>
                <a:gd name="T7" fmla="*/ 2 h 7"/>
                <a:gd name="T8" fmla="*/ 19 w 42"/>
                <a:gd name="T9" fmla="*/ 3 h 7"/>
                <a:gd name="T10" fmla="*/ 28 w 42"/>
                <a:gd name="T11" fmla="*/ 3 h 7"/>
                <a:gd name="T12" fmla="*/ 32 w 42"/>
                <a:gd name="T13" fmla="*/ 3 h 7"/>
                <a:gd name="T14" fmla="*/ 42 w 42"/>
                <a:gd name="T15" fmla="*/ 1 h 7"/>
                <a:gd name="T16" fmla="*/ 19 w 42"/>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7">
                  <a:moveTo>
                    <a:pt x="19" y="0"/>
                  </a:moveTo>
                  <a:cubicBezTo>
                    <a:pt x="13" y="0"/>
                    <a:pt x="7" y="0"/>
                    <a:pt x="0" y="0"/>
                  </a:cubicBezTo>
                  <a:cubicBezTo>
                    <a:pt x="2" y="3"/>
                    <a:pt x="5" y="5"/>
                    <a:pt x="8" y="7"/>
                  </a:cubicBezTo>
                  <a:cubicBezTo>
                    <a:pt x="8" y="7"/>
                    <a:pt x="8" y="2"/>
                    <a:pt x="15" y="2"/>
                  </a:cubicBezTo>
                  <a:cubicBezTo>
                    <a:pt x="16" y="2"/>
                    <a:pt x="18" y="2"/>
                    <a:pt x="19" y="3"/>
                  </a:cubicBezTo>
                  <a:cubicBezTo>
                    <a:pt x="22" y="3"/>
                    <a:pt x="25" y="3"/>
                    <a:pt x="28" y="3"/>
                  </a:cubicBezTo>
                  <a:cubicBezTo>
                    <a:pt x="29" y="3"/>
                    <a:pt x="31" y="3"/>
                    <a:pt x="32" y="3"/>
                  </a:cubicBezTo>
                  <a:cubicBezTo>
                    <a:pt x="35" y="3"/>
                    <a:pt x="39" y="2"/>
                    <a:pt x="42" y="1"/>
                  </a:cubicBezTo>
                  <a:cubicBezTo>
                    <a:pt x="35" y="0"/>
                    <a:pt x="27" y="0"/>
                    <a:pt x="19" y="0"/>
                  </a:cubicBezTo>
                </a:path>
              </a:pathLst>
            </a:custGeom>
            <a:solidFill>
              <a:srgbClr val="536DF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6" name="ïSľîde">
              <a:extLst>
                <a:ext uri="{FF2B5EF4-FFF2-40B4-BE49-F238E27FC236}">
                  <a16:creationId xmlns:a16="http://schemas.microsoft.com/office/drawing/2014/main" id="{106CA425-7542-429C-9DE0-EBC38B0EDA38}"/>
                </a:ext>
              </a:extLst>
            </p:cNvPr>
            <p:cNvSpPr/>
            <p:nvPr/>
          </p:nvSpPr>
          <p:spPr bwMode="auto">
            <a:xfrm>
              <a:off x="6759576" y="5776913"/>
              <a:ext cx="352425" cy="58738"/>
            </a:xfrm>
            <a:custGeom>
              <a:avLst/>
              <a:gdLst>
                <a:gd name="T0" fmla="*/ 84 w 240"/>
                <a:gd name="T1" fmla="*/ 0 h 40"/>
                <a:gd name="T2" fmla="*/ 0 w 240"/>
                <a:gd name="T3" fmla="*/ 20 h 40"/>
                <a:gd name="T4" fmla="*/ 120 w 240"/>
                <a:gd name="T5" fmla="*/ 40 h 40"/>
                <a:gd name="T6" fmla="*/ 240 w 240"/>
                <a:gd name="T7" fmla="*/ 20 h 40"/>
                <a:gd name="T8" fmla="*/ 239 w 240"/>
                <a:gd name="T9" fmla="*/ 18 h 40"/>
                <a:gd name="T10" fmla="*/ 84 w 240"/>
                <a:gd name="T11" fmla="*/ 0 h 40"/>
              </a:gdLst>
              <a:ahLst/>
              <a:cxnLst>
                <a:cxn ang="0">
                  <a:pos x="T0" y="T1"/>
                </a:cxn>
                <a:cxn ang="0">
                  <a:pos x="T2" y="T3"/>
                </a:cxn>
                <a:cxn ang="0">
                  <a:pos x="T4" y="T5"/>
                </a:cxn>
                <a:cxn ang="0">
                  <a:pos x="T6" y="T7"/>
                </a:cxn>
                <a:cxn ang="0">
                  <a:pos x="T8" y="T9"/>
                </a:cxn>
                <a:cxn ang="0">
                  <a:pos x="T10" y="T11"/>
                </a:cxn>
              </a:cxnLst>
              <a:rect l="0" t="0" r="r" b="b"/>
              <a:pathLst>
                <a:path w="240" h="40">
                  <a:moveTo>
                    <a:pt x="84" y="0"/>
                  </a:moveTo>
                  <a:cubicBezTo>
                    <a:pt x="36" y="3"/>
                    <a:pt x="0" y="11"/>
                    <a:pt x="0" y="20"/>
                  </a:cubicBezTo>
                  <a:cubicBezTo>
                    <a:pt x="0" y="31"/>
                    <a:pt x="54" y="40"/>
                    <a:pt x="120" y="40"/>
                  </a:cubicBezTo>
                  <a:cubicBezTo>
                    <a:pt x="186" y="40"/>
                    <a:pt x="240" y="31"/>
                    <a:pt x="240" y="20"/>
                  </a:cubicBezTo>
                  <a:cubicBezTo>
                    <a:pt x="240" y="19"/>
                    <a:pt x="239" y="18"/>
                    <a:pt x="239" y="18"/>
                  </a:cubicBezTo>
                  <a:cubicBezTo>
                    <a:pt x="182" y="16"/>
                    <a:pt x="118" y="9"/>
                    <a:pt x="84" y="0"/>
                  </a:cubicBezTo>
                </a:path>
              </a:pathLst>
            </a:custGeom>
            <a:solidFill>
              <a:srgbClr val="EDF0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7" name="îṣḷídè">
              <a:extLst>
                <a:ext uri="{FF2B5EF4-FFF2-40B4-BE49-F238E27FC236}">
                  <a16:creationId xmlns:a16="http://schemas.microsoft.com/office/drawing/2014/main" id="{2C6B5F25-C2EA-48F2-9B76-183F5F7F65E1}"/>
                </a:ext>
              </a:extLst>
            </p:cNvPr>
            <p:cNvSpPr/>
            <p:nvPr/>
          </p:nvSpPr>
          <p:spPr bwMode="auto">
            <a:xfrm>
              <a:off x="6818313" y="5595938"/>
              <a:ext cx="442913" cy="207963"/>
            </a:xfrm>
            <a:custGeom>
              <a:avLst/>
              <a:gdLst>
                <a:gd name="T0" fmla="*/ 0 w 301"/>
                <a:gd name="T1" fmla="*/ 49 h 141"/>
                <a:gd name="T2" fmla="*/ 88 w 301"/>
                <a:gd name="T3" fmla="*/ 32 h 141"/>
                <a:gd name="T4" fmla="*/ 198 w 301"/>
                <a:gd name="T5" fmla="*/ 23 h 141"/>
                <a:gd name="T6" fmla="*/ 224 w 301"/>
                <a:gd name="T7" fmla="*/ 141 h 141"/>
                <a:gd name="T8" fmla="*/ 24 w 301"/>
                <a:gd name="T9" fmla="*/ 116 h 141"/>
                <a:gd name="T10" fmla="*/ 0 w 301"/>
                <a:gd name="T11" fmla="*/ 49 h 141"/>
              </a:gdLst>
              <a:ahLst/>
              <a:cxnLst>
                <a:cxn ang="0">
                  <a:pos x="T0" y="T1"/>
                </a:cxn>
                <a:cxn ang="0">
                  <a:pos x="T2" y="T3"/>
                </a:cxn>
                <a:cxn ang="0">
                  <a:pos x="T4" y="T5"/>
                </a:cxn>
                <a:cxn ang="0">
                  <a:pos x="T6" y="T7"/>
                </a:cxn>
                <a:cxn ang="0">
                  <a:pos x="T8" y="T9"/>
                </a:cxn>
                <a:cxn ang="0">
                  <a:pos x="T10" y="T11"/>
                </a:cxn>
              </a:cxnLst>
              <a:rect l="0" t="0" r="r" b="b"/>
              <a:pathLst>
                <a:path w="301" h="141">
                  <a:moveTo>
                    <a:pt x="0" y="49"/>
                  </a:moveTo>
                  <a:cubicBezTo>
                    <a:pt x="0" y="49"/>
                    <a:pt x="68" y="47"/>
                    <a:pt x="88" y="32"/>
                  </a:cubicBezTo>
                  <a:cubicBezTo>
                    <a:pt x="109" y="17"/>
                    <a:pt x="193" y="0"/>
                    <a:pt x="198" y="23"/>
                  </a:cubicBezTo>
                  <a:cubicBezTo>
                    <a:pt x="204" y="47"/>
                    <a:pt x="301" y="140"/>
                    <a:pt x="224" y="141"/>
                  </a:cubicBezTo>
                  <a:cubicBezTo>
                    <a:pt x="147" y="141"/>
                    <a:pt x="45" y="129"/>
                    <a:pt x="24" y="116"/>
                  </a:cubicBezTo>
                  <a:cubicBezTo>
                    <a:pt x="4" y="104"/>
                    <a:pt x="0" y="49"/>
                    <a:pt x="0" y="49"/>
                  </a:cubicBezTo>
                </a:path>
              </a:pathLst>
            </a:custGeom>
            <a:solidFill>
              <a:srgbClr val="A8A8A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8" name="îšḻiḑé">
              <a:extLst>
                <a:ext uri="{FF2B5EF4-FFF2-40B4-BE49-F238E27FC236}">
                  <a16:creationId xmlns:a16="http://schemas.microsoft.com/office/drawing/2014/main" id="{746EF635-20B4-4C0C-A146-B2C727741175}"/>
                </a:ext>
              </a:extLst>
            </p:cNvPr>
            <p:cNvSpPr/>
            <p:nvPr/>
          </p:nvSpPr>
          <p:spPr bwMode="auto">
            <a:xfrm>
              <a:off x="6816726" y="5668963"/>
              <a:ext cx="357188" cy="131763"/>
            </a:xfrm>
            <a:custGeom>
              <a:avLst/>
              <a:gdLst>
                <a:gd name="T0" fmla="*/ 243 w 243"/>
                <a:gd name="T1" fmla="*/ 89 h 90"/>
                <a:gd name="T2" fmla="*/ 239 w 243"/>
                <a:gd name="T3" fmla="*/ 90 h 90"/>
                <a:gd name="T4" fmla="*/ 243 w 243"/>
                <a:gd name="T5" fmla="*/ 89 h 90"/>
                <a:gd name="T6" fmla="*/ 3 w 243"/>
                <a:gd name="T7" fmla="*/ 0 h 90"/>
                <a:gd name="T8" fmla="*/ 0 w 243"/>
                <a:gd name="T9" fmla="*/ 0 h 90"/>
                <a:gd name="T10" fmla="*/ 7 w 243"/>
                <a:gd name="T11" fmla="*/ 36 h 90"/>
                <a:gd name="T12" fmla="*/ 1 w 243"/>
                <a:gd name="T13" fmla="*/ 0 h 90"/>
                <a:gd name="T14" fmla="*/ 3 w 243"/>
                <a:gd name="T15" fmla="*/ 0 h 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90">
                  <a:moveTo>
                    <a:pt x="243" y="89"/>
                  </a:moveTo>
                  <a:cubicBezTo>
                    <a:pt x="242" y="89"/>
                    <a:pt x="241" y="90"/>
                    <a:pt x="239" y="90"/>
                  </a:cubicBezTo>
                  <a:cubicBezTo>
                    <a:pt x="241" y="90"/>
                    <a:pt x="242" y="89"/>
                    <a:pt x="243" y="89"/>
                  </a:cubicBezTo>
                  <a:moveTo>
                    <a:pt x="3" y="0"/>
                  </a:moveTo>
                  <a:cubicBezTo>
                    <a:pt x="0" y="0"/>
                    <a:pt x="0" y="0"/>
                    <a:pt x="0" y="0"/>
                  </a:cubicBezTo>
                  <a:cubicBezTo>
                    <a:pt x="0" y="0"/>
                    <a:pt x="2" y="18"/>
                    <a:pt x="7" y="36"/>
                  </a:cubicBezTo>
                  <a:cubicBezTo>
                    <a:pt x="2" y="18"/>
                    <a:pt x="1" y="0"/>
                    <a:pt x="1" y="0"/>
                  </a:cubicBezTo>
                  <a:cubicBezTo>
                    <a:pt x="1" y="0"/>
                    <a:pt x="1" y="0"/>
                    <a:pt x="3" y="0"/>
                  </a:cubicBezTo>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9" name="íśḷîḑe">
              <a:extLst>
                <a:ext uri="{FF2B5EF4-FFF2-40B4-BE49-F238E27FC236}">
                  <a16:creationId xmlns:a16="http://schemas.microsoft.com/office/drawing/2014/main" id="{567BF83C-12A7-41A3-98A8-AA8F51FDA5FA}"/>
                </a:ext>
              </a:extLst>
            </p:cNvPr>
            <p:cNvSpPr/>
            <p:nvPr/>
          </p:nvSpPr>
          <p:spPr bwMode="auto">
            <a:xfrm>
              <a:off x="6818313" y="5668963"/>
              <a:ext cx="373063" cy="134938"/>
            </a:xfrm>
            <a:custGeom>
              <a:avLst/>
              <a:gdLst>
                <a:gd name="T0" fmla="*/ 2 w 254"/>
                <a:gd name="T1" fmla="*/ 0 h 92"/>
                <a:gd name="T2" fmla="*/ 2 w 254"/>
                <a:gd name="T3" fmla="*/ 0 h 92"/>
                <a:gd name="T4" fmla="*/ 0 w 254"/>
                <a:gd name="T5" fmla="*/ 0 h 92"/>
                <a:gd name="T6" fmla="*/ 6 w 254"/>
                <a:gd name="T7" fmla="*/ 36 h 92"/>
                <a:gd name="T8" fmla="*/ 24 w 254"/>
                <a:gd name="T9" fmla="*/ 67 h 92"/>
                <a:gd name="T10" fmla="*/ 219 w 254"/>
                <a:gd name="T11" fmla="*/ 92 h 92"/>
                <a:gd name="T12" fmla="*/ 224 w 254"/>
                <a:gd name="T13" fmla="*/ 92 h 92"/>
                <a:gd name="T14" fmla="*/ 238 w 254"/>
                <a:gd name="T15" fmla="*/ 90 h 92"/>
                <a:gd name="T16" fmla="*/ 242 w 254"/>
                <a:gd name="T17" fmla="*/ 89 h 92"/>
                <a:gd name="T18" fmla="*/ 253 w 254"/>
                <a:gd name="T19" fmla="*/ 72 h 92"/>
                <a:gd name="T20" fmla="*/ 225 w 254"/>
                <a:gd name="T21" fmla="*/ 84 h 92"/>
                <a:gd name="T22" fmla="*/ 220 w 254"/>
                <a:gd name="T23" fmla="*/ 84 h 92"/>
                <a:gd name="T24" fmla="*/ 26 w 254"/>
                <a:gd name="T25" fmla="*/ 59 h 92"/>
                <a:gd name="T26" fmla="*/ 2 w 254"/>
                <a:gd name="T27"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4" h="92">
                  <a:moveTo>
                    <a:pt x="2" y="0"/>
                  </a:moveTo>
                  <a:cubicBezTo>
                    <a:pt x="2" y="0"/>
                    <a:pt x="2" y="0"/>
                    <a:pt x="2" y="0"/>
                  </a:cubicBezTo>
                  <a:cubicBezTo>
                    <a:pt x="0" y="0"/>
                    <a:pt x="0" y="0"/>
                    <a:pt x="0" y="0"/>
                  </a:cubicBezTo>
                  <a:cubicBezTo>
                    <a:pt x="0" y="0"/>
                    <a:pt x="1" y="18"/>
                    <a:pt x="6" y="36"/>
                  </a:cubicBezTo>
                  <a:cubicBezTo>
                    <a:pt x="10" y="49"/>
                    <a:pt x="16" y="62"/>
                    <a:pt x="24" y="67"/>
                  </a:cubicBezTo>
                  <a:cubicBezTo>
                    <a:pt x="44" y="79"/>
                    <a:pt x="142" y="92"/>
                    <a:pt x="219" y="92"/>
                  </a:cubicBezTo>
                  <a:cubicBezTo>
                    <a:pt x="220" y="92"/>
                    <a:pt x="222" y="92"/>
                    <a:pt x="224" y="92"/>
                  </a:cubicBezTo>
                  <a:cubicBezTo>
                    <a:pt x="230" y="92"/>
                    <a:pt x="234" y="91"/>
                    <a:pt x="238" y="90"/>
                  </a:cubicBezTo>
                  <a:cubicBezTo>
                    <a:pt x="240" y="90"/>
                    <a:pt x="241" y="89"/>
                    <a:pt x="242" y="89"/>
                  </a:cubicBezTo>
                  <a:cubicBezTo>
                    <a:pt x="251" y="86"/>
                    <a:pt x="254" y="80"/>
                    <a:pt x="253" y="72"/>
                  </a:cubicBezTo>
                  <a:cubicBezTo>
                    <a:pt x="250" y="79"/>
                    <a:pt x="242" y="84"/>
                    <a:pt x="225" y="84"/>
                  </a:cubicBezTo>
                  <a:cubicBezTo>
                    <a:pt x="223" y="84"/>
                    <a:pt x="222" y="84"/>
                    <a:pt x="220" y="84"/>
                  </a:cubicBezTo>
                  <a:cubicBezTo>
                    <a:pt x="143" y="84"/>
                    <a:pt x="46" y="71"/>
                    <a:pt x="26" y="59"/>
                  </a:cubicBezTo>
                  <a:cubicBezTo>
                    <a:pt x="10" y="50"/>
                    <a:pt x="4" y="15"/>
                    <a:pt x="2" y="0"/>
                  </a:cubicBezTo>
                </a:path>
              </a:pathLst>
            </a:custGeom>
            <a:solidFill>
              <a:srgbClr val="86868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Tree>
    <p:extLst>
      <p:ext uri="{BB962C8B-B14F-4D97-AF65-F5344CB8AC3E}">
        <p14:creationId xmlns:p14="http://schemas.microsoft.com/office/powerpoint/2010/main" val="41057293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CACEC9"/>
        </a:solidFill>
        <a:effectLst/>
      </p:bgPr>
    </p:bg>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id="{0853A8D8-448C-4E50-AD38-219140CD6184}"/>
              </a:ext>
            </a:extLst>
          </p:cNvPr>
          <p:cNvGrpSpPr/>
          <p:nvPr/>
        </p:nvGrpSpPr>
        <p:grpSpPr>
          <a:xfrm>
            <a:off x="669925" y="210537"/>
            <a:ext cx="468000" cy="468000"/>
            <a:chOff x="669925" y="48611"/>
            <a:chExt cx="468000" cy="468000"/>
          </a:xfrm>
        </p:grpSpPr>
        <p:sp>
          <p:nvSpPr>
            <p:cNvPr id="3" name="椭圆 2">
              <a:extLst>
                <a:ext uri="{FF2B5EF4-FFF2-40B4-BE49-F238E27FC236}">
                  <a16:creationId xmlns:a16="http://schemas.microsoft.com/office/drawing/2014/main" id="{18765B3C-06BD-445D-B72B-512E55DEF34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4" name="椭圆 3">
              <a:extLst>
                <a:ext uri="{FF2B5EF4-FFF2-40B4-BE49-F238E27FC236}">
                  <a16:creationId xmlns:a16="http://schemas.microsoft.com/office/drawing/2014/main" id="{A6AA7771-0E3D-4241-9DE3-825324394A29}"/>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grpSp>
      <p:sp>
        <p:nvSpPr>
          <p:cNvPr id="5" name="标题 1">
            <a:extLst>
              <a:ext uri="{FF2B5EF4-FFF2-40B4-BE49-F238E27FC236}">
                <a16:creationId xmlns:a16="http://schemas.microsoft.com/office/drawing/2014/main" id="{62930304-3D14-4FEB-B45D-709CE5948953}"/>
              </a:ext>
            </a:extLst>
          </p:cNvPr>
          <p:cNvSpPr txBox="1">
            <a:spLocks/>
          </p:cNvSpPr>
          <p:nvPr/>
        </p:nvSpPr>
        <p:spPr>
          <a:xfrm>
            <a:off x="1149782" y="198392"/>
            <a:ext cx="7347103" cy="57784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en-US" altLang="zh-CN" sz="3200" b="0" dirty="0" smtClean="0">
                <a:latin typeface="Arial" panose="020B0604020202020204" pitchFamily="34" charset="0"/>
                <a:ea typeface="Microsoft YaHei" panose="020B0503020204020204" pitchFamily="34" charset="-122"/>
                <a:cs typeface="+mn-ea"/>
                <a:sym typeface="Arial" panose="020B0604020202020204" pitchFamily="34" charset="0"/>
              </a:rPr>
              <a:t>DFX——Design For X</a:t>
            </a:r>
            <a:endParaRPr lang="zh-CN" altLang="en-US" sz="3200" b="0" dirty="0">
              <a:latin typeface="Arial" panose="020B0604020202020204" pitchFamily="34" charset="0"/>
              <a:ea typeface="Microsoft YaHei" panose="020B0503020204020204" pitchFamily="34" charset="-122"/>
              <a:cs typeface="+mn-ea"/>
              <a:sym typeface="Arial" panose="020B0604020202020204" pitchFamily="34" charset="0"/>
            </a:endParaRPr>
          </a:p>
        </p:txBody>
      </p:sp>
      <p:grpSp>
        <p:nvGrpSpPr>
          <p:cNvPr id="252" name="4105"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444138" y="1020029"/>
            <a:ext cx="10747444" cy="5430440"/>
            <a:chOff x="444138" y="1020029"/>
            <a:chExt cx="10747444" cy="5430440"/>
          </a:xfrm>
        </p:grpSpPr>
        <p:sp>
          <p:nvSpPr>
            <p:cNvPr id="253" name="ísḷïḑe"/>
            <p:cNvSpPr/>
            <p:nvPr/>
          </p:nvSpPr>
          <p:spPr bwMode="auto">
            <a:xfrm>
              <a:off x="6069553" y="5943810"/>
              <a:ext cx="3648" cy="5471"/>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2" y="2"/>
                    <a:pt x="2" y="1"/>
                    <a:pt x="1" y="0"/>
                  </a:cubicBezTo>
                  <a:cubicBezTo>
                    <a:pt x="0" y="1"/>
                    <a:pt x="0" y="2"/>
                    <a:pt x="1" y="2"/>
                  </a:cubicBezTo>
                  <a:close/>
                </a:path>
              </a:pathLst>
            </a:custGeom>
            <a:solidFill>
              <a:srgbClr val="F89521"/>
            </a:solidFill>
            <a:ln>
              <a:noFill/>
            </a:ln>
            <a:extLst>
              <a:ext uri="{91240B29-F687-4f45-9708-019B960494DF}"/>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254" name="íŝliḍé"/>
            <p:cNvSpPr/>
            <p:nvPr/>
          </p:nvSpPr>
          <p:spPr bwMode="auto">
            <a:xfrm>
              <a:off x="8043072" y="2589556"/>
              <a:ext cx="3648" cy="5472"/>
            </a:xfrm>
            <a:custGeom>
              <a:avLst/>
              <a:gdLst>
                <a:gd name="T0" fmla="*/ 0 w 2"/>
                <a:gd name="T1" fmla="*/ 1 h 2"/>
                <a:gd name="T2" fmla="*/ 1 w 2"/>
                <a:gd name="T3" fmla="*/ 0 h 2"/>
                <a:gd name="T4" fmla="*/ 0 w 2"/>
                <a:gd name="T5" fmla="*/ 1 h 2"/>
              </a:gdLst>
              <a:ahLst/>
              <a:cxnLst>
                <a:cxn ang="0">
                  <a:pos x="T0" y="T1"/>
                </a:cxn>
                <a:cxn ang="0">
                  <a:pos x="T2" y="T3"/>
                </a:cxn>
                <a:cxn ang="0">
                  <a:pos x="T4" y="T5"/>
                </a:cxn>
              </a:cxnLst>
              <a:rect l="0" t="0" r="r" b="b"/>
              <a:pathLst>
                <a:path w="2" h="2">
                  <a:moveTo>
                    <a:pt x="0" y="1"/>
                  </a:moveTo>
                  <a:cubicBezTo>
                    <a:pt x="1" y="2"/>
                    <a:pt x="2" y="1"/>
                    <a:pt x="1" y="0"/>
                  </a:cubicBezTo>
                  <a:cubicBezTo>
                    <a:pt x="1" y="0"/>
                    <a:pt x="0" y="0"/>
                    <a:pt x="0" y="1"/>
                  </a:cubicBezTo>
                  <a:close/>
                </a:path>
              </a:pathLst>
            </a:custGeom>
            <a:solidFill>
              <a:srgbClr val="F89521"/>
            </a:solidFill>
            <a:ln>
              <a:noFill/>
            </a:ln>
            <a:extLst>
              <a:ext uri="{91240B29-F687-4f45-9708-019B960494DF}"/>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255" name="íṧḻiḑè"/>
            <p:cNvSpPr/>
            <p:nvPr/>
          </p:nvSpPr>
          <p:spPr bwMode="auto">
            <a:xfrm>
              <a:off x="4130689" y="4805662"/>
              <a:ext cx="5472" cy="5471"/>
            </a:xfrm>
            <a:custGeom>
              <a:avLst/>
              <a:gdLst>
                <a:gd name="T0" fmla="*/ 0 w 2"/>
                <a:gd name="T1" fmla="*/ 1 h 2"/>
                <a:gd name="T2" fmla="*/ 2 w 2"/>
                <a:gd name="T3" fmla="*/ 0 h 2"/>
                <a:gd name="T4" fmla="*/ 0 w 2"/>
                <a:gd name="T5" fmla="*/ 1 h 2"/>
              </a:gdLst>
              <a:ahLst/>
              <a:cxnLst>
                <a:cxn ang="0">
                  <a:pos x="T0" y="T1"/>
                </a:cxn>
                <a:cxn ang="0">
                  <a:pos x="T2" y="T3"/>
                </a:cxn>
                <a:cxn ang="0">
                  <a:pos x="T4" y="T5"/>
                </a:cxn>
              </a:cxnLst>
              <a:rect l="0" t="0" r="r" b="b"/>
              <a:pathLst>
                <a:path w="2" h="2">
                  <a:moveTo>
                    <a:pt x="0" y="1"/>
                  </a:moveTo>
                  <a:cubicBezTo>
                    <a:pt x="0" y="2"/>
                    <a:pt x="1" y="2"/>
                    <a:pt x="2" y="0"/>
                  </a:cubicBezTo>
                  <a:cubicBezTo>
                    <a:pt x="0" y="0"/>
                    <a:pt x="0" y="0"/>
                    <a:pt x="0" y="1"/>
                  </a:cubicBezTo>
                  <a:close/>
                </a:path>
              </a:pathLst>
            </a:custGeom>
            <a:solidFill>
              <a:srgbClr val="F89521"/>
            </a:solidFill>
            <a:ln>
              <a:noFill/>
            </a:ln>
            <a:extLst>
              <a:ext uri="{91240B29-F687-4f45-9708-019B960494DF}"/>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256" name="î$ļíḑê"/>
            <p:cNvSpPr/>
            <p:nvPr/>
          </p:nvSpPr>
          <p:spPr bwMode="auto">
            <a:xfrm>
              <a:off x="8023008" y="4838493"/>
              <a:ext cx="7296" cy="1823"/>
            </a:xfrm>
            <a:custGeom>
              <a:avLst/>
              <a:gdLst>
                <a:gd name="T0" fmla="*/ 0 w 2"/>
                <a:gd name="T1" fmla="*/ 0 h 1"/>
                <a:gd name="T2" fmla="*/ 1 w 2"/>
                <a:gd name="T3" fmla="*/ 1 h 1"/>
                <a:gd name="T4" fmla="*/ 0 w 2"/>
                <a:gd name="T5" fmla="*/ 0 h 1"/>
              </a:gdLst>
              <a:ahLst/>
              <a:cxnLst>
                <a:cxn ang="0">
                  <a:pos x="T0" y="T1"/>
                </a:cxn>
                <a:cxn ang="0">
                  <a:pos x="T2" y="T3"/>
                </a:cxn>
                <a:cxn ang="0">
                  <a:pos x="T4" y="T5"/>
                </a:cxn>
              </a:cxnLst>
              <a:rect l="0" t="0" r="r" b="b"/>
              <a:pathLst>
                <a:path w="2" h="1">
                  <a:moveTo>
                    <a:pt x="0" y="0"/>
                  </a:moveTo>
                  <a:cubicBezTo>
                    <a:pt x="0" y="1"/>
                    <a:pt x="1" y="1"/>
                    <a:pt x="1" y="1"/>
                  </a:cubicBezTo>
                  <a:cubicBezTo>
                    <a:pt x="2" y="0"/>
                    <a:pt x="1" y="0"/>
                    <a:pt x="0" y="0"/>
                  </a:cubicBezTo>
                  <a:close/>
                </a:path>
              </a:pathLst>
            </a:custGeom>
            <a:solidFill>
              <a:srgbClr val="F89521"/>
            </a:solidFill>
            <a:ln>
              <a:noFill/>
            </a:ln>
            <a:extLst>
              <a:ext uri="{91240B29-F687-4f45-9708-019B960494DF}"/>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257" name="iṧľíḑê"/>
            <p:cNvSpPr/>
            <p:nvPr/>
          </p:nvSpPr>
          <p:spPr bwMode="auto">
            <a:xfrm>
              <a:off x="4148928" y="2556725"/>
              <a:ext cx="5472" cy="5472"/>
            </a:xfrm>
            <a:custGeom>
              <a:avLst/>
              <a:gdLst>
                <a:gd name="T0" fmla="*/ 0 w 2"/>
                <a:gd name="T1" fmla="*/ 1 h 2"/>
                <a:gd name="T2" fmla="*/ 2 w 2"/>
                <a:gd name="T3" fmla="*/ 2 h 2"/>
                <a:gd name="T4" fmla="*/ 0 w 2"/>
                <a:gd name="T5" fmla="*/ 1 h 2"/>
              </a:gdLst>
              <a:ahLst/>
              <a:cxnLst>
                <a:cxn ang="0">
                  <a:pos x="T0" y="T1"/>
                </a:cxn>
                <a:cxn ang="0">
                  <a:pos x="T2" y="T3"/>
                </a:cxn>
                <a:cxn ang="0">
                  <a:pos x="T4" y="T5"/>
                </a:cxn>
              </a:cxnLst>
              <a:rect l="0" t="0" r="r" b="b"/>
              <a:pathLst>
                <a:path w="2" h="2">
                  <a:moveTo>
                    <a:pt x="0" y="1"/>
                  </a:moveTo>
                  <a:cubicBezTo>
                    <a:pt x="0" y="2"/>
                    <a:pt x="0" y="2"/>
                    <a:pt x="2" y="2"/>
                  </a:cubicBezTo>
                  <a:cubicBezTo>
                    <a:pt x="1" y="1"/>
                    <a:pt x="1" y="0"/>
                    <a:pt x="0" y="1"/>
                  </a:cubicBezTo>
                  <a:close/>
                </a:path>
              </a:pathLst>
            </a:custGeom>
            <a:solidFill>
              <a:srgbClr val="F89521"/>
            </a:solidFill>
            <a:ln>
              <a:noFill/>
            </a:ln>
            <a:extLst>
              <a:ext uri="{91240B29-F687-4f45-9708-019B960494DF}"/>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nvGrpSpPr>
            <p:cNvPr id="258" name="iṥḷiḋê"/>
            <p:cNvGrpSpPr>
              <a:grpSpLocks/>
            </p:cNvGrpSpPr>
            <p:nvPr/>
          </p:nvGrpSpPr>
          <p:grpSpPr bwMode="auto">
            <a:xfrm>
              <a:off x="5436640" y="1453233"/>
              <a:ext cx="1329663" cy="2026413"/>
              <a:chOff x="8206546" y="1469377"/>
              <a:chExt cx="1698625" cy="2589213"/>
            </a:xfrm>
            <a:solidFill>
              <a:schemeClr val="bg1">
                <a:lumMod val="85000"/>
              </a:schemeClr>
            </a:solidFill>
          </p:grpSpPr>
          <p:sp>
            <p:nvSpPr>
              <p:cNvPr id="291" name="íšḻíḑè"/>
              <p:cNvSpPr/>
              <p:nvPr/>
            </p:nvSpPr>
            <p:spPr bwMode="auto">
              <a:xfrm>
                <a:off x="8206546" y="1469377"/>
                <a:ext cx="1698625" cy="2589213"/>
              </a:xfrm>
              <a:custGeom>
                <a:avLst/>
                <a:gdLst>
                  <a:gd name="T0" fmla="*/ 191 w 452"/>
                  <a:gd name="T1" fmla="*/ 545 h 689"/>
                  <a:gd name="T2" fmla="*/ 194 w 452"/>
                  <a:gd name="T3" fmla="*/ 562 h 689"/>
                  <a:gd name="T4" fmla="*/ 163 w 452"/>
                  <a:gd name="T5" fmla="*/ 637 h 689"/>
                  <a:gd name="T6" fmla="*/ 226 w 452"/>
                  <a:gd name="T7" fmla="*/ 689 h 689"/>
                  <a:gd name="T8" fmla="*/ 289 w 452"/>
                  <a:gd name="T9" fmla="*/ 637 h 689"/>
                  <a:gd name="T10" fmla="*/ 258 w 452"/>
                  <a:gd name="T11" fmla="*/ 562 h 689"/>
                  <a:gd name="T12" fmla="*/ 261 w 452"/>
                  <a:gd name="T13" fmla="*/ 545 h 689"/>
                  <a:gd name="T14" fmla="*/ 451 w 452"/>
                  <a:gd name="T15" fmla="*/ 324 h 689"/>
                  <a:gd name="T16" fmla="*/ 228 w 452"/>
                  <a:gd name="T17" fmla="*/ 0 h 689"/>
                  <a:gd name="T18" fmla="*/ 1 w 452"/>
                  <a:gd name="T19" fmla="*/ 321 h 689"/>
                  <a:gd name="T20" fmla="*/ 191 w 452"/>
                  <a:gd name="T21" fmla="*/ 545 h 689"/>
                  <a:gd name="T22" fmla="*/ 227 w 452"/>
                  <a:gd name="T23" fmla="*/ 189 h 689"/>
                  <a:gd name="T24" fmla="*/ 371 w 452"/>
                  <a:gd name="T25" fmla="*/ 335 h 689"/>
                  <a:gd name="T26" fmla="*/ 225 w 452"/>
                  <a:gd name="T27" fmla="*/ 479 h 689"/>
                  <a:gd name="T28" fmla="*/ 81 w 452"/>
                  <a:gd name="T29" fmla="*/ 333 h 689"/>
                  <a:gd name="T30" fmla="*/ 227 w 452"/>
                  <a:gd name="T31" fmla="*/ 189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2" h="689">
                    <a:moveTo>
                      <a:pt x="191" y="545"/>
                    </a:moveTo>
                    <a:cubicBezTo>
                      <a:pt x="196" y="550"/>
                      <a:pt x="197" y="556"/>
                      <a:pt x="194" y="562"/>
                    </a:cubicBezTo>
                    <a:cubicBezTo>
                      <a:pt x="181" y="591"/>
                      <a:pt x="157" y="595"/>
                      <a:pt x="163" y="637"/>
                    </a:cubicBezTo>
                    <a:cubicBezTo>
                      <a:pt x="169" y="670"/>
                      <a:pt x="197" y="687"/>
                      <a:pt x="226" y="689"/>
                    </a:cubicBezTo>
                    <a:cubicBezTo>
                      <a:pt x="255" y="687"/>
                      <a:pt x="283" y="670"/>
                      <a:pt x="289" y="637"/>
                    </a:cubicBezTo>
                    <a:cubicBezTo>
                      <a:pt x="295" y="595"/>
                      <a:pt x="271" y="591"/>
                      <a:pt x="258" y="562"/>
                    </a:cubicBezTo>
                    <a:cubicBezTo>
                      <a:pt x="255" y="556"/>
                      <a:pt x="256" y="550"/>
                      <a:pt x="261" y="545"/>
                    </a:cubicBezTo>
                    <a:cubicBezTo>
                      <a:pt x="368" y="528"/>
                      <a:pt x="450" y="436"/>
                      <a:pt x="451" y="324"/>
                    </a:cubicBezTo>
                    <a:cubicBezTo>
                      <a:pt x="452" y="184"/>
                      <a:pt x="240" y="19"/>
                      <a:pt x="228" y="0"/>
                    </a:cubicBezTo>
                    <a:cubicBezTo>
                      <a:pt x="214" y="19"/>
                      <a:pt x="2" y="170"/>
                      <a:pt x="1" y="321"/>
                    </a:cubicBezTo>
                    <a:cubicBezTo>
                      <a:pt x="0" y="434"/>
                      <a:pt x="83" y="528"/>
                      <a:pt x="191" y="545"/>
                    </a:cubicBezTo>
                    <a:close/>
                    <a:moveTo>
                      <a:pt x="227" y="189"/>
                    </a:moveTo>
                    <a:cubicBezTo>
                      <a:pt x="307" y="189"/>
                      <a:pt x="371" y="255"/>
                      <a:pt x="371" y="335"/>
                    </a:cubicBezTo>
                    <a:cubicBezTo>
                      <a:pt x="370" y="415"/>
                      <a:pt x="305" y="479"/>
                      <a:pt x="225" y="479"/>
                    </a:cubicBezTo>
                    <a:cubicBezTo>
                      <a:pt x="145" y="479"/>
                      <a:pt x="80" y="413"/>
                      <a:pt x="81" y="333"/>
                    </a:cubicBezTo>
                    <a:cubicBezTo>
                      <a:pt x="81" y="253"/>
                      <a:pt x="147" y="189"/>
                      <a:pt x="227" y="189"/>
                    </a:cubicBezTo>
                    <a:close/>
                  </a:path>
                </a:pathLst>
              </a:custGeom>
              <a:grpFill/>
              <a:ln>
                <a:noFill/>
              </a:ln>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292" name="îśļïḋè"/>
              <p:cNvSpPr/>
              <p:nvPr/>
            </p:nvSpPr>
            <p:spPr bwMode="auto">
              <a:xfrm>
                <a:off x="8423244" y="2093958"/>
                <a:ext cx="1265230" cy="1263145"/>
              </a:xfrm>
              <a:custGeom>
                <a:avLst/>
                <a:gdLst>
                  <a:gd name="T0" fmla="*/ 169 w 336"/>
                  <a:gd name="T1" fmla="*/ 0 h 336"/>
                  <a:gd name="T2" fmla="*/ 0 w 336"/>
                  <a:gd name="T3" fmla="*/ 167 h 336"/>
                  <a:gd name="T4" fmla="*/ 167 w 336"/>
                  <a:gd name="T5" fmla="*/ 336 h 336"/>
                  <a:gd name="T6" fmla="*/ 336 w 336"/>
                  <a:gd name="T7" fmla="*/ 169 h 336"/>
                  <a:gd name="T8" fmla="*/ 169 w 336"/>
                  <a:gd name="T9" fmla="*/ 0 h 336"/>
                  <a:gd name="T10" fmla="*/ 167 w 336"/>
                  <a:gd name="T11" fmla="*/ 313 h 336"/>
                  <a:gd name="T12" fmla="*/ 23 w 336"/>
                  <a:gd name="T13" fmla="*/ 167 h 336"/>
                  <a:gd name="T14" fmla="*/ 169 w 336"/>
                  <a:gd name="T15" fmla="*/ 23 h 336"/>
                  <a:gd name="T16" fmla="*/ 313 w 336"/>
                  <a:gd name="T17" fmla="*/ 169 h 336"/>
                  <a:gd name="T18" fmla="*/ 167 w 336"/>
                  <a:gd name="T19" fmla="*/ 313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6" h="336">
                    <a:moveTo>
                      <a:pt x="169" y="0"/>
                    </a:moveTo>
                    <a:cubicBezTo>
                      <a:pt x="76" y="0"/>
                      <a:pt x="1" y="74"/>
                      <a:pt x="0" y="167"/>
                    </a:cubicBezTo>
                    <a:cubicBezTo>
                      <a:pt x="0" y="260"/>
                      <a:pt x="74" y="335"/>
                      <a:pt x="167" y="336"/>
                    </a:cubicBezTo>
                    <a:cubicBezTo>
                      <a:pt x="260" y="336"/>
                      <a:pt x="335" y="262"/>
                      <a:pt x="336" y="169"/>
                    </a:cubicBezTo>
                    <a:cubicBezTo>
                      <a:pt x="336" y="76"/>
                      <a:pt x="261" y="1"/>
                      <a:pt x="169" y="0"/>
                    </a:cubicBezTo>
                    <a:close/>
                    <a:moveTo>
                      <a:pt x="167" y="313"/>
                    </a:moveTo>
                    <a:cubicBezTo>
                      <a:pt x="87" y="313"/>
                      <a:pt x="22" y="247"/>
                      <a:pt x="23" y="167"/>
                    </a:cubicBezTo>
                    <a:cubicBezTo>
                      <a:pt x="23" y="87"/>
                      <a:pt x="89" y="23"/>
                      <a:pt x="169" y="23"/>
                    </a:cubicBezTo>
                    <a:cubicBezTo>
                      <a:pt x="249" y="23"/>
                      <a:pt x="313" y="89"/>
                      <a:pt x="313" y="169"/>
                    </a:cubicBezTo>
                    <a:cubicBezTo>
                      <a:pt x="312" y="249"/>
                      <a:pt x="247" y="313"/>
                      <a:pt x="167" y="313"/>
                    </a:cubicBezTo>
                    <a:close/>
                  </a:path>
                </a:pathLst>
              </a:custGeom>
              <a:grpFill/>
              <a:ln w="3175">
                <a:solidFill>
                  <a:schemeClr val="bg1">
                    <a:lumMod val="85000"/>
                  </a:schemeClr>
                </a:solidFill>
                <a:prstDash val="solid"/>
              </a:ln>
              <a:ex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p>
            </p:txBody>
          </p:sp>
        </p:grpSp>
        <p:sp>
          <p:nvSpPr>
            <p:cNvPr id="259" name="îslídè"/>
            <p:cNvSpPr/>
            <p:nvPr/>
          </p:nvSpPr>
          <p:spPr bwMode="auto">
            <a:xfrm>
              <a:off x="4154401" y="2261244"/>
              <a:ext cx="1780180" cy="1513882"/>
            </a:xfrm>
            <a:custGeom>
              <a:avLst/>
              <a:gdLst>
                <a:gd name="T0" fmla="*/ 578 w 605"/>
                <a:gd name="T1" fmla="*/ 368 h 515"/>
                <a:gd name="T2" fmla="*/ 498 w 605"/>
                <a:gd name="T3" fmla="*/ 358 h 515"/>
                <a:gd name="T4" fmla="*/ 485 w 605"/>
                <a:gd name="T5" fmla="*/ 351 h 515"/>
                <a:gd name="T6" fmla="*/ 391 w 605"/>
                <a:gd name="T7" fmla="*/ 70 h 515"/>
                <a:gd name="T8" fmla="*/ 0 w 605"/>
                <a:gd name="T9" fmla="*/ 102 h 515"/>
                <a:gd name="T10" fmla="*/ 164 w 605"/>
                <a:gd name="T11" fmla="*/ 459 h 515"/>
                <a:gd name="T12" fmla="*/ 452 w 605"/>
                <a:gd name="T13" fmla="*/ 407 h 515"/>
                <a:gd name="T14" fmla="*/ 466 w 605"/>
                <a:gd name="T15" fmla="*/ 414 h 515"/>
                <a:gd name="T16" fmla="*/ 515 w 605"/>
                <a:gd name="T17" fmla="*/ 478 h 515"/>
                <a:gd name="T18" fmla="*/ 592 w 605"/>
                <a:gd name="T19" fmla="*/ 449 h 515"/>
                <a:gd name="T20" fmla="*/ 578 w 605"/>
                <a:gd name="T21" fmla="*/ 368 h 515"/>
                <a:gd name="T22" fmla="*/ 287 w 605"/>
                <a:gd name="T23" fmla="*/ 415 h 515"/>
                <a:gd name="T24" fmla="*/ 214 w 605"/>
                <a:gd name="T25" fmla="*/ 395 h 515"/>
                <a:gd name="T26" fmla="*/ 162 w 605"/>
                <a:gd name="T27" fmla="*/ 197 h 515"/>
                <a:gd name="T28" fmla="*/ 289 w 605"/>
                <a:gd name="T29" fmla="*/ 125 h 515"/>
                <a:gd name="T30" fmla="*/ 361 w 605"/>
                <a:gd name="T31" fmla="*/ 145 h 515"/>
                <a:gd name="T32" fmla="*/ 428 w 605"/>
                <a:gd name="T33" fmla="*/ 234 h 515"/>
                <a:gd name="T34" fmla="*/ 413 w 605"/>
                <a:gd name="T35" fmla="*/ 343 h 515"/>
                <a:gd name="T36" fmla="*/ 287 w 605"/>
                <a:gd name="T37" fmla="*/ 415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5" h="515">
                  <a:moveTo>
                    <a:pt x="578" y="368"/>
                  </a:moveTo>
                  <a:cubicBezTo>
                    <a:pt x="545" y="342"/>
                    <a:pt x="529" y="361"/>
                    <a:pt x="498" y="358"/>
                  </a:cubicBezTo>
                  <a:cubicBezTo>
                    <a:pt x="492" y="357"/>
                    <a:pt x="488" y="355"/>
                    <a:pt x="485" y="351"/>
                  </a:cubicBezTo>
                  <a:cubicBezTo>
                    <a:pt x="528" y="248"/>
                    <a:pt x="490" y="128"/>
                    <a:pt x="391" y="70"/>
                  </a:cubicBezTo>
                  <a:cubicBezTo>
                    <a:pt x="271" y="0"/>
                    <a:pt x="22" y="101"/>
                    <a:pt x="0" y="102"/>
                  </a:cubicBezTo>
                  <a:cubicBezTo>
                    <a:pt x="9" y="123"/>
                    <a:pt x="34" y="382"/>
                    <a:pt x="164" y="459"/>
                  </a:cubicBezTo>
                  <a:cubicBezTo>
                    <a:pt x="261" y="515"/>
                    <a:pt x="383" y="491"/>
                    <a:pt x="452" y="407"/>
                  </a:cubicBezTo>
                  <a:cubicBezTo>
                    <a:pt x="458" y="406"/>
                    <a:pt x="462" y="409"/>
                    <a:pt x="466" y="414"/>
                  </a:cubicBezTo>
                  <a:cubicBezTo>
                    <a:pt x="484" y="439"/>
                    <a:pt x="476" y="462"/>
                    <a:pt x="515" y="478"/>
                  </a:cubicBezTo>
                  <a:cubicBezTo>
                    <a:pt x="547" y="489"/>
                    <a:pt x="576" y="474"/>
                    <a:pt x="592" y="449"/>
                  </a:cubicBezTo>
                  <a:cubicBezTo>
                    <a:pt x="605" y="423"/>
                    <a:pt x="604" y="390"/>
                    <a:pt x="578" y="368"/>
                  </a:cubicBezTo>
                  <a:close/>
                  <a:moveTo>
                    <a:pt x="287" y="415"/>
                  </a:moveTo>
                  <a:cubicBezTo>
                    <a:pt x="261" y="415"/>
                    <a:pt x="236" y="408"/>
                    <a:pt x="214" y="395"/>
                  </a:cubicBezTo>
                  <a:cubicBezTo>
                    <a:pt x="145" y="355"/>
                    <a:pt x="122" y="266"/>
                    <a:pt x="162" y="197"/>
                  </a:cubicBezTo>
                  <a:cubicBezTo>
                    <a:pt x="188" y="152"/>
                    <a:pt x="237" y="125"/>
                    <a:pt x="289" y="125"/>
                  </a:cubicBezTo>
                  <a:cubicBezTo>
                    <a:pt x="314" y="125"/>
                    <a:pt x="339" y="132"/>
                    <a:pt x="361" y="145"/>
                  </a:cubicBezTo>
                  <a:cubicBezTo>
                    <a:pt x="394" y="165"/>
                    <a:pt x="418" y="196"/>
                    <a:pt x="428" y="234"/>
                  </a:cubicBezTo>
                  <a:cubicBezTo>
                    <a:pt x="438" y="271"/>
                    <a:pt x="432" y="310"/>
                    <a:pt x="413" y="343"/>
                  </a:cubicBezTo>
                  <a:cubicBezTo>
                    <a:pt x="387" y="388"/>
                    <a:pt x="338" y="416"/>
                    <a:pt x="287" y="415"/>
                  </a:cubicBezTo>
                  <a:close/>
                </a:path>
              </a:pathLst>
            </a:custGeom>
            <a:solidFill>
              <a:schemeClr val="bg2">
                <a:lumMod val="90000"/>
              </a:schemeClr>
            </a:solidFill>
            <a:ln>
              <a:noFill/>
            </a:ln>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dirty="0"/>
            </a:p>
          </p:txBody>
        </p:sp>
        <p:sp>
          <p:nvSpPr>
            <p:cNvPr id="260" name="ïṣľiḍe"/>
            <p:cNvSpPr/>
            <p:nvPr/>
          </p:nvSpPr>
          <p:spPr bwMode="auto">
            <a:xfrm>
              <a:off x="4437114" y="2492887"/>
              <a:ext cx="1125381" cy="1127203"/>
            </a:xfrm>
            <a:custGeom>
              <a:avLst/>
              <a:gdLst>
                <a:gd name="T0" fmla="*/ 276 w 383"/>
                <a:gd name="T1" fmla="*/ 47 h 383"/>
                <a:gd name="T2" fmla="*/ 47 w 383"/>
                <a:gd name="T3" fmla="*/ 107 h 383"/>
                <a:gd name="T4" fmla="*/ 107 w 383"/>
                <a:gd name="T5" fmla="*/ 336 h 383"/>
                <a:gd name="T6" fmla="*/ 336 w 383"/>
                <a:gd name="T7" fmla="*/ 276 h 383"/>
                <a:gd name="T8" fmla="*/ 276 w 383"/>
                <a:gd name="T9" fmla="*/ 47 h 383"/>
                <a:gd name="T10" fmla="*/ 317 w 383"/>
                <a:gd name="T11" fmla="*/ 264 h 383"/>
                <a:gd name="T12" fmla="*/ 191 w 383"/>
                <a:gd name="T13" fmla="*/ 336 h 383"/>
                <a:gd name="T14" fmla="*/ 118 w 383"/>
                <a:gd name="T15" fmla="*/ 316 h 383"/>
                <a:gd name="T16" fmla="*/ 66 w 383"/>
                <a:gd name="T17" fmla="*/ 118 h 383"/>
                <a:gd name="T18" fmla="*/ 193 w 383"/>
                <a:gd name="T19" fmla="*/ 46 h 383"/>
                <a:gd name="T20" fmla="*/ 265 w 383"/>
                <a:gd name="T21" fmla="*/ 66 h 383"/>
                <a:gd name="T22" fmla="*/ 332 w 383"/>
                <a:gd name="T23" fmla="*/ 155 h 383"/>
                <a:gd name="T24" fmla="*/ 317 w 383"/>
                <a:gd name="T25" fmla="*/ 264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3" h="383">
                  <a:moveTo>
                    <a:pt x="276" y="47"/>
                  </a:moveTo>
                  <a:cubicBezTo>
                    <a:pt x="196" y="0"/>
                    <a:pt x="94" y="27"/>
                    <a:pt x="47" y="107"/>
                  </a:cubicBezTo>
                  <a:cubicBezTo>
                    <a:pt x="0" y="187"/>
                    <a:pt x="27" y="289"/>
                    <a:pt x="107" y="336"/>
                  </a:cubicBezTo>
                  <a:cubicBezTo>
                    <a:pt x="187" y="383"/>
                    <a:pt x="290" y="356"/>
                    <a:pt x="336" y="276"/>
                  </a:cubicBezTo>
                  <a:cubicBezTo>
                    <a:pt x="383" y="196"/>
                    <a:pt x="356" y="93"/>
                    <a:pt x="276" y="47"/>
                  </a:cubicBezTo>
                  <a:close/>
                  <a:moveTo>
                    <a:pt x="317" y="264"/>
                  </a:moveTo>
                  <a:cubicBezTo>
                    <a:pt x="291" y="309"/>
                    <a:pt x="242" y="337"/>
                    <a:pt x="191" y="336"/>
                  </a:cubicBezTo>
                  <a:cubicBezTo>
                    <a:pt x="165" y="336"/>
                    <a:pt x="140" y="329"/>
                    <a:pt x="118" y="316"/>
                  </a:cubicBezTo>
                  <a:cubicBezTo>
                    <a:pt x="49" y="276"/>
                    <a:pt x="26" y="187"/>
                    <a:pt x="66" y="118"/>
                  </a:cubicBezTo>
                  <a:cubicBezTo>
                    <a:pt x="92" y="73"/>
                    <a:pt x="141" y="46"/>
                    <a:pt x="193" y="46"/>
                  </a:cubicBezTo>
                  <a:cubicBezTo>
                    <a:pt x="218" y="46"/>
                    <a:pt x="243" y="53"/>
                    <a:pt x="265" y="66"/>
                  </a:cubicBezTo>
                  <a:cubicBezTo>
                    <a:pt x="298" y="86"/>
                    <a:pt x="322" y="117"/>
                    <a:pt x="332" y="155"/>
                  </a:cubicBezTo>
                  <a:cubicBezTo>
                    <a:pt x="342" y="192"/>
                    <a:pt x="336" y="231"/>
                    <a:pt x="317" y="264"/>
                  </a:cubicBezTo>
                  <a:close/>
                </a:path>
              </a:pathLst>
            </a:custGeom>
            <a:solidFill>
              <a:schemeClr val="bg2">
                <a:lumMod val="90000"/>
                <a:alpha val="40000"/>
              </a:schemeClr>
            </a:solidFill>
            <a:ln w="3175">
              <a:solidFill>
                <a:schemeClr val="bg1">
                  <a:lumMod val="85000"/>
                </a:schemeClr>
              </a:solidFill>
              <a:prstDash val="solid"/>
            </a:ln>
            <a:ex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p>
          </p:txBody>
        </p:sp>
        <p:grpSp>
          <p:nvGrpSpPr>
            <p:cNvPr id="261" name="ïṥ1ide"/>
            <p:cNvGrpSpPr>
              <a:grpSpLocks/>
            </p:cNvGrpSpPr>
            <p:nvPr/>
          </p:nvGrpSpPr>
          <p:grpSpPr bwMode="auto">
            <a:xfrm>
              <a:off x="4136161" y="3600027"/>
              <a:ext cx="1782003" cy="1532122"/>
              <a:chOff x="6544434" y="4212577"/>
              <a:chExt cx="2278063" cy="1958975"/>
            </a:xfrm>
            <a:solidFill>
              <a:schemeClr val="bg1">
                <a:lumMod val="85000"/>
              </a:schemeClr>
            </a:solidFill>
          </p:grpSpPr>
          <p:sp>
            <p:nvSpPr>
              <p:cNvPr id="289" name="işļïḓé"/>
              <p:cNvSpPr/>
              <p:nvPr/>
            </p:nvSpPr>
            <p:spPr bwMode="auto">
              <a:xfrm>
                <a:off x="6544434" y="4212577"/>
                <a:ext cx="2278063" cy="1958975"/>
              </a:xfrm>
              <a:custGeom>
                <a:avLst/>
                <a:gdLst>
                  <a:gd name="T0" fmla="*/ 593 w 606"/>
                  <a:gd name="T1" fmla="*/ 70 h 521"/>
                  <a:gd name="T2" fmla="*/ 517 w 606"/>
                  <a:gd name="T3" fmla="*/ 41 h 521"/>
                  <a:gd name="T4" fmla="*/ 467 w 606"/>
                  <a:gd name="T5" fmla="*/ 104 h 521"/>
                  <a:gd name="T6" fmla="*/ 456 w 606"/>
                  <a:gd name="T7" fmla="*/ 111 h 521"/>
                  <a:gd name="T8" fmla="*/ 168 w 606"/>
                  <a:gd name="T9" fmla="*/ 55 h 521"/>
                  <a:gd name="T10" fmla="*/ 0 w 606"/>
                  <a:gd name="T11" fmla="*/ 410 h 521"/>
                  <a:gd name="T12" fmla="*/ 391 w 606"/>
                  <a:gd name="T13" fmla="*/ 446 h 521"/>
                  <a:gd name="T14" fmla="*/ 487 w 606"/>
                  <a:gd name="T15" fmla="*/ 165 h 521"/>
                  <a:gd name="T16" fmla="*/ 498 w 606"/>
                  <a:gd name="T17" fmla="*/ 160 h 521"/>
                  <a:gd name="T18" fmla="*/ 578 w 606"/>
                  <a:gd name="T19" fmla="*/ 151 h 521"/>
                  <a:gd name="T20" fmla="*/ 593 w 606"/>
                  <a:gd name="T21" fmla="*/ 70 h 521"/>
                  <a:gd name="T22" fmla="*/ 361 w 606"/>
                  <a:gd name="T23" fmla="*/ 371 h 521"/>
                  <a:gd name="T24" fmla="*/ 289 w 606"/>
                  <a:gd name="T25" fmla="*/ 390 h 521"/>
                  <a:gd name="T26" fmla="*/ 163 w 606"/>
                  <a:gd name="T27" fmla="*/ 317 h 521"/>
                  <a:gd name="T28" fmla="*/ 218 w 606"/>
                  <a:gd name="T29" fmla="*/ 119 h 521"/>
                  <a:gd name="T30" fmla="*/ 290 w 606"/>
                  <a:gd name="T31" fmla="*/ 100 h 521"/>
                  <a:gd name="T32" fmla="*/ 415 w 606"/>
                  <a:gd name="T33" fmla="*/ 173 h 521"/>
                  <a:gd name="T34" fmla="*/ 361 w 606"/>
                  <a:gd name="T35" fmla="*/ 37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6" h="521">
                    <a:moveTo>
                      <a:pt x="593" y="70"/>
                    </a:moveTo>
                    <a:cubicBezTo>
                      <a:pt x="578" y="46"/>
                      <a:pt x="548" y="30"/>
                      <a:pt x="517" y="41"/>
                    </a:cubicBezTo>
                    <a:cubicBezTo>
                      <a:pt x="477" y="56"/>
                      <a:pt x="485" y="79"/>
                      <a:pt x="467" y="104"/>
                    </a:cubicBezTo>
                    <a:cubicBezTo>
                      <a:pt x="464" y="108"/>
                      <a:pt x="460" y="111"/>
                      <a:pt x="456" y="111"/>
                    </a:cubicBezTo>
                    <a:cubicBezTo>
                      <a:pt x="388" y="25"/>
                      <a:pt x="266" y="0"/>
                      <a:pt x="168" y="55"/>
                    </a:cubicBezTo>
                    <a:cubicBezTo>
                      <a:pt x="47" y="125"/>
                      <a:pt x="10" y="390"/>
                      <a:pt x="0" y="410"/>
                    </a:cubicBezTo>
                    <a:cubicBezTo>
                      <a:pt x="22" y="413"/>
                      <a:pt x="260" y="521"/>
                      <a:pt x="391" y="446"/>
                    </a:cubicBezTo>
                    <a:cubicBezTo>
                      <a:pt x="490" y="389"/>
                      <a:pt x="530" y="268"/>
                      <a:pt x="487" y="165"/>
                    </a:cubicBezTo>
                    <a:cubicBezTo>
                      <a:pt x="490" y="162"/>
                      <a:pt x="493" y="161"/>
                      <a:pt x="498" y="160"/>
                    </a:cubicBezTo>
                    <a:cubicBezTo>
                      <a:pt x="529" y="158"/>
                      <a:pt x="545" y="177"/>
                      <a:pt x="578" y="151"/>
                    </a:cubicBezTo>
                    <a:cubicBezTo>
                      <a:pt x="605" y="130"/>
                      <a:pt x="606" y="97"/>
                      <a:pt x="593" y="70"/>
                    </a:cubicBezTo>
                    <a:close/>
                    <a:moveTo>
                      <a:pt x="361" y="371"/>
                    </a:moveTo>
                    <a:cubicBezTo>
                      <a:pt x="339" y="384"/>
                      <a:pt x="314" y="390"/>
                      <a:pt x="289" y="390"/>
                    </a:cubicBezTo>
                    <a:cubicBezTo>
                      <a:pt x="237" y="390"/>
                      <a:pt x="189" y="362"/>
                      <a:pt x="163" y="317"/>
                    </a:cubicBezTo>
                    <a:cubicBezTo>
                      <a:pt x="124" y="247"/>
                      <a:pt x="148" y="159"/>
                      <a:pt x="218" y="119"/>
                    </a:cubicBezTo>
                    <a:cubicBezTo>
                      <a:pt x="240" y="107"/>
                      <a:pt x="265" y="100"/>
                      <a:pt x="290" y="100"/>
                    </a:cubicBezTo>
                    <a:cubicBezTo>
                      <a:pt x="342" y="100"/>
                      <a:pt x="390" y="128"/>
                      <a:pt x="415" y="173"/>
                    </a:cubicBezTo>
                    <a:cubicBezTo>
                      <a:pt x="455" y="243"/>
                      <a:pt x="431" y="332"/>
                      <a:pt x="361" y="371"/>
                    </a:cubicBezTo>
                    <a:close/>
                  </a:path>
                </a:pathLst>
              </a:custGeom>
              <a:grpFill/>
              <a:ln>
                <a:noFill/>
              </a:ln>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290" name="îş1íḑé"/>
              <p:cNvSpPr/>
              <p:nvPr/>
            </p:nvSpPr>
            <p:spPr bwMode="auto">
              <a:xfrm>
                <a:off x="6912841" y="4415472"/>
                <a:ext cx="1438654" cy="1441246"/>
              </a:xfrm>
              <a:custGeom>
                <a:avLst/>
                <a:gdLst>
                  <a:gd name="T0" fmla="*/ 337 w 383"/>
                  <a:gd name="T1" fmla="*/ 108 h 383"/>
                  <a:gd name="T2" fmla="*/ 108 w 383"/>
                  <a:gd name="T3" fmla="*/ 45 h 383"/>
                  <a:gd name="T4" fmla="*/ 46 w 383"/>
                  <a:gd name="T5" fmla="*/ 274 h 383"/>
                  <a:gd name="T6" fmla="*/ 274 w 383"/>
                  <a:gd name="T7" fmla="*/ 337 h 383"/>
                  <a:gd name="T8" fmla="*/ 337 w 383"/>
                  <a:gd name="T9" fmla="*/ 108 h 383"/>
                  <a:gd name="T10" fmla="*/ 263 w 383"/>
                  <a:gd name="T11" fmla="*/ 317 h 383"/>
                  <a:gd name="T12" fmla="*/ 191 w 383"/>
                  <a:gd name="T13" fmla="*/ 336 h 383"/>
                  <a:gd name="T14" fmla="*/ 65 w 383"/>
                  <a:gd name="T15" fmla="*/ 263 h 383"/>
                  <a:gd name="T16" fmla="*/ 120 w 383"/>
                  <a:gd name="T17" fmla="*/ 65 h 383"/>
                  <a:gd name="T18" fmla="*/ 192 w 383"/>
                  <a:gd name="T19" fmla="*/ 46 h 383"/>
                  <a:gd name="T20" fmla="*/ 317 w 383"/>
                  <a:gd name="T21" fmla="*/ 119 h 383"/>
                  <a:gd name="T22" fmla="*/ 263 w 383"/>
                  <a:gd name="T23" fmla="*/ 317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3" h="383">
                    <a:moveTo>
                      <a:pt x="337" y="108"/>
                    </a:moveTo>
                    <a:cubicBezTo>
                      <a:pt x="291" y="28"/>
                      <a:pt x="189" y="0"/>
                      <a:pt x="108" y="45"/>
                    </a:cubicBezTo>
                    <a:cubicBezTo>
                      <a:pt x="28" y="91"/>
                      <a:pt x="0" y="194"/>
                      <a:pt x="46" y="274"/>
                    </a:cubicBezTo>
                    <a:cubicBezTo>
                      <a:pt x="92" y="355"/>
                      <a:pt x="194" y="383"/>
                      <a:pt x="274" y="337"/>
                    </a:cubicBezTo>
                    <a:cubicBezTo>
                      <a:pt x="355" y="291"/>
                      <a:pt x="383" y="189"/>
                      <a:pt x="337" y="108"/>
                    </a:cubicBezTo>
                    <a:close/>
                    <a:moveTo>
                      <a:pt x="263" y="317"/>
                    </a:moveTo>
                    <a:cubicBezTo>
                      <a:pt x="241" y="330"/>
                      <a:pt x="216" y="336"/>
                      <a:pt x="191" y="336"/>
                    </a:cubicBezTo>
                    <a:cubicBezTo>
                      <a:pt x="139" y="336"/>
                      <a:pt x="91" y="308"/>
                      <a:pt x="65" y="263"/>
                    </a:cubicBezTo>
                    <a:cubicBezTo>
                      <a:pt x="26" y="193"/>
                      <a:pt x="50" y="105"/>
                      <a:pt x="120" y="65"/>
                    </a:cubicBezTo>
                    <a:cubicBezTo>
                      <a:pt x="142" y="53"/>
                      <a:pt x="167" y="46"/>
                      <a:pt x="192" y="46"/>
                    </a:cubicBezTo>
                    <a:cubicBezTo>
                      <a:pt x="244" y="46"/>
                      <a:pt x="292" y="74"/>
                      <a:pt x="317" y="119"/>
                    </a:cubicBezTo>
                    <a:cubicBezTo>
                      <a:pt x="357" y="189"/>
                      <a:pt x="333" y="278"/>
                      <a:pt x="263" y="317"/>
                    </a:cubicBezTo>
                    <a:close/>
                  </a:path>
                </a:pathLst>
              </a:custGeom>
              <a:grpFill/>
              <a:ln w="3175">
                <a:solidFill>
                  <a:schemeClr val="bg1">
                    <a:lumMod val="85000"/>
                  </a:schemeClr>
                </a:solidFill>
                <a:prstDash val="solid"/>
              </a:ln>
              <a:ex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p>
            </p:txBody>
          </p:sp>
        </p:grpSp>
        <p:grpSp>
          <p:nvGrpSpPr>
            <p:cNvPr id="262" name="ísļíḍê"/>
            <p:cNvGrpSpPr>
              <a:grpSpLocks/>
            </p:cNvGrpSpPr>
            <p:nvPr/>
          </p:nvGrpSpPr>
          <p:grpSpPr bwMode="auto">
            <a:xfrm>
              <a:off x="5412929" y="3926516"/>
              <a:ext cx="1326014" cy="2017294"/>
              <a:chOff x="8176384" y="4630090"/>
              <a:chExt cx="1695450" cy="2578100"/>
            </a:xfrm>
            <a:solidFill>
              <a:schemeClr val="bg1">
                <a:lumMod val="85000"/>
              </a:schemeClr>
            </a:solidFill>
          </p:grpSpPr>
          <p:sp>
            <p:nvSpPr>
              <p:cNvPr id="287" name="îş1îḑè"/>
              <p:cNvSpPr/>
              <p:nvPr/>
            </p:nvSpPr>
            <p:spPr bwMode="auto">
              <a:xfrm>
                <a:off x="8176384" y="4630090"/>
                <a:ext cx="1695450" cy="2578100"/>
              </a:xfrm>
              <a:custGeom>
                <a:avLst/>
                <a:gdLst>
                  <a:gd name="T0" fmla="*/ 267 w 451"/>
                  <a:gd name="T1" fmla="*/ 143 h 686"/>
                  <a:gd name="T2" fmla="*/ 266 w 451"/>
                  <a:gd name="T3" fmla="*/ 127 h 686"/>
                  <a:gd name="T4" fmla="*/ 297 w 451"/>
                  <a:gd name="T5" fmla="*/ 53 h 686"/>
                  <a:gd name="T6" fmla="*/ 234 w 451"/>
                  <a:gd name="T7" fmla="*/ 0 h 686"/>
                  <a:gd name="T8" fmla="*/ 171 w 451"/>
                  <a:gd name="T9" fmla="*/ 53 h 686"/>
                  <a:gd name="T10" fmla="*/ 202 w 451"/>
                  <a:gd name="T11" fmla="*/ 127 h 686"/>
                  <a:gd name="T12" fmla="*/ 202 w 451"/>
                  <a:gd name="T13" fmla="*/ 140 h 686"/>
                  <a:gd name="T14" fmla="*/ 1 w 451"/>
                  <a:gd name="T15" fmla="*/ 363 h 686"/>
                  <a:gd name="T16" fmla="*/ 224 w 451"/>
                  <a:gd name="T17" fmla="*/ 686 h 686"/>
                  <a:gd name="T18" fmla="*/ 450 w 451"/>
                  <a:gd name="T19" fmla="*/ 365 h 686"/>
                  <a:gd name="T20" fmla="*/ 267 w 451"/>
                  <a:gd name="T21" fmla="*/ 143 h 686"/>
                  <a:gd name="T22" fmla="*/ 225 w 451"/>
                  <a:gd name="T23" fmla="*/ 498 h 686"/>
                  <a:gd name="T24" fmla="*/ 81 w 451"/>
                  <a:gd name="T25" fmla="*/ 352 h 686"/>
                  <a:gd name="T26" fmla="*/ 226 w 451"/>
                  <a:gd name="T27" fmla="*/ 208 h 686"/>
                  <a:gd name="T28" fmla="*/ 371 w 451"/>
                  <a:gd name="T29" fmla="*/ 354 h 686"/>
                  <a:gd name="T30" fmla="*/ 225 w 451"/>
                  <a:gd name="T31" fmla="*/ 498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1" h="686">
                    <a:moveTo>
                      <a:pt x="267" y="143"/>
                    </a:moveTo>
                    <a:cubicBezTo>
                      <a:pt x="264" y="139"/>
                      <a:pt x="263" y="133"/>
                      <a:pt x="266" y="127"/>
                    </a:cubicBezTo>
                    <a:cubicBezTo>
                      <a:pt x="279" y="99"/>
                      <a:pt x="303" y="94"/>
                      <a:pt x="297" y="53"/>
                    </a:cubicBezTo>
                    <a:cubicBezTo>
                      <a:pt x="291" y="19"/>
                      <a:pt x="263" y="2"/>
                      <a:pt x="234" y="0"/>
                    </a:cubicBezTo>
                    <a:cubicBezTo>
                      <a:pt x="205" y="2"/>
                      <a:pt x="177" y="19"/>
                      <a:pt x="171" y="53"/>
                    </a:cubicBezTo>
                    <a:cubicBezTo>
                      <a:pt x="165" y="94"/>
                      <a:pt x="189" y="99"/>
                      <a:pt x="202" y="127"/>
                    </a:cubicBezTo>
                    <a:cubicBezTo>
                      <a:pt x="204" y="132"/>
                      <a:pt x="204" y="136"/>
                      <a:pt x="202" y="140"/>
                    </a:cubicBezTo>
                    <a:cubicBezTo>
                      <a:pt x="90" y="152"/>
                      <a:pt x="1" y="247"/>
                      <a:pt x="1" y="363"/>
                    </a:cubicBezTo>
                    <a:cubicBezTo>
                      <a:pt x="0" y="503"/>
                      <a:pt x="211" y="667"/>
                      <a:pt x="224" y="686"/>
                    </a:cubicBezTo>
                    <a:cubicBezTo>
                      <a:pt x="238" y="668"/>
                      <a:pt x="450" y="516"/>
                      <a:pt x="450" y="365"/>
                    </a:cubicBezTo>
                    <a:cubicBezTo>
                      <a:pt x="451" y="255"/>
                      <a:pt x="372" y="163"/>
                      <a:pt x="267" y="143"/>
                    </a:cubicBezTo>
                    <a:close/>
                    <a:moveTo>
                      <a:pt x="225" y="498"/>
                    </a:moveTo>
                    <a:cubicBezTo>
                      <a:pt x="145" y="497"/>
                      <a:pt x="80" y="432"/>
                      <a:pt x="81" y="352"/>
                    </a:cubicBezTo>
                    <a:cubicBezTo>
                      <a:pt x="81" y="272"/>
                      <a:pt x="146" y="207"/>
                      <a:pt x="226" y="208"/>
                    </a:cubicBezTo>
                    <a:cubicBezTo>
                      <a:pt x="306" y="208"/>
                      <a:pt x="371" y="274"/>
                      <a:pt x="371" y="354"/>
                    </a:cubicBezTo>
                    <a:cubicBezTo>
                      <a:pt x="370" y="433"/>
                      <a:pt x="305" y="498"/>
                      <a:pt x="225" y="498"/>
                    </a:cubicBezTo>
                    <a:close/>
                  </a:path>
                </a:pathLst>
              </a:custGeom>
              <a:grpFill/>
              <a:ln>
                <a:noFill/>
              </a:ln>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288" name="îŝ1iḓè"/>
              <p:cNvSpPr/>
              <p:nvPr/>
            </p:nvSpPr>
            <p:spPr bwMode="auto">
              <a:xfrm>
                <a:off x="8390939" y="5322400"/>
                <a:ext cx="1266340" cy="1265741"/>
              </a:xfrm>
              <a:custGeom>
                <a:avLst/>
                <a:gdLst>
                  <a:gd name="T0" fmla="*/ 170 w 337"/>
                  <a:gd name="T1" fmla="*/ 1 h 337"/>
                  <a:gd name="T2" fmla="*/ 1 w 337"/>
                  <a:gd name="T3" fmla="*/ 168 h 337"/>
                  <a:gd name="T4" fmla="*/ 168 w 337"/>
                  <a:gd name="T5" fmla="*/ 336 h 337"/>
                  <a:gd name="T6" fmla="*/ 336 w 337"/>
                  <a:gd name="T7" fmla="*/ 170 h 337"/>
                  <a:gd name="T8" fmla="*/ 170 w 337"/>
                  <a:gd name="T9" fmla="*/ 1 h 337"/>
                  <a:gd name="T10" fmla="*/ 168 w 337"/>
                  <a:gd name="T11" fmla="*/ 314 h 337"/>
                  <a:gd name="T12" fmla="*/ 24 w 337"/>
                  <a:gd name="T13" fmla="*/ 168 h 337"/>
                  <a:gd name="T14" fmla="*/ 169 w 337"/>
                  <a:gd name="T15" fmla="*/ 24 h 337"/>
                  <a:gd name="T16" fmla="*/ 314 w 337"/>
                  <a:gd name="T17" fmla="*/ 170 h 337"/>
                  <a:gd name="T18" fmla="*/ 168 w 337"/>
                  <a:gd name="T19" fmla="*/ 314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7" h="337">
                    <a:moveTo>
                      <a:pt x="170" y="1"/>
                    </a:moveTo>
                    <a:cubicBezTo>
                      <a:pt x="77" y="0"/>
                      <a:pt x="1" y="75"/>
                      <a:pt x="1" y="168"/>
                    </a:cubicBezTo>
                    <a:cubicBezTo>
                      <a:pt x="0" y="260"/>
                      <a:pt x="75" y="336"/>
                      <a:pt x="168" y="336"/>
                    </a:cubicBezTo>
                    <a:cubicBezTo>
                      <a:pt x="260" y="337"/>
                      <a:pt x="336" y="262"/>
                      <a:pt x="336" y="170"/>
                    </a:cubicBezTo>
                    <a:cubicBezTo>
                      <a:pt x="337" y="77"/>
                      <a:pt x="262" y="2"/>
                      <a:pt x="170" y="1"/>
                    </a:cubicBezTo>
                    <a:close/>
                    <a:moveTo>
                      <a:pt x="168" y="314"/>
                    </a:moveTo>
                    <a:cubicBezTo>
                      <a:pt x="88" y="313"/>
                      <a:pt x="23" y="248"/>
                      <a:pt x="24" y="168"/>
                    </a:cubicBezTo>
                    <a:cubicBezTo>
                      <a:pt x="24" y="88"/>
                      <a:pt x="89" y="23"/>
                      <a:pt x="169" y="24"/>
                    </a:cubicBezTo>
                    <a:cubicBezTo>
                      <a:pt x="249" y="24"/>
                      <a:pt x="314" y="90"/>
                      <a:pt x="314" y="170"/>
                    </a:cubicBezTo>
                    <a:cubicBezTo>
                      <a:pt x="313" y="249"/>
                      <a:pt x="248" y="314"/>
                      <a:pt x="168" y="314"/>
                    </a:cubicBezTo>
                    <a:close/>
                  </a:path>
                </a:pathLst>
              </a:custGeom>
              <a:grpFill/>
              <a:ln w="3175">
                <a:solidFill>
                  <a:schemeClr val="bg1">
                    <a:lumMod val="85000"/>
                  </a:schemeClr>
                </a:solidFill>
                <a:prstDash val="solid"/>
              </a:ln>
              <a:ex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p>
            </p:txBody>
          </p:sp>
        </p:grpSp>
        <p:grpSp>
          <p:nvGrpSpPr>
            <p:cNvPr id="263" name="ïṧḻîḍè"/>
            <p:cNvGrpSpPr>
              <a:grpSpLocks/>
            </p:cNvGrpSpPr>
            <p:nvPr/>
          </p:nvGrpSpPr>
          <p:grpSpPr bwMode="auto">
            <a:xfrm>
              <a:off x="6264716" y="3618267"/>
              <a:ext cx="1758292" cy="1519355"/>
              <a:chOff x="9265409" y="4236390"/>
              <a:chExt cx="2247900" cy="1943100"/>
            </a:xfrm>
            <a:solidFill>
              <a:schemeClr val="accent1"/>
            </a:solidFill>
          </p:grpSpPr>
          <p:sp>
            <p:nvSpPr>
              <p:cNvPr id="285" name="ïṧḷiḍê"/>
              <p:cNvSpPr/>
              <p:nvPr/>
            </p:nvSpPr>
            <p:spPr bwMode="auto">
              <a:xfrm>
                <a:off x="9265409" y="4236390"/>
                <a:ext cx="2247900" cy="1943100"/>
              </a:xfrm>
              <a:custGeom>
                <a:avLst/>
                <a:gdLst>
                  <a:gd name="T0" fmla="*/ 433 w 598"/>
                  <a:gd name="T1" fmla="*/ 58 h 517"/>
                  <a:gd name="T2" fmla="*/ 140 w 598"/>
                  <a:gd name="T3" fmla="*/ 117 h 517"/>
                  <a:gd name="T4" fmla="*/ 139 w 598"/>
                  <a:gd name="T5" fmla="*/ 116 h 517"/>
                  <a:gd name="T6" fmla="*/ 90 w 598"/>
                  <a:gd name="T7" fmla="*/ 52 h 517"/>
                  <a:gd name="T8" fmla="*/ 13 w 598"/>
                  <a:gd name="T9" fmla="*/ 80 h 517"/>
                  <a:gd name="T10" fmla="*/ 27 w 598"/>
                  <a:gd name="T11" fmla="*/ 161 h 517"/>
                  <a:gd name="T12" fmla="*/ 107 w 598"/>
                  <a:gd name="T13" fmla="*/ 172 h 517"/>
                  <a:gd name="T14" fmla="*/ 110 w 598"/>
                  <a:gd name="T15" fmla="*/ 172 h 517"/>
                  <a:gd name="T16" fmla="*/ 206 w 598"/>
                  <a:gd name="T17" fmla="*/ 446 h 517"/>
                  <a:gd name="T18" fmla="*/ 598 w 598"/>
                  <a:gd name="T19" fmla="*/ 415 h 517"/>
                  <a:gd name="T20" fmla="*/ 433 w 598"/>
                  <a:gd name="T21" fmla="*/ 58 h 517"/>
                  <a:gd name="T22" fmla="*/ 435 w 598"/>
                  <a:gd name="T23" fmla="*/ 320 h 517"/>
                  <a:gd name="T24" fmla="*/ 309 w 598"/>
                  <a:gd name="T25" fmla="*/ 391 h 517"/>
                  <a:gd name="T26" fmla="*/ 237 w 598"/>
                  <a:gd name="T27" fmla="*/ 372 h 517"/>
                  <a:gd name="T28" fmla="*/ 185 w 598"/>
                  <a:gd name="T29" fmla="*/ 173 h 517"/>
                  <a:gd name="T30" fmla="*/ 311 w 598"/>
                  <a:gd name="T31" fmla="*/ 101 h 517"/>
                  <a:gd name="T32" fmla="*/ 383 w 598"/>
                  <a:gd name="T33" fmla="*/ 121 h 517"/>
                  <a:gd name="T34" fmla="*/ 435 w 598"/>
                  <a:gd name="T35" fmla="*/ 320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8" h="517">
                    <a:moveTo>
                      <a:pt x="433" y="58"/>
                    </a:moveTo>
                    <a:cubicBezTo>
                      <a:pt x="334" y="0"/>
                      <a:pt x="208" y="27"/>
                      <a:pt x="140" y="117"/>
                    </a:cubicBezTo>
                    <a:cubicBezTo>
                      <a:pt x="140" y="117"/>
                      <a:pt x="140" y="116"/>
                      <a:pt x="139" y="116"/>
                    </a:cubicBezTo>
                    <a:cubicBezTo>
                      <a:pt x="121" y="91"/>
                      <a:pt x="130" y="67"/>
                      <a:pt x="90" y="52"/>
                    </a:cubicBezTo>
                    <a:cubicBezTo>
                      <a:pt x="59" y="40"/>
                      <a:pt x="29" y="56"/>
                      <a:pt x="13" y="80"/>
                    </a:cubicBezTo>
                    <a:cubicBezTo>
                      <a:pt x="0" y="106"/>
                      <a:pt x="1" y="139"/>
                      <a:pt x="27" y="161"/>
                    </a:cubicBezTo>
                    <a:cubicBezTo>
                      <a:pt x="60" y="187"/>
                      <a:pt x="76" y="168"/>
                      <a:pt x="107" y="172"/>
                    </a:cubicBezTo>
                    <a:cubicBezTo>
                      <a:pt x="108" y="172"/>
                      <a:pt x="109" y="172"/>
                      <a:pt x="110" y="172"/>
                    </a:cubicBezTo>
                    <a:cubicBezTo>
                      <a:pt x="71" y="273"/>
                      <a:pt x="110" y="390"/>
                      <a:pt x="206" y="446"/>
                    </a:cubicBezTo>
                    <a:cubicBezTo>
                      <a:pt x="327" y="517"/>
                      <a:pt x="575" y="416"/>
                      <a:pt x="598" y="415"/>
                    </a:cubicBezTo>
                    <a:cubicBezTo>
                      <a:pt x="589" y="394"/>
                      <a:pt x="564" y="134"/>
                      <a:pt x="433" y="58"/>
                    </a:cubicBezTo>
                    <a:close/>
                    <a:moveTo>
                      <a:pt x="435" y="320"/>
                    </a:moveTo>
                    <a:cubicBezTo>
                      <a:pt x="409" y="364"/>
                      <a:pt x="361" y="392"/>
                      <a:pt x="309" y="391"/>
                    </a:cubicBezTo>
                    <a:cubicBezTo>
                      <a:pt x="284" y="391"/>
                      <a:pt x="259" y="384"/>
                      <a:pt x="237" y="372"/>
                    </a:cubicBezTo>
                    <a:cubicBezTo>
                      <a:pt x="168" y="331"/>
                      <a:pt x="144" y="242"/>
                      <a:pt x="185" y="173"/>
                    </a:cubicBezTo>
                    <a:cubicBezTo>
                      <a:pt x="211" y="129"/>
                      <a:pt x="259" y="101"/>
                      <a:pt x="311" y="101"/>
                    </a:cubicBezTo>
                    <a:cubicBezTo>
                      <a:pt x="336" y="101"/>
                      <a:pt x="361" y="108"/>
                      <a:pt x="383" y="121"/>
                    </a:cubicBezTo>
                    <a:cubicBezTo>
                      <a:pt x="452" y="162"/>
                      <a:pt x="475" y="251"/>
                      <a:pt x="435" y="320"/>
                    </a:cubicBezTo>
                    <a:close/>
                  </a:path>
                </a:pathLst>
              </a:custGeom>
              <a:solidFill>
                <a:schemeClr val="bg2">
                  <a:lumMod val="90000"/>
                </a:schemeClr>
              </a:solidFill>
              <a:ln>
                <a:noFill/>
              </a:ln>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286" name="î$ľïḋé"/>
              <p:cNvSpPr/>
              <p:nvPr/>
            </p:nvSpPr>
            <p:spPr bwMode="auto">
              <a:xfrm>
                <a:off x="9710792" y="4441663"/>
                <a:ext cx="1438749" cy="1441579"/>
              </a:xfrm>
              <a:custGeom>
                <a:avLst/>
                <a:gdLst>
                  <a:gd name="T0" fmla="*/ 277 w 383"/>
                  <a:gd name="T1" fmla="*/ 47 h 383"/>
                  <a:gd name="T2" fmla="*/ 47 w 383"/>
                  <a:gd name="T3" fmla="*/ 107 h 383"/>
                  <a:gd name="T4" fmla="*/ 107 w 383"/>
                  <a:gd name="T5" fmla="*/ 336 h 383"/>
                  <a:gd name="T6" fmla="*/ 337 w 383"/>
                  <a:gd name="T7" fmla="*/ 276 h 383"/>
                  <a:gd name="T8" fmla="*/ 277 w 383"/>
                  <a:gd name="T9" fmla="*/ 47 h 383"/>
                  <a:gd name="T10" fmla="*/ 317 w 383"/>
                  <a:gd name="T11" fmla="*/ 265 h 383"/>
                  <a:gd name="T12" fmla="*/ 191 w 383"/>
                  <a:gd name="T13" fmla="*/ 336 h 383"/>
                  <a:gd name="T14" fmla="*/ 119 w 383"/>
                  <a:gd name="T15" fmla="*/ 317 h 383"/>
                  <a:gd name="T16" fmla="*/ 67 w 383"/>
                  <a:gd name="T17" fmla="*/ 118 h 383"/>
                  <a:gd name="T18" fmla="*/ 193 w 383"/>
                  <a:gd name="T19" fmla="*/ 46 h 383"/>
                  <a:gd name="T20" fmla="*/ 265 w 383"/>
                  <a:gd name="T21" fmla="*/ 66 h 383"/>
                  <a:gd name="T22" fmla="*/ 317 w 383"/>
                  <a:gd name="T23" fmla="*/ 265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3" h="383">
                    <a:moveTo>
                      <a:pt x="277" y="47"/>
                    </a:moveTo>
                    <a:cubicBezTo>
                      <a:pt x="197" y="0"/>
                      <a:pt x="94" y="27"/>
                      <a:pt x="47" y="107"/>
                    </a:cubicBezTo>
                    <a:cubicBezTo>
                      <a:pt x="0" y="187"/>
                      <a:pt x="27" y="289"/>
                      <a:pt x="107" y="336"/>
                    </a:cubicBezTo>
                    <a:cubicBezTo>
                      <a:pt x="187" y="383"/>
                      <a:pt x="290" y="356"/>
                      <a:pt x="337" y="276"/>
                    </a:cubicBezTo>
                    <a:cubicBezTo>
                      <a:pt x="383" y="196"/>
                      <a:pt x="357" y="93"/>
                      <a:pt x="277" y="47"/>
                    </a:cubicBezTo>
                    <a:close/>
                    <a:moveTo>
                      <a:pt x="317" y="265"/>
                    </a:moveTo>
                    <a:cubicBezTo>
                      <a:pt x="291" y="309"/>
                      <a:pt x="243" y="337"/>
                      <a:pt x="191" y="336"/>
                    </a:cubicBezTo>
                    <a:cubicBezTo>
                      <a:pt x="166" y="336"/>
                      <a:pt x="141" y="329"/>
                      <a:pt x="119" y="317"/>
                    </a:cubicBezTo>
                    <a:cubicBezTo>
                      <a:pt x="50" y="276"/>
                      <a:pt x="26" y="187"/>
                      <a:pt x="67" y="118"/>
                    </a:cubicBezTo>
                    <a:cubicBezTo>
                      <a:pt x="93" y="74"/>
                      <a:pt x="141" y="46"/>
                      <a:pt x="193" y="46"/>
                    </a:cubicBezTo>
                    <a:cubicBezTo>
                      <a:pt x="218" y="46"/>
                      <a:pt x="243" y="53"/>
                      <a:pt x="265" y="66"/>
                    </a:cubicBezTo>
                    <a:cubicBezTo>
                      <a:pt x="334" y="107"/>
                      <a:pt x="357" y="196"/>
                      <a:pt x="317" y="265"/>
                    </a:cubicBezTo>
                    <a:close/>
                  </a:path>
                </a:pathLst>
              </a:custGeom>
              <a:solidFill>
                <a:schemeClr val="bg2">
                  <a:lumMod val="90000"/>
                  <a:alpha val="40000"/>
                </a:schemeClr>
              </a:solidFill>
              <a:ln w="3175">
                <a:solidFill>
                  <a:schemeClr val="bg1">
                    <a:lumMod val="85000"/>
                  </a:schemeClr>
                </a:solidFill>
                <a:prstDash val="solid"/>
              </a:ln>
              <a:ex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p>
            </p:txBody>
          </p:sp>
        </p:grpSp>
        <p:grpSp>
          <p:nvGrpSpPr>
            <p:cNvPr id="264" name="îśḻîḑê"/>
            <p:cNvGrpSpPr>
              <a:grpSpLocks/>
            </p:cNvGrpSpPr>
            <p:nvPr/>
          </p:nvGrpSpPr>
          <p:grpSpPr bwMode="auto">
            <a:xfrm>
              <a:off x="6277484" y="2268540"/>
              <a:ext cx="1765588" cy="1526651"/>
              <a:chOff x="9281284" y="2510777"/>
              <a:chExt cx="2255838" cy="1951038"/>
            </a:xfrm>
            <a:solidFill>
              <a:schemeClr val="bg1">
                <a:lumMod val="85000"/>
              </a:schemeClr>
            </a:solidFill>
          </p:grpSpPr>
          <p:sp>
            <p:nvSpPr>
              <p:cNvPr id="283" name="îṧľïḋe"/>
              <p:cNvSpPr/>
              <p:nvPr/>
            </p:nvSpPr>
            <p:spPr bwMode="auto">
              <a:xfrm>
                <a:off x="9281284" y="2510777"/>
                <a:ext cx="2255838" cy="1951038"/>
              </a:xfrm>
              <a:custGeom>
                <a:avLst/>
                <a:gdLst>
                  <a:gd name="T0" fmla="*/ 209 w 600"/>
                  <a:gd name="T1" fmla="*/ 74 h 519"/>
                  <a:gd name="T2" fmla="*/ 116 w 600"/>
                  <a:gd name="T3" fmla="*/ 365 h 519"/>
                  <a:gd name="T4" fmla="*/ 104 w 600"/>
                  <a:gd name="T5" fmla="*/ 374 h 519"/>
                  <a:gd name="T6" fmla="*/ 24 w 600"/>
                  <a:gd name="T7" fmla="*/ 389 h 519"/>
                  <a:gd name="T8" fmla="*/ 15 w 600"/>
                  <a:gd name="T9" fmla="*/ 471 h 519"/>
                  <a:gd name="T10" fmla="*/ 94 w 600"/>
                  <a:gd name="T11" fmla="*/ 494 h 519"/>
                  <a:gd name="T12" fmla="*/ 139 w 600"/>
                  <a:gd name="T13" fmla="*/ 428 h 519"/>
                  <a:gd name="T14" fmla="*/ 153 w 600"/>
                  <a:gd name="T15" fmla="*/ 420 h 519"/>
                  <a:gd name="T16" fmla="*/ 431 w 600"/>
                  <a:gd name="T17" fmla="*/ 465 h 519"/>
                  <a:gd name="T18" fmla="*/ 600 w 600"/>
                  <a:gd name="T19" fmla="*/ 110 h 519"/>
                  <a:gd name="T20" fmla="*/ 209 w 600"/>
                  <a:gd name="T21" fmla="*/ 74 h 519"/>
                  <a:gd name="T22" fmla="*/ 436 w 600"/>
                  <a:gd name="T23" fmla="*/ 204 h 519"/>
                  <a:gd name="T24" fmla="*/ 382 w 600"/>
                  <a:gd name="T25" fmla="*/ 402 h 519"/>
                  <a:gd name="T26" fmla="*/ 309 w 600"/>
                  <a:gd name="T27" fmla="*/ 421 h 519"/>
                  <a:gd name="T28" fmla="*/ 184 w 600"/>
                  <a:gd name="T29" fmla="*/ 347 h 519"/>
                  <a:gd name="T30" fmla="*/ 238 w 600"/>
                  <a:gd name="T31" fmla="*/ 150 h 519"/>
                  <a:gd name="T32" fmla="*/ 311 w 600"/>
                  <a:gd name="T33" fmla="*/ 130 h 519"/>
                  <a:gd name="T34" fmla="*/ 436 w 600"/>
                  <a:gd name="T35" fmla="*/ 204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0" h="519">
                    <a:moveTo>
                      <a:pt x="209" y="74"/>
                    </a:moveTo>
                    <a:cubicBezTo>
                      <a:pt x="106" y="133"/>
                      <a:pt x="67" y="260"/>
                      <a:pt x="116" y="365"/>
                    </a:cubicBezTo>
                    <a:cubicBezTo>
                      <a:pt x="114" y="370"/>
                      <a:pt x="110" y="373"/>
                      <a:pt x="104" y="374"/>
                    </a:cubicBezTo>
                    <a:cubicBezTo>
                      <a:pt x="73" y="379"/>
                      <a:pt x="56" y="361"/>
                      <a:pt x="24" y="389"/>
                    </a:cubicBezTo>
                    <a:cubicBezTo>
                      <a:pt x="0" y="412"/>
                      <a:pt x="0" y="445"/>
                      <a:pt x="15" y="471"/>
                    </a:cubicBezTo>
                    <a:cubicBezTo>
                      <a:pt x="33" y="494"/>
                      <a:pt x="63" y="508"/>
                      <a:pt x="94" y="494"/>
                    </a:cubicBezTo>
                    <a:cubicBezTo>
                      <a:pt x="132" y="477"/>
                      <a:pt x="122" y="454"/>
                      <a:pt x="139" y="428"/>
                    </a:cubicBezTo>
                    <a:cubicBezTo>
                      <a:pt x="142" y="422"/>
                      <a:pt x="147" y="419"/>
                      <a:pt x="153" y="420"/>
                    </a:cubicBezTo>
                    <a:cubicBezTo>
                      <a:pt x="222" y="497"/>
                      <a:pt x="338" y="519"/>
                      <a:pt x="431" y="465"/>
                    </a:cubicBezTo>
                    <a:cubicBezTo>
                      <a:pt x="553" y="396"/>
                      <a:pt x="590" y="131"/>
                      <a:pt x="600" y="110"/>
                    </a:cubicBezTo>
                    <a:cubicBezTo>
                      <a:pt x="577" y="107"/>
                      <a:pt x="340" y="0"/>
                      <a:pt x="209" y="74"/>
                    </a:cubicBezTo>
                    <a:close/>
                    <a:moveTo>
                      <a:pt x="436" y="204"/>
                    </a:moveTo>
                    <a:cubicBezTo>
                      <a:pt x="476" y="273"/>
                      <a:pt x="451" y="362"/>
                      <a:pt x="382" y="402"/>
                    </a:cubicBezTo>
                    <a:cubicBezTo>
                      <a:pt x="360" y="414"/>
                      <a:pt x="335" y="421"/>
                      <a:pt x="309" y="421"/>
                    </a:cubicBezTo>
                    <a:cubicBezTo>
                      <a:pt x="258" y="420"/>
                      <a:pt x="210" y="392"/>
                      <a:pt x="184" y="347"/>
                    </a:cubicBezTo>
                    <a:cubicBezTo>
                      <a:pt x="144" y="278"/>
                      <a:pt x="169" y="189"/>
                      <a:pt x="238" y="150"/>
                    </a:cubicBezTo>
                    <a:cubicBezTo>
                      <a:pt x="260" y="137"/>
                      <a:pt x="285" y="130"/>
                      <a:pt x="311" y="130"/>
                    </a:cubicBezTo>
                    <a:cubicBezTo>
                      <a:pt x="362" y="131"/>
                      <a:pt x="411" y="159"/>
                      <a:pt x="436" y="204"/>
                    </a:cubicBezTo>
                    <a:close/>
                  </a:path>
                </a:pathLst>
              </a:custGeom>
              <a:grpFill/>
              <a:ln>
                <a:noFill/>
              </a:ln>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284" name="íṡļîḓe"/>
              <p:cNvSpPr/>
              <p:nvPr/>
            </p:nvSpPr>
            <p:spPr bwMode="auto">
              <a:xfrm>
                <a:off x="9728723" y="2827791"/>
                <a:ext cx="1440194" cy="1438221"/>
              </a:xfrm>
              <a:custGeom>
                <a:avLst/>
                <a:gdLst>
                  <a:gd name="T0" fmla="*/ 337 w 383"/>
                  <a:gd name="T1" fmla="*/ 108 h 383"/>
                  <a:gd name="T2" fmla="*/ 108 w 383"/>
                  <a:gd name="T3" fmla="*/ 46 h 383"/>
                  <a:gd name="T4" fmla="*/ 45 w 383"/>
                  <a:gd name="T5" fmla="*/ 275 h 383"/>
                  <a:gd name="T6" fmla="*/ 274 w 383"/>
                  <a:gd name="T7" fmla="*/ 337 h 383"/>
                  <a:gd name="T8" fmla="*/ 337 w 383"/>
                  <a:gd name="T9" fmla="*/ 108 h 383"/>
                  <a:gd name="T10" fmla="*/ 263 w 383"/>
                  <a:gd name="T11" fmla="*/ 318 h 383"/>
                  <a:gd name="T12" fmla="*/ 190 w 383"/>
                  <a:gd name="T13" fmla="*/ 337 h 383"/>
                  <a:gd name="T14" fmla="*/ 65 w 383"/>
                  <a:gd name="T15" fmla="*/ 263 h 383"/>
                  <a:gd name="T16" fmla="*/ 119 w 383"/>
                  <a:gd name="T17" fmla="*/ 66 h 383"/>
                  <a:gd name="T18" fmla="*/ 192 w 383"/>
                  <a:gd name="T19" fmla="*/ 46 h 383"/>
                  <a:gd name="T20" fmla="*/ 317 w 383"/>
                  <a:gd name="T21" fmla="*/ 120 h 383"/>
                  <a:gd name="T22" fmla="*/ 263 w 383"/>
                  <a:gd name="T23" fmla="*/ 318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3" h="383">
                    <a:moveTo>
                      <a:pt x="337" y="108"/>
                    </a:moveTo>
                    <a:cubicBezTo>
                      <a:pt x="291" y="28"/>
                      <a:pt x="189" y="0"/>
                      <a:pt x="108" y="46"/>
                    </a:cubicBezTo>
                    <a:cubicBezTo>
                      <a:pt x="28" y="92"/>
                      <a:pt x="0" y="194"/>
                      <a:pt x="45" y="275"/>
                    </a:cubicBezTo>
                    <a:cubicBezTo>
                      <a:pt x="91" y="355"/>
                      <a:pt x="194" y="383"/>
                      <a:pt x="274" y="337"/>
                    </a:cubicBezTo>
                    <a:cubicBezTo>
                      <a:pt x="355" y="291"/>
                      <a:pt x="383" y="189"/>
                      <a:pt x="337" y="108"/>
                    </a:cubicBezTo>
                    <a:close/>
                    <a:moveTo>
                      <a:pt x="263" y="318"/>
                    </a:moveTo>
                    <a:cubicBezTo>
                      <a:pt x="241" y="330"/>
                      <a:pt x="216" y="337"/>
                      <a:pt x="190" y="337"/>
                    </a:cubicBezTo>
                    <a:cubicBezTo>
                      <a:pt x="139" y="336"/>
                      <a:pt x="91" y="308"/>
                      <a:pt x="65" y="263"/>
                    </a:cubicBezTo>
                    <a:cubicBezTo>
                      <a:pt x="25" y="194"/>
                      <a:pt x="50" y="105"/>
                      <a:pt x="119" y="66"/>
                    </a:cubicBezTo>
                    <a:cubicBezTo>
                      <a:pt x="141" y="53"/>
                      <a:pt x="166" y="46"/>
                      <a:pt x="192" y="46"/>
                    </a:cubicBezTo>
                    <a:cubicBezTo>
                      <a:pt x="243" y="47"/>
                      <a:pt x="292" y="75"/>
                      <a:pt x="317" y="120"/>
                    </a:cubicBezTo>
                    <a:cubicBezTo>
                      <a:pt x="357" y="189"/>
                      <a:pt x="332" y="278"/>
                      <a:pt x="263" y="318"/>
                    </a:cubicBezTo>
                    <a:close/>
                  </a:path>
                </a:pathLst>
              </a:custGeom>
              <a:grpFill/>
              <a:ln w="3175">
                <a:solidFill>
                  <a:schemeClr val="bg1">
                    <a:lumMod val="85000"/>
                  </a:schemeClr>
                </a:solidFill>
                <a:prstDash val="solid"/>
              </a:ln>
              <a:ex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p>
            </p:txBody>
          </p:sp>
        </p:grpSp>
        <p:sp>
          <p:nvSpPr>
            <p:cNvPr id="265" name="i$1iḑé">
              <a:extLst>
                <a:ext uri="{FF2B5EF4-FFF2-40B4-BE49-F238E27FC236}">
                  <a16:creationId xmlns:a16="http://schemas.microsoft.com/office/drawing/2014/main" id="{5B6EE926-F0B7-4430-A61D-F91F941E0F1A}"/>
                </a:ext>
              </a:extLst>
            </p:cNvPr>
            <p:cNvSpPr/>
            <p:nvPr/>
          </p:nvSpPr>
          <p:spPr bwMode="auto">
            <a:xfrm>
              <a:off x="4754433" y="2834479"/>
              <a:ext cx="476329" cy="448239"/>
            </a:xfrm>
            <a:custGeom>
              <a:avLst/>
              <a:gdLst>
                <a:gd name="connsiteX0" fmla="*/ 546896 w 606309"/>
                <a:gd name="connsiteY0" fmla="*/ 318106 h 570554"/>
                <a:gd name="connsiteX1" fmla="*/ 606309 w 606309"/>
                <a:gd name="connsiteY1" fmla="*/ 454555 h 570554"/>
                <a:gd name="connsiteX2" fmla="*/ 546896 w 606309"/>
                <a:gd name="connsiteY2" fmla="*/ 513995 h 570554"/>
                <a:gd name="connsiteX3" fmla="*/ 487483 w 606309"/>
                <a:gd name="connsiteY3" fmla="*/ 454555 h 570554"/>
                <a:gd name="connsiteX4" fmla="*/ 546896 w 606309"/>
                <a:gd name="connsiteY4" fmla="*/ 318106 h 570554"/>
                <a:gd name="connsiteX5" fmla="*/ 237454 w 606309"/>
                <a:gd name="connsiteY5" fmla="*/ 197532 h 570554"/>
                <a:gd name="connsiteX6" fmla="*/ 61160 w 606309"/>
                <a:gd name="connsiteY6" fmla="*/ 373426 h 570554"/>
                <a:gd name="connsiteX7" fmla="*/ 61160 w 606309"/>
                <a:gd name="connsiteY7" fmla="*/ 509483 h 570554"/>
                <a:gd name="connsiteX8" fmla="*/ 197414 w 606309"/>
                <a:gd name="connsiteY8" fmla="*/ 509483 h 570554"/>
                <a:gd name="connsiteX9" fmla="*/ 490309 w 606309"/>
                <a:gd name="connsiteY9" fmla="*/ 217010 h 570554"/>
                <a:gd name="connsiteX10" fmla="*/ 346501 w 606309"/>
                <a:gd name="connsiteY10" fmla="*/ 0 h 570554"/>
                <a:gd name="connsiteX11" fmla="*/ 367841 w 606309"/>
                <a:gd name="connsiteY11" fmla="*/ 8897 h 570554"/>
                <a:gd name="connsiteX12" fmla="*/ 562616 w 606309"/>
                <a:gd name="connsiteY12" fmla="*/ 203243 h 570554"/>
                <a:gd name="connsiteX13" fmla="*/ 562616 w 606309"/>
                <a:gd name="connsiteY13" fmla="*/ 245862 h 570554"/>
                <a:gd name="connsiteX14" fmla="*/ 519789 w 606309"/>
                <a:gd name="connsiteY14" fmla="*/ 245862 h 570554"/>
                <a:gd name="connsiteX15" fmla="*/ 513922 w 606309"/>
                <a:gd name="connsiteY15" fmla="*/ 240004 h 570554"/>
                <a:gd name="connsiteX16" fmla="*/ 220734 w 606309"/>
                <a:gd name="connsiteY16" fmla="*/ 532769 h 570554"/>
                <a:gd name="connsiteX17" fmla="*/ 37840 w 606309"/>
                <a:gd name="connsiteY17" fmla="*/ 532769 h 570554"/>
                <a:gd name="connsiteX18" fmla="*/ 37840 w 606309"/>
                <a:gd name="connsiteY18" fmla="*/ 350139 h 570554"/>
                <a:gd name="connsiteX19" fmla="*/ 331028 w 606309"/>
                <a:gd name="connsiteY19" fmla="*/ 57374 h 570554"/>
                <a:gd name="connsiteX20" fmla="*/ 325161 w 606309"/>
                <a:gd name="connsiteY20" fmla="*/ 51515 h 570554"/>
                <a:gd name="connsiteX21" fmla="*/ 325161 w 606309"/>
                <a:gd name="connsiteY21" fmla="*/ 8897 h 570554"/>
                <a:gd name="connsiteX22" fmla="*/ 346501 w 606309"/>
                <a:gd name="connsiteY22" fmla="*/ 0 h 570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06309" h="570554">
                  <a:moveTo>
                    <a:pt x="546896" y="318106"/>
                  </a:moveTo>
                  <a:cubicBezTo>
                    <a:pt x="546896" y="318106"/>
                    <a:pt x="606456" y="400239"/>
                    <a:pt x="606309" y="454555"/>
                  </a:cubicBezTo>
                  <a:cubicBezTo>
                    <a:pt x="606309" y="487350"/>
                    <a:pt x="579757" y="513995"/>
                    <a:pt x="546896" y="513995"/>
                  </a:cubicBezTo>
                  <a:cubicBezTo>
                    <a:pt x="514036" y="513995"/>
                    <a:pt x="487483" y="487350"/>
                    <a:pt x="487483" y="454555"/>
                  </a:cubicBezTo>
                  <a:cubicBezTo>
                    <a:pt x="487483" y="400239"/>
                    <a:pt x="546896" y="318106"/>
                    <a:pt x="546896" y="318106"/>
                  </a:cubicBezTo>
                  <a:close/>
                  <a:moveTo>
                    <a:pt x="237454" y="197532"/>
                  </a:moveTo>
                  <a:lnTo>
                    <a:pt x="61160" y="373426"/>
                  </a:lnTo>
                  <a:cubicBezTo>
                    <a:pt x="23613" y="410918"/>
                    <a:pt x="23613" y="471990"/>
                    <a:pt x="61160" y="509483"/>
                  </a:cubicBezTo>
                  <a:cubicBezTo>
                    <a:pt x="98707" y="546976"/>
                    <a:pt x="159867" y="546976"/>
                    <a:pt x="197414" y="509483"/>
                  </a:cubicBezTo>
                  <a:lnTo>
                    <a:pt x="490309" y="217010"/>
                  </a:lnTo>
                  <a:close/>
                  <a:moveTo>
                    <a:pt x="346501" y="0"/>
                  </a:moveTo>
                  <a:cubicBezTo>
                    <a:pt x="354238" y="0"/>
                    <a:pt x="361975" y="2965"/>
                    <a:pt x="367841" y="8897"/>
                  </a:cubicBezTo>
                  <a:lnTo>
                    <a:pt x="562616" y="203243"/>
                  </a:lnTo>
                  <a:cubicBezTo>
                    <a:pt x="574349" y="214960"/>
                    <a:pt x="574349" y="234146"/>
                    <a:pt x="562616" y="245862"/>
                  </a:cubicBezTo>
                  <a:cubicBezTo>
                    <a:pt x="550736" y="257725"/>
                    <a:pt x="531669" y="257725"/>
                    <a:pt x="519789" y="245862"/>
                  </a:cubicBezTo>
                  <a:lnTo>
                    <a:pt x="513922" y="240004"/>
                  </a:lnTo>
                  <a:lnTo>
                    <a:pt x="220734" y="532769"/>
                  </a:lnTo>
                  <a:cubicBezTo>
                    <a:pt x="170280" y="583150"/>
                    <a:pt x="88440" y="583150"/>
                    <a:pt x="37840" y="532769"/>
                  </a:cubicBezTo>
                  <a:cubicBezTo>
                    <a:pt x="-12614" y="482389"/>
                    <a:pt x="-12614" y="400520"/>
                    <a:pt x="37840" y="350139"/>
                  </a:cubicBezTo>
                  <a:lnTo>
                    <a:pt x="331028" y="57374"/>
                  </a:lnTo>
                  <a:lnTo>
                    <a:pt x="325161" y="51515"/>
                  </a:lnTo>
                  <a:cubicBezTo>
                    <a:pt x="313281" y="39799"/>
                    <a:pt x="313281" y="20613"/>
                    <a:pt x="325161" y="8897"/>
                  </a:cubicBezTo>
                  <a:cubicBezTo>
                    <a:pt x="331027" y="2965"/>
                    <a:pt x="338764" y="0"/>
                    <a:pt x="346501" y="0"/>
                  </a:cubicBezTo>
                  <a:close/>
                </a:path>
              </a:pathLst>
            </a:custGeom>
            <a:solidFill>
              <a:schemeClr val="bg2">
                <a:lumMod val="50000"/>
              </a:schemeClr>
            </a:solidFill>
            <a:ln>
              <a:noFill/>
            </a:ln>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266" name="iṧlide">
              <a:extLst>
                <a:ext uri="{FF2B5EF4-FFF2-40B4-BE49-F238E27FC236}">
                  <a16:creationId xmlns:a16="http://schemas.microsoft.com/office/drawing/2014/main" id="{F3200415-DEA3-464D-B934-AB85B42608AD}"/>
                </a:ext>
              </a:extLst>
            </p:cNvPr>
            <p:cNvSpPr/>
            <p:nvPr/>
          </p:nvSpPr>
          <p:spPr bwMode="auto">
            <a:xfrm>
              <a:off x="5882328" y="2224310"/>
              <a:ext cx="419353" cy="405333"/>
            </a:xfrm>
            <a:custGeom>
              <a:avLst/>
              <a:gdLst>
                <a:gd name="T0" fmla="*/ 1321 w 3250"/>
                <a:gd name="T1" fmla="*/ 1004 h 3146"/>
                <a:gd name="T2" fmla="*/ 100 w 3250"/>
                <a:gd name="T3" fmla="*/ 1104 h 3146"/>
                <a:gd name="T4" fmla="*/ 0 w 3250"/>
                <a:gd name="T5" fmla="*/ 723 h 3146"/>
                <a:gd name="T6" fmla="*/ 1221 w 3250"/>
                <a:gd name="T7" fmla="*/ 623 h 3146"/>
                <a:gd name="T8" fmla="*/ 460 w 3250"/>
                <a:gd name="T9" fmla="*/ 1785 h 3146"/>
                <a:gd name="T10" fmla="*/ 560 w 3250"/>
                <a:gd name="T11" fmla="*/ 1404 h 3146"/>
                <a:gd name="T12" fmla="*/ 107 w 3250"/>
                <a:gd name="T13" fmla="*/ 1304 h 3146"/>
                <a:gd name="T14" fmla="*/ 7 w 3250"/>
                <a:gd name="T15" fmla="*/ 1685 h 3146"/>
                <a:gd name="T16" fmla="*/ 460 w 3250"/>
                <a:gd name="T17" fmla="*/ 1785 h 3146"/>
                <a:gd name="T18" fmla="*/ 100 w 3250"/>
                <a:gd name="T19" fmla="*/ 1985 h 3146"/>
                <a:gd name="T20" fmla="*/ 0 w 3250"/>
                <a:gd name="T21" fmla="*/ 2365 h 3146"/>
                <a:gd name="T22" fmla="*/ 1221 w 3250"/>
                <a:gd name="T23" fmla="*/ 2465 h 3146"/>
                <a:gd name="T24" fmla="*/ 1321 w 3250"/>
                <a:gd name="T25" fmla="*/ 2085 h 3146"/>
                <a:gd name="T26" fmla="*/ 1621 w 3250"/>
                <a:gd name="T27" fmla="*/ 1985 h 3146"/>
                <a:gd name="T28" fmla="*/ 1521 w 3250"/>
                <a:gd name="T29" fmla="*/ 2365 h 3146"/>
                <a:gd name="T30" fmla="*/ 2741 w 3250"/>
                <a:gd name="T31" fmla="*/ 2465 h 3146"/>
                <a:gd name="T32" fmla="*/ 2841 w 3250"/>
                <a:gd name="T33" fmla="*/ 2085 h 3146"/>
                <a:gd name="T34" fmla="*/ 1621 w 3250"/>
                <a:gd name="T35" fmla="*/ 1985 h 3146"/>
                <a:gd name="T36" fmla="*/ 2081 w 3250"/>
                <a:gd name="T37" fmla="*/ 3046 h 3146"/>
                <a:gd name="T38" fmla="*/ 1981 w 3250"/>
                <a:gd name="T39" fmla="*/ 2665 h 3146"/>
                <a:gd name="T40" fmla="*/ 760 w 3250"/>
                <a:gd name="T41" fmla="*/ 2765 h 3146"/>
                <a:gd name="T42" fmla="*/ 860 w 3250"/>
                <a:gd name="T43" fmla="*/ 3146 h 3146"/>
                <a:gd name="T44" fmla="*/ 460 w 3250"/>
                <a:gd name="T45" fmla="*/ 3146 h 3146"/>
                <a:gd name="T46" fmla="*/ 560 w 3250"/>
                <a:gd name="T47" fmla="*/ 2765 h 3146"/>
                <a:gd name="T48" fmla="*/ 107 w 3250"/>
                <a:gd name="T49" fmla="*/ 2665 h 3146"/>
                <a:gd name="T50" fmla="*/ 7 w 3250"/>
                <a:gd name="T51" fmla="*/ 3046 h 3146"/>
                <a:gd name="T52" fmla="*/ 460 w 3250"/>
                <a:gd name="T53" fmla="*/ 3146 h 3146"/>
                <a:gd name="T54" fmla="*/ 2381 w 3250"/>
                <a:gd name="T55" fmla="*/ 2665 h 3146"/>
                <a:gd name="T56" fmla="*/ 2281 w 3250"/>
                <a:gd name="T57" fmla="*/ 3046 h 3146"/>
                <a:gd name="T58" fmla="*/ 2734 w 3250"/>
                <a:gd name="T59" fmla="*/ 3146 h 3146"/>
                <a:gd name="T60" fmla="*/ 2834 w 3250"/>
                <a:gd name="T61" fmla="*/ 2765 h 3146"/>
                <a:gd name="T62" fmla="*/ 3250 w 3250"/>
                <a:gd name="T63" fmla="*/ 790 h 3146"/>
                <a:gd name="T64" fmla="*/ 2834 w 3250"/>
                <a:gd name="T65" fmla="*/ 1685 h 3146"/>
                <a:gd name="T66" fmla="*/ 2381 w 3250"/>
                <a:gd name="T67" fmla="*/ 1785 h 3146"/>
                <a:gd name="T68" fmla="*/ 2281 w 3250"/>
                <a:gd name="T69" fmla="*/ 1560 h 3146"/>
                <a:gd name="T70" fmla="*/ 2081 w 3250"/>
                <a:gd name="T71" fmla="*/ 1685 h 3146"/>
                <a:gd name="T72" fmla="*/ 860 w 3250"/>
                <a:gd name="T73" fmla="*/ 1785 h 3146"/>
                <a:gd name="T74" fmla="*/ 760 w 3250"/>
                <a:gd name="T75" fmla="*/ 1404 h 3146"/>
                <a:gd name="T76" fmla="*/ 1861 w 3250"/>
                <a:gd name="T77" fmla="*/ 1304 h 3146"/>
                <a:gd name="T78" fmla="*/ 1621 w 3250"/>
                <a:gd name="T79" fmla="*/ 1104 h 3146"/>
                <a:gd name="T80" fmla="*/ 1521 w 3250"/>
                <a:gd name="T81" fmla="*/ 723 h 3146"/>
                <a:gd name="T82" fmla="*/ 1688 w 3250"/>
                <a:gd name="T83" fmla="*/ 623 h 3146"/>
                <a:gd name="T84" fmla="*/ 3250 w 3250"/>
                <a:gd name="T85" fmla="*/ 790 h 3146"/>
                <a:gd name="T86" fmla="*/ 2742 w 3250"/>
                <a:gd name="T87" fmla="*/ 505 h 3146"/>
                <a:gd name="T88" fmla="*/ 2161 w 3250"/>
                <a:gd name="T89" fmla="*/ 742 h 3146"/>
                <a:gd name="T90" fmla="*/ 2042 w 3250"/>
                <a:gd name="T91" fmla="*/ 903 h 3146"/>
                <a:gd name="T92" fmla="*/ 2421 w 3250"/>
                <a:gd name="T93" fmla="*/ 1158 h 3146"/>
                <a:gd name="T94" fmla="*/ 2897 w 3250"/>
                <a:gd name="T95" fmla="*/ 632 h 3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50" h="3146">
                  <a:moveTo>
                    <a:pt x="1321" y="723"/>
                  </a:moveTo>
                  <a:lnTo>
                    <a:pt x="1321" y="1004"/>
                  </a:lnTo>
                  <a:cubicBezTo>
                    <a:pt x="1321" y="1059"/>
                    <a:pt x="1276" y="1104"/>
                    <a:pt x="1221" y="1104"/>
                  </a:cubicBezTo>
                  <a:lnTo>
                    <a:pt x="100" y="1104"/>
                  </a:lnTo>
                  <a:cubicBezTo>
                    <a:pt x="45" y="1104"/>
                    <a:pt x="0" y="1059"/>
                    <a:pt x="0" y="1004"/>
                  </a:cubicBezTo>
                  <a:lnTo>
                    <a:pt x="0" y="723"/>
                  </a:lnTo>
                  <a:cubicBezTo>
                    <a:pt x="0" y="668"/>
                    <a:pt x="45" y="623"/>
                    <a:pt x="100" y="623"/>
                  </a:cubicBezTo>
                  <a:lnTo>
                    <a:pt x="1221" y="623"/>
                  </a:lnTo>
                  <a:cubicBezTo>
                    <a:pt x="1276" y="623"/>
                    <a:pt x="1321" y="668"/>
                    <a:pt x="1321" y="723"/>
                  </a:cubicBezTo>
                  <a:close/>
                  <a:moveTo>
                    <a:pt x="460" y="1785"/>
                  </a:moveTo>
                  <a:cubicBezTo>
                    <a:pt x="515" y="1785"/>
                    <a:pt x="560" y="1740"/>
                    <a:pt x="560" y="1685"/>
                  </a:cubicBezTo>
                  <a:lnTo>
                    <a:pt x="560" y="1404"/>
                  </a:lnTo>
                  <a:cubicBezTo>
                    <a:pt x="560" y="1349"/>
                    <a:pt x="515" y="1304"/>
                    <a:pt x="460" y="1304"/>
                  </a:cubicBezTo>
                  <a:lnTo>
                    <a:pt x="107" y="1304"/>
                  </a:lnTo>
                  <a:cubicBezTo>
                    <a:pt x="52" y="1304"/>
                    <a:pt x="7" y="1349"/>
                    <a:pt x="7" y="1404"/>
                  </a:cubicBezTo>
                  <a:lnTo>
                    <a:pt x="7" y="1685"/>
                  </a:lnTo>
                  <a:cubicBezTo>
                    <a:pt x="7" y="1740"/>
                    <a:pt x="52" y="1785"/>
                    <a:pt x="107" y="1785"/>
                  </a:cubicBezTo>
                  <a:lnTo>
                    <a:pt x="460" y="1785"/>
                  </a:lnTo>
                  <a:close/>
                  <a:moveTo>
                    <a:pt x="1221" y="1985"/>
                  </a:moveTo>
                  <a:lnTo>
                    <a:pt x="100" y="1985"/>
                  </a:lnTo>
                  <a:cubicBezTo>
                    <a:pt x="45" y="1985"/>
                    <a:pt x="0" y="2030"/>
                    <a:pt x="0" y="2085"/>
                  </a:cubicBezTo>
                  <a:lnTo>
                    <a:pt x="0" y="2365"/>
                  </a:lnTo>
                  <a:cubicBezTo>
                    <a:pt x="0" y="2421"/>
                    <a:pt x="45" y="2465"/>
                    <a:pt x="100" y="2465"/>
                  </a:cubicBezTo>
                  <a:lnTo>
                    <a:pt x="1221" y="2465"/>
                  </a:lnTo>
                  <a:cubicBezTo>
                    <a:pt x="1276" y="2465"/>
                    <a:pt x="1321" y="2421"/>
                    <a:pt x="1321" y="2365"/>
                  </a:cubicBezTo>
                  <a:lnTo>
                    <a:pt x="1321" y="2085"/>
                  </a:lnTo>
                  <a:cubicBezTo>
                    <a:pt x="1321" y="2030"/>
                    <a:pt x="1276" y="1985"/>
                    <a:pt x="1221" y="1985"/>
                  </a:cubicBezTo>
                  <a:close/>
                  <a:moveTo>
                    <a:pt x="1621" y="1985"/>
                  </a:moveTo>
                  <a:cubicBezTo>
                    <a:pt x="1565" y="1985"/>
                    <a:pt x="1521" y="2030"/>
                    <a:pt x="1521" y="2085"/>
                  </a:cubicBezTo>
                  <a:lnTo>
                    <a:pt x="1521" y="2365"/>
                  </a:lnTo>
                  <a:cubicBezTo>
                    <a:pt x="1521" y="2421"/>
                    <a:pt x="1565" y="2465"/>
                    <a:pt x="1621" y="2465"/>
                  </a:cubicBezTo>
                  <a:lnTo>
                    <a:pt x="2741" y="2465"/>
                  </a:lnTo>
                  <a:cubicBezTo>
                    <a:pt x="2796" y="2465"/>
                    <a:pt x="2841" y="2421"/>
                    <a:pt x="2841" y="2365"/>
                  </a:cubicBezTo>
                  <a:lnTo>
                    <a:pt x="2841" y="2085"/>
                  </a:lnTo>
                  <a:cubicBezTo>
                    <a:pt x="2841" y="2030"/>
                    <a:pt x="2796" y="1985"/>
                    <a:pt x="2741" y="1985"/>
                  </a:cubicBezTo>
                  <a:lnTo>
                    <a:pt x="1621" y="1985"/>
                  </a:lnTo>
                  <a:close/>
                  <a:moveTo>
                    <a:pt x="1981" y="3146"/>
                  </a:moveTo>
                  <a:cubicBezTo>
                    <a:pt x="2036" y="3146"/>
                    <a:pt x="2081" y="3101"/>
                    <a:pt x="2081" y="3046"/>
                  </a:cubicBezTo>
                  <a:lnTo>
                    <a:pt x="2081" y="2765"/>
                  </a:lnTo>
                  <a:cubicBezTo>
                    <a:pt x="2081" y="2710"/>
                    <a:pt x="2036" y="2665"/>
                    <a:pt x="1981" y="2665"/>
                  </a:cubicBezTo>
                  <a:lnTo>
                    <a:pt x="860" y="2665"/>
                  </a:lnTo>
                  <a:cubicBezTo>
                    <a:pt x="805" y="2665"/>
                    <a:pt x="760" y="2710"/>
                    <a:pt x="760" y="2765"/>
                  </a:cubicBezTo>
                  <a:lnTo>
                    <a:pt x="760" y="3046"/>
                  </a:lnTo>
                  <a:cubicBezTo>
                    <a:pt x="760" y="3101"/>
                    <a:pt x="805" y="3146"/>
                    <a:pt x="860" y="3146"/>
                  </a:cubicBezTo>
                  <a:lnTo>
                    <a:pt x="1981" y="3146"/>
                  </a:lnTo>
                  <a:close/>
                  <a:moveTo>
                    <a:pt x="460" y="3146"/>
                  </a:moveTo>
                  <a:cubicBezTo>
                    <a:pt x="515" y="3146"/>
                    <a:pt x="560" y="3101"/>
                    <a:pt x="560" y="3046"/>
                  </a:cubicBezTo>
                  <a:lnTo>
                    <a:pt x="560" y="2765"/>
                  </a:lnTo>
                  <a:cubicBezTo>
                    <a:pt x="560" y="2710"/>
                    <a:pt x="515" y="2665"/>
                    <a:pt x="460" y="2665"/>
                  </a:cubicBezTo>
                  <a:lnTo>
                    <a:pt x="107" y="2665"/>
                  </a:lnTo>
                  <a:cubicBezTo>
                    <a:pt x="52" y="2665"/>
                    <a:pt x="7" y="2710"/>
                    <a:pt x="7" y="2765"/>
                  </a:cubicBezTo>
                  <a:lnTo>
                    <a:pt x="7" y="3046"/>
                  </a:lnTo>
                  <a:cubicBezTo>
                    <a:pt x="7" y="3101"/>
                    <a:pt x="52" y="3146"/>
                    <a:pt x="107" y="3146"/>
                  </a:cubicBezTo>
                  <a:lnTo>
                    <a:pt x="460" y="3146"/>
                  </a:lnTo>
                  <a:close/>
                  <a:moveTo>
                    <a:pt x="2734" y="2665"/>
                  </a:moveTo>
                  <a:lnTo>
                    <a:pt x="2381" y="2665"/>
                  </a:lnTo>
                  <a:cubicBezTo>
                    <a:pt x="2326" y="2665"/>
                    <a:pt x="2281" y="2710"/>
                    <a:pt x="2281" y="2765"/>
                  </a:cubicBezTo>
                  <a:lnTo>
                    <a:pt x="2281" y="3046"/>
                  </a:lnTo>
                  <a:cubicBezTo>
                    <a:pt x="2281" y="3101"/>
                    <a:pt x="2326" y="3146"/>
                    <a:pt x="2381" y="3146"/>
                  </a:cubicBezTo>
                  <a:lnTo>
                    <a:pt x="2734" y="3146"/>
                  </a:lnTo>
                  <a:cubicBezTo>
                    <a:pt x="2790" y="3146"/>
                    <a:pt x="2834" y="3101"/>
                    <a:pt x="2834" y="3046"/>
                  </a:cubicBezTo>
                  <a:lnTo>
                    <a:pt x="2834" y="2765"/>
                  </a:lnTo>
                  <a:cubicBezTo>
                    <a:pt x="2834" y="2710"/>
                    <a:pt x="2790" y="2665"/>
                    <a:pt x="2734" y="2665"/>
                  </a:cubicBezTo>
                  <a:close/>
                  <a:moveTo>
                    <a:pt x="3250" y="790"/>
                  </a:moveTo>
                  <a:cubicBezTo>
                    <a:pt x="3250" y="1091"/>
                    <a:pt x="3082" y="1352"/>
                    <a:pt x="2834" y="1486"/>
                  </a:cubicBezTo>
                  <a:lnTo>
                    <a:pt x="2834" y="1685"/>
                  </a:lnTo>
                  <a:cubicBezTo>
                    <a:pt x="2834" y="1740"/>
                    <a:pt x="2790" y="1785"/>
                    <a:pt x="2734" y="1785"/>
                  </a:cubicBezTo>
                  <a:lnTo>
                    <a:pt x="2381" y="1785"/>
                  </a:lnTo>
                  <a:cubicBezTo>
                    <a:pt x="2326" y="1785"/>
                    <a:pt x="2281" y="1740"/>
                    <a:pt x="2281" y="1685"/>
                  </a:cubicBezTo>
                  <a:lnTo>
                    <a:pt x="2281" y="1560"/>
                  </a:lnTo>
                  <a:cubicBezTo>
                    <a:pt x="2210" y="1543"/>
                    <a:pt x="2143" y="1517"/>
                    <a:pt x="2081" y="1483"/>
                  </a:cubicBezTo>
                  <a:lnTo>
                    <a:pt x="2081" y="1685"/>
                  </a:lnTo>
                  <a:cubicBezTo>
                    <a:pt x="2081" y="1740"/>
                    <a:pt x="2036" y="1785"/>
                    <a:pt x="1981" y="1785"/>
                  </a:cubicBezTo>
                  <a:lnTo>
                    <a:pt x="860" y="1785"/>
                  </a:lnTo>
                  <a:cubicBezTo>
                    <a:pt x="805" y="1785"/>
                    <a:pt x="760" y="1740"/>
                    <a:pt x="760" y="1685"/>
                  </a:cubicBezTo>
                  <a:lnTo>
                    <a:pt x="760" y="1404"/>
                  </a:lnTo>
                  <a:cubicBezTo>
                    <a:pt x="760" y="1349"/>
                    <a:pt x="805" y="1304"/>
                    <a:pt x="860" y="1304"/>
                  </a:cubicBezTo>
                  <a:lnTo>
                    <a:pt x="1861" y="1304"/>
                  </a:lnTo>
                  <a:cubicBezTo>
                    <a:pt x="1810" y="1244"/>
                    <a:pt x="1767" y="1177"/>
                    <a:pt x="1736" y="1104"/>
                  </a:cubicBezTo>
                  <a:lnTo>
                    <a:pt x="1621" y="1104"/>
                  </a:lnTo>
                  <a:cubicBezTo>
                    <a:pt x="1565" y="1104"/>
                    <a:pt x="1521" y="1059"/>
                    <a:pt x="1521" y="1004"/>
                  </a:cubicBezTo>
                  <a:lnTo>
                    <a:pt x="1521" y="723"/>
                  </a:lnTo>
                  <a:cubicBezTo>
                    <a:pt x="1521" y="668"/>
                    <a:pt x="1565" y="623"/>
                    <a:pt x="1621" y="623"/>
                  </a:cubicBezTo>
                  <a:lnTo>
                    <a:pt x="1688" y="623"/>
                  </a:lnTo>
                  <a:cubicBezTo>
                    <a:pt x="1765" y="268"/>
                    <a:pt x="2082" y="0"/>
                    <a:pt x="2460" y="0"/>
                  </a:cubicBezTo>
                  <a:cubicBezTo>
                    <a:pt x="2896" y="0"/>
                    <a:pt x="3250" y="355"/>
                    <a:pt x="3250" y="790"/>
                  </a:cubicBezTo>
                  <a:close/>
                  <a:moveTo>
                    <a:pt x="2883" y="491"/>
                  </a:moveTo>
                  <a:cubicBezTo>
                    <a:pt x="2840" y="456"/>
                    <a:pt x="2777" y="462"/>
                    <a:pt x="2742" y="505"/>
                  </a:cubicBezTo>
                  <a:lnTo>
                    <a:pt x="2404" y="921"/>
                  </a:lnTo>
                  <a:lnTo>
                    <a:pt x="2161" y="742"/>
                  </a:lnTo>
                  <a:cubicBezTo>
                    <a:pt x="2116" y="709"/>
                    <a:pt x="2054" y="719"/>
                    <a:pt x="2021" y="763"/>
                  </a:cubicBezTo>
                  <a:cubicBezTo>
                    <a:pt x="1988" y="808"/>
                    <a:pt x="1998" y="870"/>
                    <a:pt x="2042" y="903"/>
                  </a:cubicBezTo>
                  <a:lnTo>
                    <a:pt x="2362" y="1139"/>
                  </a:lnTo>
                  <a:cubicBezTo>
                    <a:pt x="2380" y="1152"/>
                    <a:pt x="2400" y="1158"/>
                    <a:pt x="2421" y="1158"/>
                  </a:cubicBezTo>
                  <a:cubicBezTo>
                    <a:pt x="2450" y="1158"/>
                    <a:pt x="2479" y="1146"/>
                    <a:pt x="2499" y="1121"/>
                  </a:cubicBezTo>
                  <a:lnTo>
                    <a:pt x="2897" y="632"/>
                  </a:lnTo>
                  <a:cubicBezTo>
                    <a:pt x="2932" y="589"/>
                    <a:pt x="2925" y="526"/>
                    <a:pt x="2883" y="491"/>
                  </a:cubicBezTo>
                  <a:close/>
                </a:path>
              </a:pathLst>
            </a:custGeom>
            <a:solidFill>
              <a:schemeClr val="tx1">
                <a:lumMod val="50000"/>
                <a:lumOff val="50000"/>
              </a:schemeClr>
            </a:solidFill>
            <a:ln>
              <a:noFill/>
            </a:ln>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267" name="iṥļiḓè">
              <a:extLst>
                <a:ext uri="{FF2B5EF4-FFF2-40B4-BE49-F238E27FC236}">
                  <a16:creationId xmlns:a16="http://schemas.microsoft.com/office/drawing/2014/main" id="{174CF1B3-F4C2-4AFC-AD07-EAC8AE53B3F0}"/>
                </a:ext>
              </a:extLst>
            </p:cNvPr>
            <p:cNvSpPr/>
            <p:nvPr/>
          </p:nvSpPr>
          <p:spPr bwMode="auto">
            <a:xfrm>
              <a:off x="7057173" y="2858806"/>
              <a:ext cx="252017" cy="462087"/>
            </a:xfrm>
            <a:custGeom>
              <a:avLst/>
              <a:gdLst>
                <a:gd name="connsiteX0" fmla="*/ 36237 w 329399"/>
                <a:gd name="connsiteY0" fmla="*/ 150915 h 603970"/>
                <a:gd name="connsiteX1" fmla="*/ 31105 w 329399"/>
                <a:gd name="connsiteY1" fmla="*/ 156039 h 603970"/>
                <a:gd name="connsiteX2" fmla="*/ 31105 w 329399"/>
                <a:gd name="connsiteY2" fmla="*/ 347477 h 603970"/>
                <a:gd name="connsiteX3" fmla="*/ 36237 w 329399"/>
                <a:gd name="connsiteY3" fmla="*/ 352600 h 603970"/>
                <a:gd name="connsiteX4" fmla="*/ 45257 w 329399"/>
                <a:gd name="connsiteY4" fmla="*/ 352600 h 603970"/>
                <a:gd name="connsiteX5" fmla="*/ 81650 w 329399"/>
                <a:gd name="connsiteY5" fmla="*/ 388932 h 603970"/>
                <a:gd name="connsiteX6" fmla="*/ 81650 w 329399"/>
                <a:gd name="connsiteY6" fmla="*/ 413463 h 603970"/>
                <a:gd name="connsiteX7" fmla="*/ 86782 w 329399"/>
                <a:gd name="connsiteY7" fmla="*/ 418587 h 603970"/>
                <a:gd name="connsiteX8" fmla="*/ 242617 w 329399"/>
                <a:gd name="connsiteY8" fmla="*/ 418587 h 603970"/>
                <a:gd name="connsiteX9" fmla="*/ 247905 w 329399"/>
                <a:gd name="connsiteY9" fmla="*/ 413463 h 603970"/>
                <a:gd name="connsiteX10" fmla="*/ 247905 w 329399"/>
                <a:gd name="connsiteY10" fmla="*/ 388932 h 603970"/>
                <a:gd name="connsiteX11" fmla="*/ 284142 w 329399"/>
                <a:gd name="connsiteY11" fmla="*/ 352600 h 603970"/>
                <a:gd name="connsiteX12" fmla="*/ 293162 w 329399"/>
                <a:gd name="connsiteY12" fmla="*/ 352600 h 603970"/>
                <a:gd name="connsiteX13" fmla="*/ 298294 w 329399"/>
                <a:gd name="connsiteY13" fmla="*/ 347477 h 603970"/>
                <a:gd name="connsiteX14" fmla="*/ 298294 w 329399"/>
                <a:gd name="connsiteY14" fmla="*/ 156039 h 603970"/>
                <a:gd name="connsiteX15" fmla="*/ 293162 w 329399"/>
                <a:gd name="connsiteY15" fmla="*/ 150915 h 603970"/>
                <a:gd name="connsiteX16" fmla="*/ 225837 w 329399"/>
                <a:gd name="connsiteY16" fmla="*/ 46714 h 603970"/>
                <a:gd name="connsiteX17" fmla="*/ 236253 w 329399"/>
                <a:gd name="connsiteY17" fmla="*/ 57115 h 603970"/>
                <a:gd name="connsiteX18" fmla="*/ 236253 w 329399"/>
                <a:gd name="connsiteY18" fmla="*/ 96237 h 603970"/>
                <a:gd name="connsiteX19" fmla="*/ 225837 w 329399"/>
                <a:gd name="connsiteY19" fmla="*/ 106483 h 603970"/>
                <a:gd name="connsiteX20" fmla="*/ 215577 w 329399"/>
                <a:gd name="connsiteY20" fmla="*/ 96237 h 603970"/>
                <a:gd name="connsiteX21" fmla="*/ 215577 w 329399"/>
                <a:gd name="connsiteY21" fmla="*/ 57115 h 603970"/>
                <a:gd name="connsiteX22" fmla="*/ 225837 w 329399"/>
                <a:gd name="connsiteY22" fmla="*/ 46714 h 603970"/>
                <a:gd name="connsiteX23" fmla="*/ 184289 w 329399"/>
                <a:gd name="connsiteY23" fmla="*/ 46714 h 603970"/>
                <a:gd name="connsiteX24" fmla="*/ 194549 w 329399"/>
                <a:gd name="connsiteY24" fmla="*/ 57115 h 603970"/>
                <a:gd name="connsiteX25" fmla="*/ 194549 w 329399"/>
                <a:gd name="connsiteY25" fmla="*/ 96237 h 603970"/>
                <a:gd name="connsiteX26" fmla="*/ 184289 w 329399"/>
                <a:gd name="connsiteY26" fmla="*/ 106483 h 603970"/>
                <a:gd name="connsiteX27" fmla="*/ 173873 w 329399"/>
                <a:gd name="connsiteY27" fmla="*/ 96237 h 603970"/>
                <a:gd name="connsiteX28" fmla="*/ 173873 w 329399"/>
                <a:gd name="connsiteY28" fmla="*/ 57115 h 603970"/>
                <a:gd name="connsiteX29" fmla="*/ 184289 w 329399"/>
                <a:gd name="connsiteY29" fmla="*/ 46714 h 603970"/>
                <a:gd name="connsiteX30" fmla="*/ 142612 w 329399"/>
                <a:gd name="connsiteY30" fmla="*/ 46714 h 603970"/>
                <a:gd name="connsiteX31" fmla="*/ 153056 w 329399"/>
                <a:gd name="connsiteY31" fmla="*/ 57115 h 603970"/>
                <a:gd name="connsiteX32" fmla="*/ 153056 w 329399"/>
                <a:gd name="connsiteY32" fmla="*/ 96237 h 603970"/>
                <a:gd name="connsiteX33" fmla="*/ 142612 w 329399"/>
                <a:gd name="connsiteY33" fmla="*/ 106483 h 603970"/>
                <a:gd name="connsiteX34" fmla="*/ 132169 w 329399"/>
                <a:gd name="connsiteY34" fmla="*/ 96237 h 603970"/>
                <a:gd name="connsiteX35" fmla="*/ 132169 w 329399"/>
                <a:gd name="connsiteY35" fmla="*/ 57115 h 603970"/>
                <a:gd name="connsiteX36" fmla="*/ 142612 w 329399"/>
                <a:gd name="connsiteY36" fmla="*/ 46714 h 603970"/>
                <a:gd name="connsiteX37" fmla="*/ 101092 w 329399"/>
                <a:gd name="connsiteY37" fmla="*/ 46714 h 603970"/>
                <a:gd name="connsiteX38" fmla="*/ 111352 w 329399"/>
                <a:gd name="connsiteY38" fmla="*/ 57115 h 603970"/>
                <a:gd name="connsiteX39" fmla="*/ 111352 w 329399"/>
                <a:gd name="connsiteY39" fmla="*/ 96237 h 603970"/>
                <a:gd name="connsiteX40" fmla="*/ 101092 w 329399"/>
                <a:gd name="connsiteY40" fmla="*/ 106483 h 603970"/>
                <a:gd name="connsiteX41" fmla="*/ 90676 w 329399"/>
                <a:gd name="connsiteY41" fmla="*/ 96237 h 603970"/>
                <a:gd name="connsiteX42" fmla="*/ 90676 w 329399"/>
                <a:gd name="connsiteY42" fmla="*/ 57115 h 603970"/>
                <a:gd name="connsiteX43" fmla="*/ 101092 w 329399"/>
                <a:gd name="connsiteY43" fmla="*/ 46714 h 603970"/>
                <a:gd name="connsiteX44" fmla="*/ 76829 w 329399"/>
                <a:gd name="connsiteY44" fmla="*/ 31052 h 603970"/>
                <a:gd name="connsiteX45" fmla="*/ 71696 w 329399"/>
                <a:gd name="connsiteY45" fmla="*/ 36176 h 603970"/>
                <a:gd name="connsiteX46" fmla="*/ 71696 w 329399"/>
                <a:gd name="connsiteY46" fmla="*/ 119862 h 603970"/>
                <a:gd name="connsiteX47" fmla="*/ 257703 w 329399"/>
                <a:gd name="connsiteY47" fmla="*/ 119862 h 603970"/>
                <a:gd name="connsiteX48" fmla="*/ 257703 w 329399"/>
                <a:gd name="connsiteY48" fmla="*/ 36176 h 603970"/>
                <a:gd name="connsiteX49" fmla="*/ 252570 w 329399"/>
                <a:gd name="connsiteY49" fmla="*/ 31052 h 603970"/>
                <a:gd name="connsiteX50" fmla="*/ 76829 w 329399"/>
                <a:gd name="connsiteY50" fmla="*/ 0 h 603970"/>
                <a:gd name="connsiteX51" fmla="*/ 252570 w 329399"/>
                <a:gd name="connsiteY51" fmla="*/ 0 h 603970"/>
                <a:gd name="connsiteX52" fmla="*/ 288807 w 329399"/>
                <a:gd name="connsiteY52" fmla="*/ 36176 h 603970"/>
                <a:gd name="connsiteX53" fmla="*/ 288807 w 329399"/>
                <a:gd name="connsiteY53" fmla="*/ 119862 h 603970"/>
                <a:gd name="connsiteX54" fmla="*/ 293162 w 329399"/>
                <a:gd name="connsiteY54" fmla="*/ 119862 h 603970"/>
                <a:gd name="connsiteX55" fmla="*/ 329399 w 329399"/>
                <a:gd name="connsiteY55" fmla="*/ 156039 h 603970"/>
                <a:gd name="connsiteX56" fmla="*/ 329399 w 329399"/>
                <a:gd name="connsiteY56" fmla="*/ 347477 h 603970"/>
                <a:gd name="connsiteX57" fmla="*/ 293162 w 329399"/>
                <a:gd name="connsiteY57" fmla="*/ 383653 h 603970"/>
                <a:gd name="connsiteX58" fmla="*/ 284142 w 329399"/>
                <a:gd name="connsiteY58" fmla="*/ 383653 h 603970"/>
                <a:gd name="connsiteX59" fmla="*/ 279009 w 329399"/>
                <a:gd name="connsiteY59" fmla="*/ 388932 h 603970"/>
                <a:gd name="connsiteX60" fmla="*/ 279009 w 329399"/>
                <a:gd name="connsiteY60" fmla="*/ 413463 h 603970"/>
                <a:gd name="connsiteX61" fmla="*/ 242617 w 329399"/>
                <a:gd name="connsiteY61" fmla="*/ 449639 h 603970"/>
                <a:gd name="connsiteX62" fmla="*/ 180252 w 329399"/>
                <a:gd name="connsiteY62" fmla="*/ 449639 h 603970"/>
                <a:gd name="connsiteX63" fmla="*/ 180252 w 329399"/>
                <a:gd name="connsiteY63" fmla="*/ 588444 h 603970"/>
                <a:gd name="connsiteX64" fmla="*/ 164700 w 329399"/>
                <a:gd name="connsiteY64" fmla="*/ 603970 h 603970"/>
                <a:gd name="connsiteX65" fmla="*/ 149147 w 329399"/>
                <a:gd name="connsiteY65" fmla="*/ 588444 h 603970"/>
                <a:gd name="connsiteX66" fmla="*/ 149147 w 329399"/>
                <a:gd name="connsiteY66" fmla="*/ 449639 h 603970"/>
                <a:gd name="connsiteX67" fmla="*/ 86782 w 329399"/>
                <a:gd name="connsiteY67" fmla="*/ 449639 h 603970"/>
                <a:gd name="connsiteX68" fmla="*/ 50545 w 329399"/>
                <a:gd name="connsiteY68" fmla="*/ 413463 h 603970"/>
                <a:gd name="connsiteX69" fmla="*/ 50545 w 329399"/>
                <a:gd name="connsiteY69" fmla="*/ 388932 h 603970"/>
                <a:gd name="connsiteX70" fmla="*/ 45257 w 329399"/>
                <a:gd name="connsiteY70" fmla="*/ 383653 h 603970"/>
                <a:gd name="connsiteX71" fmla="*/ 36237 w 329399"/>
                <a:gd name="connsiteY71" fmla="*/ 383653 h 603970"/>
                <a:gd name="connsiteX72" fmla="*/ 0 w 329399"/>
                <a:gd name="connsiteY72" fmla="*/ 347477 h 603970"/>
                <a:gd name="connsiteX73" fmla="*/ 0 w 329399"/>
                <a:gd name="connsiteY73" fmla="*/ 156039 h 603970"/>
                <a:gd name="connsiteX74" fmla="*/ 36237 w 329399"/>
                <a:gd name="connsiteY74" fmla="*/ 119862 h 603970"/>
                <a:gd name="connsiteX75" fmla="*/ 40592 w 329399"/>
                <a:gd name="connsiteY75" fmla="*/ 119862 h 603970"/>
                <a:gd name="connsiteX76" fmla="*/ 40592 w 329399"/>
                <a:gd name="connsiteY76" fmla="*/ 36176 h 603970"/>
                <a:gd name="connsiteX77" fmla="*/ 76829 w 329399"/>
                <a:gd name="connsiteY77" fmla="*/ 0 h 603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329399" h="603970">
                  <a:moveTo>
                    <a:pt x="36237" y="150915"/>
                  </a:moveTo>
                  <a:cubicBezTo>
                    <a:pt x="33438" y="150915"/>
                    <a:pt x="31105" y="153244"/>
                    <a:pt x="31105" y="156039"/>
                  </a:cubicBezTo>
                  <a:lnTo>
                    <a:pt x="31105" y="347477"/>
                  </a:lnTo>
                  <a:cubicBezTo>
                    <a:pt x="31105" y="350272"/>
                    <a:pt x="33438" y="352600"/>
                    <a:pt x="36237" y="352600"/>
                  </a:cubicBezTo>
                  <a:lnTo>
                    <a:pt x="45257" y="352600"/>
                  </a:lnTo>
                  <a:cubicBezTo>
                    <a:pt x="65320" y="352600"/>
                    <a:pt x="81650" y="368903"/>
                    <a:pt x="81650" y="388932"/>
                  </a:cubicBezTo>
                  <a:lnTo>
                    <a:pt x="81650" y="413463"/>
                  </a:lnTo>
                  <a:cubicBezTo>
                    <a:pt x="81650" y="416258"/>
                    <a:pt x="83983" y="418587"/>
                    <a:pt x="86782" y="418587"/>
                  </a:cubicBezTo>
                  <a:lnTo>
                    <a:pt x="242617" y="418587"/>
                  </a:lnTo>
                  <a:cubicBezTo>
                    <a:pt x="245416" y="418587"/>
                    <a:pt x="247905" y="416258"/>
                    <a:pt x="247905" y="413463"/>
                  </a:cubicBezTo>
                  <a:lnTo>
                    <a:pt x="247905" y="388932"/>
                  </a:lnTo>
                  <a:cubicBezTo>
                    <a:pt x="247905" y="368903"/>
                    <a:pt x="264079" y="352600"/>
                    <a:pt x="284142" y="352600"/>
                  </a:cubicBezTo>
                  <a:lnTo>
                    <a:pt x="293162" y="352600"/>
                  </a:lnTo>
                  <a:cubicBezTo>
                    <a:pt x="295961" y="352600"/>
                    <a:pt x="298294" y="350272"/>
                    <a:pt x="298294" y="347477"/>
                  </a:cubicBezTo>
                  <a:lnTo>
                    <a:pt x="298294" y="156039"/>
                  </a:lnTo>
                  <a:cubicBezTo>
                    <a:pt x="298294" y="153244"/>
                    <a:pt x="295961" y="150915"/>
                    <a:pt x="293162" y="150915"/>
                  </a:cubicBezTo>
                  <a:close/>
                  <a:moveTo>
                    <a:pt x="225837" y="46714"/>
                  </a:moveTo>
                  <a:cubicBezTo>
                    <a:pt x="231589" y="46714"/>
                    <a:pt x="236253" y="51371"/>
                    <a:pt x="236253" y="57115"/>
                  </a:cubicBezTo>
                  <a:lnTo>
                    <a:pt x="236253" y="96237"/>
                  </a:lnTo>
                  <a:cubicBezTo>
                    <a:pt x="236253" y="101981"/>
                    <a:pt x="231589" y="106483"/>
                    <a:pt x="225837" y="106483"/>
                  </a:cubicBezTo>
                  <a:cubicBezTo>
                    <a:pt x="220085" y="106483"/>
                    <a:pt x="215577" y="101981"/>
                    <a:pt x="215577" y="96237"/>
                  </a:cubicBezTo>
                  <a:lnTo>
                    <a:pt x="215577" y="57115"/>
                  </a:lnTo>
                  <a:cubicBezTo>
                    <a:pt x="215577" y="51371"/>
                    <a:pt x="220085" y="46714"/>
                    <a:pt x="225837" y="46714"/>
                  </a:cubicBezTo>
                  <a:close/>
                  <a:moveTo>
                    <a:pt x="184289" y="46714"/>
                  </a:moveTo>
                  <a:cubicBezTo>
                    <a:pt x="189885" y="46714"/>
                    <a:pt x="194549" y="51371"/>
                    <a:pt x="194549" y="57115"/>
                  </a:cubicBezTo>
                  <a:lnTo>
                    <a:pt x="194549" y="96237"/>
                  </a:lnTo>
                  <a:cubicBezTo>
                    <a:pt x="194549" y="101981"/>
                    <a:pt x="189885" y="106483"/>
                    <a:pt x="184289" y="106483"/>
                  </a:cubicBezTo>
                  <a:cubicBezTo>
                    <a:pt x="178537" y="106483"/>
                    <a:pt x="173873" y="101981"/>
                    <a:pt x="173873" y="96237"/>
                  </a:cubicBezTo>
                  <a:lnTo>
                    <a:pt x="173873" y="57115"/>
                  </a:lnTo>
                  <a:cubicBezTo>
                    <a:pt x="173873" y="51371"/>
                    <a:pt x="178537" y="46714"/>
                    <a:pt x="184289" y="46714"/>
                  </a:cubicBezTo>
                  <a:close/>
                  <a:moveTo>
                    <a:pt x="142612" y="46714"/>
                  </a:moveTo>
                  <a:cubicBezTo>
                    <a:pt x="148380" y="46714"/>
                    <a:pt x="153056" y="51371"/>
                    <a:pt x="153056" y="57115"/>
                  </a:cubicBezTo>
                  <a:lnTo>
                    <a:pt x="153056" y="96237"/>
                  </a:lnTo>
                  <a:cubicBezTo>
                    <a:pt x="153056" y="101981"/>
                    <a:pt x="148380" y="106483"/>
                    <a:pt x="142612" y="106483"/>
                  </a:cubicBezTo>
                  <a:cubicBezTo>
                    <a:pt x="136845" y="106483"/>
                    <a:pt x="132169" y="101981"/>
                    <a:pt x="132169" y="96237"/>
                  </a:cubicBezTo>
                  <a:lnTo>
                    <a:pt x="132169" y="57115"/>
                  </a:lnTo>
                  <a:cubicBezTo>
                    <a:pt x="132169" y="51371"/>
                    <a:pt x="136845" y="46714"/>
                    <a:pt x="142612" y="46714"/>
                  </a:cubicBezTo>
                  <a:close/>
                  <a:moveTo>
                    <a:pt x="101092" y="46714"/>
                  </a:moveTo>
                  <a:cubicBezTo>
                    <a:pt x="106688" y="46714"/>
                    <a:pt x="111352" y="51371"/>
                    <a:pt x="111352" y="57115"/>
                  </a:cubicBezTo>
                  <a:lnTo>
                    <a:pt x="111352" y="96237"/>
                  </a:lnTo>
                  <a:cubicBezTo>
                    <a:pt x="111352" y="101981"/>
                    <a:pt x="106688" y="106483"/>
                    <a:pt x="101092" y="106483"/>
                  </a:cubicBezTo>
                  <a:cubicBezTo>
                    <a:pt x="95340" y="106483"/>
                    <a:pt x="90676" y="101981"/>
                    <a:pt x="90676" y="96237"/>
                  </a:cubicBezTo>
                  <a:lnTo>
                    <a:pt x="90676" y="57115"/>
                  </a:lnTo>
                  <a:cubicBezTo>
                    <a:pt x="90676" y="51371"/>
                    <a:pt x="95340" y="46714"/>
                    <a:pt x="101092" y="46714"/>
                  </a:cubicBezTo>
                  <a:close/>
                  <a:moveTo>
                    <a:pt x="76829" y="31052"/>
                  </a:moveTo>
                  <a:cubicBezTo>
                    <a:pt x="74029" y="31052"/>
                    <a:pt x="71696" y="33381"/>
                    <a:pt x="71696" y="36176"/>
                  </a:cubicBezTo>
                  <a:lnTo>
                    <a:pt x="71696" y="119862"/>
                  </a:lnTo>
                  <a:lnTo>
                    <a:pt x="257703" y="119862"/>
                  </a:lnTo>
                  <a:lnTo>
                    <a:pt x="257703" y="36176"/>
                  </a:lnTo>
                  <a:cubicBezTo>
                    <a:pt x="257703" y="33381"/>
                    <a:pt x="255370" y="31052"/>
                    <a:pt x="252570" y="31052"/>
                  </a:cubicBezTo>
                  <a:close/>
                  <a:moveTo>
                    <a:pt x="76829" y="0"/>
                  </a:moveTo>
                  <a:lnTo>
                    <a:pt x="252570" y="0"/>
                  </a:lnTo>
                  <a:cubicBezTo>
                    <a:pt x="272633" y="0"/>
                    <a:pt x="288807" y="16303"/>
                    <a:pt x="288807" y="36176"/>
                  </a:cubicBezTo>
                  <a:lnTo>
                    <a:pt x="288807" y="119862"/>
                  </a:lnTo>
                  <a:lnTo>
                    <a:pt x="293162" y="119862"/>
                  </a:lnTo>
                  <a:cubicBezTo>
                    <a:pt x="313225" y="119862"/>
                    <a:pt x="329399" y="136165"/>
                    <a:pt x="329399" y="156039"/>
                  </a:cubicBezTo>
                  <a:lnTo>
                    <a:pt x="329399" y="347477"/>
                  </a:lnTo>
                  <a:cubicBezTo>
                    <a:pt x="329399" y="367506"/>
                    <a:pt x="313225" y="383653"/>
                    <a:pt x="293162" y="383653"/>
                  </a:cubicBezTo>
                  <a:lnTo>
                    <a:pt x="284142" y="383653"/>
                  </a:lnTo>
                  <a:cubicBezTo>
                    <a:pt x="281342" y="383653"/>
                    <a:pt x="279009" y="386137"/>
                    <a:pt x="279009" y="388932"/>
                  </a:cubicBezTo>
                  <a:lnTo>
                    <a:pt x="279009" y="413463"/>
                  </a:lnTo>
                  <a:cubicBezTo>
                    <a:pt x="279009" y="433337"/>
                    <a:pt x="262679" y="449639"/>
                    <a:pt x="242617" y="449639"/>
                  </a:cubicBezTo>
                  <a:lnTo>
                    <a:pt x="180252" y="449639"/>
                  </a:lnTo>
                  <a:lnTo>
                    <a:pt x="180252" y="588444"/>
                  </a:lnTo>
                  <a:cubicBezTo>
                    <a:pt x="180252" y="597138"/>
                    <a:pt x="173253" y="603970"/>
                    <a:pt x="164700" y="603970"/>
                  </a:cubicBezTo>
                  <a:cubicBezTo>
                    <a:pt x="156146" y="603970"/>
                    <a:pt x="149147" y="597138"/>
                    <a:pt x="149147" y="588444"/>
                  </a:cubicBezTo>
                  <a:lnTo>
                    <a:pt x="149147" y="449639"/>
                  </a:lnTo>
                  <a:lnTo>
                    <a:pt x="86782" y="449639"/>
                  </a:lnTo>
                  <a:cubicBezTo>
                    <a:pt x="66720" y="449639"/>
                    <a:pt x="50545" y="433337"/>
                    <a:pt x="50545" y="413463"/>
                  </a:cubicBezTo>
                  <a:lnTo>
                    <a:pt x="50545" y="388932"/>
                  </a:lnTo>
                  <a:cubicBezTo>
                    <a:pt x="50545" y="386137"/>
                    <a:pt x="48212" y="383653"/>
                    <a:pt x="45257" y="383653"/>
                  </a:cubicBezTo>
                  <a:lnTo>
                    <a:pt x="36237" y="383653"/>
                  </a:lnTo>
                  <a:cubicBezTo>
                    <a:pt x="16330" y="383653"/>
                    <a:pt x="0" y="367506"/>
                    <a:pt x="0" y="347477"/>
                  </a:cubicBezTo>
                  <a:lnTo>
                    <a:pt x="0" y="156039"/>
                  </a:lnTo>
                  <a:cubicBezTo>
                    <a:pt x="0" y="136165"/>
                    <a:pt x="16330" y="119862"/>
                    <a:pt x="36237" y="119862"/>
                  </a:cubicBezTo>
                  <a:lnTo>
                    <a:pt x="40592" y="119862"/>
                  </a:lnTo>
                  <a:lnTo>
                    <a:pt x="40592" y="36176"/>
                  </a:lnTo>
                  <a:cubicBezTo>
                    <a:pt x="40592" y="16303"/>
                    <a:pt x="56922" y="0"/>
                    <a:pt x="76829" y="0"/>
                  </a:cubicBezTo>
                  <a:close/>
                </a:path>
              </a:pathLst>
            </a:custGeom>
            <a:solidFill>
              <a:schemeClr val="tx1">
                <a:lumMod val="50000"/>
                <a:lumOff val="50000"/>
              </a:schemeClr>
            </a:solidFill>
            <a:ln>
              <a:noFill/>
            </a:ln>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268" name="iŝļíďê">
              <a:extLst>
                <a:ext uri="{FF2B5EF4-FFF2-40B4-BE49-F238E27FC236}">
                  <a16:creationId xmlns:a16="http://schemas.microsoft.com/office/drawing/2014/main" id="{2F20B241-A022-4D03-92B5-B8585412C35A}"/>
                </a:ext>
              </a:extLst>
            </p:cNvPr>
            <p:cNvSpPr/>
            <p:nvPr/>
          </p:nvSpPr>
          <p:spPr bwMode="auto">
            <a:xfrm>
              <a:off x="4793188" y="4134309"/>
              <a:ext cx="394609" cy="419352"/>
            </a:xfrm>
            <a:custGeom>
              <a:avLst/>
              <a:gdLst>
                <a:gd name="T0" fmla="*/ 4091 w 4360"/>
                <a:gd name="T1" fmla="*/ 725 h 4640"/>
                <a:gd name="T2" fmla="*/ 2180 w 4360"/>
                <a:gd name="T3" fmla="*/ 0 h 4640"/>
                <a:gd name="T4" fmla="*/ 269 w 4360"/>
                <a:gd name="T5" fmla="*/ 725 h 4640"/>
                <a:gd name="T6" fmla="*/ 2180 w 4360"/>
                <a:gd name="T7" fmla="*/ 4640 h 4640"/>
                <a:gd name="T8" fmla="*/ 4091 w 4360"/>
                <a:gd name="T9" fmla="*/ 725 h 4640"/>
                <a:gd name="T10" fmla="*/ 2021 w 4360"/>
                <a:gd name="T11" fmla="*/ 3010 h 4640"/>
                <a:gd name="T12" fmla="*/ 1385 w 4360"/>
                <a:gd name="T13" fmla="*/ 2374 h 4640"/>
                <a:gd name="T14" fmla="*/ 1670 w 4360"/>
                <a:gd name="T15" fmla="*/ 2089 h 4640"/>
                <a:gd name="T16" fmla="*/ 2021 w 4360"/>
                <a:gd name="T17" fmla="*/ 2440 h 4640"/>
                <a:gd name="T18" fmla="*/ 2690 w 4360"/>
                <a:gd name="T19" fmla="*/ 1772 h 4640"/>
                <a:gd name="T20" fmla="*/ 2975 w 4360"/>
                <a:gd name="T21" fmla="*/ 2057 h 4640"/>
                <a:gd name="T22" fmla="*/ 2021 w 4360"/>
                <a:gd name="T23" fmla="*/ 3010 h 4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60" h="4640">
                  <a:moveTo>
                    <a:pt x="4091" y="725"/>
                  </a:moveTo>
                  <a:cubicBezTo>
                    <a:pt x="3299" y="725"/>
                    <a:pt x="2693" y="499"/>
                    <a:pt x="2180" y="0"/>
                  </a:cubicBezTo>
                  <a:cubicBezTo>
                    <a:pt x="1667" y="499"/>
                    <a:pt x="1060" y="725"/>
                    <a:pt x="269" y="725"/>
                  </a:cubicBezTo>
                  <a:cubicBezTo>
                    <a:pt x="269" y="2024"/>
                    <a:pt x="0" y="3884"/>
                    <a:pt x="2180" y="4640"/>
                  </a:cubicBezTo>
                  <a:cubicBezTo>
                    <a:pt x="4360" y="3884"/>
                    <a:pt x="4091" y="2024"/>
                    <a:pt x="4091" y="725"/>
                  </a:cubicBezTo>
                  <a:close/>
                  <a:moveTo>
                    <a:pt x="2021" y="3010"/>
                  </a:moveTo>
                  <a:lnTo>
                    <a:pt x="1385" y="2374"/>
                  </a:lnTo>
                  <a:lnTo>
                    <a:pt x="1670" y="2089"/>
                  </a:lnTo>
                  <a:lnTo>
                    <a:pt x="2021" y="2440"/>
                  </a:lnTo>
                  <a:lnTo>
                    <a:pt x="2690" y="1772"/>
                  </a:lnTo>
                  <a:lnTo>
                    <a:pt x="2975" y="2057"/>
                  </a:lnTo>
                  <a:lnTo>
                    <a:pt x="2021" y="3010"/>
                  </a:lnTo>
                  <a:close/>
                </a:path>
              </a:pathLst>
            </a:custGeom>
            <a:solidFill>
              <a:schemeClr val="tx1">
                <a:lumMod val="50000"/>
                <a:lumOff val="50000"/>
              </a:schemeClr>
            </a:solidFill>
            <a:ln>
              <a:noFill/>
            </a:ln>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269" name="ïṧľïďè">
              <a:extLst>
                <a:ext uri="{FF2B5EF4-FFF2-40B4-BE49-F238E27FC236}">
                  <a16:creationId xmlns:a16="http://schemas.microsoft.com/office/drawing/2014/main" id="{FE19D710-6715-40D3-99A0-372C76F1D20E}"/>
                </a:ext>
              </a:extLst>
            </p:cNvPr>
            <p:cNvSpPr/>
            <p:nvPr/>
          </p:nvSpPr>
          <p:spPr bwMode="auto">
            <a:xfrm>
              <a:off x="5845039" y="4749039"/>
              <a:ext cx="445561" cy="434039"/>
            </a:xfrm>
            <a:custGeom>
              <a:avLst/>
              <a:gdLst>
                <a:gd name="T0" fmla="*/ 278945 h 440259"/>
                <a:gd name="T1" fmla="*/ 278945 h 440259"/>
                <a:gd name="T2" fmla="*/ 278945 h 440259"/>
                <a:gd name="T3" fmla="*/ 278945 h 440259"/>
                <a:gd name="T4" fmla="*/ 278945 h 440259"/>
                <a:gd name="T5" fmla="*/ 278945 h 440259"/>
                <a:gd name="T6" fmla="*/ 278945 h 440259"/>
                <a:gd name="T7" fmla="*/ 278945 h 440259"/>
                <a:gd name="T8" fmla="*/ 278945 h 440259"/>
                <a:gd name="T9" fmla="*/ 278945 h 440259"/>
                <a:gd name="T10" fmla="*/ 278945 h 440259"/>
                <a:gd name="T11" fmla="*/ 278945 h 440259"/>
                <a:gd name="T12" fmla="*/ 278945 h 440259"/>
                <a:gd name="T13" fmla="*/ 278945 h 440259"/>
                <a:gd name="T14" fmla="*/ 278945 h 440259"/>
                <a:gd name="T15" fmla="*/ 278945 h 440259"/>
                <a:gd name="T16" fmla="*/ 278945 h 440259"/>
                <a:gd name="T17" fmla="*/ 278945 h 440259"/>
                <a:gd name="T18" fmla="*/ 278945 h 440259"/>
                <a:gd name="T19" fmla="*/ 278945 h 440259"/>
                <a:gd name="T20" fmla="*/ 278945 h 440259"/>
                <a:gd name="T21" fmla="*/ 278945 h 440259"/>
                <a:gd name="T22" fmla="*/ 278945 h 440259"/>
                <a:gd name="T23" fmla="*/ 278945 h 440259"/>
                <a:gd name="T24" fmla="*/ 278945 h 440259"/>
                <a:gd name="T25" fmla="*/ 278945 h 440259"/>
                <a:gd name="T26" fmla="*/ 278945 h 440259"/>
                <a:gd name="T27" fmla="*/ 278945 h 440259"/>
                <a:gd name="T28" fmla="*/ 278945 h 440259"/>
                <a:gd name="T29" fmla="*/ 278945 h 440259"/>
                <a:gd name="T30" fmla="*/ 278945 h 440259"/>
                <a:gd name="T31" fmla="*/ 278945 h 440259"/>
                <a:gd name="T32" fmla="*/ 278945 h 440259"/>
                <a:gd name="T33" fmla="*/ 278945 h 440259"/>
                <a:gd name="T34" fmla="*/ 278945 h 440259"/>
                <a:gd name="T35" fmla="*/ 278945 h 440259"/>
                <a:gd name="T36" fmla="*/ 278945 h 440259"/>
                <a:gd name="T37" fmla="*/ 278945 h 440259"/>
                <a:gd name="T38" fmla="*/ 278945 h 440259"/>
                <a:gd name="T39" fmla="*/ 278945 h 440259"/>
                <a:gd name="T40" fmla="*/ 278945 h 440259"/>
                <a:gd name="T41" fmla="*/ 278945 h 440259"/>
                <a:gd name="T42" fmla="*/ 278945 h 440259"/>
                <a:gd name="T43" fmla="*/ 278945 h 440259"/>
                <a:gd name="T44" fmla="*/ 278945 h 440259"/>
                <a:gd name="T45" fmla="*/ 278945 h 440259"/>
                <a:gd name="T46" fmla="*/ 278945 h 440259"/>
                <a:gd name="T47" fmla="*/ 278945 h 440259"/>
                <a:gd name="T48" fmla="*/ 278945 h 440259"/>
                <a:gd name="T49" fmla="*/ 278945 h 440259"/>
                <a:gd name="T50" fmla="*/ 278945 h 440259"/>
                <a:gd name="T51" fmla="*/ 278945 h 440259"/>
                <a:gd name="T52" fmla="*/ 278945 h 440259"/>
                <a:gd name="T53" fmla="*/ 278945 h 440259"/>
                <a:gd name="T54" fmla="*/ 278945 h 440259"/>
                <a:gd name="T55" fmla="*/ 278945 h 440259"/>
                <a:gd name="T56" fmla="*/ 278945 h 440259"/>
                <a:gd name="T57" fmla="*/ 278945 h 440259"/>
                <a:gd name="T58" fmla="*/ 278945 h 440259"/>
                <a:gd name="T59" fmla="*/ 278945 h 440259"/>
                <a:gd name="T60" fmla="*/ 278945 h 440259"/>
                <a:gd name="T61" fmla="*/ 278945 h 440259"/>
                <a:gd name="T62" fmla="*/ 88862 h 440259"/>
                <a:gd name="T63" fmla="*/ 88862 h 440259"/>
                <a:gd name="T64" fmla="*/ 278945 h 440259"/>
                <a:gd name="T65" fmla="*/ 278945 h 440259"/>
                <a:gd name="T66" fmla="*/ 278945 h 440259"/>
                <a:gd name="T67" fmla="*/ 278945 h 440259"/>
                <a:gd name="T68" fmla="*/ 278945 h 440259"/>
                <a:gd name="T69" fmla="*/ 278945 h 440259"/>
                <a:gd name="T70" fmla="*/ 278945 h 440259"/>
                <a:gd name="T71" fmla="*/ 278945 h 440259"/>
                <a:gd name="T72" fmla="*/ 278945 h 440259"/>
                <a:gd name="T73" fmla="*/ 278945 h 440259"/>
                <a:gd name="T74" fmla="*/ 278945 h 440259"/>
                <a:gd name="T75" fmla="*/ 278945 h 440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74" h="3779">
                  <a:moveTo>
                    <a:pt x="2715" y="2098"/>
                  </a:moveTo>
                  <a:cubicBezTo>
                    <a:pt x="2687" y="2070"/>
                    <a:pt x="2650" y="2054"/>
                    <a:pt x="2610" y="2054"/>
                  </a:cubicBezTo>
                  <a:cubicBezTo>
                    <a:pt x="2571" y="2054"/>
                    <a:pt x="2533" y="2070"/>
                    <a:pt x="2505" y="2098"/>
                  </a:cubicBezTo>
                  <a:lnTo>
                    <a:pt x="2376" y="2227"/>
                  </a:lnTo>
                  <a:lnTo>
                    <a:pt x="2187" y="2037"/>
                  </a:lnTo>
                  <a:lnTo>
                    <a:pt x="2767" y="1457"/>
                  </a:lnTo>
                  <a:cubicBezTo>
                    <a:pt x="2860" y="1498"/>
                    <a:pt x="2962" y="1519"/>
                    <a:pt x="3067" y="1519"/>
                  </a:cubicBezTo>
                  <a:lnTo>
                    <a:pt x="3067" y="1519"/>
                  </a:lnTo>
                  <a:cubicBezTo>
                    <a:pt x="3270" y="1519"/>
                    <a:pt x="3461" y="1440"/>
                    <a:pt x="3605" y="1296"/>
                  </a:cubicBezTo>
                  <a:cubicBezTo>
                    <a:pt x="3801" y="1099"/>
                    <a:pt x="3874" y="811"/>
                    <a:pt x="3796" y="545"/>
                  </a:cubicBezTo>
                  <a:cubicBezTo>
                    <a:pt x="3791" y="529"/>
                    <a:pt x="3779" y="517"/>
                    <a:pt x="3763" y="513"/>
                  </a:cubicBezTo>
                  <a:cubicBezTo>
                    <a:pt x="3747" y="509"/>
                    <a:pt x="3731" y="514"/>
                    <a:pt x="3719" y="525"/>
                  </a:cubicBezTo>
                  <a:lnTo>
                    <a:pt x="3241" y="1005"/>
                  </a:lnTo>
                  <a:cubicBezTo>
                    <a:pt x="3212" y="994"/>
                    <a:pt x="3140" y="954"/>
                    <a:pt x="3006" y="820"/>
                  </a:cubicBezTo>
                  <a:cubicBezTo>
                    <a:pt x="2872" y="687"/>
                    <a:pt x="2832" y="615"/>
                    <a:pt x="2821" y="586"/>
                  </a:cubicBezTo>
                  <a:lnTo>
                    <a:pt x="3299" y="106"/>
                  </a:lnTo>
                  <a:cubicBezTo>
                    <a:pt x="3310" y="95"/>
                    <a:pt x="3315" y="78"/>
                    <a:pt x="3311" y="63"/>
                  </a:cubicBezTo>
                  <a:cubicBezTo>
                    <a:pt x="3307" y="47"/>
                    <a:pt x="3295" y="35"/>
                    <a:pt x="3279" y="30"/>
                  </a:cubicBezTo>
                  <a:cubicBezTo>
                    <a:pt x="3210" y="10"/>
                    <a:pt x="3139" y="0"/>
                    <a:pt x="3067" y="0"/>
                  </a:cubicBezTo>
                  <a:cubicBezTo>
                    <a:pt x="2864" y="0"/>
                    <a:pt x="2673" y="79"/>
                    <a:pt x="2529" y="223"/>
                  </a:cubicBezTo>
                  <a:cubicBezTo>
                    <a:pt x="2304" y="449"/>
                    <a:pt x="2251" y="783"/>
                    <a:pt x="2369" y="1059"/>
                  </a:cubicBezTo>
                  <a:lnTo>
                    <a:pt x="1789" y="1639"/>
                  </a:lnTo>
                  <a:lnTo>
                    <a:pt x="1195" y="1046"/>
                  </a:lnTo>
                  <a:cubicBezTo>
                    <a:pt x="1195" y="1045"/>
                    <a:pt x="1194" y="1044"/>
                    <a:pt x="1194" y="1043"/>
                  </a:cubicBezTo>
                  <a:lnTo>
                    <a:pt x="922" y="577"/>
                  </a:lnTo>
                  <a:cubicBezTo>
                    <a:pt x="918" y="569"/>
                    <a:pt x="911" y="562"/>
                    <a:pt x="904" y="557"/>
                  </a:cubicBezTo>
                  <a:lnTo>
                    <a:pt x="446" y="239"/>
                  </a:lnTo>
                  <a:cubicBezTo>
                    <a:pt x="420" y="222"/>
                    <a:pt x="386" y="225"/>
                    <a:pt x="364" y="247"/>
                  </a:cubicBezTo>
                  <a:lnTo>
                    <a:pt x="160" y="451"/>
                  </a:lnTo>
                  <a:cubicBezTo>
                    <a:pt x="139" y="472"/>
                    <a:pt x="136" y="507"/>
                    <a:pt x="153" y="532"/>
                  </a:cubicBezTo>
                  <a:lnTo>
                    <a:pt x="471" y="990"/>
                  </a:lnTo>
                  <a:cubicBezTo>
                    <a:pt x="476" y="997"/>
                    <a:pt x="483" y="1004"/>
                    <a:pt x="491" y="1009"/>
                  </a:cubicBezTo>
                  <a:lnTo>
                    <a:pt x="956" y="1280"/>
                  </a:lnTo>
                  <a:cubicBezTo>
                    <a:pt x="957" y="1281"/>
                    <a:pt x="959" y="1281"/>
                    <a:pt x="960" y="1282"/>
                  </a:cubicBezTo>
                  <a:lnTo>
                    <a:pt x="1553" y="1875"/>
                  </a:lnTo>
                  <a:lnTo>
                    <a:pt x="1107" y="2322"/>
                  </a:lnTo>
                  <a:cubicBezTo>
                    <a:pt x="1013" y="2282"/>
                    <a:pt x="911" y="2261"/>
                    <a:pt x="807" y="2261"/>
                  </a:cubicBezTo>
                  <a:cubicBezTo>
                    <a:pt x="603" y="2261"/>
                    <a:pt x="412" y="2340"/>
                    <a:pt x="269" y="2484"/>
                  </a:cubicBezTo>
                  <a:cubicBezTo>
                    <a:pt x="73" y="2680"/>
                    <a:pt x="0" y="2968"/>
                    <a:pt x="78" y="3235"/>
                  </a:cubicBezTo>
                  <a:cubicBezTo>
                    <a:pt x="82" y="3250"/>
                    <a:pt x="95" y="3262"/>
                    <a:pt x="111" y="3266"/>
                  </a:cubicBezTo>
                  <a:cubicBezTo>
                    <a:pt x="126" y="3270"/>
                    <a:pt x="143" y="3265"/>
                    <a:pt x="154" y="3254"/>
                  </a:cubicBezTo>
                  <a:lnTo>
                    <a:pt x="633" y="2774"/>
                  </a:lnTo>
                  <a:cubicBezTo>
                    <a:pt x="661" y="2786"/>
                    <a:pt x="734" y="2826"/>
                    <a:pt x="867" y="2959"/>
                  </a:cubicBezTo>
                  <a:cubicBezTo>
                    <a:pt x="1001" y="3092"/>
                    <a:pt x="1041" y="3165"/>
                    <a:pt x="1053" y="3193"/>
                  </a:cubicBezTo>
                  <a:lnTo>
                    <a:pt x="575" y="3673"/>
                  </a:lnTo>
                  <a:cubicBezTo>
                    <a:pt x="563" y="3685"/>
                    <a:pt x="559" y="3701"/>
                    <a:pt x="563" y="3717"/>
                  </a:cubicBezTo>
                  <a:cubicBezTo>
                    <a:pt x="567" y="3732"/>
                    <a:pt x="579" y="3745"/>
                    <a:pt x="594" y="3749"/>
                  </a:cubicBezTo>
                  <a:cubicBezTo>
                    <a:pt x="663" y="3769"/>
                    <a:pt x="735" y="3779"/>
                    <a:pt x="807" y="3779"/>
                  </a:cubicBezTo>
                  <a:cubicBezTo>
                    <a:pt x="1010" y="3779"/>
                    <a:pt x="1201" y="3700"/>
                    <a:pt x="1344" y="3556"/>
                  </a:cubicBezTo>
                  <a:cubicBezTo>
                    <a:pt x="1488" y="3413"/>
                    <a:pt x="1566" y="3222"/>
                    <a:pt x="1566" y="3019"/>
                  </a:cubicBezTo>
                  <a:cubicBezTo>
                    <a:pt x="1566" y="2914"/>
                    <a:pt x="1545" y="2813"/>
                    <a:pt x="1505" y="2720"/>
                  </a:cubicBezTo>
                  <a:lnTo>
                    <a:pt x="1951" y="2273"/>
                  </a:lnTo>
                  <a:lnTo>
                    <a:pt x="2140" y="2462"/>
                  </a:lnTo>
                  <a:lnTo>
                    <a:pt x="2011" y="2591"/>
                  </a:lnTo>
                  <a:cubicBezTo>
                    <a:pt x="1983" y="2619"/>
                    <a:pt x="1968" y="2657"/>
                    <a:pt x="1968" y="2697"/>
                  </a:cubicBezTo>
                  <a:cubicBezTo>
                    <a:pt x="1968" y="2736"/>
                    <a:pt x="1983" y="2774"/>
                    <a:pt x="2011" y="2802"/>
                  </a:cubicBezTo>
                  <a:lnTo>
                    <a:pt x="2923" y="3713"/>
                  </a:lnTo>
                  <a:cubicBezTo>
                    <a:pt x="2951" y="3741"/>
                    <a:pt x="2988" y="3757"/>
                    <a:pt x="3028" y="3757"/>
                  </a:cubicBezTo>
                  <a:cubicBezTo>
                    <a:pt x="3068" y="3757"/>
                    <a:pt x="3105" y="3741"/>
                    <a:pt x="3133" y="3713"/>
                  </a:cubicBezTo>
                  <a:lnTo>
                    <a:pt x="3627" y="3219"/>
                  </a:lnTo>
                  <a:cubicBezTo>
                    <a:pt x="3655" y="3191"/>
                    <a:pt x="3670" y="3154"/>
                    <a:pt x="3670" y="3114"/>
                  </a:cubicBezTo>
                  <a:cubicBezTo>
                    <a:pt x="3670" y="3074"/>
                    <a:pt x="3655" y="3037"/>
                    <a:pt x="3627" y="3009"/>
                  </a:cubicBezTo>
                  <a:lnTo>
                    <a:pt x="2715" y="2098"/>
                  </a:lnTo>
                  <a:close/>
                  <a:moveTo>
                    <a:pt x="3038" y="3389"/>
                  </a:moveTo>
                  <a:cubicBezTo>
                    <a:pt x="3006" y="3421"/>
                    <a:pt x="2953" y="3421"/>
                    <a:pt x="2920" y="3389"/>
                  </a:cubicBezTo>
                  <a:lnTo>
                    <a:pt x="2336" y="2804"/>
                  </a:lnTo>
                  <a:cubicBezTo>
                    <a:pt x="2303" y="2772"/>
                    <a:pt x="2303" y="2719"/>
                    <a:pt x="2336" y="2686"/>
                  </a:cubicBezTo>
                  <a:cubicBezTo>
                    <a:pt x="2368" y="2654"/>
                    <a:pt x="2421" y="2654"/>
                    <a:pt x="2453" y="2686"/>
                  </a:cubicBezTo>
                  <a:lnTo>
                    <a:pt x="3038" y="3271"/>
                  </a:lnTo>
                  <a:cubicBezTo>
                    <a:pt x="3071" y="3304"/>
                    <a:pt x="3071" y="3356"/>
                    <a:pt x="3038" y="3389"/>
                  </a:cubicBezTo>
                  <a:close/>
                  <a:moveTo>
                    <a:pt x="3303" y="3124"/>
                  </a:moveTo>
                  <a:cubicBezTo>
                    <a:pt x="3270" y="3157"/>
                    <a:pt x="3218" y="3157"/>
                    <a:pt x="3185" y="3124"/>
                  </a:cubicBezTo>
                  <a:lnTo>
                    <a:pt x="2600" y="2539"/>
                  </a:lnTo>
                  <a:cubicBezTo>
                    <a:pt x="2568" y="2507"/>
                    <a:pt x="2568" y="2454"/>
                    <a:pt x="2600" y="2422"/>
                  </a:cubicBezTo>
                  <a:cubicBezTo>
                    <a:pt x="2633" y="2389"/>
                    <a:pt x="2685" y="2389"/>
                    <a:pt x="2718" y="2422"/>
                  </a:cubicBezTo>
                  <a:lnTo>
                    <a:pt x="3303" y="3007"/>
                  </a:lnTo>
                  <a:cubicBezTo>
                    <a:pt x="3335" y="3039"/>
                    <a:pt x="3335" y="3092"/>
                    <a:pt x="3303" y="3124"/>
                  </a:cubicBezTo>
                  <a:close/>
                </a:path>
              </a:pathLst>
            </a:custGeom>
            <a:solidFill>
              <a:schemeClr val="tx1">
                <a:lumMod val="50000"/>
                <a:lumOff val="50000"/>
              </a:schemeClr>
            </a:solidFill>
            <a:ln>
              <a:noFill/>
            </a:ln>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270" name="ïsḻîďè">
              <a:extLst>
                <a:ext uri="{FF2B5EF4-FFF2-40B4-BE49-F238E27FC236}">
                  <a16:creationId xmlns:a16="http://schemas.microsoft.com/office/drawing/2014/main" id="{DD4609C2-A7F6-4122-B304-CE7FE8B249DA}"/>
                </a:ext>
              </a:extLst>
            </p:cNvPr>
            <p:cNvSpPr/>
            <p:nvPr/>
          </p:nvSpPr>
          <p:spPr bwMode="auto">
            <a:xfrm>
              <a:off x="6966411" y="4218790"/>
              <a:ext cx="419352" cy="275401"/>
            </a:xfrm>
            <a:custGeom>
              <a:avLst/>
              <a:gdLst>
                <a:gd name="T0" fmla="*/ 395 w 479"/>
                <a:gd name="T1" fmla="*/ 57 h 315"/>
                <a:gd name="T2" fmla="*/ 240 w 479"/>
                <a:gd name="T3" fmla="*/ 0 h 315"/>
                <a:gd name="T4" fmla="*/ 0 w 479"/>
                <a:gd name="T5" fmla="*/ 239 h 315"/>
                <a:gd name="T6" fmla="*/ 1 w 479"/>
                <a:gd name="T7" fmla="*/ 280 h 315"/>
                <a:gd name="T8" fmla="*/ 1 w 479"/>
                <a:gd name="T9" fmla="*/ 315 h 315"/>
                <a:gd name="T10" fmla="*/ 478 w 479"/>
                <a:gd name="T11" fmla="*/ 315 h 315"/>
                <a:gd name="T12" fmla="*/ 478 w 479"/>
                <a:gd name="T13" fmla="*/ 282 h 315"/>
                <a:gd name="T14" fmla="*/ 479 w 479"/>
                <a:gd name="T15" fmla="*/ 280 h 315"/>
                <a:gd name="T16" fmla="*/ 479 w 479"/>
                <a:gd name="T17" fmla="*/ 239 h 315"/>
                <a:gd name="T18" fmla="*/ 395 w 479"/>
                <a:gd name="T19" fmla="*/ 57 h 315"/>
                <a:gd name="T20" fmla="*/ 58 w 479"/>
                <a:gd name="T21" fmla="*/ 280 h 315"/>
                <a:gd name="T22" fmla="*/ 58 w 479"/>
                <a:gd name="T23" fmla="*/ 243 h 315"/>
                <a:gd name="T24" fmla="*/ 107 w 479"/>
                <a:gd name="T25" fmla="*/ 243 h 315"/>
                <a:gd name="T26" fmla="*/ 107 w 479"/>
                <a:gd name="T27" fmla="*/ 227 h 315"/>
                <a:gd name="T28" fmla="*/ 62 w 479"/>
                <a:gd name="T29" fmla="*/ 227 h 315"/>
                <a:gd name="T30" fmla="*/ 58 w 479"/>
                <a:gd name="T31" fmla="*/ 228 h 315"/>
                <a:gd name="T32" fmla="*/ 105 w 479"/>
                <a:gd name="T33" fmla="*/ 113 h 315"/>
                <a:gd name="T34" fmla="*/ 107 w 479"/>
                <a:gd name="T35" fmla="*/ 112 h 315"/>
                <a:gd name="T36" fmla="*/ 109 w 479"/>
                <a:gd name="T37" fmla="*/ 114 h 315"/>
                <a:gd name="T38" fmla="*/ 142 w 479"/>
                <a:gd name="T39" fmla="*/ 146 h 315"/>
                <a:gd name="T40" fmla="*/ 152 w 479"/>
                <a:gd name="T41" fmla="*/ 136 h 315"/>
                <a:gd name="T42" fmla="*/ 117 w 479"/>
                <a:gd name="T43" fmla="*/ 101 h 315"/>
                <a:gd name="T44" fmla="*/ 231 w 479"/>
                <a:gd name="T45" fmla="*/ 54 h 315"/>
                <a:gd name="T46" fmla="*/ 233 w 479"/>
                <a:gd name="T47" fmla="*/ 54 h 315"/>
                <a:gd name="T48" fmla="*/ 234 w 479"/>
                <a:gd name="T49" fmla="*/ 55 h 315"/>
                <a:gd name="T50" fmla="*/ 234 w 479"/>
                <a:gd name="T51" fmla="*/ 103 h 315"/>
                <a:gd name="T52" fmla="*/ 247 w 479"/>
                <a:gd name="T53" fmla="*/ 103 h 315"/>
                <a:gd name="T54" fmla="*/ 247 w 479"/>
                <a:gd name="T55" fmla="*/ 54 h 315"/>
                <a:gd name="T56" fmla="*/ 267 w 479"/>
                <a:gd name="T57" fmla="*/ 56 h 315"/>
                <a:gd name="T58" fmla="*/ 365 w 479"/>
                <a:gd name="T59" fmla="*/ 102 h 315"/>
                <a:gd name="T60" fmla="*/ 330 w 479"/>
                <a:gd name="T61" fmla="*/ 137 h 315"/>
                <a:gd name="T62" fmla="*/ 340 w 479"/>
                <a:gd name="T63" fmla="*/ 146 h 315"/>
                <a:gd name="T64" fmla="*/ 373 w 479"/>
                <a:gd name="T65" fmla="*/ 113 h 315"/>
                <a:gd name="T66" fmla="*/ 375 w 479"/>
                <a:gd name="T67" fmla="*/ 111 h 315"/>
                <a:gd name="T68" fmla="*/ 376 w 479"/>
                <a:gd name="T69" fmla="*/ 114 h 315"/>
                <a:gd name="T70" fmla="*/ 424 w 479"/>
                <a:gd name="T71" fmla="*/ 227 h 315"/>
                <a:gd name="T72" fmla="*/ 375 w 479"/>
                <a:gd name="T73" fmla="*/ 227 h 315"/>
                <a:gd name="T74" fmla="*/ 375 w 479"/>
                <a:gd name="T75" fmla="*/ 243 h 315"/>
                <a:gd name="T76" fmla="*/ 424 w 479"/>
                <a:gd name="T77" fmla="*/ 243 h 315"/>
                <a:gd name="T78" fmla="*/ 424 w 479"/>
                <a:gd name="T79" fmla="*/ 279 h 315"/>
                <a:gd name="T80" fmla="*/ 58 w 479"/>
                <a:gd name="T81" fmla="*/ 280 h 315"/>
                <a:gd name="T82" fmla="*/ 304 w 479"/>
                <a:gd name="T83" fmla="*/ 165 h 315"/>
                <a:gd name="T84" fmla="*/ 211 w 479"/>
                <a:gd name="T85" fmla="*/ 204 h 315"/>
                <a:gd name="T86" fmla="*/ 211 w 479"/>
                <a:gd name="T87" fmla="*/ 258 h 315"/>
                <a:gd name="T88" fmla="*/ 265 w 479"/>
                <a:gd name="T89" fmla="*/ 258 h 315"/>
                <a:gd name="T90" fmla="*/ 304 w 479"/>
                <a:gd name="T91" fmla="*/ 165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79" h="315">
                  <a:moveTo>
                    <a:pt x="395" y="57"/>
                  </a:moveTo>
                  <a:cubicBezTo>
                    <a:pt x="353" y="22"/>
                    <a:pt x="299" y="0"/>
                    <a:pt x="240" y="0"/>
                  </a:cubicBezTo>
                  <a:cubicBezTo>
                    <a:pt x="107" y="0"/>
                    <a:pt x="0" y="107"/>
                    <a:pt x="0" y="239"/>
                  </a:cubicBezTo>
                  <a:cubicBezTo>
                    <a:pt x="0" y="243"/>
                    <a:pt x="0" y="276"/>
                    <a:pt x="1" y="280"/>
                  </a:cubicBezTo>
                  <a:lnTo>
                    <a:pt x="1" y="315"/>
                  </a:lnTo>
                  <a:lnTo>
                    <a:pt x="478" y="315"/>
                  </a:lnTo>
                  <a:lnTo>
                    <a:pt x="478" y="282"/>
                  </a:lnTo>
                  <a:lnTo>
                    <a:pt x="479" y="280"/>
                  </a:lnTo>
                  <a:cubicBezTo>
                    <a:pt x="479" y="276"/>
                    <a:pt x="479" y="243"/>
                    <a:pt x="479" y="239"/>
                  </a:cubicBezTo>
                  <a:cubicBezTo>
                    <a:pt x="479" y="122"/>
                    <a:pt x="395" y="57"/>
                    <a:pt x="395" y="57"/>
                  </a:cubicBezTo>
                  <a:close/>
                  <a:moveTo>
                    <a:pt x="58" y="280"/>
                  </a:moveTo>
                  <a:cubicBezTo>
                    <a:pt x="58" y="277"/>
                    <a:pt x="58" y="246"/>
                    <a:pt x="58" y="243"/>
                  </a:cubicBezTo>
                  <a:lnTo>
                    <a:pt x="107" y="243"/>
                  </a:lnTo>
                  <a:lnTo>
                    <a:pt x="107" y="227"/>
                  </a:lnTo>
                  <a:lnTo>
                    <a:pt x="62" y="227"/>
                  </a:lnTo>
                  <a:cubicBezTo>
                    <a:pt x="62" y="227"/>
                    <a:pt x="58" y="228"/>
                    <a:pt x="58" y="228"/>
                  </a:cubicBezTo>
                  <a:cubicBezTo>
                    <a:pt x="60" y="186"/>
                    <a:pt x="76" y="145"/>
                    <a:pt x="105" y="113"/>
                  </a:cubicBezTo>
                  <a:lnTo>
                    <a:pt x="107" y="112"/>
                  </a:lnTo>
                  <a:lnTo>
                    <a:pt x="109" y="114"/>
                  </a:lnTo>
                  <a:lnTo>
                    <a:pt x="142" y="146"/>
                  </a:lnTo>
                  <a:lnTo>
                    <a:pt x="152" y="136"/>
                  </a:lnTo>
                  <a:lnTo>
                    <a:pt x="117" y="101"/>
                  </a:lnTo>
                  <a:cubicBezTo>
                    <a:pt x="149" y="73"/>
                    <a:pt x="188" y="56"/>
                    <a:pt x="231" y="54"/>
                  </a:cubicBezTo>
                  <a:lnTo>
                    <a:pt x="233" y="54"/>
                  </a:lnTo>
                  <a:cubicBezTo>
                    <a:pt x="233" y="54"/>
                    <a:pt x="234" y="54"/>
                    <a:pt x="234" y="55"/>
                  </a:cubicBezTo>
                  <a:lnTo>
                    <a:pt x="234" y="103"/>
                  </a:lnTo>
                  <a:lnTo>
                    <a:pt x="247" y="103"/>
                  </a:lnTo>
                  <a:lnTo>
                    <a:pt x="247" y="54"/>
                  </a:lnTo>
                  <a:cubicBezTo>
                    <a:pt x="254" y="54"/>
                    <a:pt x="260" y="55"/>
                    <a:pt x="267" y="56"/>
                  </a:cubicBezTo>
                  <a:cubicBezTo>
                    <a:pt x="303" y="61"/>
                    <a:pt x="337" y="77"/>
                    <a:pt x="365" y="102"/>
                  </a:cubicBezTo>
                  <a:lnTo>
                    <a:pt x="330" y="137"/>
                  </a:lnTo>
                  <a:lnTo>
                    <a:pt x="340" y="146"/>
                  </a:lnTo>
                  <a:lnTo>
                    <a:pt x="373" y="113"/>
                  </a:lnTo>
                  <a:lnTo>
                    <a:pt x="375" y="111"/>
                  </a:lnTo>
                  <a:lnTo>
                    <a:pt x="376" y="114"/>
                  </a:lnTo>
                  <a:cubicBezTo>
                    <a:pt x="405" y="145"/>
                    <a:pt x="422" y="185"/>
                    <a:pt x="424" y="227"/>
                  </a:cubicBezTo>
                  <a:lnTo>
                    <a:pt x="375" y="227"/>
                  </a:lnTo>
                  <a:lnTo>
                    <a:pt x="375" y="243"/>
                  </a:lnTo>
                  <a:lnTo>
                    <a:pt x="424" y="243"/>
                  </a:lnTo>
                  <a:cubicBezTo>
                    <a:pt x="424" y="243"/>
                    <a:pt x="424" y="277"/>
                    <a:pt x="424" y="279"/>
                  </a:cubicBezTo>
                  <a:lnTo>
                    <a:pt x="58" y="280"/>
                  </a:lnTo>
                  <a:close/>
                  <a:moveTo>
                    <a:pt x="304" y="165"/>
                  </a:moveTo>
                  <a:cubicBezTo>
                    <a:pt x="304" y="165"/>
                    <a:pt x="226" y="189"/>
                    <a:pt x="211" y="204"/>
                  </a:cubicBezTo>
                  <a:cubicBezTo>
                    <a:pt x="196" y="219"/>
                    <a:pt x="196" y="243"/>
                    <a:pt x="211" y="258"/>
                  </a:cubicBezTo>
                  <a:cubicBezTo>
                    <a:pt x="226" y="273"/>
                    <a:pt x="250" y="273"/>
                    <a:pt x="265" y="258"/>
                  </a:cubicBezTo>
                  <a:cubicBezTo>
                    <a:pt x="280" y="243"/>
                    <a:pt x="304" y="165"/>
                    <a:pt x="304" y="165"/>
                  </a:cubicBezTo>
                  <a:close/>
                </a:path>
              </a:pathLst>
            </a:custGeom>
            <a:solidFill>
              <a:schemeClr val="bg2">
                <a:lumMod val="50000"/>
              </a:schemeClr>
            </a:solidFill>
            <a:ln>
              <a:noFill/>
            </a:ln>
            <a:extLst/>
          </p:spPr>
          <p:txBody>
            <a:bodyPr wrap="square" lIns="91440" tIns="45720" rIns="91440" bIns="45720" anchor="ctr">
              <a:normAutofit fontScale="8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271" name="ïṥḷîḓé"/>
            <p:cNvSpPr txBox="1"/>
            <p:nvPr/>
          </p:nvSpPr>
          <p:spPr>
            <a:xfrm>
              <a:off x="2419335" y="1456370"/>
              <a:ext cx="2694697" cy="623793"/>
            </a:xfrm>
            <a:prstGeom prst="rect">
              <a:avLst/>
            </a:prstGeom>
          </p:spPr>
          <p:txBody>
            <a:bodyPr wrap="square" lIns="91440" tIns="45720" rIns="91440" bIns="45720" anchor="ctr"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ct val="120000"/>
                </a:lnSpc>
                <a:spcBef>
                  <a:spcPct val="0"/>
                </a:spcBef>
                <a:defRPr/>
              </a:pPr>
              <a:r>
                <a:rPr lang="zh-CN" altLang="en-US" sz="1400" dirty="0" smtClean="0">
                  <a:solidFill>
                    <a:sysClr val="windowText" lastClr="000000"/>
                  </a:solidFill>
                </a:rPr>
                <a:t>识别各</a:t>
              </a:r>
              <a:r>
                <a:rPr lang="zh-CN" altLang="en-US" sz="1400" dirty="0">
                  <a:solidFill>
                    <a:sysClr val="windowText" lastClr="000000"/>
                  </a:solidFill>
                </a:rPr>
                <a:t>逻辑场景重点失效风险，提出需要做防呆、恢复或减轻影响的设计要求或措施</a:t>
              </a:r>
            </a:p>
          </p:txBody>
        </p:sp>
        <p:sp>
          <p:nvSpPr>
            <p:cNvPr id="272" name="íŝḷíďê"/>
            <p:cNvSpPr/>
            <p:nvPr/>
          </p:nvSpPr>
          <p:spPr>
            <a:xfrm>
              <a:off x="2419335" y="1020029"/>
              <a:ext cx="2694697" cy="436341"/>
            </a:xfrm>
            <a:prstGeom prst="rect">
              <a:avLst/>
            </a:prstGeom>
          </p:spPr>
          <p:txBody>
            <a:bodyPr wrap="square" lIns="91440" tIns="45720" rIns="91440" bIns="45720" anchor="ctr"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altLang="zh-CN" sz="2800" b="1" dirty="0" smtClean="0">
                  <a:solidFill>
                    <a:schemeClr val="bg1"/>
                  </a:solidFill>
                </a:rPr>
                <a:t>DFR——</a:t>
              </a:r>
              <a:r>
                <a:rPr lang="zh-CN" altLang="en-US" sz="2800" b="1" dirty="0" smtClean="0">
                  <a:solidFill>
                    <a:schemeClr val="bg1"/>
                  </a:solidFill>
                </a:rPr>
                <a:t>可靠性</a:t>
              </a:r>
              <a:endParaRPr lang="zh-CN" altLang="en-US" sz="2800" b="1" dirty="0">
                <a:solidFill>
                  <a:schemeClr val="bg1"/>
                </a:solidFill>
              </a:endParaRPr>
            </a:p>
          </p:txBody>
        </p:sp>
        <p:sp>
          <p:nvSpPr>
            <p:cNvPr id="273" name="îsļiḑe"/>
            <p:cNvSpPr txBox="1"/>
            <p:nvPr/>
          </p:nvSpPr>
          <p:spPr>
            <a:xfrm>
              <a:off x="444138" y="2993066"/>
              <a:ext cx="3321712" cy="887173"/>
            </a:xfrm>
            <a:prstGeom prst="rect">
              <a:avLst/>
            </a:prstGeom>
          </p:spPr>
          <p:txBody>
            <a:bodyPr wrap="square" lIns="91440" tIns="45720" rIns="91440" bIns="45720" anchor="ctr"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ct val="120000"/>
                </a:lnSpc>
                <a:spcBef>
                  <a:spcPct val="0"/>
                </a:spcBef>
                <a:defRPr/>
              </a:pPr>
              <a:r>
                <a:rPr lang="zh-CN" altLang="en-US" sz="1400" dirty="0" smtClean="0">
                  <a:solidFill>
                    <a:sysClr val="windowText" lastClr="000000"/>
                  </a:solidFill>
                </a:rPr>
                <a:t>提出关键</a:t>
              </a:r>
              <a:r>
                <a:rPr lang="zh-CN" altLang="en-US" sz="1400" dirty="0">
                  <a:solidFill>
                    <a:sysClr val="windowText" lastClr="000000"/>
                  </a:solidFill>
                </a:rPr>
                <a:t>点要考虑设计出易于验证的一些方案措施。提出各个关键点的测试方案及要求</a:t>
              </a:r>
            </a:p>
          </p:txBody>
        </p:sp>
        <p:sp>
          <p:nvSpPr>
            <p:cNvPr id="274" name="îŝľíḋé"/>
            <p:cNvSpPr/>
            <p:nvPr/>
          </p:nvSpPr>
          <p:spPr>
            <a:xfrm>
              <a:off x="669925" y="2556725"/>
              <a:ext cx="3095925" cy="436341"/>
            </a:xfrm>
            <a:prstGeom prst="rect">
              <a:avLst/>
            </a:prstGeom>
          </p:spPr>
          <p:txBody>
            <a:bodyPr wrap="square" lIns="91440" tIns="45720" rIns="91440" bIns="45720" anchor="ctr"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altLang="zh-CN" sz="2800" b="1" dirty="0" smtClean="0">
                  <a:solidFill>
                    <a:schemeClr val="bg1"/>
                  </a:solidFill>
                </a:rPr>
                <a:t>DFT——</a:t>
              </a:r>
              <a:r>
                <a:rPr lang="zh-CN" altLang="en-US" sz="2800" b="1" dirty="0" smtClean="0">
                  <a:solidFill>
                    <a:schemeClr val="bg1"/>
                  </a:solidFill>
                </a:rPr>
                <a:t>可测试性</a:t>
              </a:r>
              <a:endParaRPr lang="zh-CN" altLang="en-US" sz="2800" b="1" dirty="0">
                <a:solidFill>
                  <a:schemeClr val="bg1"/>
                </a:solidFill>
              </a:endParaRPr>
            </a:p>
          </p:txBody>
        </p:sp>
        <p:sp>
          <p:nvSpPr>
            <p:cNvPr id="275" name="íśḻïdê"/>
            <p:cNvSpPr txBox="1"/>
            <p:nvPr/>
          </p:nvSpPr>
          <p:spPr>
            <a:xfrm>
              <a:off x="1003808" y="4624940"/>
              <a:ext cx="2694697" cy="623793"/>
            </a:xfrm>
            <a:prstGeom prst="rect">
              <a:avLst/>
            </a:prstGeom>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ct val="120000"/>
                </a:lnSpc>
                <a:spcBef>
                  <a:spcPct val="0"/>
                </a:spcBef>
                <a:defRPr/>
              </a:pPr>
              <a:r>
                <a:rPr lang="zh-CN" altLang="en-US" sz="1400" dirty="0">
                  <a:solidFill>
                    <a:sysClr val="windowText" lastClr="000000"/>
                  </a:solidFill>
                </a:rPr>
                <a:t>隐私、入侵、追踪</a:t>
              </a:r>
            </a:p>
          </p:txBody>
        </p:sp>
        <p:sp>
          <p:nvSpPr>
            <p:cNvPr id="276" name="iṥļíḋè"/>
            <p:cNvSpPr/>
            <p:nvPr/>
          </p:nvSpPr>
          <p:spPr>
            <a:xfrm>
              <a:off x="1003808" y="4188599"/>
              <a:ext cx="2694697" cy="436341"/>
            </a:xfrm>
            <a:prstGeom prst="rect">
              <a:avLst/>
            </a:prstGeom>
          </p:spPr>
          <p:txBody>
            <a:bodyPr wrap="square" lIns="91440" tIns="45720" rIns="91440" bIns="45720" anchor="ctr"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altLang="zh-CN" sz="2800" b="1" dirty="0" smtClean="0">
                  <a:solidFill>
                    <a:schemeClr val="bg1"/>
                  </a:solidFill>
                </a:rPr>
                <a:t>DFS——</a:t>
              </a:r>
              <a:r>
                <a:rPr lang="zh-CN" altLang="en-US" sz="2800" b="1" dirty="0" smtClean="0">
                  <a:solidFill>
                    <a:schemeClr val="bg1"/>
                  </a:solidFill>
                </a:rPr>
                <a:t>安全性</a:t>
              </a:r>
              <a:endParaRPr lang="zh-CN" altLang="en-US" sz="2800" b="1" dirty="0">
                <a:solidFill>
                  <a:schemeClr val="bg1"/>
                </a:solidFill>
              </a:endParaRPr>
            </a:p>
          </p:txBody>
        </p:sp>
        <p:sp>
          <p:nvSpPr>
            <p:cNvPr id="277" name="îṡ1iďe"/>
            <p:cNvSpPr txBox="1"/>
            <p:nvPr/>
          </p:nvSpPr>
          <p:spPr>
            <a:xfrm>
              <a:off x="8496885" y="2813295"/>
              <a:ext cx="2694697" cy="623793"/>
            </a:xfrm>
            <a:prstGeom prst="rect">
              <a:avLst/>
            </a:prstGeom>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20000"/>
                </a:lnSpc>
                <a:spcBef>
                  <a:spcPct val="0"/>
                </a:spcBef>
                <a:defRPr/>
              </a:pPr>
              <a:r>
                <a:rPr lang="zh-CN" altLang="en-US" sz="1400" dirty="0">
                  <a:solidFill>
                    <a:sysClr val="windowText" lastClr="000000"/>
                  </a:solidFill>
                </a:rPr>
                <a:t>识别要平台、机型、数据、接口、器件相关方面的兼容性</a:t>
              </a:r>
              <a:r>
                <a:rPr lang="zh-CN" altLang="en-US" sz="1400" dirty="0" smtClean="0">
                  <a:solidFill>
                    <a:sysClr val="windowText" lastClr="000000"/>
                  </a:solidFill>
                </a:rPr>
                <a:t>需求</a:t>
              </a:r>
              <a:endParaRPr lang="zh-CN" altLang="en-US" sz="1400" dirty="0">
                <a:solidFill>
                  <a:sysClr val="windowText" lastClr="000000"/>
                </a:solidFill>
              </a:endParaRPr>
            </a:p>
          </p:txBody>
        </p:sp>
        <p:sp>
          <p:nvSpPr>
            <p:cNvPr id="278" name="iṡḻîḋê"/>
            <p:cNvSpPr/>
            <p:nvPr/>
          </p:nvSpPr>
          <p:spPr>
            <a:xfrm>
              <a:off x="8496885" y="2376954"/>
              <a:ext cx="2694697" cy="436341"/>
            </a:xfrm>
            <a:prstGeom prst="rect">
              <a:avLst/>
            </a:prstGeom>
          </p:spPr>
          <p:txBody>
            <a:bodyPr wrap="square" lIns="91440" tIns="45720" rIns="91440" bIns="45720" anchor="ctr"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ltLang="zh-CN" sz="2800" b="1" dirty="0" smtClean="0">
                  <a:solidFill>
                    <a:schemeClr val="bg1"/>
                  </a:solidFill>
                </a:rPr>
                <a:t>DFC——</a:t>
              </a:r>
              <a:r>
                <a:rPr lang="zh-CN" altLang="en-US" sz="2800" b="1" dirty="0" smtClean="0">
                  <a:solidFill>
                    <a:schemeClr val="bg1"/>
                  </a:solidFill>
                </a:rPr>
                <a:t>兼容性</a:t>
              </a:r>
              <a:endParaRPr lang="zh-CN" altLang="en-US" sz="2800" b="1" dirty="0">
                <a:solidFill>
                  <a:schemeClr val="bg1"/>
                </a:solidFill>
              </a:endParaRPr>
            </a:p>
          </p:txBody>
        </p:sp>
        <p:sp>
          <p:nvSpPr>
            <p:cNvPr id="279" name="ïšļïďe"/>
            <p:cNvSpPr txBox="1"/>
            <p:nvPr/>
          </p:nvSpPr>
          <p:spPr>
            <a:xfrm>
              <a:off x="8292926" y="4316580"/>
              <a:ext cx="2694697" cy="623793"/>
            </a:xfrm>
            <a:prstGeom prst="rect">
              <a:avLst/>
            </a:prstGeom>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20000"/>
                </a:lnSpc>
                <a:spcBef>
                  <a:spcPct val="0"/>
                </a:spcBef>
                <a:defRPr/>
              </a:pPr>
              <a:r>
                <a:rPr lang="zh-CN" altLang="en-US" sz="1400" dirty="0">
                  <a:solidFill>
                    <a:sysClr val="windowText" lastClr="000000"/>
                  </a:solidFill>
                </a:rPr>
                <a:t>时间特性、资源利用</a:t>
              </a:r>
            </a:p>
          </p:txBody>
        </p:sp>
        <p:sp>
          <p:nvSpPr>
            <p:cNvPr id="280" name="ïṥlïḍè"/>
            <p:cNvSpPr/>
            <p:nvPr/>
          </p:nvSpPr>
          <p:spPr>
            <a:xfrm>
              <a:off x="8292926" y="3880239"/>
              <a:ext cx="2694697" cy="436341"/>
            </a:xfrm>
            <a:prstGeom prst="rect">
              <a:avLst/>
            </a:prstGeom>
          </p:spPr>
          <p:txBody>
            <a:bodyPr wrap="square" lIns="91440" tIns="45720" rIns="91440" bIns="45720" anchor="ctr"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ltLang="zh-CN" sz="2800" b="1" dirty="0" smtClean="0">
                  <a:solidFill>
                    <a:schemeClr val="bg1"/>
                  </a:solidFill>
                </a:rPr>
                <a:t>DFP——</a:t>
              </a:r>
              <a:r>
                <a:rPr lang="zh-CN" altLang="en-US" sz="2800" b="1" dirty="0" smtClean="0">
                  <a:solidFill>
                    <a:schemeClr val="bg1"/>
                  </a:solidFill>
                </a:rPr>
                <a:t>性能</a:t>
              </a:r>
              <a:endParaRPr lang="zh-CN" altLang="en-US" sz="2800" b="1" dirty="0">
                <a:solidFill>
                  <a:schemeClr val="bg1"/>
                </a:solidFill>
              </a:endParaRPr>
            </a:p>
          </p:txBody>
        </p:sp>
        <p:sp>
          <p:nvSpPr>
            <p:cNvPr id="281" name="îṣļïḍè"/>
            <p:cNvSpPr txBox="1"/>
            <p:nvPr/>
          </p:nvSpPr>
          <p:spPr>
            <a:xfrm>
              <a:off x="7008861" y="5826676"/>
              <a:ext cx="4049664" cy="623793"/>
            </a:xfrm>
            <a:prstGeom prst="rect">
              <a:avLst/>
            </a:prstGeom>
          </p:spPr>
          <p:txBody>
            <a:bodyPr wrap="square" lIns="91440" tIns="45720" rIns="91440" bIns="45720" anchor="ctr"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20000"/>
                </a:lnSpc>
                <a:spcBef>
                  <a:spcPct val="0"/>
                </a:spcBef>
                <a:defRPr/>
              </a:pPr>
              <a:r>
                <a:rPr lang="zh-CN" altLang="en-US" sz="1400" dirty="0">
                  <a:solidFill>
                    <a:sysClr val="windowText" lastClr="000000"/>
                  </a:solidFill>
                </a:rPr>
                <a:t>可分析性、可重用性。 识别要重用的模块，识别哪些方面问题发生时不好分析，</a:t>
              </a:r>
              <a:r>
                <a:rPr lang="zh-CN" altLang="en-US" sz="1400" dirty="0" smtClean="0">
                  <a:solidFill>
                    <a:sysClr val="windowText" lastClr="000000"/>
                  </a:solidFill>
                </a:rPr>
                <a:t>需要设计</a:t>
              </a:r>
              <a:r>
                <a:rPr lang="zh-CN" altLang="en-US" sz="1400" dirty="0">
                  <a:solidFill>
                    <a:sysClr val="windowText" lastClr="000000"/>
                  </a:solidFill>
                </a:rPr>
                <a:t>出了问题易于分析的</a:t>
              </a:r>
              <a:r>
                <a:rPr lang="zh-CN" altLang="en-US" sz="1400" dirty="0" smtClean="0">
                  <a:solidFill>
                    <a:sysClr val="windowText" lastClr="000000"/>
                  </a:solidFill>
                </a:rPr>
                <a:t>特性</a:t>
              </a:r>
              <a:endParaRPr lang="zh-CN" altLang="en-US" sz="1400" dirty="0">
                <a:solidFill>
                  <a:sysClr val="windowText" lastClr="000000"/>
                </a:solidFill>
              </a:endParaRPr>
            </a:p>
          </p:txBody>
        </p:sp>
        <p:sp>
          <p:nvSpPr>
            <p:cNvPr id="282" name="iṡḷíḍe"/>
            <p:cNvSpPr/>
            <p:nvPr/>
          </p:nvSpPr>
          <p:spPr>
            <a:xfrm>
              <a:off x="7008861" y="5343050"/>
              <a:ext cx="3978762" cy="436341"/>
            </a:xfrm>
            <a:prstGeom prst="rect">
              <a:avLst/>
            </a:prstGeom>
          </p:spPr>
          <p:txBody>
            <a:bodyPr wrap="square" lIns="91440" tIns="45720" rIns="91440" bIns="45720" anchor="ctr"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ltLang="zh-CN" sz="2800" b="1" dirty="0" smtClean="0">
                  <a:solidFill>
                    <a:schemeClr val="bg1"/>
                  </a:solidFill>
                </a:rPr>
                <a:t>DFM——</a:t>
              </a:r>
              <a:r>
                <a:rPr lang="zh-CN" altLang="en-US" sz="2800" b="1" dirty="0" smtClean="0">
                  <a:solidFill>
                    <a:schemeClr val="bg1"/>
                  </a:solidFill>
                </a:rPr>
                <a:t>可维护性</a:t>
              </a:r>
              <a:endParaRPr lang="zh-CN" altLang="en-US" sz="2800" b="1" dirty="0">
                <a:solidFill>
                  <a:schemeClr val="bg1"/>
                </a:solidFill>
              </a:endParaRPr>
            </a:p>
          </p:txBody>
        </p:sp>
      </p:grpSp>
    </p:spTree>
    <p:extLst>
      <p:ext uri="{BB962C8B-B14F-4D97-AF65-F5344CB8AC3E}">
        <p14:creationId xmlns:p14="http://schemas.microsoft.com/office/powerpoint/2010/main" val="34167637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CACEC9"/>
        </a:solidFill>
        <a:effectLst/>
      </p:bgPr>
    </p:bg>
    <p:spTree>
      <p:nvGrpSpPr>
        <p:cNvPr id="1" name=""/>
        <p:cNvGrpSpPr/>
        <p:nvPr/>
      </p:nvGrpSpPr>
      <p:grpSpPr>
        <a:xfrm>
          <a:off x="0" y="0"/>
          <a:ext cx="0" cy="0"/>
          <a:chOff x="0" y="0"/>
          <a:chExt cx="0" cy="0"/>
        </a:xfrm>
      </p:grpSpPr>
      <p:sp>
        <p:nvSpPr>
          <p:cNvPr id="6" name="矩形 5"/>
          <p:cNvSpPr/>
          <p:nvPr/>
        </p:nvSpPr>
        <p:spPr>
          <a:xfrm>
            <a:off x="2816244" y="2268525"/>
            <a:ext cx="7109639" cy="923330"/>
          </a:xfrm>
          <a:prstGeom prst="rect">
            <a:avLst/>
          </a:prstGeom>
          <a:noFill/>
        </p:spPr>
        <p:txBody>
          <a:bodyPr wrap="none" lIns="91440" tIns="45720" rIns="91440" bIns="45720">
            <a:spAutoFit/>
          </a:bodyPr>
          <a:lstStyle/>
          <a:p>
            <a:pPr algn="ctr"/>
            <a:r>
              <a:rPr lang="zh-CN" altLang="en-US" sz="5400" b="0" cap="none" spc="0" dirty="0" smtClean="0">
                <a:ln w="0"/>
                <a:solidFill>
                  <a:schemeClr val="accent1"/>
                </a:solidFill>
                <a:effectLst>
                  <a:outerShdw blurRad="38100" dist="25400" dir="5400000" algn="ctr" rotWithShape="0">
                    <a:srgbClr val="6E747A">
                      <a:alpha val="43000"/>
                    </a:srgbClr>
                  </a:outerShdw>
                </a:effectLst>
              </a:rPr>
              <a:t>至此，需求了然于胸！</a:t>
            </a:r>
            <a:endParaRPr lang="zh-CN" altLang="en-US" sz="5400" b="0" cap="none" spc="0" dirty="0">
              <a:ln w="0"/>
              <a:solidFill>
                <a:schemeClr val="accent1"/>
              </a:solidFill>
              <a:effectLst>
                <a:outerShdw blurRad="38100" dist="25400" dir="5400000" algn="ctr" rotWithShape="0">
                  <a:srgbClr val="6E747A">
                    <a:alpha val="43000"/>
                  </a:srgbClr>
                </a:outerShdw>
              </a:effectLst>
            </a:endParaRPr>
          </a:p>
        </p:txBody>
      </p:sp>
      <p:sp>
        <p:nvSpPr>
          <p:cNvPr id="7" name="矩形 6"/>
          <p:cNvSpPr/>
          <p:nvPr/>
        </p:nvSpPr>
        <p:spPr>
          <a:xfrm>
            <a:off x="6994069" y="4587979"/>
            <a:ext cx="2723823" cy="923330"/>
          </a:xfrm>
          <a:prstGeom prst="rect">
            <a:avLst/>
          </a:prstGeom>
          <a:noFill/>
        </p:spPr>
        <p:txBody>
          <a:bodyPr wrap="none" lIns="91440" tIns="45720" rIns="91440" bIns="45720">
            <a:spAutoFit/>
          </a:bodyPr>
          <a:lstStyle/>
          <a:p>
            <a:pPr algn="ctr"/>
            <a:r>
              <a:rPr lang="en-US" altLang="zh-CN" sz="5400" b="1" cap="none" spc="0" dirty="0" smtClean="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NEXT</a:t>
            </a:r>
            <a:r>
              <a:rPr lang="zh-CN" altLang="en-US" sz="5400" b="1" cap="none" spc="0" dirty="0" smtClean="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a:t>
            </a:r>
            <a:endParaRPr lang="zh-CN" altLang="en-US" sz="5400" b="1" cap="none" spc="0"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endParaRPr>
          </a:p>
        </p:txBody>
      </p:sp>
      <p:sp>
        <p:nvSpPr>
          <p:cNvPr id="209" name="human-head-with-a-question-mark-inside_30234"/>
          <p:cNvSpPr>
            <a:spLocks noChangeAspect="1"/>
          </p:cNvSpPr>
          <p:nvPr/>
        </p:nvSpPr>
        <p:spPr bwMode="auto">
          <a:xfrm flipH="1">
            <a:off x="5771148" y="4587979"/>
            <a:ext cx="1112871" cy="1412628"/>
          </a:xfrm>
          <a:custGeom>
            <a:avLst/>
            <a:gdLst>
              <a:gd name="T0" fmla="*/ 558 w 1848"/>
              <a:gd name="T1" fmla="*/ 2350 h 2350"/>
              <a:gd name="T2" fmla="*/ 1848 w 1848"/>
              <a:gd name="T3" fmla="*/ 2350 h 2350"/>
              <a:gd name="T4" fmla="*/ 1482 w 1848"/>
              <a:gd name="T5" fmla="*/ 1719 h 2350"/>
              <a:gd name="T6" fmla="*/ 1846 w 1848"/>
              <a:gd name="T7" fmla="*/ 790 h 2350"/>
              <a:gd name="T8" fmla="*/ 1173 w 1848"/>
              <a:gd name="T9" fmla="*/ 53 h 2350"/>
              <a:gd name="T10" fmla="*/ 295 w 1848"/>
              <a:gd name="T11" fmla="*/ 354 h 2350"/>
              <a:gd name="T12" fmla="*/ 157 w 1848"/>
              <a:gd name="T13" fmla="*/ 886 h 2350"/>
              <a:gd name="T14" fmla="*/ 213 w 1848"/>
              <a:gd name="T15" fmla="*/ 1009 h 2350"/>
              <a:gd name="T16" fmla="*/ 13 w 1848"/>
              <a:gd name="T17" fmla="*/ 1389 h 2350"/>
              <a:gd name="T18" fmla="*/ 173 w 1848"/>
              <a:gd name="T19" fmla="*/ 1471 h 2350"/>
              <a:gd name="T20" fmla="*/ 159 w 1848"/>
              <a:gd name="T21" fmla="*/ 1580 h 2350"/>
              <a:gd name="T22" fmla="*/ 232 w 1848"/>
              <a:gd name="T23" fmla="*/ 1764 h 2350"/>
              <a:gd name="T24" fmla="*/ 218 w 1848"/>
              <a:gd name="T25" fmla="*/ 1935 h 2350"/>
              <a:gd name="T26" fmla="*/ 426 w 1848"/>
              <a:gd name="T27" fmla="*/ 2033 h 2350"/>
              <a:gd name="T28" fmla="*/ 702 w 1848"/>
              <a:gd name="T29" fmla="*/ 1988 h 2350"/>
              <a:gd name="T30" fmla="*/ 558 w 1848"/>
              <a:gd name="T31" fmla="*/ 2350 h 2350"/>
              <a:gd name="T32" fmla="*/ 1109 w 1848"/>
              <a:gd name="T33" fmla="*/ 1570 h 2350"/>
              <a:gd name="T34" fmla="*/ 947 w 1848"/>
              <a:gd name="T35" fmla="*/ 1404 h 2350"/>
              <a:gd name="T36" fmla="*/ 1109 w 1848"/>
              <a:gd name="T37" fmla="*/ 1237 h 2350"/>
              <a:gd name="T38" fmla="*/ 1274 w 1848"/>
              <a:gd name="T39" fmla="*/ 1404 h 2350"/>
              <a:gd name="T40" fmla="*/ 1109 w 1848"/>
              <a:gd name="T41" fmla="*/ 1570 h 2350"/>
              <a:gd name="T42" fmla="*/ 1135 w 1848"/>
              <a:gd name="T43" fmla="*/ 298 h 2350"/>
              <a:gd name="T44" fmla="*/ 1486 w 1848"/>
              <a:gd name="T45" fmla="*/ 583 h 2350"/>
              <a:gd name="T46" fmla="*/ 1331 w 1848"/>
              <a:gd name="T47" fmla="*/ 890 h 2350"/>
              <a:gd name="T48" fmla="*/ 1237 w 1848"/>
              <a:gd name="T49" fmla="*/ 1118 h 2350"/>
              <a:gd name="T50" fmla="*/ 1237 w 1848"/>
              <a:gd name="T51" fmla="*/ 1151 h 2350"/>
              <a:gd name="T52" fmla="*/ 994 w 1848"/>
              <a:gd name="T53" fmla="*/ 1151 h 2350"/>
              <a:gd name="T54" fmla="*/ 992 w 1848"/>
              <a:gd name="T55" fmla="*/ 1104 h 2350"/>
              <a:gd name="T56" fmla="*/ 1100 w 1848"/>
              <a:gd name="T57" fmla="*/ 817 h 2350"/>
              <a:gd name="T58" fmla="*/ 1206 w 1848"/>
              <a:gd name="T59" fmla="*/ 627 h 2350"/>
              <a:gd name="T60" fmla="*/ 1073 w 1848"/>
              <a:gd name="T61" fmla="*/ 517 h 2350"/>
              <a:gd name="T62" fmla="*/ 892 w 1848"/>
              <a:gd name="T63" fmla="*/ 572 h 2350"/>
              <a:gd name="T64" fmla="*/ 830 w 1848"/>
              <a:gd name="T65" fmla="*/ 373 h 2350"/>
              <a:gd name="T66" fmla="*/ 1135 w 1848"/>
              <a:gd name="T67" fmla="*/ 298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48" h="2350">
                <a:moveTo>
                  <a:pt x="558" y="2350"/>
                </a:moveTo>
                <a:lnTo>
                  <a:pt x="1848" y="2350"/>
                </a:lnTo>
                <a:cubicBezTo>
                  <a:pt x="1848" y="2350"/>
                  <a:pt x="1474" y="2049"/>
                  <a:pt x="1482" y="1719"/>
                </a:cubicBezTo>
                <a:cubicBezTo>
                  <a:pt x="1486" y="1535"/>
                  <a:pt x="1848" y="1301"/>
                  <a:pt x="1846" y="790"/>
                </a:cubicBezTo>
                <a:cubicBezTo>
                  <a:pt x="1845" y="534"/>
                  <a:pt x="1596" y="107"/>
                  <a:pt x="1173" y="53"/>
                </a:cubicBezTo>
                <a:cubicBezTo>
                  <a:pt x="750" y="0"/>
                  <a:pt x="434" y="93"/>
                  <a:pt x="295" y="354"/>
                </a:cubicBezTo>
                <a:cubicBezTo>
                  <a:pt x="157" y="615"/>
                  <a:pt x="146" y="844"/>
                  <a:pt x="157" y="886"/>
                </a:cubicBezTo>
                <a:cubicBezTo>
                  <a:pt x="168" y="929"/>
                  <a:pt x="213" y="1009"/>
                  <a:pt x="213" y="1009"/>
                </a:cubicBezTo>
                <a:cubicBezTo>
                  <a:pt x="213" y="1009"/>
                  <a:pt x="0" y="1336"/>
                  <a:pt x="13" y="1389"/>
                </a:cubicBezTo>
                <a:cubicBezTo>
                  <a:pt x="27" y="1442"/>
                  <a:pt x="173" y="1471"/>
                  <a:pt x="173" y="1471"/>
                </a:cubicBezTo>
                <a:cubicBezTo>
                  <a:pt x="173" y="1471"/>
                  <a:pt x="186" y="1508"/>
                  <a:pt x="159" y="1580"/>
                </a:cubicBezTo>
                <a:cubicBezTo>
                  <a:pt x="133" y="1652"/>
                  <a:pt x="209" y="1735"/>
                  <a:pt x="232" y="1764"/>
                </a:cubicBezTo>
                <a:cubicBezTo>
                  <a:pt x="254" y="1793"/>
                  <a:pt x="200" y="1884"/>
                  <a:pt x="218" y="1935"/>
                </a:cubicBezTo>
                <a:cubicBezTo>
                  <a:pt x="237" y="1985"/>
                  <a:pt x="325" y="2046"/>
                  <a:pt x="426" y="2033"/>
                </a:cubicBezTo>
                <a:cubicBezTo>
                  <a:pt x="527" y="2020"/>
                  <a:pt x="657" y="1996"/>
                  <a:pt x="702" y="1988"/>
                </a:cubicBezTo>
                <a:cubicBezTo>
                  <a:pt x="803" y="2227"/>
                  <a:pt x="558" y="2350"/>
                  <a:pt x="558" y="2350"/>
                </a:cubicBezTo>
                <a:close/>
                <a:moveTo>
                  <a:pt x="1109" y="1570"/>
                </a:moveTo>
                <a:cubicBezTo>
                  <a:pt x="1012" y="1570"/>
                  <a:pt x="947" y="1499"/>
                  <a:pt x="947" y="1404"/>
                </a:cubicBezTo>
                <a:cubicBezTo>
                  <a:pt x="947" y="1307"/>
                  <a:pt x="1014" y="1237"/>
                  <a:pt x="1109" y="1237"/>
                </a:cubicBezTo>
                <a:cubicBezTo>
                  <a:pt x="1208" y="1237"/>
                  <a:pt x="1272" y="1307"/>
                  <a:pt x="1274" y="1404"/>
                </a:cubicBezTo>
                <a:cubicBezTo>
                  <a:pt x="1274" y="1498"/>
                  <a:pt x="1208" y="1570"/>
                  <a:pt x="1109" y="1570"/>
                </a:cubicBezTo>
                <a:close/>
                <a:moveTo>
                  <a:pt x="1135" y="298"/>
                </a:moveTo>
                <a:cubicBezTo>
                  <a:pt x="1376" y="298"/>
                  <a:pt x="1486" y="431"/>
                  <a:pt x="1486" y="583"/>
                </a:cubicBezTo>
                <a:cubicBezTo>
                  <a:pt x="1486" y="722"/>
                  <a:pt x="1400" y="813"/>
                  <a:pt x="1331" y="890"/>
                </a:cubicBezTo>
                <a:cubicBezTo>
                  <a:pt x="1263" y="965"/>
                  <a:pt x="1235" y="1036"/>
                  <a:pt x="1237" y="1118"/>
                </a:cubicBezTo>
                <a:lnTo>
                  <a:pt x="1237" y="1151"/>
                </a:lnTo>
                <a:lnTo>
                  <a:pt x="994" y="1151"/>
                </a:lnTo>
                <a:lnTo>
                  <a:pt x="992" y="1104"/>
                </a:lnTo>
                <a:cubicBezTo>
                  <a:pt x="987" y="1010"/>
                  <a:pt x="1018" y="915"/>
                  <a:pt x="1100" y="817"/>
                </a:cubicBezTo>
                <a:cubicBezTo>
                  <a:pt x="1159" y="747"/>
                  <a:pt x="1206" y="689"/>
                  <a:pt x="1206" y="627"/>
                </a:cubicBezTo>
                <a:cubicBezTo>
                  <a:pt x="1206" y="563"/>
                  <a:pt x="1164" y="521"/>
                  <a:pt x="1073" y="517"/>
                </a:cubicBezTo>
                <a:cubicBezTo>
                  <a:pt x="1012" y="517"/>
                  <a:pt x="939" y="539"/>
                  <a:pt x="892" y="572"/>
                </a:cubicBezTo>
                <a:lnTo>
                  <a:pt x="830" y="373"/>
                </a:lnTo>
                <a:cubicBezTo>
                  <a:pt x="895" y="334"/>
                  <a:pt x="1005" y="298"/>
                  <a:pt x="1135" y="298"/>
                </a:cubicBezTo>
                <a:close/>
              </a:path>
            </a:pathLst>
          </a:custGeom>
          <a:solidFill>
            <a:schemeClr val="accent1"/>
          </a:solidFill>
          <a:ln>
            <a:noFill/>
          </a:ln>
        </p:spPr>
      </p:sp>
    </p:spTree>
    <p:extLst>
      <p:ext uri="{BB962C8B-B14F-4D97-AF65-F5344CB8AC3E}">
        <p14:creationId xmlns:p14="http://schemas.microsoft.com/office/powerpoint/2010/main" val="9250035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文本框 8">
            <a:extLst>
              <a:ext uri="{FF2B5EF4-FFF2-40B4-BE49-F238E27FC236}">
                <a16:creationId xmlns:a16="http://schemas.microsoft.com/office/drawing/2014/main" id="{04F69230-F3A6-4586-9371-A858F4763E9F}"/>
              </a:ext>
            </a:extLst>
          </p:cNvPr>
          <p:cNvSpPr txBox="1"/>
          <p:nvPr/>
        </p:nvSpPr>
        <p:spPr>
          <a:xfrm>
            <a:off x="2139202" y="3018606"/>
            <a:ext cx="1227053" cy="1066877"/>
          </a:xfrm>
          <a:prstGeom prst="rect">
            <a:avLst/>
          </a:prstGeom>
          <a:noFill/>
          <a:ln w="117475">
            <a:noFill/>
          </a:ln>
        </p:spPr>
        <p:txBody>
          <a:bodyPr wrap="none" rtlCol="0">
            <a:prstTxWarp prst="textPlain">
              <a:avLst/>
            </a:prstTxWarp>
            <a:spAutoFit/>
          </a:bodyPr>
          <a:lstStyle/>
          <a:p>
            <a:r>
              <a:rPr lang="en-US" altLang="zh-CN" b="1" spc="100" dirty="0" smtClean="0">
                <a:solidFill>
                  <a:schemeClr val="bg1"/>
                </a:solidFill>
                <a:latin typeface="Arial" panose="020B0604020202020204" pitchFamily="34" charset="0"/>
                <a:ea typeface="Microsoft YaHei" panose="020B0503020204020204" pitchFamily="34" charset="-122"/>
                <a:cs typeface="+mn-ea"/>
                <a:sym typeface="Arial" panose="020B0604020202020204" pitchFamily="34" charset="0"/>
              </a:rPr>
              <a:t>02</a:t>
            </a:r>
            <a:endParaRPr lang="zh-CN" altLang="en-US" b="1" spc="100" dirty="0">
              <a:solidFill>
                <a:schemeClr val="bg1"/>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13" name="TextBox 50">
            <a:extLst>
              <a:ext uri="{FF2B5EF4-FFF2-40B4-BE49-F238E27FC236}">
                <a16:creationId xmlns:a16="http://schemas.microsoft.com/office/drawing/2014/main" id="{53B9FB5B-97FC-4FB6-BA8A-C38408C07D8D}"/>
              </a:ext>
            </a:extLst>
          </p:cNvPr>
          <p:cNvSpPr txBox="1"/>
          <p:nvPr/>
        </p:nvSpPr>
        <p:spPr>
          <a:xfrm>
            <a:off x="5145640" y="3459000"/>
            <a:ext cx="4976927" cy="830997"/>
          </a:xfrm>
          <a:prstGeom prst="rect">
            <a:avLst/>
          </a:prstGeom>
          <a:noFill/>
        </p:spPr>
        <p:txBody>
          <a:bodyPr wrap="square" rtlCol="0">
            <a:spAutoFit/>
          </a:bodyPr>
          <a:lstStyle/>
          <a:p>
            <a:pPr lvl="0" algn="ctr"/>
            <a:r>
              <a:rPr lang="zh-CN" altLang="en-US" sz="4800" dirty="0" smtClean="0">
                <a:solidFill>
                  <a:schemeClr val="tx1">
                    <a:lumMod val="85000"/>
                    <a:lumOff val="15000"/>
                  </a:schemeClr>
                </a:solidFill>
                <a:latin typeface="Arial" panose="020B0604020202020204" pitchFamily="34" charset="0"/>
                <a:ea typeface="Microsoft YaHei" panose="020B0503020204020204" pitchFamily="34" charset="-122"/>
                <a:cs typeface="+mn-ea"/>
                <a:sym typeface="Arial" panose="020B0604020202020204" pitchFamily="34" charset="0"/>
              </a:rPr>
              <a:t>描述软件需求</a:t>
            </a:r>
            <a:endParaRPr lang="en-US" altLang="zh-CN" sz="4800" dirty="0">
              <a:solidFill>
                <a:schemeClr val="tx1">
                  <a:lumMod val="85000"/>
                  <a:lumOff val="15000"/>
                </a:schemeClr>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17" name="TextBox 50">
            <a:extLst>
              <a:ext uri="{FF2B5EF4-FFF2-40B4-BE49-F238E27FC236}">
                <a16:creationId xmlns:a16="http://schemas.microsoft.com/office/drawing/2014/main" id="{CFFB5B42-4850-4002-BCB2-DADA1D869622}"/>
              </a:ext>
            </a:extLst>
          </p:cNvPr>
          <p:cNvSpPr txBox="1"/>
          <p:nvPr/>
        </p:nvSpPr>
        <p:spPr>
          <a:xfrm>
            <a:off x="6977512" y="2633885"/>
            <a:ext cx="1313181" cy="769441"/>
          </a:xfrm>
          <a:prstGeom prst="rect">
            <a:avLst/>
          </a:prstGeom>
          <a:noFill/>
        </p:spPr>
        <p:txBody>
          <a:bodyPr wrap="none" rtlCol="0">
            <a:spAutoFit/>
          </a:bodyPr>
          <a:lstStyle/>
          <a:p>
            <a:pPr lvl="0" algn="ctr"/>
            <a:r>
              <a:rPr lang="zh-CN" altLang="en-US" sz="4400" dirty="0" smtClean="0">
                <a:solidFill>
                  <a:schemeClr val="tx1">
                    <a:lumMod val="85000"/>
                    <a:lumOff val="15000"/>
                  </a:schemeClr>
                </a:solidFill>
                <a:latin typeface="Arial" panose="020B0604020202020204" pitchFamily="34" charset="0"/>
                <a:ea typeface="Microsoft YaHei" panose="020B0503020204020204" pitchFamily="34" charset="-122"/>
                <a:cs typeface="+mn-ea"/>
                <a:sym typeface="Arial" panose="020B0604020202020204" pitchFamily="34" charset="0"/>
              </a:rPr>
              <a:t>解梦</a:t>
            </a:r>
            <a:endParaRPr lang="en-US" altLang="zh-CN" sz="4400" dirty="0">
              <a:solidFill>
                <a:schemeClr val="tx1">
                  <a:lumMod val="85000"/>
                  <a:lumOff val="15000"/>
                </a:schemeClr>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2" name="文本框 1"/>
          <p:cNvSpPr txBox="1"/>
          <p:nvPr/>
        </p:nvSpPr>
        <p:spPr>
          <a:xfrm>
            <a:off x="6863336" y="4345671"/>
            <a:ext cx="2854713" cy="923330"/>
          </a:xfrm>
          <a:prstGeom prst="rect">
            <a:avLst/>
          </a:prstGeom>
          <a:noFill/>
        </p:spPr>
        <p:txBody>
          <a:bodyPr wrap="square" rtlCol="0">
            <a:spAutoFit/>
          </a:bodyPr>
          <a:lstStyle/>
          <a:p>
            <a:pPr marL="285750" indent="-285750">
              <a:buFont typeface="Arial" panose="020B0604020202020204" pitchFamily="34" charset="0"/>
              <a:buChar char="•"/>
            </a:pPr>
            <a:r>
              <a:rPr lang="zh-CN" altLang="en-US" dirty="0" smtClean="0"/>
              <a:t>伪代码</a:t>
            </a:r>
            <a:endParaRPr lang="en-US" altLang="zh-CN" dirty="0" smtClean="0"/>
          </a:p>
          <a:p>
            <a:pPr marL="285750" indent="-285750">
              <a:buFont typeface="Arial" panose="020B0604020202020204" pitchFamily="34" charset="0"/>
              <a:buChar char="•"/>
            </a:pPr>
            <a:r>
              <a:rPr lang="zh-CN" altLang="en-US" dirty="0" smtClean="0"/>
              <a:t>流程图</a:t>
            </a:r>
            <a:endParaRPr lang="en-US" altLang="zh-CN" dirty="0" smtClean="0"/>
          </a:p>
          <a:p>
            <a:pPr marL="285750" indent="-285750">
              <a:buFont typeface="Arial" panose="020B0604020202020204" pitchFamily="34" charset="0"/>
              <a:buChar char="•"/>
            </a:pPr>
            <a:r>
              <a:rPr lang="en-US" altLang="zh-CN" dirty="0"/>
              <a:t>UML</a:t>
            </a:r>
            <a:endParaRPr lang="zh-CN" altLang="en-US" dirty="0"/>
          </a:p>
        </p:txBody>
      </p:sp>
    </p:spTree>
    <p:extLst>
      <p:ext uri="{BB962C8B-B14F-4D97-AF65-F5344CB8AC3E}">
        <p14:creationId xmlns:p14="http://schemas.microsoft.com/office/powerpoint/2010/main" val="76228539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grpSp>
        <p:nvGrpSpPr>
          <p:cNvPr id="4" name="组合 3">
            <a:extLst>
              <a:ext uri="{FF2B5EF4-FFF2-40B4-BE49-F238E27FC236}">
                <a16:creationId xmlns:a16="http://schemas.microsoft.com/office/drawing/2014/main" id="{0853A8D8-448C-4E50-AD38-219140CD6184}"/>
              </a:ext>
            </a:extLst>
          </p:cNvPr>
          <p:cNvGrpSpPr/>
          <p:nvPr/>
        </p:nvGrpSpPr>
        <p:grpSpPr>
          <a:xfrm>
            <a:off x="669925" y="210537"/>
            <a:ext cx="468000" cy="468000"/>
            <a:chOff x="669925" y="48611"/>
            <a:chExt cx="468000" cy="468000"/>
          </a:xfrm>
        </p:grpSpPr>
        <p:sp>
          <p:nvSpPr>
            <p:cNvPr id="5" name="椭圆 4">
              <a:extLst>
                <a:ext uri="{FF2B5EF4-FFF2-40B4-BE49-F238E27FC236}">
                  <a16:creationId xmlns:a16="http://schemas.microsoft.com/office/drawing/2014/main" id="{18765B3C-06BD-445D-B72B-512E55DEF34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6" name="椭圆 5">
              <a:extLst>
                <a:ext uri="{FF2B5EF4-FFF2-40B4-BE49-F238E27FC236}">
                  <a16:creationId xmlns:a16="http://schemas.microsoft.com/office/drawing/2014/main" id="{A6AA7771-0E3D-4241-9DE3-825324394A29}"/>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latin typeface="Arial" panose="020B0604020202020204" pitchFamily="34" charset="0"/>
                <a:ea typeface="Microsoft YaHei" panose="020B0503020204020204" pitchFamily="34" charset="-122"/>
                <a:cs typeface="+mn-ea"/>
                <a:sym typeface="Arial" panose="020B0604020202020204" pitchFamily="34" charset="0"/>
              </a:endParaRPr>
            </a:p>
          </p:txBody>
        </p:sp>
      </p:grpSp>
      <p:sp>
        <p:nvSpPr>
          <p:cNvPr id="7" name="标题 1">
            <a:extLst>
              <a:ext uri="{FF2B5EF4-FFF2-40B4-BE49-F238E27FC236}">
                <a16:creationId xmlns:a16="http://schemas.microsoft.com/office/drawing/2014/main" id="{62930304-3D14-4FEB-B45D-709CE5948953}"/>
              </a:ext>
            </a:extLst>
          </p:cNvPr>
          <p:cNvSpPr txBox="1">
            <a:spLocks/>
          </p:cNvSpPr>
          <p:nvPr/>
        </p:nvSpPr>
        <p:spPr>
          <a:xfrm>
            <a:off x="1149782" y="198392"/>
            <a:ext cx="8203223" cy="57784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3200" b="0" dirty="0">
                <a:solidFill>
                  <a:schemeClr val="bg1"/>
                </a:solidFill>
                <a:latin typeface="Arial" panose="020B0604020202020204" pitchFamily="34" charset="0"/>
                <a:ea typeface="Microsoft YaHei" panose="020B0503020204020204" pitchFamily="34" charset="-122"/>
                <a:cs typeface="+mn-ea"/>
                <a:sym typeface="Arial" panose="020B0604020202020204" pitchFamily="34" charset="0"/>
              </a:rPr>
              <a:t>案例：阿丽亚娜</a:t>
            </a:r>
            <a:r>
              <a:rPr lang="en-US" altLang="zh-CN" sz="3200" b="0" dirty="0">
                <a:solidFill>
                  <a:schemeClr val="bg1"/>
                </a:solidFill>
                <a:latin typeface="Arial" panose="020B0604020202020204" pitchFamily="34" charset="0"/>
                <a:ea typeface="Microsoft YaHei" panose="020B0503020204020204" pitchFamily="34" charset="-122"/>
                <a:cs typeface="+mn-ea"/>
                <a:sym typeface="Arial" panose="020B0604020202020204" pitchFamily="34" charset="0"/>
              </a:rPr>
              <a:t>5</a:t>
            </a:r>
            <a:r>
              <a:rPr lang="zh-CN" altLang="en-US" sz="3200" b="0" dirty="0">
                <a:solidFill>
                  <a:schemeClr val="bg1"/>
                </a:solidFill>
                <a:latin typeface="Arial" panose="020B0604020202020204" pitchFamily="34" charset="0"/>
                <a:ea typeface="Microsoft YaHei" panose="020B0503020204020204" pitchFamily="34" charset="-122"/>
                <a:cs typeface="+mn-ea"/>
                <a:sym typeface="Arial" panose="020B0604020202020204" pitchFamily="34" charset="0"/>
              </a:rPr>
              <a:t>型火箭软件设计的反思</a:t>
            </a:r>
          </a:p>
        </p:txBody>
      </p:sp>
      <p:sp>
        <p:nvSpPr>
          <p:cNvPr id="218" name="ïśḻïḋé"/>
          <p:cNvSpPr/>
          <p:nvPr/>
        </p:nvSpPr>
        <p:spPr>
          <a:xfrm>
            <a:off x="7509306" y="3715003"/>
            <a:ext cx="394834" cy="239884"/>
          </a:xfrm>
          <a:prstGeom prst="leftRightArrow">
            <a:avLst/>
          </a:prstGeom>
          <a:solidFill>
            <a:schemeClr val="bg1">
              <a:lumMod val="75000"/>
            </a:schemeClr>
          </a:solidFill>
          <a:ln>
            <a:noFill/>
          </a:ln>
        </p:spPr>
        <p:style>
          <a:lnRef idx="2">
            <a:schemeClr val="dk1"/>
          </a:lnRef>
          <a:fillRef idx="1">
            <a:schemeClr val="lt1"/>
          </a:fillRef>
          <a:effectRef idx="0">
            <a:schemeClr val="dk1"/>
          </a:effectRef>
          <a:fontRef idx="minor">
            <a:schemeClr val="dk1"/>
          </a:fontRef>
        </p:style>
        <p:txBody>
          <a:bodyPr anchor="ctr"/>
          <a:lstStyle>
            <a:defPPr>
              <a:defRPr lang="zh-CN"/>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endParaRPr>
              <a:solidFill>
                <a:schemeClr val="bg1"/>
              </a:solidFill>
            </a:endParaRPr>
          </a:p>
        </p:txBody>
      </p:sp>
      <p:grpSp>
        <p:nvGrpSpPr>
          <p:cNvPr id="2" name="组合 1"/>
          <p:cNvGrpSpPr/>
          <p:nvPr/>
        </p:nvGrpSpPr>
        <p:grpSpPr>
          <a:xfrm>
            <a:off x="5992565" y="3032306"/>
            <a:ext cx="1479730" cy="1500595"/>
            <a:chOff x="6057259" y="3241891"/>
            <a:chExt cx="1047604" cy="1062376"/>
          </a:xfrm>
        </p:grpSpPr>
        <p:sp>
          <p:nvSpPr>
            <p:cNvPr id="219" name="íSḷïḋè"/>
            <p:cNvSpPr/>
            <p:nvPr/>
          </p:nvSpPr>
          <p:spPr>
            <a:xfrm>
              <a:off x="6057259" y="3241891"/>
              <a:ext cx="1047603" cy="1062376"/>
            </a:xfrm>
            <a:prstGeom prst="ellipse">
              <a:avLst/>
            </a:prstGeom>
            <a:solidFill>
              <a:srgbClr val="FF0000"/>
            </a:solidFill>
            <a:ln>
              <a:solidFill>
                <a:srgbClr val="FF0000"/>
              </a:solidFill>
            </a:ln>
            <a:effectLst/>
          </p:spPr>
          <p:style>
            <a:lnRef idx="2">
              <a:schemeClr val="dk1"/>
            </a:lnRef>
            <a:fillRef idx="1">
              <a:schemeClr val="lt1"/>
            </a:fillRef>
            <a:effectRef idx="0">
              <a:schemeClr val="dk1"/>
            </a:effectRef>
            <a:fontRef idx="minor">
              <a:schemeClr val="dk1"/>
            </a:fontRef>
          </p:style>
          <p:txBody>
            <a:bodyPr anchor="ctr"/>
            <a:lstStyle>
              <a:defPPr>
                <a:defRPr lang="zh-CN"/>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endParaRPr>
                <a:solidFill>
                  <a:schemeClr val="bg1"/>
                </a:solidFill>
              </a:endParaRPr>
            </a:p>
          </p:txBody>
        </p:sp>
        <p:sp>
          <p:nvSpPr>
            <p:cNvPr id="220" name="íşļîde"/>
            <p:cNvSpPr txBox="1"/>
            <p:nvPr/>
          </p:nvSpPr>
          <p:spPr>
            <a:xfrm>
              <a:off x="6057260" y="3814907"/>
              <a:ext cx="1047603" cy="269444"/>
            </a:xfrm>
            <a:prstGeom prst="rect">
              <a:avLst/>
            </a:prstGeom>
          </p:spPr>
          <p:txBody>
            <a:bodyPr vert="horz" wrap="none">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54"/>
              <a:r>
                <a:rPr lang="zh-CN" altLang="en-US" sz="1351" b="1" dirty="0" smtClean="0">
                  <a:solidFill>
                    <a:schemeClr val="bg1"/>
                  </a:solidFill>
                </a:rPr>
                <a:t>火箭项目</a:t>
              </a:r>
              <a:endParaRPr lang="zh-CN" altLang="en-US" sz="1351" b="1" dirty="0">
                <a:solidFill>
                  <a:schemeClr val="bg1"/>
                </a:solidFill>
              </a:endParaRPr>
            </a:p>
          </p:txBody>
        </p:sp>
        <p:sp>
          <p:nvSpPr>
            <p:cNvPr id="221" name="ïŝlîḑê"/>
            <p:cNvSpPr/>
            <p:nvPr/>
          </p:nvSpPr>
          <p:spPr bwMode="auto">
            <a:xfrm>
              <a:off x="6428195" y="3463483"/>
              <a:ext cx="321301" cy="325316"/>
            </a:xfrm>
            <a:custGeom>
              <a:avLst/>
              <a:gdLst>
                <a:gd name="connsiteX0" fmla="*/ 394480 w 606272"/>
                <a:gd name="connsiteY0" fmla="*/ 506327 h 605314"/>
                <a:gd name="connsiteX1" fmla="*/ 412615 w 606272"/>
                <a:gd name="connsiteY1" fmla="*/ 514081 h 605314"/>
                <a:gd name="connsiteX2" fmla="*/ 459799 w 606272"/>
                <a:gd name="connsiteY2" fmla="*/ 562021 h 605314"/>
                <a:gd name="connsiteX3" fmla="*/ 459521 w 606272"/>
                <a:gd name="connsiteY3" fmla="*/ 597906 h 605314"/>
                <a:gd name="connsiteX4" fmla="*/ 423111 w 606272"/>
                <a:gd name="connsiteY4" fmla="*/ 597628 h 605314"/>
                <a:gd name="connsiteX5" fmla="*/ 376484 w 606272"/>
                <a:gd name="connsiteY5" fmla="*/ 550152 h 605314"/>
                <a:gd name="connsiteX6" fmla="*/ 376484 w 606272"/>
                <a:gd name="connsiteY6" fmla="*/ 514081 h 605314"/>
                <a:gd name="connsiteX7" fmla="*/ 394480 w 606272"/>
                <a:gd name="connsiteY7" fmla="*/ 506327 h 605314"/>
                <a:gd name="connsiteX8" fmla="*/ 464087 w 606272"/>
                <a:gd name="connsiteY8" fmla="*/ 435548 h 605314"/>
                <a:gd name="connsiteX9" fmla="*/ 482183 w 606272"/>
                <a:gd name="connsiteY9" fmla="*/ 443297 h 605314"/>
                <a:gd name="connsiteX10" fmla="*/ 529358 w 606272"/>
                <a:gd name="connsiteY10" fmla="*/ 491205 h 605314"/>
                <a:gd name="connsiteX11" fmla="*/ 529172 w 606272"/>
                <a:gd name="connsiteY11" fmla="*/ 527066 h 605314"/>
                <a:gd name="connsiteX12" fmla="*/ 492770 w 606272"/>
                <a:gd name="connsiteY12" fmla="*/ 526788 h 605314"/>
                <a:gd name="connsiteX13" fmla="*/ 446060 w 606272"/>
                <a:gd name="connsiteY13" fmla="*/ 479344 h 605314"/>
                <a:gd name="connsiteX14" fmla="*/ 446060 w 606272"/>
                <a:gd name="connsiteY14" fmla="*/ 443297 h 605314"/>
                <a:gd name="connsiteX15" fmla="*/ 464087 w 606272"/>
                <a:gd name="connsiteY15" fmla="*/ 435548 h 605314"/>
                <a:gd name="connsiteX16" fmla="*/ 533757 w 606272"/>
                <a:gd name="connsiteY16" fmla="*/ 366076 h 605314"/>
                <a:gd name="connsiteX17" fmla="*/ 551880 w 606272"/>
                <a:gd name="connsiteY17" fmla="*/ 373790 h 605314"/>
                <a:gd name="connsiteX18" fmla="*/ 599032 w 606272"/>
                <a:gd name="connsiteY18" fmla="*/ 421791 h 605314"/>
                <a:gd name="connsiteX19" fmla="*/ 598754 w 606272"/>
                <a:gd name="connsiteY19" fmla="*/ 457559 h 605314"/>
                <a:gd name="connsiteX20" fmla="*/ 562368 w 606272"/>
                <a:gd name="connsiteY20" fmla="*/ 457374 h 605314"/>
                <a:gd name="connsiteX21" fmla="*/ 515773 w 606272"/>
                <a:gd name="connsiteY21" fmla="*/ 409930 h 605314"/>
                <a:gd name="connsiteX22" fmla="*/ 515773 w 606272"/>
                <a:gd name="connsiteY22" fmla="*/ 373790 h 605314"/>
                <a:gd name="connsiteX23" fmla="*/ 533757 w 606272"/>
                <a:gd name="connsiteY23" fmla="*/ 366076 h 605314"/>
                <a:gd name="connsiteX24" fmla="*/ 55055 w 606272"/>
                <a:gd name="connsiteY24" fmla="*/ 55528 h 605314"/>
                <a:gd name="connsiteX25" fmla="*/ 172602 w 606272"/>
                <a:gd name="connsiteY25" fmla="*/ 275785 h 605314"/>
                <a:gd name="connsiteX26" fmla="*/ 331282 w 606272"/>
                <a:gd name="connsiteY26" fmla="*/ 435601 h 605314"/>
                <a:gd name="connsiteX27" fmla="*/ 435737 w 606272"/>
                <a:gd name="connsiteY27" fmla="*/ 331313 h 605314"/>
                <a:gd name="connsiteX28" fmla="*/ 282257 w 606272"/>
                <a:gd name="connsiteY28" fmla="*/ 176688 h 605314"/>
                <a:gd name="connsiteX29" fmla="*/ 55055 w 606272"/>
                <a:gd name="connsiteY29" fmla="*/ 55528 h 605314"/>
                <a:gd name="connsiteX30" fmla="*/ 28129 w 606272"/>
                <a:gd name="connsiteY30" fmla="*/ 0 h 605314"/>
                <a:gd name="connsiteX31" fmla="*/ 319768 w 606272"/>
                <a:gd name="connsiteY31" fmla="*/ 140442 h 605314"/>
                <a:gd name="connsiteX32" fmla="*/ 491354 w 606272"/>
                <a:gd name="connsiteY32" fmla="*/ 313143 h 605314"/>
                <a:gd name="connsiteX33" fmla="*/ 491354 w 606272"/>
                <a:gd name="connsiteY33" fmla="*/ 349204 h 605314"/>
                <a:gd name="connsiteX34" fmla="*/ 350594 w 606272"/>
                <a:gd name="connsiteY34" fmla="*/ 489646 h 605314"/>
                <a:gd name="connsiteX35" fmla="*/ 314476 w 606272"/>
                <a:gd name="connsiteY35" fmla="*/ 488348 h 605314"/>
                <a:gd name="connsiteX36" fmla="*/ 137784 w 606272"/>
                <a:gd name="connsiteY36" fmla="*/ 310640 h 605314"/>
                <a:gd name="connsiteX37" fmla="*/ 1017 w 606272"/>
                <a:gd name="connsiteY37" fmla="*/ 32260 h 605314"/>
                <a:gd name="connsiteX38" fmla="*/ 28129 w 606272"/>
                <a:gd name="connsiteY38" fmla="*/ 0 h 605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06272" h="605314">
                  <a:moveTo>
                    <a:pt x="394480" y="506327"/>
                  </a:moveTo>
                  <a:cubicBezTo>
                    <a:pt x="400935" y="506339"/>
                    <a:pt x="407414" y="508935"/>
                    <a:pt x="412615" y="514081"/>
                  </a:cubicBezTo>
                  <a:lnTo>
                    <a:pt x="459799" y="562021"/>
                  </a:lnTo>
                  <a:cubicBezTo>
                    <a:pt x="469552" y="572036"/>
                    <a:pt x="469459" y="587985"/>
                    <a:pt x="459521" y="597906"/>
                  </a:cubicBezTo>
                  <a:cubicBezTo>
                    <a:pt x="449489" y="607921"/>
                    <a:pt x="433049" y="607736"/>
                    <a:pt x="423111" y="597628"/>
                  </a:cubicBezTo>
                  <a:lnTo>
                    <a:pt x="376484" y="550152"/>
                  </a:lnTo>
                  <a:cubicBezTo>
                    <a:pt x="366174" y="539859"/>
                    <a:pt x="366174" y="524467"/>
                    <a:pt x="376484" y="514081"/>
                  </a:cubicBezTo>
                  <a:cubicBezTo>
                    <a:pt x="381592" y="508888"/>
                    <a:pt x="388024" y="506315"/>
                    <a:pt x="394480" y="506327"/>
                  </a:cubicBezTo>
                  <a:close/>
                  <a:moveTo>
                    <a:pt x="464087" y="435548"/>
                  </a:moveTo>
                  <a:cubicBezTo>
                    <a:pt x="470529" y="435560"/>
                    <a:pt x="476983" y="438155"/>
                    <a:pt x="482183" y="443297"/>
                  </a:cubicBezTo>
                  <a:lnTo>
                    <a:pt x="529358" y="491205"/>
                  </a:lnTo>
                  <a:cubicBezTo>
                    <a:pt x="539201" y="501213"/>
                    <a:pt x="539015" y="517151"/>
                    <a:pt x="529172" y="527066"/>
                  </a:cubicBezTo>
                  <a:cubicBezTo>
                    <a:pt x="519143" y="537074"/>
                    <a:pt x="502613" y="536889"/>
                    <a:pt x="492770" y="526788"/>
                  </a:cubicBezTo>
                  <a:lnTo>
                    <a:pt x="446060" y="479344"/>
                  </a:lnTo>
                  <a:cubicBezTo>
                    <a:pt x="435752" y="469058"/>
                    <a:pt x="435752" y="453676"/>
                    <a:pt x="446060" y="443297"/>
                  </a:cubicBezTo>
                  <a:cubicBezTo>
                    <a:pt x="451214" y="438108"/>
                    <a:pt x="457645" y="435537"/>
                    <a:pt x="464087" y="435548"/>
                  </a:cubicBezTo>
                  <a:close/>
                  <a:moveTo>
                    <a:pt x="533757" y="366076"/>
                  </a:moveTo>
                  <a:cubicBezTo>
                    <a:pt x="540208" y="366099"/>
                    <a:pt x="546682" y="368693"/>
                    <a:pt x="551880" y="373790"/>
                  </a:cubicBezTo>
                  <a:lnTo>
                    <a:pt x="599032" y="421791"/>
                  </a:lnTo>
                  <a:cubicBezTo>
                    <a:pt x="608778" y="431798"/>
                    <a:pt x="608685" y="447737"/>
                    <a:pt x="598754" y="457559"/>
                  </a:cubicBezTo>
                  <a:cubicBezTo>
                    <a:pt x="588729" y="467567"/>
                    <a:pt x="572300" y="467474"/>
                    <a:pt x="562368" y="457374"/>
                  </a:cubicBezTo>
                  <a:lnTo>
                    <a:pt x="515773" y="409930"/>
                  </a:lnTo>
                  <a:cubicBezTo>
                    <a:pt x="505470" y="399644"/>
                    <a:pt x="505470" y="384169"/>
                    <a:pt x="515773" y="373790"/>
                  </a:cubicBezTo>
                  <a:cubicBezTo>
                    <a:pt x="520878" y="368601"/>
                    <a:pt x="527306" y="366053"/>
                    <a:pt x="533757" y="366076"/>
                  </a:cubicBezTo>
                  <a:close/>
                  <a:moveTo>
                    <a:pt x="55055" y="55528"/>
                  </a:moveTo>
                  <a:cubicBezTo>
                    <a:pt x="71954" y="137939"/>
                    <a:pt x="113179" y="215344"/>
                    <a:pt x="172602" y="275785"/>
                  </a:cubicBezTo>
                  <a:lnTo>
                    <a:pt x="331282" y="435601"/>
                  </a:lnTo>
                  <a:lnTo>
                    <a:pt x="435737" y="331313"/>
                  </a:lnTo>
                  <a:lnTo>
                    <a:pt x="282257" y="176688"/>
                  </a:lnTo>
                  <a:cubicBezTo>
                    <a:pt x="220327" y="113466"/>
                    <a:pt x="141590" y="71009"/>
                    <a:pt x="55055" y="55528"/>
                  </a:cubicBezTo>
                  <a:close/>
                  <a:moveTo>
                    <a:pt x="28129" y="0"/>
                  </a:moveTo>
                  <a:cubicBezTo>
                    <a:pt x="137784" y="11680"/>
                    <a:pt x="241032" y="61831"/>
                    <a:pt x="319768" y="140442"/>
                  </a:cubicBezTo>
                  <a:lnTo>
                    <a:pt x="491354" y="313143"/>
                  </a:lnTo>
                  <a:cubicBezTo>
                    <a:pt x="501660" y="323340"/>
                    <a:pt x="501660" y="338822"/>
                    <a:pt x="491354" y="349204"/>
                  </a:cubicBezTo>
                  <a:lnTo>
                    <a:pt x="350594" y="489646"/>
                  </a:lnTo>
                  <a:cubicBezTo>
                    <a:pt x="338338" y="498545"/>
                    <a:pt x="324689" y="498174"/>
                    <a:pt x="314476" y="488348"/>
                  </a:cubicBezTo>
                  <a:lnTo>
                    <a:pt x="137784" y="310640"/>
                  </a:lnTo>
                  <a:cubicBezTo>
                    <a:pt x="62854" y="235831"/>
                    <a:pt x="15130" y="137939"/>
                    <a:pt x="1017" y="32260"/>
                  </a:cubicBezTo>
                  <a:cubicBezTo>
                    <a:pt x="-2883" y="16501"/>
                    <a:pt x="4081" y="556"/>
                    <a:pt x="28129" y="0"/>
                  </a:cubicBezTo>
                  <a:close/>
                </a:path>
              </a:pathLst>
            </a:custGeom>
            <a:solidFill>
              <a:srgbClr val="FFFFFF"/>
            </a:solidFill>
            <a:ln>
              <a:no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solidFill>
                  <a:schemeClr val="bg1"/>
                </a:solidFill>
              </a:endParaRPr>
            </a:p>
          </p:txBody>
        </p:sp>
      </p:grpSp>
      <p:sp>
        <p:nvSpPr>
          <p:cNvPr id="222" name="ïSḷïḋe"/>
          <p:cNvSpPr/>
          <p:nvPr/>
        </p:nvSpPr>
        <p:spPr>
          <a:xfrm>
            <a:off x="7963312" y="3241891"/>
            <a:ext cx="1047603" cy="1062376"/>
          </a:xfrm>
          <a:prstGeom prst="ellipse">
            <a:avLst/>
          </a:prstGeom>
          <a:solidFill>
            <a:srgbClr val="00B050"/>
          </a:solidFill>
          <a:ln>
            <a:solidFill>
              <a:srgbClr val="00B050"/>
            </a:solidFill>
          </a:ln>
          <a:effectLst>
            <a:innerShdw dist="25400" dir="5400000">
              <a:schemeClr val="tx1">
                <a:alpha val="15000"/>
              </a:schemeClr>
            </a:innerShdw>
          </a:effectLst>
        </p:spPr>
        <p:style>
          <a:lnRef idx="2">
            <a:schemeClr val="dk1"/>
          </a:lnRef>
          <a:fillRef idx="1">
            <a:schemeClr val="lt1"/>
          </a:fillRef>
          <a:effectRef idx="0">
            <a:schemeClr val="dk1"/>
          </a:effectRef>
          <a:fontRef idx="minor">
            <a:schemeClr val="dk1"/>
          </a:fontRef>
        </p:style>
        <p:txBody>
          <a:bodyPr anchor="ctr"/>
          <a:lstStyle>
            <a:defPPr>
              <a:defRPr lang="zh-CN"/>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endParaRPr>
              <a:solidFill>
                <a:schemeClr val="bg1"/>
              </a:solidFill>
            </a:endParaRPr>
          </a:p>
        </p:txBody>
      </p:sp>
      <p:sp>
        <p:nvSpPr>
          <p:cNvPr id="223" name="ïSľíḍe"/>
          <p:cNvSpPr txBox="1"/>
          <p:nvPr/>
        </p:nvSpPr>
        <p:spPr>
          <a:xfrm>
            <a:off x="7963314" y="3814907"/>
            <a:ext cx="1047603" cy="339850"/>
          </a:xfrm>
          <a:prstGeom prst="rect">
            <a:avLst/>
          </a:prstGeom>
        </p:spPr>
        <p:txBody>
          <a:bodyPr vert="horz" wrap="none">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pPr>
            <a:r>
              <a:rPr lang="zh-CN" altLang="en-US" sz="1100" b="1" dirty="0" smtClean="0">
                <a:solidFill>
                  <a:schemeClr val="bg1"/>
                </a:solidFill>
              </a:rPr>
              <a:t>需求</a:t>
            </a:r>
            <a:endParaRPr lang="zh-CN" altLang="en-US" sz="1100" b="1" dirty="0">
              <a:solidFill>
                <a:schemeClr val="bg1"/>
              </a:solidFill>
            </a:endParaRPr>
          </a:p>
        </p:txBody>
      </p:sp>
      <p:grpSp>
        <p:nvGrpSpPr>
          <p:cNvPr id="224" name="ïšlîḍé"/>
          <p:cNvGrpSpPr>
            <a:grpSpLocks/>
          </p:cNvGrpSpPr>
          <p:nvPr/>
        </p:nvGrpSpPr>
        <p:grpSpPr bwMode="auto">
          <a:xfrm>
            <a:off x="8291394" y="3460951"/>
            <a:ext cx="391440" cy="346465"/>
            <a:chOff x="0" y="-134"/>
            <a:chExt cx="576" cy="508"/>
          </a:xfrm>
          <a:solidFill>
            <a:schemeClr val="tx2"/>
          </a:solidFill>
        </p:grpSpPr>
        <p:sp>
          <p:nvSpPr>
            <p:cNvPr id="254" name="ïśḷïdè"/>
            <p:cNvSpPr/>
            <p:nvPr/>
          </p:nvSpPr>
          <p:spPr bwMode="auto">
            <a:xfrm>
              <a:off x="0" y="-134"/>
              <a:ext cx="576" cy="508"/>
            </a:xfrm>
            <a:custGeom>
              <a:avLst/>
              <a:gdLst>
                <a:gd name="connsiteX0" fmla="*/ 481714 w 606439"/>
                <a:gd name="connsiteY0" fmla="*/ 424028 h 534958"/>
                <a:gd name="connsiteX1" fmla="*/ 537284 w 606439"/>
                <a:gd name="connsiteY1" fmla="*/ 479493 h 534958"/>
                <a:gd name="connsiteX2" fmla="*/ 481714 w 606439"/>
                <a:gd name="connsiteY2" fmla="*/ 534958 h 534958"/>
                <a:gd name="connsiteX3" fmla="*/ 426144 w 606439"/>
                <a:gd name="connsiteY3" fmla="*/ 479493 h 534958"/>
                <a:gd name="connsiteX4" fmla="*/ 481714 w 606439"/>
                <a:gd name="connsiteY4" fmla="*/ 424028 h 534958"/>
                <a:gd name="connsiteX5" fmla="*/ 163006 w 606439"/>
                <a:gd name="connsiteY5" fmla="*/ 424028 h 534958"/>
                <a:gd name="connsiteX6" fmla="*/ 218541 w 606439"/>
                <a:gd name="connsiteY6" fmla="*/ 479493 h 534958"/>
                <a:gd name="connsiteX7" fmla="*/ 163006 w 606439"/>
                <a:gd name="connsiteY7" fmla="*/ 534958 h 534958"/>
                <a:gd name="connsiteX8" fmla="*/ 107471 w 606439"/>
                <a:gd name="connsiteY8" fmla="*/ 479493 h 534958"/>
                <a:gd name="connsiteX9" fmla="*/ 163006 w 606439"/>
                <a:gd name="connsiteY9" fmla="*/ 424028 h 534958"/>
                <a:gd name="connsiteX10" fmla="*/ 475399 w 606439"/>
                <a:gd name="connsiteY10" fmla="*/ 245780 h 534958"/>
                <a:gd name="connsiteX11" fmla="*/ 562053 w 606439"/>
                <a:gd name="connsiteY11" fmla="*/ 245780 h 534958"/>
                <a:gd name="connsiteX12" fmla="*/ 548236 w 606439"/>
                <a:gd name="connsiteY12" fmla="*/ 316910 h 534958"/>
                <a:gd name="connsiteX13" fmla="*/ 475399 w 606439"/>
                <a:gd name="connsiteY13" fmla="*/ 316910 h 534958"/>
                <a:gd name="connsiteX14" fmla="*/ 304137 w 606439"/>
                <a:gd name="connsiteY14" fmla="*/ 245780 h 534958"/>
                <a:gd name="connsiteX15" fmla="*/ 438987 w 606439"/>
                <a:gd name="connsiteY15" fmla="*/ 245780 h 534958"/>
                <a:gd name="connsiteX16" fmla="*/ 438987 w 606439"/>
                <a:gd name="connsiteY16" fmla="*/ 316910 h 534958"/>
                <a:gd name="connsiteX17" fmla="*/ 304137 w 606439"/>
                <a:gd name="connsiteY17" fmla="*/ 316910 h 534958"/>
                <a:gd name="connsiteX18" fmla="*/ 169710 w 606439"/>
                <a:gd name="connsiteY18" fmla="*/ 245780 h 534958"/>
                <a:gd name="connsiteX19" fmla="*/ 267725 w 606439"/>
                <a:gd name="connsiteY19" fmla="*/ 245780 h 534958"/>
                <a:gd name="connsiteX20" fmla="*/ 267725 w 606439"/>
                <a:gd name="connsiteY20" fmla="*/ 316910 h 534958"/>
                <a:gd name="connsiteX21" fmla="*/ 176665 w 606439"/>
                <a:gd name="connsiteY21" fmla="*/ 316910 h 534958"/>
                <a:gd name="connsiteX22" fmla="*/ 475399 w 606439"/>
                <a:gd name="connsiteY22" fmla="*/ 125677 h 534958"/>
                <a:gd name="connsiteX23" fmla="*/ 585481 w 606439"/>
                <a:gd name="connsiteY23" fmla="*/ 125677 h 534958"/>
                <a:gd name="connsiteX24" fmla="*/ 569193 w 606439"/>
                <a:gd name="connsiteY24" fmla="*/ 209368 h 534958"/>
                <a:gd name="connsiteX25" fmla="*/ 475399 w 606439"/>
                <a:gd name="connsiteY25" fmla="*/ 209368 h 534958"/>
                <a:gd name="connsiteX26" fmla="*/ 304137 w 606439"/>
                <a:gd name="connsiteY26" fmla="*/ 125677 h 534958"/>
                <a:gd name="connsiteX27" fmla="*/ 438987 w 606439"/>
                <a:gd name="connsiteY27" fmla="*/ 125677 h 534958"/>
                <a:gd name="connsiteX28" fmla="*/ 438987 w 606439"/>
                <a:gd name="connsiteY28" fmla="*/ 209368 h 534958"/>
                <a:gd name="connsiteX29" fmla="*/ 304137 w 606439"/>
                <a:gd name="connsiteY29" fmla="*/ 209368 h 534958"/>
                <a:gd name="connsiteX30" fmla="*/ 157996 w 606439"/>
                <a:gd name="connsiteY30" fmla="*/ 125677 h 534958"/>
                <a:gd name="connsiteX31" fmla="*/ 267725 w 606439"/>
                <a:gd name="connsiteY31" fmla="*/ 125677 h 534958"/>
                <a:gd name="connsiteX32" fmla="*/ 267725 w 606439"/>
                <a:gd name="connsiteY32" fmla="*/ 209368 h 534958"/>
                <a:gd name="connsiteX33" fmla="*/ 166233 w 606439"/>
                <a:gd name="connsiteY33" fmla="*/ 209368 h 534958"/>
                <a:gd name="connsiteX34" fmla="*/ 475399 w 606439"/>
                <a:gd name="connsiteY34" fmla="*/ 18206 h 534958"/>
                <a:gd name="connsiteX35" fmla="*/ 606439 w 606439"/>
                <a:gd name="connsiteY35" fmla="*/ 18206 h 534958"/>
                <a:gd name="connsiteX36" fmla="*/ 592621 w 606439"/>
                <a:gd name="connsiteY36" fmla="*/ 89336 h 534958"/>
                <a:gd name="connsiteX37" fmla="*/ 475399 w 606439"/>
                <a:gd name="connsiteY37" fmla="*/ 89336 h 534958"/>
                <a:gd name="connsiteX38" fmla="*/ 304137 w 606439"/>
                <a:gd name="connsiteY38" fmla="*/ 18206 h 534958"/>
                <a:gd name="connsiteX39" fmla="*/ 438987 w 606439"/>
                <a:gd name="connsiteY39" fmla="*/ 18206 h 534958"/>
                <a:gd name="connsiteX40" fmla="*/ 438987 w 606439"/>
                <a:gd name="connsiteY40" fmla="*/ 89336 h 534958"/>
                <a:gd name="connsiteX41" fmla="*/ 304137 w 606439"/>
                <a:gd name="connsiteY41" fmla="*/ 89336 h 534958"/>
                <a:gd name="connsiteX42" fmla="*/ 147552 w 606439"/>
                <a:gd name="connsiteY42" fmla="*/ 18206 h 534958"/>
                <a:gd name="connsiteX43" fmla="*/ 267725 w 606439"/>
                <a:gd name="connsiteY43" fmla="*/ 18206 h 534958"/>
                <a:gd name="connsiteX44" fmla="*/ 267725 w 606439"/>
                <a:gd name="connsiteY44" fmla="*/ 89336 h 534958"/>
                <a:gd name="connsiteX45" fmla="*/ 154508 w 606439"/>
                <a:gd name="connsiteY45" fmla="*/ 89336 h 534958"/>
                <a:gd name="connsiteX46" fmla="*/ 0 w 606439"/>
                <a:gd name="connsiteY46" fmla="*/ 0 h 534958"/>
                <a:gd name="connsiteX47" fmla="*/ 109645 w 606439"/>
                <a:gd name="connsiteY47" fmla="*/ 0 h 534958"/>
                <a:gd name="connsiteX48" fmla="*/ 138749 w 606439"/>
                <a:gd name="connsiteY48" fmla="*/ 353283 h 534958"/>
                <a:gd name="connsiteX49" fmla="*/ 548223 w 606439"/>
                <a:gd name="connsiteY49" fmla="*/ 353283 h 534958"/>
                <a:gd name="connsiteX50" fmla="*/ 548223 w 606439"/>
                <a:gd name="connsiteY50" fmla="*/ 389663 h 534958"/>
                <a:gd name="connsiteX51" fmla="*/ 105251 w 606439"/>
                <a:gd name="connsiteY51" fmla="*/ 389663 h 534958"/>
                <a:gd name="connsiteX52" fmla="*/ 76147 w 606439"/>
                <a:gd name="connsiteY52" fmla="*/ 36380 h 534958"/>
                <a:gd name="connsiteX53" fmla="*/ 0 w 606439"/>
                <a:gd name="connsiteY53" fmla="*/ 36380 h 534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606439" h="534958">
                  <a:moveTo>
                    <a:pt x="481714" y="424028"/>
                  </a:moveTo>
                  <a:cubicBezTo>
                    <a:pt x="512404" y="424028"/>
                    <a:pt x="537284" y="448861"/>
                    <a:pt x="537284" y="479493"/>
                  </a:cubicBezTo>
                  <a:cubicBezTo>
                    <a:pt x="537284" y="510125"/>
                    <a:pt x="512404" y="534958"/>
                    <a:pt x="481714" y="534958"/>
                  </a:cubicBezTo>
                  <a:cubicBezTo>
                    <a:pt x="451024" y="534958"/>
                    <a:pt x="426144" y="510125"/>
                    <a:pt x="426144" y="479493"/>
                  </a:cubicBezTo>
                  <a:cubicBezTo>
                    <a:pt x="426144" y="448861"/>
                    <a:pt x="451024" y="424028"/>
                    <a:pt x="481714" y="424028"/>
                  </a:cubicBezTo>
                  <a:close/>
                  <a:moveTo>
                    <a:pt x="163006" y="424028"/>
                  </a:moveTo>
                  <a:cubicBezTo>
                    <a:pt x="193677" y="424028"/>
                    <a:pt x="218541" y="448861"/>
                    <a:pt x="218541" y="479493"/>
                  </a:cubicBezTo>
                  <a:cubicBezTo>
                    <a:pt x="218541" y="510125"/>
                    <a:pt x="193677" y="534958"/>
                    <a:pt x="163006" y="534958"/>
                  </a:cubicBezTo>
                  <a:cubicBezTo>
                    <a:pt x="132335" y="534958"/>
                    <a:pt x="107471" y="510125"/>
                    <a:pt x="107471" y="479493"/>
                  </a:cubicBezTo>
                  <a:cubicBezTo>
                    <a:pt x="107471" y="448861"/>
                    <a:pt x="132335" y="424028"/>
                    <a:pt x="163006" y="424028"/>
                  </a:cubicBezTo>
                  <a:close/>
                  <a:moveTo>
                    <a:pt x="475399" y="245780"/>
                  </a:moveTo>
                  <a:lnTo>
                    <a:pt x="562053" y="245780"/>
                  </a:lnTo>
                  <a:lnTo>
                    <a:pt x="548236" y="316910"/>
                  </a:lnTo>
                  <a:lnTo>
                    <a:pt x="475399" y="316910"/>
                  </a:lnTo>
                  <a:close/>
                  <a:moveTo>
                    <a:pt x="304137" y="245780"/>
                  </a:moveTo>
                  <a:lnTo>
                    <a:pt x="438987" y="245780"/>
                  </a:lnTo>
                  <a:lnTo>
                    <a:pt x="438987" y="316910"/>
                  </a:lnTo>
                  <a:lnTo>
                    <a:pt x="304137" y="316910"/>
                  </a:lnTo>
                  <a:close/>
                  <a:moveTo>
                    <a:pt x="169710" y="245780"/>
                  </a:moveTo>
                  <a:lnTo>
                    <a:pt x="267725" y="245780"/>
                  </a:lnTo>
                  <a:lnTo>
                    <a:pt x="267725" y="316910"/>
                  </a:lnTo>
                  <a:lnTo>
                    <a:pt x="176665" y="316910"/>
                  </a:lnTo>
                  <a:close/>
                  <a:moveTo>
                    <a:pt x="475399" y="125677"/>
                  </a:moveTo>
                  <a:lnTo>
                    <a:pt x="585481" y="125677"/>
                  </a:lnTo>
                  <a:lnTo>
                    <a:pt x="569193" y="209368"/>
                  </a:lnTo>
                  <a:lnTo>
                    <a:pt x="475399" y="209368"/>
                  </a:lnTo>
                  <a:close/>
                  <a:moveTo>
                    <a:pt x="304137" y="125677"/>
                  </a:moveTo>
                  <a:lnTo>
                    <a:pt x="438987" y="125677"/>
                  </a:lnTo>
                  <a:lnTo>
                    <a:pt x="438987" y="209368"/>
                  </a:lnTo>
                  <a:lnTo>
                    <a:pt x="304137" y="209368"/>
                  </a:lnTo>
                  <a:close/>
                  <a:moveTo>
                    <a:pt x="157996" y="125677"/>
                  </a:moveTo>
                  <a:lnTo>
                    <a:pt x="267725" y="125677"/>
                  </a:lnTo>
                  <a:lnTo>
                    <a:pt x="267725" y="209368"/>
                  </a:lnTo>
                  <a:lnTo>
                    <a:pt x="166233" y="209368"/>
                  </a:lnTo>
                  <a:close/>
                  <a:moveTo>
                    <a:pt x="475399" y="18206"/>
                  </a:moveTo>
                  <a:lnTo>
                    <a:pt x="606439" y="18206"/>
                  </a:lnTo>
                  <a:lnTo>
                    <a:pt x="592621" y="89336"/>
                  </a:lnTo>
                  <a:lnTo>
                    <a:pt x="475399" y="89336"/>
                  </a:lnTo>
                  <a:close/>
                  <a:moveTo>
                    <a:pt x="304137" y="18206"/>
                  </a:moveTo>
                  <a:lnTo>
                    <a:pt x="438987" y="18206"/>
                  </a:lnTo>
                  <a:lnTo>
                    <a:pt x="438987" y="89336"/>
                  </a:lnTo>
                  <a:lnTo>
                    <a:pt x="304137" y="89336"/>
                  </a:lnTo>
                  <a:close/>
                  <a:moveTo>
                    <a:pt x="147552" y="18206"/>
                  </a:moveTo>
                  <a:lnTo>
                    <a:pt x="267725" y="18206"/>
                  </a:lnTo>
                  <a:lnTo>
                    <a:pt x="267725" y="89336"/>
                  </a:lnTo>
                  <a:lnTo>
                    <a:pt x="154508" y="89336"/>
                  </a:lnTo>
                  <a:close/>
                  <a:moveTo>
                    <a:pt x="0" y="0"/>
                  </a:moveTo>
                  <a:lnTo>
                    <a:pt x="109645" y="0"/>
                  </a:lnTo>
                  <a:lnTo>
                    <a:pt x="138749" y="353283"/>
                  </a:lnTo>
                  <a:lnTo>
                    <a:pt x="548223" y="353283"/>
                  </a:lnTo>
                  <a:lnTo>
                    <a:pt x="548223" y="389663"/>
                  </a:lnTo>
                  <a:lnTo>
                    <a:pt x="105251" y="389663"/>
                  </a:lnTo>
                  <a:lnTo>
                    <a:pt x="76147" y="36380"/>
                  </a:lnTo>
                  <a:lnTo>
                    <a:pt x="0" y="36380"/>
                  </a:lnTo>
                  <a:close/>
                </a:path>
              </a:pathLst>
            </a:custGeom>
            <a:solidFill>
              <a:srgbClr val="E3E5E2"/>
            </a:solidFill>
            <a:ln>
              <a:noFill/>
            </a:ln>
            <a:extLst>
              <a:ext uri="{91240B29-F687-4f45-9708-019B960494DF}">
                <a14:hiddenLine xmlns="" xmlns:lc="http://schemas.openxmlformats.org/drawingml/2006/lockedCanvas" xmlns:a16="http://schemas.microsoft.com/office/drawing/2014/main" xmlns:a14="http://schemas.microsoft.com/office/drawing/2010/main" xmlns:p14="http://schemas.microsoft.com/office/powerpoint/2010/main" w="25400" cap="flat">
                  <a:solidFill>
                    <a:schemeClr val="tx1"/>
                  </a:solidFill>
                  <a:miter lim="800000"/>
                  <a:headEnd type="none" w="med" len="med"/>
                  <a:tailEnd type="none" w="med" len="med"/>
                </a14:hiddenLine>
              </a:ext>
            </a:ex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solidFill>
                  <a:schemeClr val="bg1"/>
                </a:solidFill>
              </a:endParaRPr>
            </a:p>
          </p:txBody>
        </p:sp>
        <p:sp>
          <p:nvSpPr>
            <p:cNvPr id="255" name="ïśļîḍé"/>
            <p:cNvSpPr/>
            <p:nvPr/>
          </p:nvSpPr>
          <p:spPr bwMode="auto">
            <a:xfrm>
              <a:off x="48" y="184"/>
              <a:ext cx="109" cy="109"/>
            </a:xfrm>
            <a:custGeom>
              <a:avLst/>
              <a:gdLst>
                <a:gd name="T0" fmla="*/ 0 w 21598"/>
                <a:gd name="T1" fmla="*/ 0 h 21598"/>
                <a:gd name="T2" fmla="*/ 0 w 21598"/>
                <a:gd name="T3" fmla="*/ 0 h 21598"/>
                <a:gd name="T4" fmla="*/ 0 w 21598"/>
                <a:gd name="T5" fmla="*/ 0 h 21598"/>
                <a:gd name="T6" fmla="*/ 0 w 21598"/>
                <a:gd name="T7" fmla="*/ 0 h 21598"/>
                <a:gd name="T8" fmla="*/ 0 w 21598"/>
                <a:gd name="T9" fmla="*/ 0 h 21598"/>
                <a:gd name="T10" fmla="*/ 0 w 21598"/>
                <a:gd name="T11" fmla="*/ 0 h 21598"/>
                <a:gd name="T12" fmla="*/ 0 w 21598"/>
                <a:gd name="T13" fmla="*/ 0 h 21598"/>
                <a:gd name="T14" fmla="*/ 0 w 21598"/>
                <a:gd name="T15" fmla="*/ 0 h 21598"/>
                <a:gd name="T16" fmla="*/ 0 w 21598"/>
                <a:gd name="T17" fmla="*/ 0 h 21598"/>
                <a:gd name="T18" fmla="*/ 0 w 21598"/>
                <a:gd name="T19" fmla="*/ 0 h 21598"/>
                <a:gd name="T20" fmla="*/ 0 w 21598"/>
                <a:gd name="T21" fmla="*/ 0 h 21598"/>
                <a:gd name="T22" fmla="*/ 0 w 21598"/>
                <a:gd name="T23" fmla="*/ 0 h 21598"/>
                <a:gd name="T24" fmla="*/ 0 w 21598"/>
                <a:gd name="T25" fmla="*/ 0 h 21598"/>
                <a:gd name="T26" fmla="*/ 0 w 21598"/>
                <a:gd name="T27" fmla="*/ 0 h 21598"/>
                <a:gd name="T28" fmla="*/ 0 w 21598"/>
                <a:gd name="T29" fmla="*/ 0 h 21598"/>
                <a:gd name="T30" fmla="*/ 0 w 21598"/>
                <a:gd name="T31" fmla="*/ 0 h 21598"/>
                <a:gd name="T32" fmla="*/ 0 w 21598"/>
                <a:gd name="T33" fmla="*/ 0 h 21598"/>
                <a:gd name="T34" fmla="*/ 0 w 21598"/>
                <a:gd name="T35" fmla="*/ 0 h 2159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1598" h="21598">
                  <a:moveTo>
                    <a:pt x="21598" y="10799"/>
                  </a:moveTo>
                  <a:cubicBezTo>
                    <a:pt x="21599" y="9385"/>
                    <a:pt x="21318" y="7972"/>
                    <a:pt x="20776" y="6666"/>
                  </a:cubicBezTo>
                  <a:cubicBezTo>
                    <a:pt x="20236" y="5360"/>
                    <a:pt x="19435" y="4162"/>
                    <a:pt x="18435" y="3163"/>
                  </a:cubicBezTo>
                  <a:cubicBezTo>
                    <a:pt x="17436" y="2163"/>
                    <a:pt x="16238" y="1362"/>
                    <a:pt x="14932" y="822"/>
                  </a:cubicBezTo>
                  <a:cubicBezTo>
                    <a:pt x="13626" y="280"/>
                    <a:pt x="12213" y="-1"/>
                    <a:pt x="10799" y="0"/>
                  </a:cubicBezTo>
                  <a:cubicBezTo>
                    <a:pt x="9385" y="-1"/>
                    <a:pt x="7972" y="280"/>
                    <a:pt x="6666" y="822"/>
                  </a:cubicBezTo>
                  <a:cubicBezTo>
                    <a:pt x="5360" y="1362"/>
                    <a:pt x="4162" y="2163"/>
                    <a:pt x="3163" y="3163"/>
                  </a:cubicBezTo>
                  <a:cubicBezTo>
                    <a:pt x="2163" y="4162"/>
                    <a:pt x="1362" y="5360"/>
                    <a:pt x="822" y="6666"/>
                  </a:cubicBezTo>
                  <a:cubicBezTo>
                    <a:pt x="280" y="7972"/>
                    <a:pt x="-1" y="9385"/>
                    <a:pt x="0" y="10799"/>
                  </a:cubicBezTo>
                  <a:cubicBezTo>
                    <a:pt x="-1" y="12213"/>
                    <a:pt x="280" y="13626"/>
                    <a:pt x="822" y="14932"/>
                  </a:cubicBezTo>
                  <a:cubicBezTo>
                    <a:pt x="1362" y="16238"/>
                    <a:pt x="2163" y="17436"/>
                    <a:pt x="3163" y="18435"/>
                  </a:cubicBezTo>
                  <a:cubicBezTo>
                    <a:pt x="4162" y="19435"/>
                    <a:pt x="5360" y="20236"/>
                    <a:pt x="6666" y="20776"/>
                  </a:cubicBezTo>
                  <a:cubicBezTo>
                    <a:pt x="7972" y="21318"/>
                    <a:pt x="9385" y="21599"/>
                    <a:pt x="10799" y="21598"/>
                  </a:cubicBezTo>
                  <a:cubicBezTo>
                    <a:pt x="12213" y="21599"/>
                    <a:pt x="13626" y="21318"/>
                    <a:pt x="14932" y="20776"/>
                  </a:cubicBezTo>
                  <a:cubicBezTo>
                    <a:pt x="16238" y="20236"/>
                    <a:pt x="17436" y="19435"/>
                    <a:pt x="18435" y="18435"/>
                  </a:cubicBezTo>
                  <a:cubicBezTo>
                    <a:pt x="19435" y="17436"/>
                    <a:pt x="20236" y="16238"/>
                    <a:pt x="20776" y="14932"/>
                  </a:cubicBezTo>
                  <a:cubicBezTo>
                    <a:pt x="21318" y="13626"/>
                    <a:pt x="21599" y="12213"/>
                    <a:pt x="21598" y="10799"/>
                  </a:cubicBezTo>
                  <a:close/>
                  <a:moveTo>
                    <a:pt x="21598" y="10799"/>
                  </a:moveTo>
                </a:path>
              </a:pathLst>
            </a:custGeom>
            <a:solidFill>
              <a:srgbClr val="E3E5E2"/>
            </a:solidFill>
            <a:ln>
              <a:noFill/>
            </a:ln>
            <a:extLst>
              <a:ext uri="{91240B29-F687-4f45-9708-019B960494DF}">
                <a14:hiddenLine xmlns="" xmlns:lc="http://schemas.openxmlformats.org/drawingml/2006/lockedCanvas" xmlns:a16="http://schemas.microsoft.com/office/drawing/2014/main" xmlns:a14="http://schemas.microsoft.com/office/drawing/2010/main" xmlns:p14="http://schemas.microsoft.com/office/powerpoint/2010/main" w="25400" cap="flat">
                  <a:solidFill>
                    <a:schemeClr val="tx1"/>
                  </a:solidFill>
                  <a:miter lim="800000"/>
                  <a:headEnd type="none" w="med" len="med"/>
                  <a:tailEnd type="none" w="med" len="med"/>
                </a14:hiddenLine>
              </a:ext>
            </a:ex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solidFill>
                  <a:schemeClr val="bg1"/>
                </a:solidFill>
              </a:endParaRPr>
            </a:p>
          </p:txBody>
        </p:sp>
        <p:sp>
          <p:nvSpPr>
            <p:cNvPr id="256" name="ïşľïḋe"/>
            <p:cNvSpPr/>
            <p:nvPr/>
          </p:nvSpPr>
          <p:spPr bwMode="auto">
            <a:xfrm>
              <a:off x="408" y="184"/>
              <a:ext cx="109" cy="109"/>
            </a:xfrm>
            <a:custGeom>
              <a:avLst/>
              <a:gdLst>
                <a:gd name="T0" fmla="*/ 0 w 21598"/>
                <a:gd name="T1" fmla="*/ 0 h 21598"/>
                <a:gd name="T2" fmla="*/ 0 w 21598"/>
                <a:gd name="T3" fmla="*/ 0 h 21598"/>
                <a:gd name="T4" fmla="*/ 0 w 21598"/>
                <a:gd name="T5" fmla="*/ 0 h 21598"/>
                <a:gd name="T6" fmla="*/ 0 w 21598"/>
                <a:gd name="T7" fmla="*/ 0 h 21598"/>
                <a:gd name="T8" fmla="*/ 0 w 21598"/>
                <a:gd name="T9" fmla="*/ 0 h 21598"/>
                <a:gd name="T10" fmla="*/ 0 w 21598"/>
                <a:gd name="T11" fmla="*/ 0 h 21598"/>
                <a:gd name="T12" fmla="*/ 0 w 21598"/>
                <a:gd name="T13" fmla="*/ 0 h 21598"/>
                <a:gd name="T14" fmla="*/ 0 w 21598"/>
                <a:gd name="T15" fmla="*/ 0 h 21598"/>
                <a:gd name="T16" fmla="*/ 0 w 21598"/>
                <a:gd name="T17" fmla="*/ 0 h 21598"/>
                <a:gd name="T18" fmla="*/ 0 w 21598"/>
                <a:gd name="T19" fmla="*/ 0 h 21598"/>
                <a:gd name="T20" fmla="*/ 0 w 21598"/>
                <a:gd name="T21" fmla="*/ 0 h 21598"/>
                <a:gd name="T22" fmla="*/ 0 w 21598"/>
                <a:gd name="T23" fmla="*/ 0 h 21598"/>
                <a:gd name="T24" fmla="*/ 0 w 21598"/>
                <a:gd name="T25" fmla="*/ 0 h 21598"/>
                <a:gd name="T26" fmla="*/ 0 w 21598"/>
                <a:gd name="T27" fmla="*/ 0 h 21598"/>
                <a:gd name="T28" fmla="*/ 0 w 21598"/>
                <a:gd name="T29" fmla="*/ 0 h 21598"/>
                <a:gd name="T30" fmla="*/ 0 w 21598"/>
                <a:gd name="T31" fmla="*/ 0 h 21598"/>
                <a:gd name="T32" fmla="*/ 0 w 21598"/>
                <a:gd name="T33" fmla="*/ 0 h 21598"/>
                <a:gd name="T34" fmla="*/ 0 w 21598"/>
                <a:gd name="T35" fmla="*/ 0 h 2159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1598" h="21598">
                  <a:moveTo>
                    <a:pt x="21598" y="10799"/>
                  </a:moveTo>
                  <a:cubicBezTo>
                    <a:pt x="21599" y="9385"/>
                    <a:pt x="21318" y="7972"/>
                    <a:pt x="20776" y="6666"/>
                  </a:cubicBezTo>
                  <a:cubicBezTo>
                    <a:pt x="20236" y="5360"/>
                    <a:pt x="19435" y="4162"/>
                    <a:pt x="18435" y="3163"/>
                  </a:cubicBezTo>
                  <a:cubicBezTo>
                    <a:pt x="17436" y="2163"/>
                    <a:pt x="16238" y="1362"/>
                    <a:pt x="14932" y="822"/>
                  </a:cubicBezTo>
                  <a:cubicBezTo>
                    <a:pt x="13626" y="280"/>
                    <a:pt x="12213" y="-1"/>
                    <a:pt x="10799" y="0"/>
                  </a:cubicBezTo>
                  <a:cubicBezTo>
                    <a:pt x="9385" y="-1"/>
                    <a:pt x="7972" y="280"/>
                    <a:pt x="6666" y="822"/>
                  </a:cubicBezTo>
                  <a:cubicBezTo>
                    <a:pt x="5360" y="1362"/>
                    <a:pt x="4162" y="2163"/>
                    <a:pt x="3163" y="3163"/>
                  </a:cubicBezTo>
                  <a:cubicBezTo>
                    <a:pt x="2163" y="4162"/>
                    <a:pt x="1362" y="5360"/>
                    <a:pt x="822" y="6666"/>
                  </a:cubicBezTo>
                  <a:cubicBezTo>
                    <a:pt x="280" y="7972"/>
                    <a:pt x="-1" y="9385"/>
                    <a:pt x="0" y="10799"/>
                  </a:cubicBezTo>
                  <a:cubicBezTo>
                    <a:pt x="-1" y="12213"/>
                    <a:pt x="280" y="13626"/>
                    <a:pt x="822" y="14932"/>
                  </a:cubicBezTo>
                  <a:cubicBezTo>
                    <a:pt x="1362" y="16238"/>
                    <a:pt x="2163" y="17436"/>
                    <a:pt x="3163" y="18435"/>
                  </a:cubicBezTo>
                  <a:cubicBezTo>
                    <a:pt x="4162" y="19435"/>
                    <a:pt x="5360" y="20236"/>
                    <a:pt x="6666" y="20776"/>
                  </a:cubicBezTo>
                  <a:cubicBezTo>
                    <a:pt x="7972" y="21318"/>
                    <a:pt x="9385" y="21599"/>
                    <a:pt x="10799" y="21598"/>
                  </a:cubicBezTo>
                  <a:cubicBezTo>
                    <a:pt x="12213" y="21599"/>
                    <a:pt x="13626" y="21318"/>
                    <a:pt x="14932" y="20776"/>
                  </a:cubicBezTo>
                  <a:cubicBezTo>
                    <a:pt x="16238" y="20236"/>
                    <a:pt x="17436" y="19435"/>
                    <a:pt x="18435" y="18435"/>
                  </a:cubicBezTo>
                  <a:cubicBezTo>
                    <a:pt x="19435" y="17436"/>
                    <a:pt x="20236" y="16238"/>
                    <a:pt x="20776" y="14932"/>
                  </a:cubicBezTo>
                  <a:cubicBezTo>
                    <a:pt x="21318" y="13626"/>
                    <a:pt x="21599" y="12213"/>
                    <a:pt x="21598" y="10799"/>
                  </a:cubicBezTo>
                  <a:close/>
                  <a:moveTo>
                    <a:pt x="21598" y="10799"/>
                  </a:moveTo>
                </a:path>
              </a:pathLst>
            </a:custGeom>
            <a:solidFill>
              <a:srgbClr val="E3E5E2"/>
            </a:solidFill>
            <a:ln>
              <a:noFill/>
            </a:ln>
            <a:extLst>
              <a:ext uri="{91240B29-F687-4f45-9708-019B960494DF}">
                <a14:hiddenLine xmlns="" xmlns:lc="http://schemas.openxmlformats.org/drawingml/2006/lockedCanvas" xmlns:a16="http://schemas.microsoft.com/office/drawing/2014/main" xmlns:a14="http://schemas.microsoft.com/office/drawing/2010/main" xmlns:p14="http://schemas.microsoft.com/office/powerpoint/2010/main" w="25400" cap="flat">
                  <a:solidFill>
                    <a:schemeClr val="tx1"/>
                  </a:solidFill>
                  <a:miter lim="800000"/>
                  <a:headEnd type="none" w="med" len="med"/>
                  <a:tailEnd type="none" w="med" len="med"/>
                </a14:hiddenLine>
              </a:ext>
            </a:ex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solidFill>
                  <a:schemeClr val="bg1"/>
                </a:solidFill>
              </a:endParaRPr>
            </a:p>
          </p:txBody>
        </p:sp>
      </p:grpSp>
      <p:sp>
        <p:nvSpPr>
          <p:cNvPr id="225" name="ïSḷiḍê"/>
          <p:cNvSpPr/>
          <p:nvPr/>
        </p:nvSpPr>
        <p:spPr>
          <a:xfrm flipH="1">
            <a:off x="3711065" y="3722005"/>
            <a:ext cx="603827" cy="185801"/>
          </a:xfrm>
          <a:prstGeom prst="leftRightArrow">
            <a:avLst/>
          </a:prstGeom>
          <a:solidFill>
            <a:schemeClr val="bg1">
              <a:lumMod val="75000"/>
            </a:schemeClr>
          </a:solidFill>
          <a:ln>
            <a:noFill/>
          </a:ln>
        </p:spPr>
        <p:style>
          <a:lnRef idx="2">
            <a:schemeClr val="dk1"/>
          </a:lnRef>
          <a:fillRef idx="1">
            <a:schemeClr val="lt1"/>
          </a:fillRef>
          <a:effectRef idx="0">
            <a:schemeClr val="dk1"/>
          </a:effectRef>
          <a:fontRef idx="minor">
            <a:schemeClr val="dk1"/>
          </a:fontRef>
        </p:style>
        <p:txBody>
          <a:bodyPr anchor="ctr"/>
          <a:lstStyle>
            <a:defPPr>
              <a:defRPr lang="zh-CN"/>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endParaRPr>
              <a:solidFill>
                <a:schemeClr val="bg1"/>
              </a:solidFill>
            </a:endParaRPr>
          </a:p>
        </p:txBody>
      </p:sp>
      <p:sp>
        <p:nvSpPr>
          <p:cNvPr id="226" name="îS1îḑè"/>
          <p:cNvSpPr/>
          <p:nvPr/>
        </p:nvSpPr>
        <p:spPr>
          <a:xfrm rot="2700000" flipH="1">
            <a:off x="3850063" y="2966758"/>
            <a:ext cx="695435" cy="185801"/>
          </a:xfrm>
          <a:prstGeom prst="leftRightArrow">
            <a:avLst/>
          </a:prstGeom>
          <a:solidFill>
            <a:schemeClr val="bg1">
              <a:lumMod val="75000"/>
            </a:schemeClr>
          </a:solidFill>
          <a:ln>
            <a:noFill/>
          </a:ln>
        </p:spPr>
        <p:style>
          <a:lnRef idx="2">
            <a:schemeClr val="dk1"/>
          </a:lnRef>
          <a:fillRef idx="1">
            <a:schemeClr val="lt1"/>
          </a:fillRef>
          <a:effectRef idx="0">
            <a:schemeClr val="dk1"/>
          </a:effectRef>
          <a:fontRef idx="minor">
            <a:schemeClr val="dk1"/>
          </a:fontRef>
        </p:style>
        <p:txBody>
          <a:bodyPr anchor="ctr"/>
          <a:lstStyle>
            <a:defPPr>
              <a:defRPr lang="zh-CN"/>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endParaRPr>
              <a:solidFill>
                <a:schemeClr val="bg1"/>
              </a:solidFill>
            </a:endParaRPr>
          </a:p>
        </p:txBody>
      </p:sp>
      <p:sp>
        <p:nvSpPr>
          <p:cNvPr id="227" name="îṧļîḑê"/>
          <p:cNvSpPr/>
          <p:nvPr/>
        </p:nvSpPr>
        <p:spPr>
          <a:xfrm rot="18900000" flipH="1" flipV="1">
            <a:off x="3850063" y="4415732"/>
            <a:ext cx="695435" cy="185801"/>
          </a:xfrm>
          <a:prstGeom prst="leftRightArrow">
            <a:avLst/>
          </a:prstGeom>
          <a:solidFill>
            <a:schemeClr val="bg1">
              <a:lumMod val="75000"/>
            </a:schemeClr>
          </a:solidFill>
          <a:ln>
            <a:noFill/>
          </a:ln>
        </p:spPr>
        <p:style>
          <a:lnRef idx="2">
            <a:schemeClr val="dk1"/>
          </a:lnRef>
          <a:fillRef idx="1">
            <a:schemeClr val="lt1"/>
          </a:fillRef>
          <a:effectRef idx="0">
            <a:schemeClr val="dk1"/>
          </a:effectRef>
          <a:fontRef idx="minor">
            <a:schemeClr val="dk1"/>
          </a:fontRef>
        </p:style>
        <p:txBody>
          <a:bodyPr anchor="ctr"/>
          <a:lstStyle>
            <a:defPPr>
              <a:defRPr lang="zh-CN"/>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endParaRPr>
              <a:solidFill>
                <a:schemeClr val="bg1"/>
              </a:solidFill>
            </a:endParaRPr>
          </a:p>
        </p:txBody>
      </p:sp>
      <p:sp>
        <p:nvSpPr>
          <p:cNvPr id="228" name="íSliḋe"/>
          <p:cNvSpPr/>
          <p:nvPr/>
        </p:nvSpPr>
        <p:spPr>
          <a:xfrm>
            <a:off x="5588321" y="3694962"/>
            <a:ext cx="372839" cy="239884"/>
          </a:xfrm>
          <a:prstGeom prst="leftRightArrow">
            <a:avLst/>
          </a:prstGeom>
          <a:solidFill>
            <a:schemeClr val="bg1">
              <a:lumMod val="75000"/>
            </a:schemeClr>
          </a:solidFill>
          <a:ln>
            <a:noFill/>
          </a:ln>
        </p:spPr>
        <p:style>
          <a:lnRef idx="2">
            <a:schemeClr val="dk1"/>
          </a:lnRef>
          <a:fillRef idx="1">
            <a:schemeClr val="lt1"/>
          </a:fillRef>
          <a:effectRef idx="0">
            <a:schemeClr val="dk1"/>
          </a:effectRef>
          <a:fontRef idx="minor">
            <a:schemeClr val="dk1"/>
          </a:fontRef>
        </p:style>
        <p:txBody>
          <a:bodyPr anchor="ctr"/>
          <a:lstStyle>
            <a:defPPr>
              <a:defRPr lang="zh-CN"/>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endParaRPr>
              <a:solidFill>
                <a:schemeClr val="bg1"/>
              </a:solidFill>
            </a:endParaRPr>
          </a:p>
        </p:txBody>
      </p:sp>
      <p:sp>
        <p:nvSpPr>
          <p:cNvPr id="229" name="ïsľiḍe"/>
          <p:cNvSpPr/>
          <p:nvPr/>
        </p:nvSpPr>
        <p:spPr>
          <a:xfrm>
            <a:off x="4420378" y="3241891"/>
            <a:ext cx="1047603" cy="1062376"/>
          </a:xfrm>
          <a:prstGeom prst="ellipse">
            <a:avLst/>
          </a:prstGeom>
          <a:solidFill>
            <a:srgbClr val="E1691F"/>
          </a:solidFill>
          <a:ln>
            <a:solidFill>
              <a:srgbClr val="E1691F"/>
            </a:solidFill>
          </a:ln>
          <a:effectLst/>
        </p:spPr>
        <p:style>
          <a:lnRef idx="2">
            <a:schemeClr val="dk1"/>
          </a:lnRef>
          <a:fillRef idx="1">
            <a:schemeClr val="lt1"/>
          </a:fillRef>
          <a:effectRef idx="0">
            <a:schemeClr val="dk1"/>
          </a:effectRef>
          <a:fontRef idx="minor">
            <a:schemeClr val="dk1"/>
          </a:fontRef>
        </p:style>
        <p:txBody>
          <a:bodyPr anchor="ctr"/>
          <a:lstStyle>
            <a:defPPr>
              <a:defRPr lang="zh-CN"/>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endParaRPr>
              <a:solidFill>
                <a:schemeClr val="bg1"/>
              </a:solidFill>
            </a:endParaRPr>
          </a:p>
        </p:txBody>
      </p:sp>
      <p:sp>
        <p:nvSpPr>
          <p:cNvPr id="230" name="îSḻíḍé"/>
          <p:cNvSpPr txBox="1"/>
          <p:nvPr/>
        </p:nvSpPr>
        <p:spPr>
          <a:xfrm>
            <a:off x="4420381" y="3814907"/>
            <a:ext cx="1047603" cy="269444"/>
          </a:xfrm>
          <a:prstGeom prst="rect">
            <a:avLst/>
          </a:prstGeom>
        </p:spPr>
        <p:txBody>
          <a:bodyPr vert="horz" wrap="none">
            <a:normAutofit fontScale="92500"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pPr>
            <a:r>
              <a:rPr lang="zh-CN" altLang="en-US" sz="1351" b="1" dirty="0" smtClean="0">
                <a:solidFill>
                  <a:schemeClr val="bg1"/>
                </a:solidFill>
              </a:rPr>
              <a:t>设计</a:t>
            </a:r>
            <a:endParaRPr lang="zh-CN" altLang="en-US" sz="1351" b="1" dirty="0">
              <a:solidFill>
                <a:schemeClr val="bg1"/>
              </a:solidFill>
            </a:endParaRPr>
          </a:p>
        </p:txBody>
      </p:sp>
      <p:grpSp>
        <p:nvGrpSpPr>
          <p:cNvPr id="231" name="îṡlïḋe"/>
          <p:cNvGrpSpPr>
            <a:grpSpLocks/>
          </p:cNvGrpSpPr>
          <p:nvPr/>
        </p:nvGrpSpPr>
        <p:grpSpPr bwMode="auto">
          <a:xfrm>
            <a:off x="4799776" y="3478416"/>
            <a:ext cx="294894" cy="299052"/>
            <a:chOff x="0" y="0"/>
            <a:chExt cx="573" cy="574"/>
          </a:xfrm>
          <a:solidFill>
            <a:schemeClr val="bg1"/>
          </a:solidFill>
        </p:grpSpPr>
        <p:sp>
          <p:nvSpPr>
            <p:cNvPr id="252" name="íşlîḍé"/>
            <p:cNvSpPr/>
            <p:nvPr/>
          </p:nvSpPr>
          <p:spPr bwMode="auto">
            <a:xfrm>
              <a:off x="0" y="104"/>
              <a:ext cx="470" cy="47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1600" h="21600">
                  <a:moveTo>
                    <a:pt x="16781" y="0"/>
                  </a:moveTo>
                  <a:lnTo>
                    <a:pt x="2322" y="14460"/>
                  </a:lnTo>
                  <a:lnTo>
                    <a:pt x="2320" y="14460"/>
                  </a:lnTo>
                  <a:lnTo>
                    <a:pt x="2320" y="14462"/>
                  </a:lnTo>
                  <a:lnTo>
                    <a:pt x="2319" y="14462"/>
                  </a:lnTo>
                  <a:lnTo>
                    <a:pt x="2320" y="14462"/>
                  </a:lnTo>
                  <a:lnTo>
                    <a:pt x="0" y="21600"/>
                  </a:lnTo>
                  <a:lnTo>
                    <a:pt x="7138" y="19281"/>
                  </a:lnTo>
                  <a:lnTo>
                    <a:pt x="7138" y="19282"/>
                  </a:lnTo>
                  <a:lnTo>
                    <a:pt x="7139" y="19281"/>
                  </a:lnTo>
                  <a:lnTo>
                    <a:pt x="7140" y="19281"/>
                  </a:lnTo>
                  <a:lnTo>
                    <a:pt x="7140" y="19280"/>
                  </a:lnTo>
                  <a:lnTo>
                    <a:pt x="21600" y="4819"/>
                  </a:lnTo>
                  <a:lnTo>
                    <a:pt x="16781" y="0"/>
                  </a:lnTo>
                  <a:close/>
                  <a:moveTo>
                    <a:pt x="5635" y="15236"/>
                  </a:moveTo>
                  <a:lnTo>
                    <a:pt x="4841" y="14442"/>
                  </a:lnTo>
                  <a:lnTo>
                    <a:pt x="16794" y="2489"/>
                  </a:lnTo>
                  <a:lnTo>
                    <a:pt x="17588" y="3282"/>
                  </a:lnTo>
                  <a:lnTo>
                    <a:pt x="5635" y="15236"/>
                  </a:lnTo>
                  <a:close/>
                  <a:moveTo>
                    <a:pt x="5635" y="15236"/>
                  </a:moveTo>
                </a:path>
              </a:pathLst>
            </a:custGeom>
            <a:solidFill>
              <a:srgbClr val="E3E5E2"/>
            </a:solidFill>
            <a:ln>
              <a:solidFill>
                <a:schemeClr val="accent6">
                  <a:lumMod val="25000"/>
                  <a:lumOff val="75000"/>
                </a:schemeClr>
              </a:solidFill>
            </a:ln>
            <a:extLst>
              <a:ext uri="{91240B29-F687-4f45-9708-019B960494DF}">
                <a14:hiddenLine xmlns="" xmlns:lc="http://schemas.openxmlformats.org/drawingml/2006/lockedCanvas" xmlns:a16="http://schemas.microsoft.com/office/drawing/2014/main" xmlns:a14="http://schemas.microsoft.com/office/drawing/2010/main" xmlns:p14="http://schemas.microsoft.com/office/powerpoint/2010/main" w="25400" cap="flat">
                  <a:solidFill>
                    <a:schemeClr val="tx1"/>
                  </a:solidFill>
                  <a:miter lim="800000"/>
                  <a:headEnd type="none" w="med" len="med"/>
                  <a:tailEnd type="none" w="med" len="med"/>
                </a14:hiddenLine>
              </a:ext>
            </a:ex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solidFill>
                  <a:schemeClr val="bg1"/>
                </a:solidFill>
              </a:endParaRPr>
            </a:p>
          </p:txBody>
        </p:sp>
        <p:sp>
          <p:nvSpPr>
            <p:cNvPr id="253" name="iSļïḋè"/>
            <p:cNvSpPr/>
            <p:nvPr/>
          </p:nvSpPr>
          <p:spPr bwMode="auto">
            <a:xfrm>
              <a:off x="400" y="0"/>
              <a:ext cx="173" cy="17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8577"/>
                  </a:moveTo>
                  <a:lnTo>
                    <a:pt x="8574" y="0"/>
                  </a:lnTo>
                  <a:lnTo>
                    <a:pt x="21600" y="13023"/>
                  </a:lnTo>
                  <a:lnTo>
                    <a:pt x="13026" y="21600"/>
                  </a:lnTo>
                  <a:lnTo>
                    <a:pt x="0" y="8577"/>
                  </a:lnTo>
                  <a:close/>
                  <a:moveTo>
                    <a:pt x="0" y="8577"/>
                  </a:moveTo>
                </a:path>
              </a:pathLst>
            </a:custGeom>
            <a:solidFill>
              <a:srgbClr val="E3E5E2"/>
            </a:solidFill>
            <a:ln>
              <a:noFill/>
            </a:ln>
            <a:extLst>
              <a:ext uri="{91240B29-F687-4f45-9708-019B960494DF}">
                <a14:hiddenLine xmlns="" xmlns:lc="http://schemas.openxmlformats.org/drawingml/2006/lockedCanvas" xmlns:a16="http://schemas.microsoft.com/office/drawing/2014/main" xmlns:a14="http://schemas.microsoft.com/office/drawing/2010/main" xmlns:p14="http://schemas.microsoft.com/office/powerpoint/2010/main" w="25400" cap="flat">
                  <a:solidFill>
                    <a:schemeClr val="tx1"/>
                  </a:solidFill>
                  <a:miter lim="800000"/>
                  <a:headEnd type="none" w="med" len="med"/>
                  <a:tailEnd type="none" w="med" len="med"/>
                </a14:hiddenLine>
              </a:ext>
            </a:ex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solidFill>
                  <a:schemeClr val="bg1"/>
                </a:solidFill>
              </a:endParaRPr>
            </a:p>
          </p:txBody>
        </p:sp>
      </p:grpSp>
      <p:sp>
        <p:nvSpPr>
          <p:cNvPr id="232" name="îṣļïḓê"/>
          <p:cNvSpPr/>
          <p:nvPr/>
        </p:nvSpPr>
        <p:spPr>
          <a:xfrm flipH="1">
            <a:off x="2979925" y="4695278"/>
            <a:ext cx="1047603" cy="1062376"/>
          </a:xfrm>
          <a:prstGeom prst="ellipse">
            <a:avLst/>
          </a:prstGeom>
          <a:solidFill>
            <a:srgbClr val="FFC000"/>
          </a:solidFill>
          <a:ln>
            <a:solidFill>
              <a:srgbClr val="FFC000"/>
            </a:solidFill>
          </a:ln>
          <a:effectLst>
            <a:innerShdw dist="25400" dir="5400000">
              <a:schemeClr val="tx1">
                <a:alpha val="15000"/>
              </a:schemeClr>
            </a:innerShdw>
          </a:effectLst>
        </p:spPr>
        <p:style>
          <a:lnRef idx="2">
            <a:schemeClr val="dk1"/>
          </a:lnRef>
          <a:fillRef idx="1">
            <a:schemeClr val="lt1"/>
          </a:fillRef>
          <a:effectRef idx="0">
            <a:schemeClr val="dk1"/>
          </a:effectRef>
          <a:fontRef idx="minor">
            <a:schemeClr val="dk1"/>
          </a:fontRef>
        </p:style>
        <p:txBody>
          <a:bodyPr anchor="ctr"/>
          <a:lstStyle>
            <a:defPPr>
              <a:defRPr lang="zh-CN"/>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endParaRPr>
              <a:solidFill>
                <a:schemeClr val="bg1"/>
              </a:solidFill>
            </a:endParaRPr>
          </a:p>
        </p:txBody>
      </p:sp>
      <p:sp>
        <p:nvSpPr>
          <p:cNvPr id="233" name="ïṥḷîḋe"/>
          <p:cNvSpPr txBox="1"/>
          <p:nvPr/>
        </p:nvSpPr>
        <p:spPr>
          <a:xfrm>
            <a:off x="2979925" y="5268294"/>
            <a:ext cx="1047603" cy="339850"/>
          </a:xfrm>
          <a:prstGeom prst="rect">
            <a:avLst/>
          </a:prstGeom>
        </p:spPr>
        <p:txBody>
          <a:bodyPr vert="horz" wrap="none">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pPr>
            <a:r>
              <a:rPr lang="zh-CN" altLang="en-US" sz="1100" b="1" dirty="0" smtClean="0">
                <a:solidFill>
                  <a:schemeClr val="bg1"/>
                </a:solidFill>
              </a:rPr>
              <a:t>健壮性</a:t>
            </a:r>
            <a:endParaRPr lang="zh-CN" altLang="en-US" sz="1100" b="1" dirty="0">
              <a:solidFill>
                <a:schemeClr val="bg1"/>
              </a:solidFill>
            </a:endParaRPr>
          </a:p>
        </p:txBody>
      </p:sp>
      <p:sp>
        <p:nvSpPr>
          <p:cNvPr id="234" name="íṡľiḋé"/>
          <p:cNvSpPr/>
          <p:nvPr/>
        </p:nvSpPr>
        <p:spPr bwMode="auto">
          <a:xfrm>
            <a:off x="3345681" y="4942231"/>
            <a:ext cx="365384" cy="280752"/>
          </a:xfrm>
          <a:custGeom>
            <a:avLst/>
            <a:gdLst>
              <a:gd name="connsiteX0" fmla="*/ 304244 w 608838"/>
              <a:gd name="connsiteY0" fmla="*/ 374165 h 572031"/>
              <a:gd name="connsiteX1" fmla="*/ 341560 w 608838"/>
              <a:gd name="connsiteY1" fmla="*/ 435311 h 572031"/>
              <a:gd name="connsiteX2" fmla="*/ 271324 w 608838"/>
              <a:gd name="connsiteY2" fmla="*/ 481427 h 572031"/>
              <a:gd name="connsiteX3" fmla="*/ 276655 w 608838"/>
              <a:gd name="connsiteY3" fmla="*/ 432417 h 572031"/>
              <a:gd name="connsiteX4" fmla="*/ 289081 w 608838"/>
              <a:gd name="connsiteY4" fmla="*/ 356607 h 572031"/>
              <a:gd name="connsiteX5" fmla="*/ 255880 w 608838"/>
              <a:gd name="connsiteY5" fmla="*/ 426641 h 572031"/>
              <a:gd name="connsiteX6" fmla="*/ 244658 w 608838"/>
              <a:gd name="connsiteY6" fmla="*/ 529544 h 572031"/>
              <a:gd name="connsiteX7" fmla="*/ 371101 w 608838"/>
              <a:gd name="connsiteY7" fmla="*/ 529544 h 572031"/>
              <a:gd name="connsiteX8" fmla="*/ 353051 w 608838"/>
              <a:gd name="connsiteY8" fmla="*/ 465673 h 572031"/>
              <a:gd name="connsiteX9" fmla="*/ 362591 w 608838"/>
              <a:gd name="connsiteY9" fmla="*/ 438313 h 572031"/>
              <a:gd name="connsiteX10" fmla="*/ 327519 w 608838"/>
              <a:gd name="connsiteY10" fmla="*/ 362116 h 572031"/>
              <a:gd name="connsiteX11" fmla="*/ 289081 w 608838"/>
              <a:gd name="connsiteY11" fmla="*/ 356607 h 572031"/>
              <a:gd name="connsiteX12" fmla="*/ 153355 w 608838"/>
              <a:gd name="connsiteY12" fmla="*/ 1161 h 572031"/>
              <a:gd name="connsiteX13" fmla="*/ 172644 w 608838"/>
              <a:gd name="connsiteY13" fmla="*/ 16148 h 572031"/>
              <a:gd name="connsiteX14" fmla="*/ 220903 w 608838"/>
              <a:gd name="connsiteY14" fmla="*/ 100936 h 572031"/>
              <a:gd name="connsiteX15" fmla="*/ 336217 w 608838"/>
              <a:gd name="connsiteY15" fmla="*/ 119145 h 572031"/>
              <a:gd name="connsiteX16" fmla="*/ 396727 w 608838"/>
              <a:gd name="connsiteY16" fmla="*/ 34543 h 572031"/>
              <a:gd name="connsiteX17" fmla="*/ 426561 w 608838"/>
              <a:gd name="connsiteY17" fmla="*/ 21470 h 572031"/>
              <a:gd name="connsiteX18" fmla="*/ 546177 w 608838"/>
              <a:gd name="connsiteY18" fmla="*/ 36037 h 572031"/>
              <a:gd name="connsiteX19" fmla="*/ 573954 w 608838"/>
              <a:gd name="connsiteY19" fmla="*/ 71521 h 572031"/>
              <a:gd name="connsiteX20" fmla="*/ 538508 w 608838"/>
              <a:gd name="connsiteY20" fmla="*/ 99255 h 572031"/>
              <a:gd name="connsiteX21" fmla="*/ 437690 w 608838"/>
              <a:gd name="connsiteY21" fmla="*/ 87022 h 572031"/>
              <a:gd name="connsiteX22" fmla="*/ 383259 w 608838"/>
              <a:gd name="connsiteY22" fmla="*/ 162939 h 572031"/>
              <a:gd name="connsiteX23" fmla="*/ 362871 w 608838"/>
              <a:gd name="connsiteY23" fmla="*/ 304781 h 572031"/>
              <a:gd name="connsiteX24" fmla="*/ 425251 w 608838"/>
              <a:gd name="connsiteY24" fmla="*/ 525529 h 572031"/>
              <a:gd name="connsiteX25" fmla="*/ 425532 w 608838"/>
              <a:gd name="connsiteY25" fmla="*/ 529544 h 572031"/>
              <a:gd name="connsiteX26" fmla="*/ 587515 w 608838"/>
              <a:gd name="connsiteY26" fmla="*/ 529544 h 572031"/>
              <a:gd name="connsiteX27" fmla="*/ 608838 w 608838"/>
              <a:gd name="connsiteY27" fmla="*/ 550741 h 572031"/>
              <a:gd name="connsiteX28" fmla="*/ 587515 w 608838"/>
              <a:gd name="connsiteY28" fmla="*/ 572031 h 572031"/>
              <a:gd name="connsiteX29" fmla="*/ 21230 w 608838"/>
              <a:gd name="connsiteY29" fmla="*/ 572031 h 572031"/>
              <a:gd name="connsiteX30" fmla="*/ 0 w 608838"/>
              <a:gd name="connsiteY30" fmla="*/ 550741 h 572031"/>
              <a:gd name="connsiteX31" fmla="*/ 21230 w 608838"/>
              <a:gd name="connsiteY31" fmla="*/ 529544 h 572031"/>
              <a:gd name="connsiteX32" fmla="*/ 191162 w 608838"/>
              <a:gd name="connsiteY32" fmla="*/ 529544 h 572031"/>
              <a:gd name="connsiteX33" fmla="*/ 203507 w 608838"/>
              <a:gd name="connsiteY33" fmla="*/ 416369 h 572031"/>
              <a:gd name="connsiteX34" fmla="*/ 205845 w 608838"/>
              <a:gd name="connsiteY34" fmla="*/ 407871 h 572031"/>
              <a:gd name="connsiteX35" fmla="*/ 239233 w 608838"/>
              <a:gd name="connsiteY35" fmla="*/ 337557 h 572031"/>
              <a:gd name="connsiteX36" fmla="*/ 264859 w 608838"/>
              <a:gd name="connsiteY36" fmla="*/ 172370 h 572031"/>
              <a:gd name="connsiteX37" fmla="*/ 195745 w 608838"/>
              <a:gd name="connsiteY37" fmla="*/ 161538 h 572031"/>
              <a:gd name="connsiteX38" fmla="*/ 172925 w 608838"/>
              <a:gd name="connsiteY38" fmla="*/ 145757 h 572031"/>
              <a:gd name="connsiteX39" fmla="*/ 117185 w 608838"/>
              <a:gd name="connsiteY39" fmla="*/ 47523 h 572031"/>
              <a:gd name="connsiteX40" fmla="*/ 129156 w 608838"/>
              <a:gd name="connsiteY40" fmla="*/ 4102 h 572031"/>
              <a:gd name="connsiteX41" fmla="*/ 153355 w 608838"/>
              <a:gd name="connsiteY41" fmla="*/ 1161 h 572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608838" h="572031">
                <a:moveTo>
                  <a:pt x="304244" y="374165"/>
                </a:moveTo>
                <a:cubicBezTo>
                  <a:pt x="329309" y="382847"/>
                  <a:pt x="345488" y="408145"/>
                  <a:pt x="341560" y="435311"/>
                </a:cubicBezTo>
                <a:cubicBezTo>
                  <a:pt x="337071" y="466864"/>
                  <a:pt x="306115" y="490669"/>
                  <a:pt x="271324" y="481427"/>
                </a:cubicBezTo>
                <a:lnTo>
                  <a:pt x="276655" y="432417"/>
                </a:lnTo>
                <a:close/>
                <a:moveTo>
                  <a:pt x="289081" y="356607"/>
                </a:moveTo>
                <a:lnTo>
                  <a:pt x="255880" y="426641"/>
                </a:lnTo>
                <a:lnTo>
                  <a:pt x="244658" y="529544"/>
                </a:lnTo>
                <a:lnTo>
                  <a:pt x="371101" y="529544"/>
                </a:lnTo>
                <a:lnTo>
                  <a:pt x="353051" y="465673"/>
                </a:lnTo>
                <a:cubicBezTo>
                  <a:pt x="357821" y="457362"/>
                  <a:pt x="361188" y="448211"/>
                  <a:pt x="362591" y="438313"/>
                </a:cubicBezTo>
                <a:cubicBezTo>
                  <a:pt x="366799" y="409272"/>
                  <a:pt x="354548" y="379391"/>
                  <a:pt x="327519" y="362116"/>
                </a:cubicBezTo>
                <a:cubicBezTo>
                  <a:pt x="307318" y="359221"/>
                  <a:pt x="312649" y="359968"/>
                  <a:pt x="289081" y="356607"/>
                </a:cubicBezTo>
                <a:close/>
                <a:moveTo>
                  <a:pt x="153355" y="1161"/>
                </a:moveTo>
                <a:cubicBezTo>
                  <a:pt x="161235" y="3332"/>
                  <a:pt x="168296" y="8491"/>
                  <a:pt x="172644" y="16148"/>
                </a:cubicBezTo>
                <a:lnTo>
                  <a:pt x="220903" y="100936"/>
                </a:lnTo>
                <a:lnTo>
                  <a:pt x="336217" y="119145"/>
                </a:lnTo>
                <a:lnTo>
                  <a:pt x="396727" y="34543"/>
                </a:lnTo>
                <a:cubicBezTo>
                  <a:pt x="403554" y="25019"/>
                  <a:pt x="414964" y="19883"/>
                  <a:pt x="426561" y="21470"/>
                </a:cubicBezTo>
                <a:lnTo>
                  <a:pt x="546177" y="36037"/>
                </a:lnTo>
                <a:cubicBezTo>
                  <a:pt x="563666" y="38185"/>
                  <a:pt x="576105" y="54060"/>
                  <a:pt x="573954" y="71521"/>
                </a:cubicBezTo>
                <a:cubicBezTo>
                  <a:pt x="571896" y="88983"/>
                  <a:pt x="555997" y="101496"/>
                  <a:pt x="538508" y="99255"/>
                </a:cubicBezTo>
                <a:lnTo>
                  <a:pt x="437690" y="87022"/>
                </a:lnTo>
                <a:lnTo>
                  <a:pt x="383259" y="162939"/>
                </a:lnTo>
                <a:lnTo>
                  <a:pt x="362871" y="304781"/>
                </a:lnTo>
                <a:lnTo>
                  <a:pt x="425251" y="525529"/>
                </a:lnTo>
                <a:cubicBezTo>
                  <a:pt x="425626" y="526836"/>
                  <a:pt x="425345" y="528143"/>
                  <a:pt x="425532" y="529544"/>
                </a:cubicBezTo>
                <a:lnTo>
                  <a:pt x="587515" y="529544"/>
                </a:lnTo>
                <a:cubicBezTo>
                  <a:pt x="599299" y="529544"/>
                  <a:pt x="608838" y="539068"/>
                  <a:pt x="608838" y="550741"/>
                </a:cubicBezTo>
                <a:cubicBezTo>
                  <a:pt x="608838" y="562507"/>
                  <a:pt x="599299" y="572031"/>
                  <a:pt x="587515" y="572031"/>
                </a:cubicBezTo>
                <a:lnTo>
                  <a:pt x="21230" y="572031"/>
                </a:lnTo>
                <a:cubicBezTo>
                  <a:pt x="9539" y="572031"/>
                  <a:pt x="0" y="562507"/>
                  <a:pt x="0" y="550741"/>
                </a:cubicBezTo>
                <a:cubicBezTo>
                  <a:pt x="0" y="539068"/>
                  <a:pt x="9539" y="529544"/>
                  <a:pt x="21230" y="529544"/>
                </a:cubicBezTo>
                <a:lnTo>
                  <a:pt x="191162" y="529544"/>
                </a:lnTo>
                <a:lnTo>
                  <a:pt x="203507" y="416369"/>
                </a:lnTo>
                <a:cubicBezTo>
                  <a:pt x="203788" y="413474"/>
                  <a:pt x="204629" y="410579"/>
                  <a:pt x="205845" y="407871"/>
                </a:cubicBezTo>
                <a:lnTo>
                  <a:pt x="239233" y="337557"/>
                </a:lnTo>
                <a:cubicBezTo>
                  <a:pt x="253729" y="244085"/>
                  <a:pt x="250643" y="263975"/>
                  <a:pt x="264859" y="172370"/>
                </a:cubicBezTo>
                <a:lnTo>
                  <a:pt x="195745" y="161538"/>
                </a:lnTo>
                <a:cubicBezTo>
                  <a:pt x="186112" y="159951"/>
                  <a:pt x="177788" y="154162"/>
                  <a:pt x="172925" y="145757"/>
                </a:cubicBezTo>
                <a:lnTo>
                  <a:pt x="117185" y="47523"/>
                </a:lnTo>
                <a:cubicBezTo>
                  <a:pt x="108487" y="32302"/>
                  <a:pt x="113818" y="12786"/>
                  <a:pt x="129156" y="4102"/>
                </a:cubicBezTo>
                <a:cubicBezTo>
                  <a:pt x="136778" y="-193"/>
                  <a:pt x="145476" y="-1011"/>
                  <a:pt x="153355" y="1161"/>
                </a:cubicBezTo>
                <a:close/>
              </a:path>
            </a:pathLst>
          </a:custGeom>
          <a:solidFill>
            <a:srgbClr val="E3E5E2"/>
          </a:solidFill>
          <a:ln>
            <a:solidFill>
              <a:schemeClr val="accent6">
                <a:lumMod val="25000"/>
                <a:lumOff val="75000"/>
              </a:schemeClr>
            </a:solidFill>
          </a:ln>
          <a:extLst>
            <a:ext uri="{91240B29-F687-4f45-9708-019B960494DF}">
              <a14:hiddenLine xmlns="" xmlns:lc="http://schemas.openxmlformats.org/drawingml/2006/lockedCanvas" xmlns:a16="http://schemas.microsoft.com/office/drawing/2014/main" xmlns:a14="http://schemas.microsoft.com/office/drawing/2010/main" xmlns:p14="http://schemas.microsoft.com/office/powerpoint/2010/main" w="25400" cap="flat">
                <a:solidFill>
                  <a:schemeClr val="tx1"/>
                </a:solidFill>
                <a:miter lim="800000"/>
                <a:headEnd type="none" w="med" len="med"/>
                <a:tailEnd type="none" w="med" len="med"/>
              </a14:hiddenLine>
            </a:ext>
          </a:ex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solidFill>
                <a:schemeClr val="bg1"/>
              </a:solidFill>
            </a:endParaRPr>
          </a:p>
        </p:txBody>
      </p:sp>
      <p:sp>
        <p:nvSpPr>
          <p:cNvPr id="235" name="îṧļîdè"/>
          <p:cNvSpPr/>
          <p:nvPr/>
        </p:nvSpPr>
        <p:spPr>
          <a:xfrm flipH="1">
            <a:off x="2979925" y="1788504"/>
            <a:ext cx="1047603" cy="1062376"/>
          </a:xfrm>
          <a:prstGeom prst="ellipse">
            <a:avLst/>
          </a:prstGeom>
          <a:solidFill>
            <a:srgbClr val="FFC000"/>
          </a:solidFill>
          <a:ln>
            <a:solidFill>
              <a:srgbClr val="FFC000"/>
            </a:solidFill>
          </a:ln>
          <a:effectLst>
            <a:innerShdw dist="25400" dir="5400000">
              <a:schemeClr val="tx1">
                <a:alpha val="15000"/>
              </a:schemeClr>
            </a:innerShdw>
          </a:effectLst>
        </p:spPr>
        <p:style>
          <a:lnRef idx="2">
            <a:schemeClr val="dk1"/>
          </a:lnRef>
          <a:fillRef idx="1">
            <a:schemeClr val="lt1"/>
          </a:fillRef>
          <a:effectRef idx="0">
            <a:schemeClr val="dk1"/>
          </a:effectRef>
          <a:fontRef idx="minor">
            <a:schemeClr val="dk1"/>
          </a:fontRef>
        </p:style>
        <p:txBody>
          <a:bodyPr anchor="ctr"/>
          <a:lstStyle>
            <a:defPPr>
              <a:defRPr lang="zh-CN"/>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endParaRPr>
              <a:solidFill>
                <a:schemeClr val="bg1"/>
              </a:solidFill>
            </a:endParaRPr>
          </a:p>
        </p:txBody>
      </p:sp>
      <p:sp>
        <p:nvSpPr>
          <p:cNvPr id="236" name="îsḻiḍê"/>
          <p:cNvSpPr txBox="1"/>
          <p:nvPr/>
        </p:nvSpPr>
        <p:spPr>
          <a:xfrm>
            <a:off x="2979925" y="2361520"/>
            <a:ext cx="1047603" cy="339850"/>
          </a:xfrm>
          <a:prstGeom prst="rect">
            <a:avLst/>
          </a:prstGeom>
          <a:noFill/>
          <a:ln>
            <a:noFill/>
          </a:ln>
        </p:spPr>
        <p:txBody>
          <a:bodyPr vert="horz" wrap="none">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pPr>
            <a:r>
              <a:rPr lang="zh-CN" altLang="en-US" sz="1100" b="1" dirty="0" smtClean="0">
                <a:solidFill>
                  <a:schemeClr val="bg1"/>
                </a:solidFill>
                <a:latin typeface="微软雅黑" panose="020B0503020204020204" pitchFamily="34" charset="-122"/>
                <a:ea typeface="微软雅黑" panose="020B0503020204020204" pitchFamily="34" charset="-122"/>
              </a:rPr>
              <a:t>数据结构</a:t>
            </a:r>
            <a:endParaRPr lang="zh-CN" altLang="en-US" sz="1100" b="1" dirty="0">
              <a:solidFill>
                <a:schemeClr val="bg1"/>
              </a:solidFill>
              <a:latin typeface="微软雅黑" panose="020B0503020204020204" pitchFamily="34" charset="-122"/>
              <a:ea typeface="微软雅黑" panose="020B0503020204020204" pitchFamily="34" charset="-122"/>
            </a:endParaRPr>
          </a:p>
        </p:txBody>
      </p:sp>
      <p:sp>
        <p:nvSpPr>
          <p:cNvPr id="237" name="îṧliḍê"/>
          <p:cNvSpPr/>
          <p:nvPr/>
        </p:nvSpPr>
        <p:spPr bwMode="auto">
          <a:xfrm>
            <a:off x="3346064" y="2035538"/>
            <a:ext cx="321301" cy="322233"/>
          </a:xfrm>
          <a:custGeom>
            <a:avLst/>
            <a:gdLst>
              <a:gd name="connsiteX0" fmla="*/ 466437 w 600511"/>
              <a:gd name="connsiteY0" fmla="*/ 421770 h 593879"/>
              <a:gd name="connsiteX1" fmla="*/ 504684 w 600511"/>
              <a:gd name="connsiteY1" fmla="*/ 459981 h 593879"/>
              <a:gd name="connsiteX2" fmla="*/ 466437 w 600511"/>
              <a:gd name="connsiteY2" fmla="*/ 498192 h 593879"/>
              <a:gd name="connsiteX3" fmla="*/ 428190 w 600511"/>
              <a:gd name="connsiteY3" fmla="*/ 459981 h 593879"/>
              <a:gd name="connsiteX4" fmla="*/ 466437 w 600511"/>
              <a:gd name="connsiteY4" fmla="*/ 421770 h 593879"/>
              <a:gd name="connsiteX5" fmla="*/ 453390 w 600511"/>
              <a:gd name="connsiteY5" fmla="*/ 375066 h 593879"/>
              <a:gd name="connsiteX6" fmla="*/ 421127 w 600511"/>
              <a:gd name="connsiteY6" fmla="*/ 386990 h 593879"/>
              <a:gd name="connsiteX7" fmla="*/ 418868 w 600511"/>
              <a:gd name="connsiteY7" fmla="*/ 392146 h 593879"/>
              <a:gd name="connsiteX8" fmla="*/ 424031 w 600511"/>
              <a:gd name="connsiteY8" fmla="*/ 406325 h 593879"/>
              <a:gd name="connsiteX9" fmla="*/ 423385 w 600511"/>
              <a:gd name="connsiteY9" fmla="*/ 411481 h 593879"/>
              <a:gd name="connsiteX10" fmla="*/ 416287 w 600511"/>
              <a:gd name="connsiteY10" fmla="*/ 413737 h 593879"/>
              <a:gd name="connsiteX11" fmla="*/ 402414 w 600511"/>
              <a:gd name="connsiteY11" fmla="*/ 407292 h 593879"/>
              <a:gd name="connsiteX12" fmla="*/ 397252 w 600511"/>
              <a:gd name="connsiteY12" fmla="*/ 409226 h 593879"/>
              <a:gd name="connsiteX13" fmla="*/ 383056 w 600511"/>
              <a:gd name="connsiteY13" fmla="*/ 440485 h 593879"/>
              <a:gd name="connsiteX14" fmla="*/ 384669 w 600511"/>
              <a:gd name="connsiteY14" fmla="*/ 445318 h 593879"/>
              <a:gd name="connsiteX15" fmla="*/ 398542 w 600511"/>
              <a:gd name="connsiteY15" fmla="*/ 451764 h 593879"/>
              <a:gd name="connsiteX16" fmla="*/ 401769 w 600511"/>
              <a:gd name="connsiteY16" fmla="*/ 455953 h 593879"/>
              <a:gd name="connsiteX17" fmla="*/ 398220 w 600511"/>
              <a:gd name="connsiteY17" fmla="*/ 462720 h 593879"/>
              <a:gd name="connsiteX18" fmla="*/ 384024 w 600511"/>
              <a:gd name="connsiteY18" fmla="*/ 467876 h 593879"/>
              <a:gd name="connsiteX19" fmla="*/ 381766 w 600511"/>
              <a:gd name="connsiteY19" fmla="*/ 472710 h 593879"/>
              <a:gd name="connsiteX20" fmla="*/ 393380 w 600511"/>
              <a:gd name="connsiteY20" fmla="*/ 504936 h 593879"/>
              <a:gd name="connsiteX21" fmla="*/ 398542 w 600511"/>
              <a:gd name="connsiteY21" fmla="*/ 507192 h 593879"/>
              <a:gd name="connsiteX22" fmla="*/ 412738 w 600511"/>
              <a:gd name="connsiteY22" fmla="*/ 502036 h 593879"/>
              <a:gd name="connsiteX23" fmla="*/ 417900 w 600511"/>
              <a:gd name="connsiteY23" fmla="*/ 502680 h 593879"/>
              <a:gd name="connsiteX24" fmla="*/ 420159 w 600511"/>
              <a:gd name="connsiteY24" fmla="*/ 510092 h 593879"/>
              <a:gd name="connsiteX25" fmla="*/ 413706 w 600511"/>
              <a:gd name="connsiteY25" fmla="*/ 523949 h 593879"/>
              <a:gd name="connsiteX26" fmla="*/ 415642 w 600511"/>
              <a:gd name="connsiteY26" fmla="*/ 528783 h 593879"/>
              <a:gd name="connsiteX27" fmla="*/ 446937 w 600511"/>
              <a:gd name="connsiteY27" fmla="*/ 543285 h 593879"/>
              <a:gd name="connsiteX28" fmla="*/ 451777 w 600511"/>
              <a:gd name="connsiteY28" fmla="*/ 541351 h 593879"/>
              <a:gd name="connsiteX29" fmla="*/ 458230 w 600511"/>
              <a:gd name="connsiteY29" fmla="*/ 527494 h 593879"/>
              <a:gd name="connsiteX30" fmla="*/ 462424 w 600511"/>
              <a:gd name="connsiteY30" fmla="*/ 524272 h 593879"/>
              <a:gd name="connsiteX31" fmla="*/ 469199 w 600511"/>
              <a:gd name="connsiteY31" fmla="*/ 528139 h 593879"/>
              <a:gd name="connsiteX32" fmla="*/ 474361 w 600511"/>
              <a:gd name="connsiteY32" fmla="*/ 542318 h 593879"/>
              <a:gd name="connsiteX33" fmla="*/ 479201 w 600511"/>
              <a:gd name="connsiteY33" fmla="*/ 544574 h 593879"/>
              <a:gd name="connsiteX34" fmla="*/ 511464 w 600511"/>
              <a:gd name="connsiteY34" fmla="*/ 532650 h 593879"/>
              <a:gd name="connsiteX35" fmla="*/ 513723 w 600511"/>
              <a:gd name="connsiteY35" fmla="*/ 527816 h 593879"/>
              <a:gd name="connsiteX36" fmla="*/ 508560 w 600511"/>
              <a:gd name="connsiteY36" fmla="*/ 513315 h 593879"/>
              <a:gd name="connsiteX37" fmla="*/ 509206 w 600511"/>
              <a:gd name="connsiteY37" fmla="*/ 508159 h 593879"/>
              <a:gd name="connsiteX38" fmla="*/ 516626 w 600511"/>
              <a:gd name="connsiteY38" fmla="*/ 506225 h 593879"/>
              <a:gd name="connsiteX39" fmla="*/ 530500 w 600511"/>
              <a:gd name="connsiteY39" fmla="*/ 512348 h 593879"/>
              <a:gd name="connsiteX40" fmla="*/ 535339 w 600511"/>
              <a:gd name="connsiteY40" fmla="*/ 510737 h 593879"/>
              <a:gd name="connsiteX41" fmla="*/ 549858 w 600511"/>
              <a:gd name="connsiteY41" fmla="*/ 479478 h 593879"/>
              <a:gd name="connsiteX42" fmla="*/ 547922 w 600511"/>
              <a:gd name="connsiteY42" fmla="*/ 474322 h 593879"/>
              <a:gd name="connsiteX43" fmla="*/ 534049 w 600511"/>
              <a:gd name="connsiteY43" fmla="*/ 467876 h 593879"/>
              <a:gd name="connsiteX44" fmla="*/ 531145 w 600511"/>
              <a:gd name="connsiteY44" fmla="*/ 461109 h 593879"/>
              <a:gd name="connsiteX45" fmla="*/ 534694 w 600511"/>
              <a:gd name="connsiteY45" fmla="*/ 457242 h 593879"/>
              <a:gd name="connsiteX46" fmla="*/ 548890 w 600511"/>
              <a:gd name="connsiteY46" fmla="*/ 451764 h 593879"/>
              <a:gd name="connsiteX47" fmla="*/ 551148 w 600511"/>
              <a:gd name="connsiteY47" fmla="*/ 446930 h 593879"/>
              <a:gd name="connsiteX48" fmla="*/ 539211 w 600511"/>
              <a:gd name="connsiteY48" fmla="*/ 414704 h 593879"/>
              <a:gd name="connsiteX49" fmla="*/ 534371 w 600511"/>
              <a:gd name="connsiteY49" fmla="*/ 412448 h 593879"/>
              <a:gd name="connsiteX50" fmla="*/ 520175 w 600511"/>
              <a:gd name="connsiteY50" fmla="*/ 417604 h 593879"/>
              <a:gd name="connsiteX51" fmla="*/ 514691 w 600511"/>
              <a:gd name="connsiteY51" fmla="*/ 416960 h 593879"/>
              <a:gd name="connsiteX52" fmla="*/ 512755 w 600511"/>
              <a:gd name="connsiteY52" fmla="*/ 409548 h 593879"/>
              <a:gd name="connsiteX53" fmla="*/ 518885 w 600511"/>
              <a:gd name="connsiteY53" fmla="*/ 396013 h 593879"/>
              <a:gd name="connsiteX54" fmla="*/ 516949 w 600511"/>
              <a:gd name="connsiteY54" fmla="*/ 390857 h 593879"/>
              <a:gd name="connsiteX55" fmla="*/ 485976 w 600511"/>
              <a:gd name="connsiteY55" fmla="*/ 376355 h 593879"/>
              <a:gd name="connsiteX56" fmla="*/ 480814 w 600511"/>
              <a:gd name="connsiteY56" fmla="*/ 378289 h 593879"/>
              <a:gd name="connsiteX57" fmla="*/ 474361 w 600511"/>
              <a:gd name="connsiteY57" fmla="*/ 392146 h 593879"/>
              <a:gd name="connsiteX58" fmla="*/ 470167 w 600511"/>
              <a:gd name="connsiteY58" fmla="*/ 395368 h 593879"/>
              <a:gd name="connsiteX59" fmla="*/ 463714 w 600511"/>
              <a:gd name="connsiteY59" fmla="*/ 391824 h 593879"/>
              <a:gd name="connsiteX60" fmla="*/ 458230 w 600511"/>
              <a:gd name="connsiteY60" fmla="*/ 377322 h 593879"/>
              <a:gd name="connsiteX61" fmla="*/ 453390 w 600511"/>
              <a:gd name="connsiteY61" fmla="*/ 375066 h 593879"/>
              <a:gd name="connsiteX62" fmla="*/ 0 w 600511"/>
              <a:gd name="connsiteY62" fmla="*/ 372515 h 593879"/>
              <a:gd name="connsiteX63" fmla="*/ 233292 w 600511"/>
              <a:gd name="connsiteY63" fmla="*/ 465626 h 593879"/>
              <a:gd name="connsiteX64" fmla="*/ 305248 w 600511"/>
              <a:gd name="connsiteY64" fmla="*/ 461116 h 593879"/>
              <a:gd name="connsiteX65" fmla="*/ 332998 w 600511"/>
              <a:gd name="connsiteY65" fmla="*/ 549716 h 593879"/>
              <a:gd name="connsiteX66" fmla="*/ 233292 w 600511"/>
              <a:gd name="connsiteY66" fmla="*/ 558737 h 593879"/>
              <a:gd name="connsiteX67" fmla="*/ 0 w 600511"/>
              <a:gd name="connsiteY67" fmla="*/ 465626 h 593879"/>
              <a:gd name="connsiteX68" fmla="*/ 466295 w 600511"/>
              <a:gd name="connsiteY68" fmla="*/ 326083 h 593879"/>
              <a:gd name="connsiteX69" fmla="*/ 600511 w 600511"/>
              <a:gd name="connsiteY69" fmla="*/ 459820 h 593879"/>
              <a:gd name="connsiteX70" fmla="*/ 466295 w 600511"/>
              <a:gd name="connsiteY70" fmla="*/ 593879 h 593879"/>
              <a:gd name="connsiteX71" fmla="*/ 332080 w 600511"/>
              <a:gd name="connsiteY71" fmla="*/ 459820 h 593879"/>
              <a:gd name="connsiteX72" fmla="*/ 466295 w 600511"/>
              <a:gd name="connsiteY72" fmla="*/ 326083 h 593879"/>
              <a:gd name="connsiteX73" fmla="*/ 0 w 600511"/>
              <a:gd name="connsiteY73" fmla="*/ 232654 h 593879"/>
              <a:gd name="connsiteX74" fmla="*/ 233309 w 600511"/>
              <a:gd name="connsiteY74" fmla="*/ 326103 h 593879"/>
              <a:gd name="connsiteX75" fmla="*/ 466296 w 600511"/>
              <a:gd name="connsiteY75" fmla="*/ 232654 h 593879"/>
              <a:gd name="connsiteX76" fmla="*/ 466296 w 600511"/>
              <a:gd name="connsiteY76" fmla="*/ 299035 h 593879"/>
              <a:gd name="connsiteX77" fmla="*/ 312370 w 600511"/>
              <a:gd name="connsiteY77" fmla="*/ 413429 h 593879"/>
              <a:gd name="connsiteX78" fmla="*/ 233309 w 600511"/>
              <a:gd name="connsiteY78" fmla="*/ 419229 h 593879"/>
              <a:gd name="connsiteX79" fmla="*/ 0 w 600511"/>
              <a:gd name="connsiteY79" fmla="*/ 326103 h 593879"/>
              <a:gd name="connsiteX80" fmla="*/ 233309 w 600511"/>
              <a:gd name="connsiteY80" fmla="*/ 23200 h 593879"/>
              <a:gd name="connsiteX81" fmla="*/ 23234 w 600511"/>
              <a:gd name="connsiteY81" fmla="*/ 93123 h 593879"/>
              <a:gd name="connsiteX82" fmla="*/ 233309 w 600511"/>
              <a:gd name="connsiteY82" fmla="*/ 163046 h 593879"/>
              <a:gd name="connsiteX83" fmla="*/ 443062 w 600511"/>
              <a:gd name="connsiteY83" fmla="*/ 93123 h 593879"/>
              <a:gd name="connsiteX84" fmla="*/ 233309 w 600511"/>
              <a:gd name="connsiteY84" fmla="*/ 23200 h 593879"/>
              <a:gd name="connsiteX85" fmla="*/ 233309 w 600511"/>
              <a:gd name="connsiteY85" fmla="*/ 0 h 593879"/>
              <a:gd name="connsiteX86" fmla="*/ 466296 w 600511"/>
              <a:gd name="connsiteY86" fmla="*/ 93123 h 593879"/>
              <a:gd name="connsiteX87" fmla="*/ 466296 w 600511"/>
              <a:gd name="connsiteY87" fmla="*/ 186246 h 593879"/>
              <a:gd name="connsiteX88" fmla="*/ 233309 w 600511"/>
              <a:gd name="connsiteY88" fmla="*/ 279369 h 593879"/>
              <a:gd name="connsiteX89" fmla="*/ 0 w 600511"/>
              <a:gd name="connsiteY89" fmla="*/ 186246 h 593879"/>
              <a:gd name="connsiteX90" fmla="*/ 0 w 600511"/>
              <a:gd name="connsiteY90" fmla="*/ 93123 h 593879"/>
              <a:gd name="connsiteX91" fmla="*/ 233309 w 600511"/>
              <a:gd name="connsiteY91" fmla="*/ 0 h 593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600511" h="593879">
                <a:moveTo>
                  <a:pt x="466437" y="421770"/>
                </a:moveTo>
                <a:cubicBezTo>
                  <a:pt x="487560" y="421770"/>
                  <a:pt x="504684" y="438878"/>
                  <a:pt x="504684" y="459981"/>
                </a:cubicBezTo>
                <a:cubicBezTo>
                  <a:pt x="504684" y="481084"/>
                  <a:pt x="487560" y="498192"/>
                  <a:pt x="466437" y="498192"/>
                </a:cubicBezTo>
                <a:cubicBezTo>
                  <a:pt x="445314" y="498192"/>
                  <a:pt x="428190" y="481084"/>
                  <a:pt x="428190" y="459981"/>
                </a:cubicBezTo>
                <a:cubicBezTo>
                  <a:pt x="428190" y="438878"/>
                  <a:pt x="445314" y="421770"/>
                  <a:pt x="466437" y="421770"/>
                </a:cubicBezTo>
                <a:close/>
                <a:moveTo>
                  <a:pt x="453390" y="375066"/>
                </a:moveTo>
                <a:lnTo>
                  <a:pt x="421127" y="386990"/>
                </a:lnTo>
                <a:cubicBezTo>
                  <a:pt x="419191" y="387957"/>
                  <a:pt x="418223" y="389890"/>
                  <a:pt x="418868" y="392146"/>
                </a:cubicBezTo>
                <a:lnTo>
                  <a:pt x="424031" y="406325"/>
                </a:lnTo>
                <a:cubicBezTo>
                  <a:pt x="424998" y="408259"/>
                  <a:pt x="424676" y="410515"/>
                  <a:pt x="423385" y="411481"/>
                </a:cubicBezTo>
                <a:cubicBezTo>
                  <a:pt x="422417" y="412448"/>
                  <a:pt x="418223" y="414382"/>
                  <a:pt x="416287" y="413737"/>
                </a:cubicBezTo>
                <a:lnTo>
                  <a:pt x="402414" y="407292"/>
                </a:lnTo>
                <a:cubicBezTo>
                  <a:pt x="400478" y="406325"/>
                  <a:pt x="398220" y="407292"/>
                  <a:pt x="397252" y="409226"/>
                </a:cubicBezTo>
                <a:lnTo>
                  <a:pt x="383056" y="440485"/>
                </a:lnTo>
                <a:cubicBezTo>
                  <a:pt x="382088" y="442096"/>
                  <a:pt x="383056" y="444674"/>
                  <a:pt x="384669" y="445318"/>
                </a:cubicBezTo>
                <a:lnTo>
                  <a:pt x="398542" y="451764"/>
                </a:lnTo>
                <a:cubicBezTo>
                  <a:pt x="400478" y="452730"/>
                  <a:pt x="402091" y="454664"/>
                  <a:pt x="401769" y="455953"/>
                </a:cubicBezTo>
                <a:cubicBezTo>
                  <a:pt x="401769" y="457564"/>
                  <a:pt x="400156" y="462076"/>
                  <a:pt x="398220" y="462720"/>
                </a:cubicBezTo>
                <a:lnTo>
                  <a:pt x="384024" y="467876"/>
                </a:lnTo>
                <a:cubicBezTo>
                  <a:pt x="382088" y="468521"/>
                  <a:pt x="381120" y="470777"/>
                  <a:pt x="381766" y="472710"/>
                </a:cubicBezTo>
                <a:lnTo>
                  <a:pt x="393380" y="504936"/>
                </a:lnTo>
                <a:cubicBezTo>
                  <a:pt x="394348" y="506870"/>
                  <a:pt x="396607" y="507836"/>
                  <a:pt x="398542" y="507192"/>
                </a:cubicBezTo>
                <a:lnTo>
                  <a:pt x="412738" y="502036"/>
                </a:lnTo>
                <a:cubicBezTo>
                  <a:pt x="414674" y="501391"/>
                  <a:pt x="417255" y="501713"/>
                  <a:pt x="417900" y="502680"/>
                </a:cubicBezTo>
                <a:cubicBezTo>
                  <a:pt x="418868" y="503969"/>
                  <a:pt x="421127" y="508159"/>
                  <a:pt x="420159" y="510092"/>
                </a:cubicBezTo>
                <a:lnTo>
                  <a:pt x="413706" y="523949"/>
                </a:lnTo>
                <a:cubicBezTo>
                  <a:pt x="412738" y="525561"/>
                  <a:pt x="413706" y="527816"/>
                  <a:pt x="415642" y="528783"/>
                </a:cubicBezTo>
                <a:lnTo>
                  <a:pt x="446937" y="543285"/>
                </a:lnTo>
                <a:cubicBezTo>
                  <a:pt x="448873" y="544251"/>
                  <a:pt x="451132" y="543285"/>
                  <a:pt x="451777" y="541351"/>
                </a:cubicBezTo>
                <a:lnTo>
                  <a:pt x="458230" y="527494"/>
                </a:lnTo>
                <a:cubicBezTo>
                  <a:pt x="459198" y="525561"/>
                  <a:pt x="461133" y="524272"/>
                  <a:pt x="462424" y="524272"/>
                </a:cubicBezTo>
                <a:cubicBezTo>
                  <a:pt x="464037" y="524272"/>
                  <a:pt x="468554" y="525883"/>
                  <a:pt x="469199" y="528139"/>
                </a:cubicBezTo>
                <a:lnTo>
                  <a:pt x="474361" y="542318"/>
                </a:lnTo>
                <a:cubicBezTo>
                  <a:pt x="475007" y="544251"/>
                  <a:pt x="477265" y="545218"/>
                  <a:pt x="479201" y="544574"/>
                </a:cubicBezTo>
                <a:lnTo>
                  <a:pt x="511464" y="532650"/>
                </a:lnTo>
                <a:cubicBezTo>
                  <a:pt x="513400" y="532006"/>
                  <a:pt x="514368" y="529750"/>
                  <a:pt x="513723" y="527816"/>
                </a:cubicBezTo>
                <a:lnTo>
                  <a:pt x="508560" y="513315"/>
                </a:lnTo>
                <a:cubicBezTo>
                  <a:pt x="507915" y="511381"/>
                  <a:pt x="508238" y="509125"/>
                  <a:pt x="509206" y="508159"/>
                </a:cubicBezTo>
                <a:cubicBezTo>
                  <a:pt x="510496" y="507192"/>
                  <a:pt x="514691" y="505258"/>
                  <a:pt x="516626" y="506225"/>
                </a:cubicBezTo>
                <a:lnTo>
                  <a:pt x="530500" y="512348"/>
                </a:lnTo>
                <a:cubicBezTo>
                  <a:pt x="532435" y="513315"/>
                  <a:pt x="534694" y="512348"/>
                  <a:pt x="535339" y="510737"/>
                </a:cubicBezTo>
                <a:lnTo>
                  <a:pt x="549858" y="479478"/>
                </a:lnTo>
                <a:cubicBezTo>
                  <a:pt x="550825" y="477544"/>
                  <a:pt x="549858" y="475288"/>
                  <a:pt x="547922" y="474322"/>
                </a:cubicBezTo>
                <a:lnTo>
                  <a:pt x="534049" y="467876"/>
                </a:lnTo>
                <a:cubicBezTo>
                  <a:pt x="532113" y="467232"/>
                  <a:pt x="531145" y="462398"/>
                  <a:pt x="531145" y="461109"/>
                </a:cubicBezTo>
                <a:cubicBezTo>
                  <a:pt x="531145" y="459498"/>
                  <a:pt x="532435" y="457886"/>
                  <a:pt x="534694" y="457242"/>
                </a:cubicBezTo>
                <a:lnTo>
                  <a:pt x="548890" y="451764"/>
                </a:lnTo>
                <a:cubicBezTo>
                  <a:pt x="550825" y="451119"/>
                  <a:pt x="551793" y="448863"/>
                  <a:pt x="551148" y="446930"/>
                </a:cubicBezTo>
                <a:lnTo>
                  <a:pt x="539211" y="414704"/>
                </a:lnTo>
                <a:cubicBezTo>
                  <a:pt x="538565" y="412770"/>
                  <a:pt x="536307" y="411804"/>
                  <a:pt x="534371" y="412448"/>
                </a:cubicBezTo>
                <a:lnTo>
                  <a:pt x="520175" y="417604"/>
                </a:lnTo>
                <a:cubicBezTo>
                  <a:pt x="517917" y="418571"/>
                  <a:pt x="515658" y="418249"/>
                  <a:pt x="514691" y="416960"/>
                </a:cubicBezTo>
                <a:cubicBezTo>
                  <a:pt x="513723" y="415993"/>
                  <a:pt x="511787" y="411481"/>
                  <a:pt x="512755" y="409548"/>
                </a:cubicBezTo>
                <a:lnTo>
                  <a:pt x="518885" y="396013"/>
                </a:lnTo>
                <a:cubicBezTo>
                  <a:pt x="519853" y="394079"/>
                  <a:pt x="518885" y="391824"/>
                  <a:pt x="516949" y="390857"/>
                </a:cubicBezTo>
                <a:lnTo>
                  <a:pt x="485976" y="376355"/>
                </a:lnTo>
                <a:cubicBezTo>
                  <a:pt x="484040" y="375711"/>
                  <a:pt x="481782" y="376355"/>
                  <a:pt x="480814" y="378289"/>
                </a:cubicBezTo>
                <a:lnTo>
                  <a:pt x="474361" y="392146"/>
                </a:lnTo>
                <a:cubicBezTo>
                  <a:pt x="473716" y="394079"/>
                  <a:pt x="471780" y="395691"/>
                  <a:pt x="470167" y="395368"/>
                </a:cubicBezTo>
                <a:cubicBezTo>
                  <a:pt x="468877" y="395368"/>
                  <a:pt x="464360" y="393757"/>
                  <a:pt x="463714" y="391824"/>
                </a:cubicBezTo>
                <a:lnTo>
                  <a:pt x="458230" y="377322"/>
                </a:lnTo>
                <a:cubicBezTo>
                  <a:pt x="457584" y="375389"/>
                  <a:pt x="455326" y="374422"/>
                  <a:pt x="453390" y="375066"/>
                </a:cubicBezTo>
                <a:close/>
                <a:moveTo>
                  <a:pt x="0" y="372515"/>
                </a:moveTo>
                <a:cubicBezTo>
                  <a:pt x="0" y="424064"/>
                  <a:pt x="104223" y="465626"/>
                  <a:pt x="233292" y="465626"/>
                </a:cubicBezTo>
                <a:cubicBezTo>
                  <a:pt x="258461" y="465626"/>
                  <a:pt x="282661" y="464015"/>
                  <a:pt x="305248" y="461116"/>
                </a:cubicBezTo>
                <a:cubicBezTo>
                  <a:pt x="305571" y="493978"/>
                  <a:pt x="315574" y="524264"/>
                  <a:pt x="332998" y="549716"/>
                </a:cubicBezTo>
                <a:cubicBezTo>
                  <a:pt x="302667" y="555515"/>
                  <a:pt x="268786" y="558737"/>
                  <a:pt x="233292" y="558737"/>
                </a:cubicBezTo>
                <a:cubicBezTo>
                  <a:pt x="104546" y="558737"/>
                  <a:pt x="0" y="517175"/>
                  <a:pt x="0" y="465626"/>
                </a:cubicBezTo>
                <a:close/>
                <a:moveTo>
                  <a:pt x="466295" y="326083"/>
                </a:moveTo>
                <a:cubicBezTo>
                  <a:pt x="540501" y="326083"/>
                  <a:pt x="600511" y="386023"/>
                  <a:pt x="600511" y="459820"/>
                </a:cubicBezTo>
                <a:cubicBezTo>
                  <a:pt x="600511" y="533939"/>
                  <a:pt x="540501" y="593879"/>
                  <a:pt x="466295" y="593879"/>
                </a:cubicBezTo>
                <a:cubicBezTo>
                  <a:pt x="392412" y="593879"/>
                  <a:pt x="332080" y="533939"/>
                  <a:pt x="332080" y="459820"/>
                </a:cubicBezTo>
                <a:cubicBezTo>
                  <a:pt x="332080" y="386023"/>
                  <a:pt x="392412" y="326083"/>
                  <a:pt x="466295" y="326083"/>
                </a:cubicBezTo>
                <a:close/>
                <a:moveTo>
                  <a:pt x="0" y="232654"/>
                </a:moveTo>
                <a:cubicBezTo>
                  <a:pt x="0" y="284212"/>
                  <a:pt x="104554" y="326103"/>
                  <a:pt x="233309" y="326103"/>
                </a:cubicBezTo>
                <a:cubicBezTo>
                  <a:pt x="362065" y="326103"/>
                  <a:pt x="466296" y="284212"/>
                  <a:pt x="466296" y="232654"/>
                </a:cubicBezTo>
                <a:lnTo>
                  <a:pt x="466296" y="299035"/>
                </a:lnTo>
                <a:cubicBezTo>
                  <a:pt x="393689" y="299035"/>
                  <a:pt x="332377" y="347370"/>
                  <a:pt x="312370" y="413429"/>
                </a:cubicBezTo>
                <a:cubicBezTo>
                  <a:pt x="287522" y="416973"/>
                  <a:pt x="261061" y="419229"/>
                  <a:pt x="233309" y="419229"/>
                </a:cubicBezTo>
                <a:cubicBezTo>
                  <a:pt x="104231" y="419229"/>
                  <a:pt x="0" y="377338"/>
                  <a:pt x="0" y="326103"/>
                </a:cubicBezTo>
                <a:close/>
                <a:moveTo>
                  <a:pt x="233309" y="23200"/>
                </a:moveTo>
                <a:cubicBezTo>
                  <a:pt x="105199" y="23200"/>
                  <a:pt x="23234" y="64445"/>
                  <a:pt x="23234" y="93123"/>
                </a:cubicBezTo>
                <a:cubicBezTo>
                  <a:pt x="23234" y="121479"/>
                  <a:pt x="105199" y="163046"/>
                  <a:pt x="233309" y="163046"/>
                </a:cubicBezTo>
                <a:cubicBezTo>
                  <a:pt x="361420" y="163046"/>
                  <a:pt x="443062" y="121479"/>
                  <a:pt x="443062" y="93123"/>
                </a:cubicBezTo>
                <a:cubicBezTo>
                  <a:pt x="443062" y="64445"/>
                  <a:pt x="361420" y="23200"/>
                  <a:pt x="233309" y="23200"/>
                </a:cubicBezTo>
                <a:close/>
                <a:moveTo>
                  <a:pt x="233309" y="0"/>
                </a:moveTo>
                <a:cubicBezTo>
                  <a:pt x="362065" y="0"/>
                  <a:pt x="466296" y="41567"/>
                  <a:pt x="466296" y="93123"/>
                </a:cubicBezTo>
                <a:lnTo>
                  <a:pt x="466296" y="186246"/>
                </a:lnTo>
                <a:cubicBezTo>
                  <a:pt x="466296" y="237802"/>
                  <a:pt x="362065" y="279369"/>
                  <a:pt x="233309" y="279369"/>
                </a:cubicBezTo>
                <a:cubicBezTo>
                  <a:pt x="104231" y="279369"/>
                  <a:pt x="0" y="237802"/>
                  <a:pt x="0" y="186246"/>
                </a:cubicBezTo>
                <a:lnTo>
                  <a:pt x="0" y="93123"/>
                </a:lnTo>
                <a:cubicBezTo>
                  <a:pt x="0" y="41567"/>
                  <a:pt x="104554" y="0"/>
                  <a:pt x="233309" y="0"/>
                </a:cubicBezTo>
                <a:close/>
              </a:path>
            </a:pathLst>
          </a:custGeom>
          <a:solidFill>
            <a:schemeClr val="bg1"/>
          </a:solidFill>
          <a:ln>
            <a:solidFill>
              <a:schemeClr val="accent6">
                <a:lumMod val="25000"/>
                <a:lumOff val="75000"/>
              </a:schemeClr>
            </a:solid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solidFill>
                <a:schemeClr val="bg1"/>
              </a:solidFill>
            </a:endParaRPr>
          </a:p>
        </p:txBody>
      </p:sp>
      <p:sp>
        <p:nvSpPr>
          <p:cNvPr id="238" name="ïṧḷiďe"/>
          <p:cNvSpPr/>
          <p:nvPr/>
        </p:nvSpPr>
        <p:spPr>
          <a:xfrm flipH="1">
            <a:off x="2528875" y="3241891"/>
            <a:ext cx="1047603" cy="1062376"/>
          </a:xfrm>
          <a:prstGeom prst="ellipse">
            <a:avLst/>
          </a:prstGeom>
          <a:solidFill>
            <a:srgbClr val="FFC000"/>
          </a:solidFill>
          <a:ln>
            <a:solidFill>
              <a:srgbClr val="FFC000"/>
            </a:solidFill>
          </a:ln>
          <a:effectLst>
            <a:innerShdw dist="25400" dir="5400000">
              <a:schemeClr val="tx1">
                <a:alpha val="15000"/>
              </a:schemeClr>
            </a:innerShdw>
          </a:effectLst>
        </p:spPr>
        <p:style>
          <a:lnRef idx="2">
            <a:schemeClr val="dk1"/>
          </a:lnRef>
          <a:fillRef idx="1">
            <a:schemeClr val="lt1"/>
          </a:fillRef>
          <a:effectRef idx="0">
            <a:schemeClr val="dk1"/>
          </a:effectRef>
          <a:fontRef idx="minor">
            <a:schemeClr val="dk1"/>
          </a:fontRef>
        </p:style>
        <p:txBody>
          <a:bodyPr anchor="ctr"/>
          <a:lstStyle>
            <a:defPPr>
              <a:defRPr lang="zh-CN"/>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endParaRPr>
              <a:solidFill>
                <a:schemeClr val="bg1"/>
              </a:solidFill>
            </a:endParaRPr>
          </a:p>
        </p:txBody>
      </p:sp>
      <p:sp>
        <p:nvSpPr>
          <p:cNvPr id="239" name="ï$ḻïḍê"/>
          <p:cNvSpPr txBox="1"/>
          <p:nvPr/>
        </p:nvSpPr>
        <p:spPr>
          <a:xfrm>
            <a:off x="2528875" y="3814907"/>
            <a:ext cx="1047603" cy="339850"/>
          </a:xfrm>
          <a:prstGeom prst="rect">
            <a:avLst/>
          </a:prstGeom>
        </p:spPr>
        <p:txBody>
          <a:bodyPr vert="horz" wrap="none">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pPr>
            <a:r>
              <a:rPr lang="zh-CN" altLang="en-US" sz="1100" b="1" dirty="0" smtClean="0">
                <a:solidFill>
                  <a:schemeClr val="bg1"/>
                </a:solidFill>
                <a:latin typeface="微软雅黑" panose="020B0503020204020204" pitchFamily="34" charset="-122"/>
                <a:ea typeface="微软雅黑" panose="020B0503020204020204" pitchFamily="34" charset="-122"/>
              </a:rPr>
              <a:t>可恢复性</a:t>
            </a:r>
            <a:endParaRPr lang="zh-CN" altLang="en-US" sz="1100" b="1" dirty="0">
              <a:solidFill>
                <a:schemeClr val="bg1"/>
              </a:solidFill>
              <a:latin typeface="微软雅黑" panose="020B0503020204020204" pitchFamily="34" charset="-122"/>
              <a:ea typeface="微软雅黑" panose="020B0503020204020204" pitchFamily="34" charset="-122"/>
            </a:endParaRPr>
          </a:p>
        </p:txBody>
      </p:sp>
      <p:grpSp>
        <p:nvGrpSpPr>
          <p:cNvPr id="240" name="ïṥḻîďê"/>
          <p:cNvGrpSpPr>
            <a:grpSpLocks/>
          </p:cNvGrpSpPr>
          <p:nvPr/>
        </p:nvGrpSpPr>
        <p:grpSpPr bwMode="auto">
          <a:xfrm>
            <a:off x="2891373" y="3483698"/>
            <a:ext cx="321301" cy="306472"/>
            <a:chOff x="0" y="-68"/>
            <a:chExt cx="575" cy="539"/>
          </a:xfrm>
          <a:solidFill>
            <a:schemeClr val="bg2"/>
          </a:solidFill>
        </p:grpSpPr>
        <p:sp>
          <p:nvSpPr>
            <p:cNvPr id="249" name="ïŝľïḋe"/>
            <p:cNvSpPr/>
            <p:nvPr/>
          </p:nvSpPr>
          <p:spPr bwMode="auto">
            <a:xfrm>
              <a:off x="0" y="-68"/>
              <a:ext cx="575" cy="497"/>
            </a:xfrm>
            <a:custGeom>
              <a:avLst/>
              <a:gdLst>
                <a:gd name="connsiteX0" fmla="*/ 332857 w 607850"/>
                <a:gd name="connsiteY0" fmla="*/ 354309 h 526065"/>
                <a:gd name="connsiteX1" fmla="*/ 472224 w 607850"/>
                <a:gd name="connsiteY1" fmla="*/ 493605 h 526065"/>
                <a:gd name="connsiteX2" fmla="*/ 457617 w 607850"/>
                <a:gd name="connsiteY2" fmla="*/ 508000 h 526065"/>
                <a:gd name="connsiteX3" fmla="*/ 318250 w 607850"/>
                <a:gd name="connsiteY3" fmla="*/ 368845 h 526065"/>
                <a:gd name="connsiteX4" fmla="*/ 490668 w 607850"/>
                <a:gd name="connsiteY4" fmla="*/ 24357 h 526065"/>
                <a:gd name="connsiteX5" fmla="*/ 375293 w 607850"/>
                <a:gd name="connsiteY5" fmla="*/ 55158 h 526065"/>
                <a:gd name="connsiteX6" fmla="*/ 342900 w 607850"/>
                <a:gd name="connsiteY6" fmla="*/ 176042 h 526065"/>
                <a:gd name="connsiteX7" fmla="*/ 361742 w 607850"/>
                <a:gd name="connsiteY7" fmla="*/ 194858 h 526065"/>
                <a:gd name="connsiteX8" fmla="*/ 109955 w 607850"/>
                <a:gd name="connsiteY8" fmla="*/ 446292 h 526065"/>
                <a:gd name="connsiteX9" fmla="*/ 160803 w 607850"/>
                <a:gd name="connsiteY9" fmla="*/ 497068 h 526065"/>
                <a:gd name="connsiteX10" fmla="*/ 412590 w 607850"/>
                <a:gd name="connsiteY10" fmla="*/ 245634 h 526065"/>
                <a:gd name="connsiteX11" fmla="*/ 431432 w 607850"/>
                <a:gd name="connsiteY11" fmla="*/ 264450 h 526065"/>
                <a:gd name="connsiteX12" fmla="*/ 552485 w 607850"/>
                <a:gd name="connsiteY12" fmla="*/ 232103 h 526065"/>
                <a:gd name="connsiteX13" fmla="*/ 583330 w 607850"/>
                <a:gd name="connsiteY13" fmla="*/ 116889 h 526065"/>
                <a:gd name="connsiteX14" fmla="*/ 547323 w 607850"/>
                <a:gd name="connsiteY14" fmla="*/ 152974 h 526065"/>
                <a:gd name="connsiteX15" fmla="*/ 474149 w 607850"/>
                <a:gd name="connsiteY15" fmla="*/ 133385 h 526065"/>
                <a:gd name="connsiteX16" fmla="*/ 454532 w 607850"/>
                <a:gd name="connsiteY16" fmla="*/ 60313 h 526065"/>
                <a:gd name="connsiteX17" fmla="*/ 502412 w 607850"/>
                <a:gd name="connsiteY17" fmla="*/ 0 h 526065"/>
                <a:gd name="connsiteX18" fmla="*/ 523319 w 607850"/>
                <a:gd name="connsiteY18" fmla="*/ 20749 h 526065"/>
                <a:gd name="connsiteX19" fmla="*/ 477504 w 607850"/>
                <a:gd name="connsiteY19" fmla="*/ 66499 h 526065"/>
                <a:gd name="connsiteX20" fmla="*/ 490926 w 607850"/>
                <a:gd name="connsiteY20" fmla="*/ 116631 h 526065"/>
                <a:gd name="connsiteX21" fmla="*/ 541129 w 607850"/>
                <a:gd name="connsiteY21" fmla="*/ 130034 h 526065"/>
                <a:gd name="connsiteX22" fmla="*/ 586943 w 607850"/>
                <a:gd name="connsiteY22" fmla="*/ 84284 h 526065"/>
                <a:gd name="connsiteX23" fmla="*/ 607850 w 607850"/>
                <a:gd name="connsiteY23" fmla="*/ 105161 h 526065"/>
                <a:gd name="connsiteX24" fmla="*/ 569263 w 607850"/>
                <a:gd name="connsiteY24" fmla="*/ 248856 h 526065"/>
                <a:gd name="connsiteX25" fmla="*/ 425366 w 607850"/>
                <a:gd name="connsiteY25" fmla="*/ 287261 h 526065"/>
                <a:gd name="connsiteX26" fmla="*/ 412590 w 607850"/>
                <a:gd name="connsiteY26" fmla="*/ 274631 h 526065"/>
                <a:gd name="connsiteX27" fmla="*/ 160803 w 607850"/>
                <a:gd name="connsiteY27" fmla="*/ 526065 h 526065"/>
                <a:gd name="connsiteX28" fmla="*/ 80918 w 607850"/>
                <a:gd name="connsiteY28" fmla="*/ 446292 h 526065"/>
                <a:gd name="connsiteX29" fmla="*/ 203004 w 607850"/>
                <a:gd name="connsiteY29" fmla="*/ 324377 h 526065"/>
                <a:gd name="connsiteX30" fmla="*/ 0 w 607850"/>
                <a:gd name="connsiteY30" fmla="*/ 121657 h 526065"/>
                <a:gd name="connsiteX31" fmla="*/ 85305 w 607850"/>
                <a:gd name="connsiteY31" fmla="*/ 36471 h 526065"/>
                <a:gd name="connsiteX32" fmla="*/ 288309 w 607850"/>
                <a:gd name="connsiteY32" fmla="*/ 239191 h 526065"/>
                <a:gd name="connsiteX33" fmla="*/ 332704 w 607850"/>
                <a:gd name="connsiteY33" fmla="*/ 194858 h 526065"/>
                <a:gd name="connsiteX34" fmla="*/ 320057 w 607850"/>
                <a:gd name="connsiteY34" fmla="*/ 182099 h 526065"/>
                <a:gd name="connsiteX35" fmla="*/ 358515 w 607850"/>
                <a:gd name="connsiteY35" fmla="*/ 38405 h 526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07850" h="526065">
                  <a:moveTo>
                    <a:pt x="332857" y="354309"/>
                  </a:moveTo>
                  <a:lnTo>
                    <a:pt x="472224" y="493605"/>
                  </a:lnTo>
                  <a:lnTo>
                    <a:pt x="457617" y="508000"/>
                  </a:lnTo>
                  <a:lnTo>
                    <a:pt x="318250" y="368845"/>
                  </a:lnTo>
                  <a:close/>
                  <a:moveTo>
                    <a:pt x="490668" y="24357"/>
                  </a:moveTo>
                  <a:lnTo>
                    <a:pt x="375293" y="55158"/>
                  </a:lnTo>
                  <a:lnTo>
                    <a:pt x="342900" y="176042"/>
                  </a:lnTo>
                  <a:lnTo>
                    <a:pt x="361742" y="194858"/>
                  </a:lnTo>
                  <a:lnTo>
                    <a:pt x="109955" y="446292"/>
                  </a:lnTo>
                  <a:lnTo>
                    <a:pt x="160803" y="497068"/>
                  </a:lnTo>
                  <a:lnTo>
                    <a:pt x="412590" y="245634"/>
                  </a:lnTo>
                  <a:lnTo>
                    <a:pt x="431432" y="264450"/>
                  </a:lnTo>
                  <a:lnTo>
                    <a:pt x="552485" y="232103"/>
                  </a:lnTo>
                  <a:lnTo>
                    <a:pt x="583330" y="116889"/>
                  </a:lnTo>
                  <a:lnTo>
                    <a:pt x="547323" y="152974"/>
                  </a:lnTo>
                  <a:lnTo>
                    <a:pt x="474149" y="133385"/>
                  </a:lnTo>
                  <a:lnTo>
                    <a:pt x="454532" y="60313"/>
                  </a:lnTo>
                  <a:close/>
                  <a:moveTo>
                    <a:pt x="502412" y="0"/>
                  </a:moveTo>
                  <a:lnTo>
                    <a:pt x="523319" y="20749"/>
                  </a:lnTo>
                  <a:lnTo>
                    <a:pt x="477504" y="66499"/>
                  </a:lnTo>
                  <a:lnTo>
                    <a:pt x="490926" y="116631"/>
                  </a:lnTo>
                  <a:lnTo>
                    <a:pt x="541129" y="130034"/>
                  </a:lnTo>
                  <a:lnTo>
                    <a:pt x="586943" y="84284"/>
                  </a:lnTo>
                  <a:lnTo>
                    <a:pt x="607850" y="105161"/>
                  </a:lnTo>
                  <a:lnTo>
                    <a:pt x="569263" y="248856"/>
                  </a:lnTo>
                  <a:lnTo>
                    <a:pt x="425366" y="287261"/>
                  </a:lnTo>
                  <a:lnTo>
                    <a:pt x="412590" y="274631"/>
                  </a:lnTo>
                  <a:lnTo>
                    <a:pt x="160803" y="526065"/>
                  </a:lnTo>
                  <a:lnTo>
                    <a:pt x="80918" y="446292"/>
                  </a:lnTo>
                  <a:lnTo>
                    <a:pt x="203004" y="324377"/>
                  </a:lnTo>
                  <a:lnTo>
                    <a:pt x="0" y="121657"/>
                  </a:lnTo>
                  <a:lnTo>
                    <a:pt x="85305" y="36471"/>
                  </a:lnTo>
                  <a:lnTo>
                    <a:pt x="288309" y="239191"/>
                  </a:lnTo>
                  <a:lnTo>
                    <a:pt x="332704" y="194858"/>
                  </a:lnTo>
                  <a:lnTo>
                    <a:pt x="320057" y="182099"/>
                  </a:lnTo>
                  <a:lnTo>
                    <a:pt x="358515" y="38405"/>
                  </a:lnTo>
                  <a:close/>
                </a:path>
              </a:pathLst>
            </a:custGeom>
            <a:solidFill>
              <a:schemeClr val="bg1"/>
            </a:solidFill>
            <a:ln>
              <a:solidFill>
                <a:schemeClr val="bg1"/>
              </a:solidFill>
            </a:ln>
            <a:extLst>
              <a:ext uri="{91240B29-F687-4f45-9708-019B960494DF}">
                <a14:hiddenLine xmlns="" xmlns:lc="http://schemas.openxmlformats.org/drawingml/2006/lockedCanvas" xmlns:a16="http://schemas.microsoft.com/office/drawing/2014/main" xmlns:a14="http://schemas.microsoft.com/office/drawing/2010/main" xmlns:p14="http://schemas.microsoft.com/office/powerpoint/2010/main" w="25400" cap="flat">
                  <a:solidFill>
                    <a:schemeClr val="tx1"/>
                  </a:solidFill>
                  <a:miter lim="800000"/>
                  <a:headEnd type="none" w="med" len="med"/>
                  <a:tailEnd type="none" w="med" len="med"/>
                </a14:hiddenLine>
              </a:ext>
            </a:ex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solidFill>
                  <a:schemeClr val="bg1"/>
                </a:solidFill>
              </a:endParaRPr>
            </a:p>
          </p:txBody>
        </p:sp>
        <p:sp>
          <p:nvSpPr>
            <p:cNvPr id="250" name="isľíďe"/>
            <p:cNvSpPr/>
            <p:nvPr/>
          </p:nvSpPr>
          <p:spPr bwMode="auto">
            <a:xfrm>
              <a:off x="96" y="256"/>
              <a:ext cx="83" cy="215"/>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1600" h="21600">
                  <a:moveTo>
                    <a:pt x="15504" y="0"/>
                  </a:moveTo>
                  <a:lnTo>
                    <a:pt x="6098" y="0"/>
                  </a:lnTo>
                  <a:cubicBezTo>
                    <a:pt x="2743" y="0"/>
                    <a:pt x="0" y="1068"/>
                    <a:pt x="0" y="2372"/>
                  </a:cubicBezTo>
                  <a:lnTo>
                    <a:pt x="0" y="19228"/>
                  </a:lnTo>
                  <a:cubicBezTo>
                    <a:pt x="0" y="20533"/>
                    <a:pt x="2743" y="21600"/>
                    <a:pt x="6098" y="21600"/>
                  </a:cubicBezTo>
                  <a:lnTo>
                    <a:pt x="15504" y="21600"/>
                  </a:lnTo>
                  <a:cubicBezTo>
                    <a:pt x="18859" y="21600"/>
                    <a:pt x="21600" y="20533"/>
                    <a:pt x="21600" y="19228"/>
                  </a:cubicBezTo>
                  <a:lnTo>
                    <a:pt x="21600" y="2372"/>
                  </a:lnTo>
                  <a:cubicBezTo>
                    <a:pt x="21600" y="1068"/>
                    <a:pt x="18859" y="0"/>
                    <a:pt x="15504" y="0"/>
                  </a:cubicBezTo>
                  <a:close/>
                  <a:moveTo>
                    <a:pt x="15504" y="0"/>
                  </a:moveTo>
                </a:path>
              </a:pathLst>
            </a:custGeom>
            <a:solidFill>
              <a:srgbClr val="E3E5E2"/>
            </a:solidFill>
            <a:ln>
              <a:noFill/>
            </a:ln>
            <a:extLst>
              <a:ext uri="{91240B29-F687-4f45-9708-019B960494DF}">
                <a14:hiddenLine xmlns="" xmlns:lc="http://schemas.openxmlformats.org/drawingml/2006/lockedCanvas" xmlns:a16="http://schemas.microsoft.com/office/drawing/2014/main" xmlns:a14="http://schemas.microsoft.com/office/drawing/2010/main" xmlns:p14="http://schemas.microsoft.com/office/powerpoint/2010/main" w="25400" cap="flat">
                  <a:solidFill>
                    <a:schemeClr val="tx1"/>
                  </a:solidFill>
                  <a:miter lim="800000"/>
                  <a:headEnd type="none" w="med" len="med"/>
                  <a:tailEnd type="none" w="med" len="med"/>
                </a14:hiddenLine>
              </a:ext>
            </a:ex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solidFill>
                  <a:schemeClr val="bg1"/>
                </a:solidFill>
              </a:endParaRPr>
            </a:p>
          </p:txBody>
        </p:sp>
        <p:sp>
          <p:nvSpPr>
            <p:cNvPr id="251" name="íṥḻïḍe"/>
            <p:cNvSpPr/>
            <p:nvPr/>
          </p:nvSpPr>
          <p:spPr bwMode="auto">
            <a:xfrm>
              <a:off x="392" y="256"/>
              <a:ext cx="83" cy="215"/>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1600" h="21600">
                  <a:moveTo>
                    <a:pt x="15502" y="0"/>
                  </a:moveTo>
                  <a:lnTo>
                    <a:pt x="6098" y="0"/>
                  </a:lnTo>
                  <a:cubicBezTo>
                    <a:pt x="2743" y="0"/>
                    <a:pt x="0" y="1068"/>
                    <a:pt x="0" y="2372"/>
                  </a:cubicBezTo>
                  <a:lnTo>
                    <a:pt x="0" y="19228"/>
                  </a:lnTo>
                  <a:cubicBezTo>
                    <a:pt x="0" y="20533"/>
                    <a:pt x="2743" y="21600"/>
                    <a:pt x="6098" y="21600"/>
                  </a:cubicBezTo>
                  <a:lnTo>
                    <a:pt x="15502" y="21600"/>
                  </a:lnTo>
                  <a:cubicBezTo>
                    <a:pt x="18857" y="21600"/>
                    <a:pt x="21600" y="20533"/>
                    <a:pt x="21600" y="19228"/>
                  </a:cubicBezTo>
                  <a:lnTo>
                    <a:pt x="21600" y="2372"/>
                  </a:lnTo>
                  <a:cubicBezTo>
                    <a:pt x="21600" y="1068"/>
                    <a:pt x="18857" y="0"/>
                    <a:pt x="15502" y="0"/>
                  </a:cubicBezTo>
                  <a:close/>
                  <a:moveTo>
                    <a:pt x="15502" y="0"/>
                  </a:moveTo>
                </a:path>
              </a:pathLst>
            </a:custGeom>
            <a:solidFill>
              <a:srgbClr val="E3E5E2"/>
            </a:solidFill>
            <a:ln>
              <a:noFill/>
            </a:ln>
            <a:extLst>
              <a:ext uri="{91240B29-F687-4f45-9708-019B960494DF}">
                <a14:hiddenLine xmlns="" xmlns:lc="http://schemas.openxmlformats.org/drawingml/2006/lockedCanvas" xmlns:a16="http://schemas.microsoft.com/office/drawing/2014/main" xmlns:a14="http://schemas.microsoft.com/office/drawing/2010/main" xmlns:p14="http://schemas.microsoft.com/office/powerpoint/2010/main" w="25400" cap="flat">
                  <a:solidFill>
                    <a:schemeClr val="tx1"/>
                  </a:solidFill>
                  <a:miter lim="800000"/>
                  <a:headEnd type="none" w="med" len="med"/>
                  <a:tailEnd type="none" w="med" len="med"/>
                </a14:hiddenLine>
              </a:ext>
            </a:ex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solidFill>
                  <a:schemeClr val="bg1"/>
                </a:solidFill>
              </a:endParaRPr>
            </a:p>
          </p:txBody>
        </p:sp>
      </p:grpSp>
      <p:sp>
        <p:nvSpPr>
          <p:cNvPr id="241" name="íṡḻîdé">
            <a:extLst>
              <a:ext uri="{FF2B5EF4-FFF2-40B4-BE49-F238E27FC236}">
                <a16:creationId xmlns:a16="http://schemas.microsoft.com/office/drawing/2014/main" id="{39340196-E1AA-4B49-976A-BF366BB2B662}"/>
              </a:ext>
            </a:extLst>
          </p:cNvPr>
          <p:cNvSpPr/>
          <p:nvPr/>
        </p:nvSpPr>
        <p:spPr bwMode="auto">
          <a:xfrm>
            <a:off x="684132" y="2245381"/>
            <a:ext cx="2295793" cy="615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ct val="130000"/>
              </a:lnSpc>
            </a:pPr>
            <a:r>
              <a:rPr lang="zh-CN" altLang="en-US" sz="1600" dirty="0" smtClean="0">
                <a:solidFill>
                  <a:schemeClr val="bg1"/>
                </a:solidFill>
                <a:latin typeface="微软雅黑" panose="020B0503020204020204" pitchFamily="34" charset="-122"/>
                <a:ea typeface="微软雅黑" panose="020B0503020204020204" pitchFamily="34" charset="-122"/>
              </a:rPr>
              <a:t>变量保护不彻底</a:t>
            </a:r>
            <a:endParaRPr lang="en-US" altLang="zh-CN" sz="1600" dirty="0">
              <a:solidFill>
                <a:schemeClr val="bg1"/>
              </a:solidFill>
              <a:latin typeface="微软雅黑" panose="020B0503020204020204" pitchFamily="34" charset="-122"/>
              <a:ea typeface="微软雅黑" panose="020B0503020204020204" pitchFamily="34" charset="-122"/>
            </a:endParaRPr>
          </a:p>
        </p:txBody>
      </p:sp>
      <p:sp>
        <p:nvSpPr>
          <p:cNvPr id="242" name="ïṩḷîḓê">
            <a:extLst>
              <a:ext uri="{FF2B5EF4-FFF2-40B4-BE49-F238E27FC236}">
                <a16:creationId xmlns:a16="http://schemas.microsoft.com/office/drawing/2014/main" id="{4D5C24C6-4DD0-4193-AD42-019C1134797B}"/>
              </a:ext>
            </a:extLst>
          </p:cNvPr>
          <p:cNvSpPr txBox="1"/>
          <p:nvPr/>
        </p:nvSpPr>
        <p:spPr bwMode="auto">
          <a:xfrm>
            <a:off x="684132" y="1789392"/>
            <a:ext cx="2295793" cy="4559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lnSpc>
                <a:spcPct val="100000"/>
              </a:lnSpc>
              <a:spcBef>
                <a:spcPct val="0"/>
              </a:spcBef>
              <a:buFontTx/>
              <a:buNone/>
            </a:pPr>
            <a:r>
              <a:rPr lang="zh-CN" altLang="en-US" sz="2400" b="1" dirty="0" smtClean="0">
                <a:solidFill>
                  <a:srgbClr val="E1691F"/>
                </a:solidFill>
                <a:latin typeface="微软雅黑" panose="020B0503020204020204" pitchFamily="34" charset="-122"/>
                <a:ea typeface="微软雅黑" panose="020B0503020204020204" pitchFamily="34" charset="-122"/>
              </a:rPr>
              <a:t>变量保护</a:t>
            </a:r>
            <a:endParaRPr lang="en-US" altLang="zh-CN" sz="2400" b="1" dirty="0">
              <a:solidFill>
                <a:srgbClr val="E1691F"/>
              </a:solidFill>
              <a:latin typeface="微软雅黑" panose="020B0503020204020204" pitchFamily="34" charset="-122"/>
              <a:ea typeface="微软雅黑" panose="020B0503020204020204" pitchFamily="34" charset="-122"/>
            </a:endParaRPr>
          </a:p>
        </p:txBody>
      </p:sp>
      <p:sp>
        <p:nvSpPr>
          <p:cNvPr id="243" name="íṧḷidê">
            <a:extLst>
              <a:ext uri="{FF2B5EF4-FFF2-40B4-BE49-F238E27FC236}">
                <a16:creationId xmlns:a16="http://schemas.microsoft.com/office/drawing/2014/main" id="{39340196-E1AA-4B49-976A-BF366BB2B662}"/>
              </a:ext>
            </a:extLst>
          </p:cNvPr>
          <p:cNvSpPr/>
          <p:nvPr/>
        </p:nvSpPr>
        <p:spPr bwMode="auto">
          <a:xfrm>
            <a:off x="233082" y="3698768"/>
            <a:ext cx="2295793" cy="615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ct val="130000"/>
              </a:lnSpc>
            </a:pPr>
            <a:r>
              <a:rPr lang="zh-CN" altLang="en-US" sz="1600" dirty="0" smtClean="0">
                <a:solidFill>
                  <a:schemeClr val="bg1"/>
                </a:solidFill>
              </a:rPr>
              <a:t>没有进行纠错设计</a:t>
            </a:r>
            <a:endParaRPr lang="en-US" altLang="zh-CN" sz="1600" dirty="0">
              <a:solidFill>
                <a:schemeClr val="bg1"/>
              </a:solidFill>
            </a:endParaRPr>
          </a:p>
        </p:txBody>
      </p:sp>
      <p:sp>
        <p:nvSpPr>
          <p:cNvPr id="244" name="íṥļiďè">
            <a:extLst>
              <a:ext uri="{FF2B5EF4-FFF2-40B4-BE49-F238E27FC236}">
                <a16:creationId xmlns:a16="http://schemas.microsoft.com/office/drawing/2014/main" id="{4D5C24C6-4DD0-4193-AD42-019C1134797B}"/>
              </a:ext>
            </a:extLst>
          </p:cNvPr>
          <p:cNvSpPr txBox="1"/>
          <p:nvPr/>
        </p:nvSpPr>
        <p:spPr bwMode="auto">
          <a:xfrm>
            <a:off x="233082" y="3242779"/>
            <a:ext cx="2295793" cy="4559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lnSpc>
                <a:spcPct val="100000"/>
              </a:lnSpc>
              <a:spcBef>
                <a:spcPct val="0"/>
              </a:spcBef>
              <a:buFontTx/>
              <a:buNone/>
            </a:pPr>
            <a:r>
              <a:rPr lang="zh-CN" altLang="en-US" sz="2400" b="1" dirty="0" smtClean="0">
                <a:solidFill>
                  <a:srgbClr val="E1691F"/>
                </a:solidFill>
              </a:rPr>
              <a:t>纠错设计</a:t>
            </a:r>
            <a:endParaRPr lang="en-US" altLang="zh-CN" sz="2400" b="1" dirty="0">
              <a:solidFill>
                <a:srgbClr val="E1691F"/>
              </a:solidFill>
            </a:endParaRPr>
          </a:p>
        </p:txBody>
      </p:sp>
      <p:sp>
        <p:nvSpPr>
          <p:cNvPr id="245" name="íṩḻîḓè">
            <a:extLst>
              <a:ext uri="{FF2B5EF4-FFF2-40B4-BE49-F238E27FC236}">
                <a16:creationId xmlns:a16="http://schemas.microsoft.com/office/drawing/2014/main" id="{39340196-E1AA-4B49-976A-BF366BB2B662}"/>
              </a:ext>
            </a:extLst>
          </p:cNvPr>
          <p:cNvSpPr/>
          <p:nvPr/>
        </p:nvSpPr>
        <p:spPr bwMode="auto">
          <a:xfrm>
            <a:off x="354464" y="5152155"/>
            <a:ext cx="2625462" cy="615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ct val="130000"/>
              </a:lnSpc>
            </a:pPr>
            <a:r>
              <a:rPr lang="zh-CN" altLang="en-US" sz="1600" dirty="0" smtClean="0">
                <a:solidFill>
                  <a:schemeClr val="bg1"/>
                </a:solidFill>
              </a:rPr>
              <a:t>只有硬件容错，没有软件容错</a:t>
            </a:r>
            <a:endParaRPr lang="en-US" altLang="zh-CN" sz="1600" dirty="0">
              <a:solidFill>
                <a:schemeClr val="bg1"/>
              </a:solidFill>
            </a:endParaRPr>
          </a:p>
        </p:txBody>
      </p:sp>
      <p:sp>
        <p:nvSpPr>
          <p:cNvPr id="246" name="i$ḷïḍê">
            <a:extLst>
              <a:ext uri="{FF2B5EF4-FFF2-40B4-BE49-F238E27FC236}">
                <a16:creationId xmlns:a16="http://schemas.microsoft.com/office/drawing/2014/main" id="{4D5C24C6-4DD0-4193-AD42-019C1134797B}"/>
              </a:ext>
            </a:extLst>
          </p:cNvPr>
          <p:cNvSpPr txBox="1"/>
          <p:nvPr/>
        </p:nvSpPr>
        <p:spPr bwMode="auto">
          <a:xfrm>
            <a:off x="684132" y="4696166"/>
            <a:ext cx="2295793" cy="4559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lnSpc>
                <a:spcPct val="100000"/>
              </a:lnSpc>
              <a:spcBef>
                <a:spcPct val="0"/>
              </a:spcBef>
              <a:buFontTx/>
              <a:buNone/>
            </a:pPr>
            <a:r>
              <a:rPr lang="zh-CN" altLang="en-US" sz="2400" b="1" dirty="0">
                <a:solidFill>
                  <a:srgbClr val="E1691F"/>
                </a:solidFill>
              </a:rPr>
              <a:t>容错设计</a:t>
            </a:r>
            <a:endParaRPr lang="en-US" altLang="zh-CN" sz="2400" b="1" dirty="0">
              <a:solidFill>
                <a:srgbClr val="E1691F"/>
              </a:solidFill>
            </a:endParaRPr>
          </a:p>
        </p:txBody>
      </p:sp>
      <p:sp>
        <p:nvSpPr>
          <p:cNvPr id="247" name="í$ľiḍê">
            <a:extLst>
              <a:ext uri="{FF2B5EF4-FFF2-40B4-BE49-F238E27FC236}">
                <a16:creationId xmlns:a16="http://schemas.microsoft.com/office/drawing/2014/main" id="{39340196-E1AA-4B49-976A-BF366BB2B662}"/>
              </a:ext>
            </a:extLst>
          </p:cNvPr>
          <p:cNvSpPr/>
          <p:nvPr/>
        </p:nvSpPr>
        <p:spPr bwMode="auto">
          <a:xfrm>
            <a:off x="9010915" y="3698768"/>
            <a:ext cx="2762828" cy="615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30000"/>
              </a:lnSpc>
            </a:pPr>
            <a:r>
              <a:rPr lang="zh-CN" altLang="en-US" sz="1600" dirty="0" smtClean="0">
                <a:solidFill>
                  <a:schemeClr val="bg1"/>
                </a:solidFill>
              </a:rPr>
              <a:t>因为</a:t>
            </a:r>
            <a:r>
              <a:rPr lang="en-US" altLang="zh-CN" sz="1600" dirty="0" smtClean="0">
                <a:solidFill>
                  <a:schemeClr val="bg1"/>
                </a:solidFill>
              </a:rPr>
              <a:t>5</a:t>
            </a:r>
            <a:r>
              <a:rPr lang="zh-CN" altLang="en-US" sz="1600" dirty="0" smtClean="0">
                <a:solidFill>
                  <a:schemeClr val="bg1"/>
                </a:solidFill>
              </a:rPr>
              <a:t>型和</a:t>
            </a:r>
            <a:r>
              <a:rPr lang="en-US" altLang="zh-CN" sz="1600" dirty="0" smtClean="0">
                <a:solidFill>
                  <a:schemeClr val="bg1"/>
                </a:solidFill>
              </a:rPr>
              <a:t>4</a:t>
            </a:r>
            <a:r>
              <a:rPr lang="zh-CN" altLang="en-US" sz="1600" dirty="0" smtClean="0">
                <a:solidFill>
                  <a:schemeClr val="bg1"/>
                </a:solidFill>
              </a:rPr>
              <a:t>型的数据量不一样，导致类型转换错误</a:t>
            </a:r>
            <a:endParaRPr lang="en-US" altLang="zh-CN" sz="1600" dirty="0">
              <a:solidFill>
                <a:schemeClr val="bg1"/>
              </a:solidFill>
            </a:endParaRPr>
          </a:p>
        </p:txBody>
      </p:sp>
      <p:sp>
        <p:nvSpPr>
          <p:cNvPr id="248" name="îśľîḋé">
            <a:extLst>
              <a:ext uri="{FF2B5EF4-FFF2-40B4-BE49-F238E27FC236}">
                <a16:creationId xmlns:a16="http://schemas.microsoft.com/office/drawing/2014/main" id="{4D5C24C6-4DD0-4193-AD42-019C1134797B}"/>
              </a:ext>
            </a:extLst>
          </p:cNvPr>
          <p:cNvSpPr txBox="1"/>
          <p:nvPr/>
        </p:nvSpPr>
        <p:spPr bwMode="auto">
          <a:xfrm>
            <a:off x="9010915" y="3242779"/>
            <a:ext cx="2295793" cy="4559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hangingPunct="1">
              <a:lnSpc>
                <a:spcPct val="100000"/>
              </a:lnSpc>
              <a:spcBef>
                <a:spcPct val="0"/>
              </a:spcBef>
              <a:buFontTx/>
              <a:buNone/>
            </a:pPr>
            <a:r>
              <a:rPr lang="zh-CN" altLang="en-US" sz="2400" b="1" dirty="0" smtClean="0">
                <a:solidFill>
                  <a:srgbClr val="00B050"/>
                </a:solidFill>
              </a:rPr>
              <a:t>重用不合理</a:t>
            </a:r>
            <a:endParaRPr lang="en-US" altLang="zh-CN" sz="2400" b="1" dirty="0">
              <a:solidFill>
                <a:srgbClr val="00B050"/>
              </a:solidFill>
            </a:endParaRPr>
          </a:p>
        </p:txBody>
      </p:sp>
    </p:spTree>
    <p:extLst>
      <p:ext uri="{BB962C8B-B14F-4D97-AF65-F5344CB8AC3E}">
        <p14:creationId xmlns:p14="http://schemas.microsoft.com/office/powerpoint/2010/main" val="415551354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标题 1">
            <a:extLst>
              <a:ext uri="{FF2B5EF4-FFF2-40B4-BE49-F238E27FC236}">
                <a16:creationId xmlns:a16="http://schemas.microsoft.com/office/drawing/2014/main" id="{62930304-3D14-4FEB-B45D-709CE5948953}"/>
              </a:ext>
            </a:extLst>
          </p:cNvPr>
          <p:cNvSpPr txBox="1">
            <a:spLocks/>
          </p:cNvSpPr>
          <p:nvPr/>
        </p:nvSpPr>
        <p:spPr>
          <a:xfrm>
            <a:off x="1149782" y="198392"/>
            <a:ext cx="7347103" cy="57784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sz="3200" b="0" dirty="0">
              <a:latin typeface="Arial" panose="020B0604020202020204" pitchFamily="34" charset="0"/>
              <a:ea typeface="Microsoft YaHei" panose="020B0503020204020204" pitchFamily="34" charset="-122"/>
              <a:cs typeface="+mn-ea"/>
              <a:sym typeface="Arial" panose="020B0604020202020204" pitchFamily="34" charset="0"/>
            </a:endParaRPr>
          </a:p>
        </p:txBody>
      </p:sp>
      <p:pic>
        <p:nvPicPr>
          <p:cNvPr id="2" name="[电影天堂-www.dy2018.net]Hello，树先生！DVD中字 (online-video-cutter.com)">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247159" y="744440"/>
            <a:ext cx="9770707" cy="5496023"/>
          </a:xfrm>
          <a:prstGeom prst="rect">
            <a:avLst/>
          </a:prstGeom>
        </p:spPr>
      </p:pic>
    </p:spTree>
    <p:extLst>
      <p:ext uri="{BB962C8B-B14F-4D97-AF65-F5344CB8AC3E}">
        <p14:creationId xmlns:p14="http://schemas.microsoft.com/office/powerpoint/2010/main" val="3688521169"/>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2"/>
                                        </p:tgtEl>
                                      </p:cBhvr>
                                    </p:cmd>
                                  </p:childTnLst>
                                </p:cTn>
                              </p:par>
                            </p:childTnLst>
                          </p:cTn>
                        </p:par>
                      </p:childTnLst>
                    </p:cTn>
                  </p:par>
                </p:childTnLst>
              </p:cTn>
              <p:nextCondLst>
                <p:cond evt="onClick" delay="0">
                  <p:tgtEl>
                    <p:spTgt spid="2"/>
                  </p:tgtEl>
                </p:cond>
              </p:nextCondLst>
            </p:seq>
            <p:video>
              <p:cMediaNode vol="80000">
                <p:cTn id="7" fill="hold" display="0">
                  <p:stCondLst>
                    <p:cond delay="indefinite"/>
                  </p:stCondLst>
                </p:cTn>
                <p:tgtEl>
                  <p:spTgt spid="2"/>
                </p:tgtEl>
              </p:cMediaNode>
            </p:video>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 name="组合 37">
            <a:extLst>
              <a:ext uri="{FF2B5EF4-FFF2-40B4-BE49-F238E27FC236}">
                <a16:creationId xmlns:a16="http://schemas.microsoft.com/office/drawing/2014/main" id="{0853A8D8-448C-4E50-AD38-219140CD6184}"/>
              </a:ext>
            </a:extLst>
          </p:cNvPr>
          <p:cNvGrpSpPr/>
          <p:nvPr/>
        </p:nvGrpSpPr>
        <p:grpSpPr>
          <a:xfrm>
            <a:off x="669925" y="210537"/>
            <a:ext cx="468000" cy="468000"/>
            <a:chOff x="669925" y="48611"/>
            <a:chExt cx="468000" cy="468000"/>
          </a:xfrm>
        </p:grpSpPr>
        <p:sp>
          <p:nvSpPr>
            <p:cNvPr id="39" name="椭圆 38">
              <a:extLst>
                <a:ext uri="{FF2B5EF4-FFF2-40B4-BE49-F238E27FC236}">
                  <a16:creationId xmlns:a16="http://schemas.microsoft.com/office/drawing/2014/main" id="{18765B3C-06BD-445D-B72B-512E55DEF34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40" name="椭圆 39">
              <a:extLst>
                <a:ext uri="{FF2B5EF4-FFF2-40B4-BE49-F238E27FC236}">
                  <a16:creationId xmlns:a16="http://schemas.microsoft.com/office/drawing/2014/main" id="{A6AA7771-0E3D-4241-9DE3-825324394A29}"/>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grpSp>
      <p:sp>
        <p:nvSpPr>
          <p:cNvPr id="41" name="标题 1">
            <a:extLst>
              <a:ext uri="{FF2B5EF4-FFF2-40B4-BE49-F238E27FC236}">
                <a16:creationId xmlns:a16="http://schemas.microsoft.com/office/drawing/2014/main" id="{62930304-3D14-4FEB-B45D-709CE5948953}"/>
              </a:ext>
            </a:extLst>
          </p:cNvPr>
          <p:cNvSpPr txBox="1">
            <a:spLocks/>
          </p:cNvSpPr>
          <p:nvPr/>
        </p:nvSpPr>
        <p:spPr>
          <a:xfrm>
            <a:off x="1149782" y="198392"/>
            <a:ext cx="7347103" cy="57784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3200" b="0" dirty="0" smtClean="0">
                <a:latin typeface="Arial" panose="020B0604020202020204" pitchFamily="34" charset="0"/>
                <a:ea typeface="Microsoft YaHei" panose="020B0503020204020204" pitchFamily="34" charset="-122"/>
                <a:cs typeface="+mn-ea"/>
                <a:sym typeface="Arial" panose="020B0604020202020204" pitchFamily="34" charset="0"/>
              </a:rPr>
              <a:t>周公解梦</a:t>
            </a:r>
            <a:endParaRPr lang="zh-CN" altLang="en-US" sz="3200" b="0" dirty="0">
              <a:latin typeface="Arial" panose="020B0604020202020204" pitchFamily="34" charset="0"/>
              <a:ea typeface="Microsoft YaHei" panose="020B0503020204020204" pitchFamily="34" charset="-122"/>
              <a:cs typeface="+mn-ea"/>
              <a:sym typeface="Arial" panose="020B0604020202020204" pitchFamily="34" charset="0"/>
            </a:endParaRPr>
          </a:p>
        </p:txBody>
      </p:sp>
      <p:grpSp>
        <p:nvGrpSpPr>
          <p:cNvPr id="75" name="21204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0" y="345828"/>
            <a:ext cx="11526334" cy="6244682"/>
            <a:chOff x="673101" y="644099"/>
            <a:chExt cx="11193936" cy="5786323"/>
          </a:xfrm>
        </p:grpSpPr>
        <p:sp>
          <p:nvSpPr>
            <p:cNvPr id="76" name="íṥlidé"/>
            <p:cNvSpPr/>
            <p:nvPr/>
          </p:nvSpPr>
          <p:spPr>
            <a:xfrm>
              <a:off x="5499208" y="644099"/>
              <a:ext cx="6367829" cy="57863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09" name="iṡľiďé">
              <a:extLst>
                <a:ext uri="{FF2B5EF4-FFF2-40B4-BE49-F238E27FC236}">
                  <a16:creationId xmlns:a16="http://schemas.microsoft.com/office/drawing/2014/main" id="{EBFBA4E3-9332-44DF-A320-7B0744C1A346}"/>
                </a:ext>
              </a:extLst>
            </p:cNvPr>
            <p:cNvSpPr txBox="1"/>
            <p:nvPr/>
          </p:nvSpPr>
          <p:spPr>
            <a:xfrm>
              <a:off x="673101" y="2034786"/>
              <a:ext cx="4103085" cy="889138"/>
            </a:xfrm>
            <a:prstGeom prst="rect">
              <a:avLst/>
            </a:prstGeom>
            <a:noFill/>
            <a:ln>
              <a:noFill/>
            </a:ln>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SzPct val="25000"/>
              </a:pPr>
              <a:endParaRPr lang="en-US" sz="2400" b="1" dirty="0"/>
            </a:p>
          </p:txBody>
        </p:sp>
        <p:grpSp>
          <p:nvGrpSpPr>
            <p:cNvPr id="78" name="íṡ1iďè"/>
            <p:cNvGrpSpPr/>
            <p:nvPr/>
          </p:nvGrpSpPr>
          <p:grpSpPr>
            <a:xfrm>
              <a:off x="4944863" y="2100397"/>
              <a:ext cx="6185571" cy="3227989"/>
              <a:chOff x="5078027" y="2100397"/>
              <a:chExt cx="6185571" cy="3227989"/>
            </a:xfrm>
          </p:grpSpPr>
          <p:grpSp>
            <p:nvGrpSpPr>
              <p:cNvPr id="79" name="íṧľîďê"/>
              <p:cNvGrpSpPr/>
              <p:nvPr/>
            </p:nvGrpSpPr>
            <p:grpSpPr>
              <a:xfrm>
                <a:off x="5078027" y="2100397"/>
                <a:ext cx="3812137" cy="3227989"/>
                <a:chOff x="4944862" y="1985182"/>
                <a:chExt cx="3812137" cy="3227989"/>
              </a:xfrm>
            </p:grpSpPr>
            <p:cxnSp>
              <p:nvCxnSpPr>
                <p:cNvPr id="86" name="直接连接符 85"/>
                <p:cNvCxnSpPr/>
                <p:nvPr/>
              </p:nvCxnSpPr>
              <p:spPr>
                <a:xfrm>
                  <a:off x="5854551" y="2901636"/>
                  <a:ext cx="2902448"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87" name="直接连接符 86"/>
                <p:cNvCxnSpPr/>
                <p:nvPr/>
              </p:nvCxnSpPr>
              <p:spPr>
                <a:xfrm>
                  <a:off x="5822061" y="4145034"/>
                  <a:ext cx="2902448"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nvGrpSpPr>
                <p:cNvPr id="88" name="iśľíḍe"/>
                <p:cNvGrpSpPr/>
                <p:nvPr/>
              </p:nvGrpSpPr>
              <p:grpSpPr>
                <a:xfrm>
                  <a:off x="4944862" y="3228580"/>
                  <a:ext cx="3779036" cy="741193"/>
                  <a:chOff x="4944862" y="3343794"/>
                  <a:chExt cx="3779036" cy="741193"/>
                </a:xfrm>
              </p:grpSpPr>
              <p:grpSp>
                <p:nvGrpSpPr>
                  <p:cNvPr id="103" name="iṥľïďe"/>
                  <p:cNvGrpSpPr/>
                  <p:nvPr/>
                </p:nvGrpSpPr>
                <p:grpSpPr>
                  <a:xfrm>
                    <a:off x="4944862" y="3487214"/>
                    <a:ext cx="3105188" cy="597773"/>
                    <a:chOff x="4944862" y="3487214"/>
                    <a:chExt cx="3105188" cy="597773"/>
                  </a:xfrm>
                </p:grpSpPr>
                <p:sp>
                  <p:nvSpPr>
                    <p:cNvPr id="107" name="íṡľíḑè">
                      <a:extLst>
                        <a:ext uri="{FF2B5EF4-FFF2-40B4-BE49-F238E27FC236}">
                          <a16:creationId xmlns:a16="http://schemas.microsoft.com/office/drawing/2014/main" id="{AC321F9B-F99D-44D6-95EE-4CF3F8A760F8}"/>
                        </a:ext>
                      </a:extLst>
                    </p:cNvPr>
                    <p:cNvSpPr/>
                    <p:nvPr/>
                  </p:nvSpPr>
                  <p:spPr bwMode="auto">
                    <a:xfrm>
                      <a:off x="4944862" y="3579710"/>
                      <a:ext cx="2996046" cy="505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ct val="120000"/>
                        </a:lnSpc>
                      </a:pPr>
                      <a:endParaRPr lang="en-US" altLang="zh-CN" sz="1100" dirty="0"/>
                    </a:p>
                  </p:txBody>
                </p:sp>
                <p:sp>
                  <p:nvSpPr>
                    <p:cNvPr id="108" name="ïṣlîdé">
                      <a:extLst>
                        <a:ext uri="{FF2B5EF4-FFF2-40B4-BE49-F238E27FC236}">
                          <a16:creationId xmlns:a16="http://schemas.microsoft.com/office/drawing/2014/main" id="{3495B739-E5A7-4F4A-95FD-24BDFE4B18B1}"/>
                        </a:ext>
                      </a:extLst>
                    </p:cNvPr>
                    <p:cNvSpPr txBox="1"/>
                    <p:nvPr/>
                  </p:nvSpPr>
                  <p:spPr bwMode="auto">
                    <a:xfrm>
                      <a:off x="5054004" y="3487214"/>
                      <a:ext cx="2996046"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fontScale="92500"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lnSpc>
                          <a:spcPct val="100000"/>
                        </a:lnSpc>
                        <a:spcBef>
                          <a:spcPct val="0"/>
                        </a:spcBef>
                        <a:buFontTx/>
                        <a:buNone/>
                      </a:pPr>
                      <a:r>
                        <a:rPr lang="zh-CN" altLang="en-US" sz="2400" b="1" dirty="0" smtClean="0">
                          <a:solidFill>
                            <a:srgbClr val="00A1E8"/>
                          </a:solidFill>
                        </a:rPr>
                        <a:t>流程图</a:t>
                      </a:r>
                      <a:endParaRPr lang="en-US" altLang="zh-CN" sz="2400" b="1" dirty="0">
                        <a:solidFill>
                          <a:srgbClr val="00A1E8"/>
                        </a:solidFill>
                      </a:endParaRPr>
                    </a:p>
                  </p:txBody>
                </p:sp>
              </p:grpSp>
              <p:grpSp>
                <p:nvGrpSpPr>
                  <p:cNvPr id="104" name="îSḻíḑè"/>
                  <p:cNvGrpSpPr/>
                  <p:nvPr/>
                </p:nvGrpSpPr>
                <p:grpSpPr>
                  <a:xfrm>
                    <a:off x="8134388" y="3343794"/>
                    <a:ext cx="589510" cy="589510"/>
                    <a:chOff x="8134388" y="3343794"/>
                    <a:chExt cx="589510" cy="589510"/>
                  </a:xfrm>
                </p:grpSpPr>
                <p:sp>
                  <p:nvSpPr>
                    <p:cNvPr id="105" name="ísļíďè"/>
                    <p:cNvSpPr/>
                    <p:nvPr/>
                  </p:nvSpPr>
                  <p:spPr>
                    <a:xfrm>
                      <a:off x="8134388" y="3343794"/>
                      <a:ext cx="589510" cy="589510"/>
                    </a:xfrm>
                    <a:prstGeom prst="ellipse">
                      <a:avLst/>
                    </a:prstGeom>
                    <a:solidFill>
                      <a:schemeClr val="bg1">
                        <a:lumMod val="65000"/>
                      </a:schemeClr>
                    </a:solidFill>
                    <a:ln w="222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06" name="ïŝḻïďè"/>
                    <p:cNvSpPr/>
                    <p:nvPr/>
                  </p:nvSpPr>
                  <p:spPr bwMode="auto">
                    <a:xfrm>
                      <a:off x="8252435" y="3521945"/>
                      <a:ext cx="353416" cy="233208"/>
                    </a:xfrm>
                    <a:custGeom>
                      <a:avLst/>
                      <a:gdLst>
                        <a:gd name="T0" fmla="*/ 600 w 637"/>
                        <a:gd name="T1" fmla="*/ 325 h 421"/>
                        <a:gd name="T2" fmla="*/ 600 w 637"/>
                        <a:gd name="T3" fmla="*/ 42 h 421"/>
                        <a:gd name="T4" fmla="*/ 558 w 637"/>
                        <a:gd name="T5" fmla="*/ 0 h 421"/>
                        <a:gd name="T6" fmla="*/ 78 w 637"/>
                        <a:gd name="T7" fmla="*/ 0 h 421"/>
                        <a:gd name="T8" fmla="*/ 37 w 637"/>
                        <a:gd name="T9" fmla="*/ 42 h 421"/>
                        <a:gd name="T10" fmla="*/ 37 w 637"/>
                        <a:gd name="T11" fmla="*/ 325 h 421"/>
                        <a:gd name="T12" fmla="*/ 0 w 637"/>
                        <a:gd name="T13" fmla="*/ 372 h 421"/>
                        <a:gd name="T14" fmla="*/ 49 w 637"/>
                        <a:gd name="T15" fmla="*/ 421 h 421"/>
                        <a:gd name="T16" fmla="*/ 588 w 637"/>
                        <a:gd name="T17" fmla="*/ 421 h 421"/>
                        <a:gd name="T18" fmla="*/ 637 w 637"/>
                        <a:gd name="T19" fmla="*/ 372 h 421"/>
                        <a:gd name="T20" fmla="*/ 600 w 637"/>
                        <a:gd name="T21" fmla="*/ 325 h 421"/>
                        <a:gd name="T22" fmla="*/ 120 w 637"/>
                        <a:gd name="T23" fmla="*/ 84 h 421"/>
                        <a:gd name="T24" fmla="*/ 517 w 637"/>
                        <a:gd name="T25" fmla="*/ 84 h 421"/>
                        <a:gd name="T26" fmla="*/ 517 w 637"/>
                        <a:gd name="T27" fmla="*/ 314 h 421"/>
                        <a:gd name="T28" fmla="*/ 120 w 637"/>
                        <a:gd name="T29" fmla="*/ 314 h 421"/>
                        <a:gd name="T30" fmla="*/ 120 w 637"/>
                        <a:gd name="T31" fmla="*/ 84 h 421"/>
                        <a:gd name="T32" fmla="*/ 441 w 637"/>
                        <a:gd name="T33" fmla="*/ 226 h 421"/>
                        <a:gd name="T34" fmla="*/ 380 w 637"/>
                        <a:gd name="T35" fmla="*/ 287 h 421"/>
                        <a:gd name="T36" fmla="*/ 257 w 637"/>
                        <a:gd name="T37" fmla="*/ 287 h 421"/>
                        <a:gd name="T38" fmla="*/ 196 w 637"/>
                        <a:gd name="T39" fmla="*/ 226 h 421"/>
                        <a:gd name="T40" fmla="*/ 248 w 637"/>
                        <a:gd name="T41" fmla="*/ 167 h 421"/>
                        <a:gd name="T42" fmla="*/ 318 w 637"/>
                        <a:gd name="T43" fmla="*/ 110 h 421"/>
                        <a:gd name="T44" fmla="*/ 389 w 637"/>
                        <a:gd name="T45" fmla="*/ 167 h 421"/>
                        <a:gd name="T46" fmla="*/ 441 w 637"/>
                        <a:gd name="T47" fmla="*/ 226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37" h="421">
                          <a:moveTo>
                            <a:pt x="600" y="325"/>
                          </a:moveTo>
                          <a:lnTo>
                            <a:pt x="600" y="42"/>
                          </a:lnTo>
                          <a:cubicBezTo>
                            <a:pt x="600" y="19"/>
                            <a:pt x="582" y="0"/>
                            <a:pt x="558" y="0"/>
                          </a:cubicBezTo>
                          <a:lnTo>
                            <a:pt x="78" y="0"/>
                          </a:lnTo>
                          <a:cubicBezTo>
                            <a:pt x="55" y="0"/>
                            <a:pt x="37" y="19"/>
                            <a:pt x="37" y="42"/>
                          </a:cubicBezTo>
                          <a:lnTo>
                            <a:pt x="37" y="325"/>
                          </a:lnTo>
                          <a:cubicBezTo>
                            <a:pt x="16" y="331"/>
                            <a:pt x="0" y="350"/>
                            <a:pt x="0" y="372"/>
                          </a:cubicBezTo>
                          <a:cubicBezTo>
                            <a:pt x="0" y="399"/>
                            <a:pt x="22" y="421"/>
                            <a:pt x="49" y="421"/>
                          </a:cubicBezTo>
                          <a:lnTo>
                            <a:pt x="588" y="421"/>
                          </a:lnTo>
                          <a:cubicBezTo>
                            <a:pt x="615" y="421"/>
                            <a:pt x="637" y="399"/>
                            <a:pt x="637" y="372"/>
                          </a:cubicBezTo>
                          <a:cubicBezTo>
                            <a:pt x="637" y="350"/>
                            <a:pt x="621" y="331"/>
                            <a:pt x="600" y="325"/>
                          </a:cubicBezTo>
                          <a:close/>
                          <a:moveTo>
                            <a:pt x="120" y="84"/>
                          </a:moveTo>
                          <a:lnTo>
                            <a:pt x="517" y="84"/>
                          </a:lnTo>
                          <a:lnTo>
                            <a:pt x="517" y="314"/>
                          </a:lnTo>
                          <a:lnTo>
                            <a:pt x="120" y="314"/>
                          </a:lnTo>
                          <a:lnTo>
                            <a:pt x="120" y="84"/>
                          </a:lnTo>
                          <a:close/>
                          <a:moveTo>
                            <a:pt x="441" y="226"/>
                          </a:moveTo>
                          <a:cubicBezTo>
                            <a:pt x="441" y="260"/>
                            <a:pt x="414" y="287"/>
                            <a:pt x="380" y="287"/>
                          </a:cubicBezTo>
                          <a:lnTo>
                            <a:pt x="257" y="287"/>
                          </a:lnTo>
                          <a:cubicBezTo>
                            <a:pt x="223" y="287"/>
                            <a:pt x="196" y="260"/>
                            <a:pt x="196" y="226"/>
                          </a:cubicBezTo>
                          <a:cubicBezTo>
                            <a:pt x="196" y="196"/>
                            <a:pt x="219" y="171"/>
                            <a:pt x="248" y="167"/>
                          </a:cubicBezTo>
                          <a:cubicBezTo>
                            <a:pt x="255" y="134"/>
                            <a:pt x="284" y="110"/>
                            <a:pt x="318" y="110"/>
                          </a:cubicBezTo>
                          <a:cubicBezTo>
                            <a:pt x="353" y="110"/>
                            <a:pt x="382" y="134"/>
                            <a:pt x="389" y="167"/>
                          </a:cubicBezTo>
                          <a:cubicBezTo>
                            <a:pt x="418" y="171"/>
                            <a:pt x="441" y="196"/>
                            <a:pt x="441" y="226"/>
                          </a:cubicBezTo>
                          <a:close/>
                        </a:path>
                      </a:pathLst>
                    </a:custGeom>
                    <a:solidFill>
                      <a:schemeClr val="bg1"/>
                    </a:solidFill>
                    <a:ln>
                      <a:noFill/>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grpSp>
            <p:grpSp>
              <p:nvGrpSpPr>
                <p:cNvPr id="89" name="iṡļïḋé"/>
                <p:cNvGrpSpPr/>
                <p:nvPr/>
              </p:nvGrpSpPr>
              <p:grpSpPr>
                <a:xfrm>
                  <a:off x="4944862" y="1985182"/>
                  <a:ext cx="3754232" cy="741193"/>
                  <a:chOff x="4944862" y="2098069"/>
                  <a:chExt cx="3754232" cy="741193"/>
                </a:xfrm>
              </p:grpSpPr>
              <p:grpSp>
                <p:nvGrpSpPr>
                  <p:cNvPr id="97" name="îṩ1ïḋè"/>
                  <p:cNvGrpSpPr/>
                  <p:nvPr/>
                </p:nvGrpSpPr>
                <p:grpSpPr>
                  <a:xfrm>
                    <a:off x="4944862" y="2221486"/>
                    <a:ext cx="3035026" cy="617776"/>
                    <a:chOff x="4944862" y="2221486"/>
                    <a:chExt cx="3035026" cy="617776"/>
                  </a:xfrm>
                </p:grpSpPr>
                <p:sp>
                  <p:nvSpPr>
                    <p:cNvPr id="101" name="íşļïḍè">
                      <a:extLst>
                        <a:ext uri="{FF2B5EF4-FFF2-40B4-BE49-F238E27FC236}">
                          <a16:creationId xmlns:a16="http://schemas.microsoft.com/office/drawing/2014/main" id="{AC321F9B-F99D-44D6-95EE-4CF3F8A760F8}"/>
                        </a:ext>
                      </a:extLst>
                    </p:cNvPr>
                    <p:cNvSpPr/>
                    <p:nvPr/>
                  </p:nvSpPr>
                  <p:spPr bwMode="auto">
                    <a:xfrm>
                      <a:off x="4944862" y="2333985"/>
                      <a:ext cx="2996046" cy="505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ct val="120000"/>
                        </a:lnSpc>
                      </a:pPr>
                      <a:endParaRPr lang="en-US" altLang="zh-CN" sz="1100" dirty="0"/>
                    </a:p>
                  </p:txBody>
                </p:sp>
                <p:sp>
                  <p:nvSpPr>
                    <p:cNvPr id="102" name="îṥ1íḍê">
                      <a:extLst>
                        <a:ext uri="{FF2B5EF4-FFF2-40B4-BE49-F238E27FC236}">
                          <a16:creationId xmlns:a16="http://schemas.microsoft.com/office/drawing/2014/main" id="{3495B739-E5A7-4F4A-95FD-24BDFE4B18B1}"/>
                        </a:ext>
                      </a:extLst>
                    </p:cNvPr>
                    <p:cNvSpPr txBox="1"/>
                    <p:nvPr/>
                  </p:nvSpPr>
                  <p:spPr bwMode="auto">
                    <a:xfrm>
                      <a:off x="4983842" y="2221486"/>
                      <a:ext cx="2996046"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lnSpc>
                          <a:spcPct val="100000"/>
                        </a:lnSpc>
                        <a:spcBef>
                          <a:spcPct val="0"/>
                        </a:spcBef>
                        <a:buFontTx/>
                        <a:buNone/>
                      </a:pPr>
                      <a:r>
                        <a:rPr lang="zh-CN" altLang="en-US" sz="2200" b="1" dirty="0" smtClean="0">
                          <a:solidFill>
                            <a:srgbClr val="00A1E8"/>
                          </a:solidFill>
                        </a:rPr>
                        <a:t>伪代码</a:t>
                      </a:r>
                      <a:endParaRPr lang="en-US" altLang="zh-CN" sz="2200" b="1" dirty="0">
                        <a:solidFill>
                          <a:srgbClr val="00A1E8"/>
                        </a:solidFill>
                      </a:endParaRPr>
                    </a:p>
                  </p:txBody>
                </p:sp>
              </p:grpSp>
              <p:grpSp>
                <p:nvGrpSpPr>
                  <p:cNvPr id="98" name="iṡḻíḓé"/>
                  <p:cNvGrpSpPr/>
                  <p:nvPr/>
                </p:nvGrpSpPr>
                <p:grpSpPr>
                  <a:xfrm>
                    <a:off x="8109584" y="2098069"/>
                    <a:ext cx="589510" cy="589510"/>
                    <a:chOff x="8109584" y="2098069"/>
                    <a:chExt cx="589510" cy="589510"/>
                  </a:xfrm>
                </p:grpSpPr>
                <p:sp>
                  <p:nvSpPr>
                    <p:cNvPr id="99" name="íSḻïḋè"/>
                    <p:cNvSpPr/>
                    <p:nvPr/>
                  </p:nvSpPr>
                  <p:spPr>
                    <a:xfrm>
                      <a:off x="8109584" y="2098069"/>
                      <a:ext cx="589510" cy="589510"/>
                    </a:xfrm>
                    <a:prstGeom prst="ellipse">
                      <a:avLst/>
                    </a:prstGeom>
                    <a:solidFill>
                      <a:schemeClr val="bg1">
                        <a:lumMod val="65000"/>
                      </a:schemeClr>
                    </a:solidFill>
                    <a:ln w="222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00" name="îṡlîḓê"/>
                    <p:cNvSpPr/>
                    <p:nvPr/>
                  </p:nvSpPr>
                  <p:spPr bwMode="auto">
                    <a:xfrm>
                      <a:off x="8239280" y="2279801"/>
                      <a:ext cx="330118" cy="226046"/>
                    </a:xfrm>
                    <a:custGeom>
                      <a:avLst/>
                      <a:gdLst>
                        <a:gd name="connsiteX0" fmla="*/ 337989 w 606368"/>
                        <a:gd name="connsiteY0" fmla="*/ 156075 h 415207"/>
                        <a:gd name="connsiteX1" fmla="*/ 289432 w 606368"/>
                        <a:gd name="connsiteY1" fmla="*/ 204570 h 415207"/>
                        <a:gd name="connsiteX2" fmla="*/ 268913 w 606368"/>
                        <a:gd name="connsiteY2" fmla="*/ 183985 h 415207"/>
                        <a:gd name="connsiteX3" fmla="*/ 247095 w 606368"/>
                        <a:gd name="connsiteY3" fmla="*/ 205127 h 415207"/>
                        <a:gd name="connsiteX4" fmla="*/ 268263 w 606368"/>
                        <a:gd name="connsiteY4" fmla="*/ 225711 h 415207"/>
                        <a:gd name="connsiteX5" fmla="*/ 289432 w 606368"/>
                        <a:gd name="connsiteY5" fmla="*/ 246853 h 415207"/>
                        <a:gd name="connsiteX6" fmla="*/ 310600 w 606368"/>
                        <a:gd name="connsiteY6" fmla="*/ 225711 h 415207"/>
                        <a:gd name="connsiteX7" fmla="*/ 359158 w 606368"/>
                        <a:gd name="connsiteY7" fmla="*/ 177217 h 415207"/>
                        <a:gd name="connsiteX8" fmla="*/ 303173 w 606368"/>
                        <a:gd name="connsiteY8" fmla="*/ 92652 h 415207"/>
                        <a:gd name="connsiteX9" fmla="*/ 412172 w 606368"/>
                        <a:gd name="connsiteY9" fmla="*/ 201418 h 415207"/>
                        <a:gd name="connsiteX10" fmla="*/ 303173 w 606368"/>
                        <a:gd name="connsiteY10" fmla="*/ 310276 h 415207"/>
                        <a:gd name="connsiteX11" fmla="*/ 194266 w 606368"/>
                        <a:gd name="connsiteY11" fmla="*/ 201418 h 415207"/>
                        <a:gd name="connsiteX12" fmla="*/ 303173 w 606368"/>
                        <a:gd name="connsiteY12" fmla="*/ 92652 h 415207"/>
                        <a:gd name="connsiteX13" fmla="*/ 98322 w 606368"/>
                        <a:gd name="connsiteY13" fmla="*/ 57845 h 415207"/>
                        <a:gd name="connsiteX14" fmla="*/ 98322 w 606368"/>
                        <a:gd name="connsiteY14" fmla="*/ 340027 h 415207"/>
                        <a:gd name="connsiteX15" fmla="*/ 246502 w 606368"/>
                        <a:gd name="connsiteY15" fmla="*/ 340027 h 415207"/>
                        <a:gd name="connsiteX16" fmla="*/ 246502 w 606368"/>
                        <a:gd name="connsiteY16" fmla="*/ 343086 h 415207"/>
                        <a:gd name="connsiteX17" fmla="*/ 262657 w 606368"/>
                        <a:gd name="connsiteY17" fmla="*/ 359308 h 415207"/>
                        <a:gd name="connsiteX18" fmla="*/ 343618 w 606368"/>
                        <a:gd name="connsiteY18" fmla="*/ 359308 h 415207"/>
                        <a:gd name="connsiteX19" fmla="*/ 359866 w 606368"/>
                        <a:gd name="connsiteY19" fmla="*/ 343086 h 415207"/>
                        <a:gd name="connsiteX20" fmla="*/ 359866 w 606368"/>
                        <a:gd name="connsiteY20" fmla="*/ 340027 h 415207"/>
                        <a:gd name="connsiteX21" fmla="*/ 508046 w 606368"/>
                        <a:gd name="connsiteY21" fmla="*/ 340027 h 415207"/>
                        <a:gd name="connsiteX22" fmla="*/ 508696 w 606368"/>
                        <a:gd name="connsiteY22" fmla="*/ 340027 h 415207"/>
                        <a:gd name="connsiteX23" fmla="*/ 508696 w 606368"/>
                        <a:gd name="connsiteY23" fmla="*/ 57845 h 415207"/>
                        <a:gd name="connsiteX24" fmla="*/ 82817 w 606368"/>
                        <a:gd name="connsiteY24" fmla="*/ 0 h 415207"/>
                        <a:gd name="connsiteX25" fmla="*/ 524108 w 606368"/>
                        <a:gd name="connsiteY25" fmla="*/ 0 h 415207"/>
                        <a:gd name="connsiteX26" fmla="*/ 566445 w 606368"/>
                        <a:gd name="connsiteY26" fmla="*/ 42272 h 415207"/>
                        <a:gd name="connsiteX27" fmla="*/ 566445 w 606368"/>
                        <a:gd name="connsiteY27" fmla="*/ 340027 h 415207"/>
                        <a:gd name="connsiteX28" fmla="*/ 568302 w 606368"/>
                        <a:gd name="connsiteY28" fmla="*/ 340027 h 415207"/>
                        <a:gd name="connsiteX29" fmla="*/ 606368 w 606368"/>
                        <a:gd name="connsiteY29" fmla="*/ 340027 h 415207"/>
                        <a:gd name="connsiteX30" fmla="*/ 606368 w 606368"/>
                        <a:gd name="connsiteY30" fmla="*/ 368579 h 415207"/>
                        <a:gd name="connsiteX31" fmla="*/ 558460 w 606368"/>
                        <a:gd name="connsiteY31" fmla="*/ 415207 h 415207"/>
                        <a:gd name="connsiteX32" fmla="*/ 513616 w 606368"/>
                        <a:gd name="connsiteY32" fmla="*/ 415207 h 415207"/>
                        <a:gd name="connsiteX33" fmla="*/ 91452 w 606368"/>
                        <a:gd name="connsiteY33" fmla="*/ 415207 h 415207"/>
                        <a:gd name="connsiteX34" fmla="*/ 46701 w 606368"/>
                        <a:gd name="connsiteY34" fmla="*/ 415207 h 415207"/>
                        <a:gd name="connsiteX35" fmla="*/ 0 w 606368"/>
                        <a:gd name="connsiteY35" fmla="*/ 368579 h 415207"/>
                        <a:gd name="connsiteX36" fmla="*/ 0 w 606368"/>
                        <a:gd name="connsiteY36" fmla="*/ 340027 h 415207"/>
                        <a:gd name="connsiteX37" fmla="*/ 37973 w 606368"/>
                        <a:gd name="connsiteY37" fmla="*/ 340027 h 415207"/>
                        <a:gd name="connsiteX38" fmla="*/ 40480 w 606368"/>
                        <a:gd name="connsiteY38" fmla="*/ 340027 h 415207"/>
                        <a:gd name="connsiteX39" fmla="*/ 40480 w 606368"/>
                        <a:gd name="connsiteY39" fmla="*/ 42272 h 415207"/>
                        <a:gd name="connsiteX40" fmla="*/ 82817 w 606368"/>
                        <a:gd name="connsiteY40" fmla="*/ 0 h 41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06368" h="415207">
                          <a:moveTo>
                            <a:pt x="337989" y="156075"/>
                          </a:moveTo>
                          <a:lnTo>
                            <a:pt x="289432" y="204570"/>
                          </a:lnTo>
                          <a:lnTo>
                            <a:pt x="268913" y="183985"/>
                          </a:lnTo>
                          <a:lnTo>
                            <a:pt x="247095" y="205127"/>
                          </a:lnTo>
                          <a:lnTo>
                            <a:pt x="268263" y="225711"/>
                          </a:lnTo>
                          <a:lnTo>
                            <a:pt x="289432" y="246853"/>
                          </a:lnTo>
                          <a:lnTo>
                            <a:pt x="310600" y="225711"/>
                          </a:lnTo>
                          <a:lnTo>
                            <a:pt x="359158" y="177217"/>
                          </a:lnTo>
                          <a:close/>
                          <a:moveTo>
                            <a:pt x="303173" y="92652"/>
                          </a:moveTo>
                          <a:cubicBezTo>
                            <a:pt x="362964" y="92652"/>
                            <a:pt x="412172" y="141147"/>
                            <a:pt x="412172" y="201418"/>
                          </a:cubicBezTo>
                          <a:cubicBezTo>
                            <a:pt x="412172" y="261132"/>
                            <a:pt x="363614" y="310276"/>
                            <a:pt x="303173" y="310276"/>
                          </a:cubicBezTo>
                          <a:cubicBezTo>
                            <a:pt x="242824" y="310276"/>
                            <a:pt x="194266" y="261039"/>
                            <a:pt x="194266" y="201418"/>
                          </a:cubicBezTo>
                          <a:cubicBezTo>
                            <a:pt x="194266" y="141703"/>
                            <a:pt x="242824" y="92652"/>
                            <a:pt x="303173" y="92652"/>
                          </a:cubicBezTo>
                          <a:close/>
                          <a:moveTo>
                            <a:pt x="98322" y="57845"/>
                          </a:moveTo>
                          <a:lnTo>
                            <a:pt x="98322" y="340027"/>
                          </a:lnTo>
                          <a:lnTo>
                            <a:pt x="246502" y="340027"/>
                          </a:lnTo>
                          <a:lnTo>
                            <a:pt x="246502" y="343086"/>
                          </a:lnTo>
                          <a:cubicBezTo>
                            <a:pt x="246502" y="351892"/>
                            <a:pt x="254023" y="359308"/>
                            <a:pt x="262657" y="359308"/>
                          </a:cubicBezTo>
                          <a:lnTo>
                            <a:pt x="343618" y="359308"/>
                          </a:lnTo>
                          <a:cubicBezTo>
                            <a:pt x="352438" y="359308"/>
                            <a:pt x="359866" y="351800"/>
                            <a:pt x="359866" y="343086"/>
                          </a:cubicBezTo>
                          <a:lnTo>
                            <a:pt x="359866" y="340027"/>
                          </a:lnTo>
                          <a:lnTo>
                            <a:pt x="508046" y="340027"/>
                          </a:lnTo>
                          <a:lnTo>
                            <a:pt x="508696" y="340027"/>
                          </a:lnTo>
                          <a:lnTo>
                            <a:pt x="508696" y="57845"/>
                          </a:lnTo>
                          <a:close/>
                          <a:moveTo>
                            <a:pt x="82817" y="0"/>
                          </a:moveTo>
                          <a:lnTo>
                            <a:pt x="524108" y="0"/>
                          </a:lnTo>
                          <a:cubicBezTo>
                            <a:pt x="547133" y="0"/>
                            <a:pt x="566445" y="18633"/>
                            <a:pt x="566445" y="42272"/>
                          </a:cubicBezTo>
                          <a:lnTo>
                            <a:pt x="566445" y="340027"/>
                          </a:lnTo>
                          <a:lnTo>
                            <a:pt x="568302" y="340027"/>
                          </a:lnTo>
                          <a:lnTo>
                            <a:pt x="606368" y="340027"/>
                          </a:lnTo>
                          <a:lnTo>
                            <a:pt x="606368" y="368579"/>
                          </a:lnTo>
                          <a:cubicBezTo>
                            <a:pt x="606368" y="394071"/>
                            <a:pt x="585199" y="415207"/>
                            <a:pt x="558460" y="415207"/>
                          </a:cubicBezTo>
                          <a:lnTo>
                            <a:pt x="513616" y="415207"/>
                          </a:lnTo>
                          <a:lnTo>
                            <a:pt x="91452" y="415207"/>
                          </a:lnTo>
                          <a:lnTo>
                            <a:pt x="46701" y="415207"/>
                          </a:lnTo>
                          <a:cubicBezTo>
                            <a:pt x="21169" y="415207"/>
                            <a:pt x="0" y="394627"/>
                            <a:pt x="0" y="368579"/>
                          </a:cubicBezTo>
                          <a:lnTo>
                            <a:pt x="0" y="340027"/>
                          </a:lnTo>
                          <a:lnTo>
                            <a:pt x="37973" y="340027"/>
                          </a:lnTo>
                          <a:lnTo>
                            <a:pt x="40480" y="340027"/>
                          </a:lnTo>
                          <a:lnTo>
                            <a:pt x="40480" y="42272"/>
                          </a:lnTo>
                          <a:cubicBezTo>
                            <a:pt x="40480" y="19282"/>
                            <a:pt x="59142" y="0"/>
                            <a:pt x="82817" y="0"/>
                          </a:cubicBezTo>
                          <a:close/>
                        </a:path>
                      </a:pathLst>
                    </a:custGeom>
                    <a:solidFill>
                      <a:schemeClr val="bg1"/>
                    </a:solidFill>
                    <a:ln>
                      <a:noFill/>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grpSp>
            <p:grpSp>
              <p:nvGrpSpPr>
                <p:cNvPr id="90" name="íš1ídê"/>
                <p:cNvGrpSpPr/>
                <p:nvPr/>
              </p:nvGrpSpPr>
              <p:grpSpPr>
                <a:xfrm>
                  <a:off x="4944862" y="4471978"/>
                  <a:ext cx="3779036" cy="741193"/>
                  <a:chOff x="4944862" y="4589520"/>
                  <a:chExt cx="3779036" cy="741193"/>
                </a:xfrm>
              </p:grpSpPr>
              <p:grpSp>
                <p:nvGrpSpPr>
                  <p:cNvPr id="91" name="íṥľiḑê"/>
                  <p:cNvGrpSpPr/>
                  <p:nvPr/>
                </p:nvGrpSpPr>
                <p:grpSpPr>
                  <a:xfrm>
                    <a:off x="4944862" y="4732513"/>
                    <a:ext cx="3046623" cy="598200"/>
                    <a:chOff x="4944862" y="4732513"/>
                    <a:chExt cx="3046623" cy="598200"/>
                  </a:xfrm>
                </p:grpSpPr>
                <p:sp>
                  <p:nvSpPr>
                    <p:cNvPr id="95" name="ïṥlidé">
                      <a:extLst>
                        <a:ext uri="{FF2B5EF4-FFF2-40B4-BE49-F238E27FC236}">
                          <a16:creationId xmlns:a16="http://schemas.microsoft.com/office/drawing/2014/main" id="{AC321F9B-F99D-44D6-95EE-4CF3F8A760F8}"/>
                        </a:ext>
                      </a:extLst>
                    </p:cNvPr>
                    <p:cNvSpPr/>
                    <p:nvPr/>
                  </p:nvSpPr>
                  <p:spPr bwMode="auto">
                    <a:xfrm>
                      <a:off x="4944862" y="4825436"/>
                      <a:ext cx="2996046" cy="505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ct val="120000"/>
                        </a:lnSpc>
                      </a:pPr>
                      <a:endParaRPr lang="en-US" altLang="zh-CN" sz="1100" dirty="0"/>
                    </a:p>
                  </p:txBody>
                </p:sp>
                <p:sp>
                  <p:nvSpPr>
                    <p:cNvPr id="96" name="iŝľïďé">
                      <a:extLst>
                        <a:ext uri="{FF2B5EF4-FFF2-40B4-BE49-F238E27FC236}">
                          <a16:creationId xmlns:a16="http://schemas.microsoft.com/office/drawing/2014/main" id="{3495B739-E5A7-4F4A-95FD-24BDFE4B18B1}"/>
                        </a:ext>
                      </a:extLst>
                    </p:cNvPr>
                    <p:cNvSpPr txBox="1"/>
                    <p:nvPr/>
                  </p:nvSpPr>
                  <p:spPr bwMode="auto">
                    <a:xfrm>
                      <a:off x="4995439" y="4732513"/>
                      <a:ext cx="2996046"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fontScale="92500"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lnSpc>
                          <a:spcPct val="100000"/>
                        </a:lnSpc>
                        <a:spcBef>
                          <a:spcPct val="0"/>
                        </a:spcBef>
                        <a:buFontTx/>
                        <a:buNone/>
                      </a:pPr>
                      <a:r>
                        <a:rPr lang="en-US" altLang="zh-CN" sz="2400" b="1" dirty="0" smtClean="0">
                          <a:solidFill>
                            <a:srgbClr val="00A1E8"/>
                          </a:solidFill>
                        </a:rPr>
                        <a:t>UML</a:t>
                      </a:r>
                      <a:endParaRPr lang="en-US" altLang="zh-CN" sz="2400" b="1" dirty="0">
                        <a:solidFill>
                          <a:srgbClr val="00A1E8"/>
                        </a:solidFill>
                      </a:endParaRPr>
                    </a:p>
                  </p:txBody>
                </p:sp>
              </p:grpSp>
              <p:grpSp>
                <p:nvGrpSpPr>
                  <p:cNvPr id="92" name="íşlïḑé"/>
                  <p:cNvGrpSpPr/>
                  <p:nvPr/>
                </p:nvGrpSpPr>
                <p:grpSpPr>
                  <a:xfrm>
                    <a:off x="8134388" y="4589520"/>
                    <a:ext cx="589510" cy="589510"/>
                    <a:chOff x="8134388" y="4589520"/>
                    <a:chExt cx="589510" cy="589510"/>
                  </a:xfrm>
                </p:grpSpPr>
                <p:sp>
                  <p:nvSpPr>
                    <p:cNvPr id="93" name="ïšlîdé"/>
                    <p:cNvSpPr/>
                    <p:nvPr/>
                  </p:nvSpPr>
                  <p:spPr>
                    <a:xfrm>
                      <a:off x="8134388" y="4589520"/>
                      <a:ext cx="589510" cy="589510"/>
                    </a:xfrm>
                    <a:prstGeom prst="ellipse">
                      <a:avLst/>
                    </a:prstGeom>
                    <a:solidFill>
                      <a:schemeClr val="bg1">
                        <a:lumMod val="65000"/>
                      </a:schemeClr>
                    </a:solidFill>
                    <a:ln w="222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94" name="îşḷîdê">
                      <a:extLst>
                        <a:ext uri="{FF2B5EF4-FFF2-40B4-BE49-F238E27FC236}">
                          <a16:creationId xmlns:a16="http://schemas.microsoft.com/office/drawing/2014/main" id="{1175A03F-584F-42FA-AAB4-34973BABBF54}"/>
                        </a:ext>
                      </a:extLst>
                    </p:cNvPr>
                    <p:cNvSpPr/>
                    <p:nvPr/>
                  </p:nvSpPr>
                  <p:spPr bwMode="auto">
                    <a:xfrm>
                      <a:off x="8271479" y="4730786"/>
                      <a:ext cx="315328" cy="306978"/>
                    </a:xfrm>
                    <a:custGeom>
                      <a:avLst/>
                      <a:gdLst>
                        <a:gd name="connsiteX0" fmla="*/ 243043 w 607639"/>
                        <a:gd name="connsiteY0" fmla="*/ 500521 h 591550"/>
                        <a:gd name="connsiteX1" fmla="*/ 364543 w 607639"/>
                        <a:gd name="connsiteY1" fmla="*/ 500521 h 591550"/>
                        <a:gd name="connsiteX2" fmla="*/ 364543 w 607639"/>
                        <a:gd name="connsiteY2" fmla="*/ 546036 h 591550"/>
                        <a:gd name="connsiteX3" fmla="*/ 440469 w 607639"/>
                        <a:gd name="connsiteY3" fmla="*/ 546036 h 591550"/>
                        <a:gd name="connsiteX4" fmla="*/ 440469 w 607639"/>
                        <a:gd name="connsiteY4" fmla="*/ 591550 h 591550"/>
                        <a:gd name="connsiteX5" fmla="*/ 167028 w 607639"/>
                        <a:gd name="connsiteY5" fmla="*/ 591550 h 591550"/>
                        <a:gd name="connsiteX6" fmla="*/ 167028 w 607639"/>
                        <a:gd name="connsiteY6" fmla="*/ 546036 h 591550"/>
                        <a:gd name="connsiteX7" fmla="*/ 243043 w 607639"/>
                        <a:gd name="connsiteY7" fmla="*/ 546036 h 591550"/>
                        <a:gd name="connsiteX8" fmla="*/ 0 w 607639"/>
                        <a:gd name="connsiteY8" fmla="*/ 379219 h 591550"/>
                        <a:gd name="connsiteX9" fmla="*/ 607639 w 607639"/>
                        <a:gd name="connsiteY9" fmla="*/ 379219 h 591550"/>
                        <a:gd name="connsiteX10" fmla="*/ 607639 w 607639"/>
                        <a:gd name="connsiteY10" fmla="*/ 455006 h 591550"/>
                        <a:gd name="connsiteX11" fmla="*/ 0 w 607639"/>
                        <a:gd name="connsiteY11" fmla="*/ 455006 h 591550"/>
                        <a:gd name="connsiteX12" fmla="*/ 303775 w 607639"/>
                        <a:gd name="connsiteY12" fmla="*/ 83448 h 591550"/>
                        <a:gd name="connsiteX13" fmla="*/ 265859 w 607639"/>
                        <a:gd name="connsiteY13" fmla="*/ 121395 h 591550"/>
                        <a:gd name="connsiteX14" fmla="*/ 303775 w 607639"/>
                        <a:gd name="connsiteY14" fmla="*/ 159253 h 591550"/>
                        <a:gd name="connsiteX15" fmla="*/ 235419 w 607639"/>
                        <a:gd name="connsiteY15" fmla="*/ 227505 h 591550"/>
                        <a:gd name="connsiteX16" fmla="*/ 273424 w 607639"/>
                        <a:gd name="connsiteY16" fmla="*/ 265452 h 591550"/>
                        <a:gd name="connsiteX17" fmla="*/ 334215 w 607639"/>
                        <a:gd name="connsiteY17" fmla="*/ 265452 h 591550"/>
                        <a:gd name="connsiteX18" fmla="*/ 372131 w 607639"/>
                        <a:gd name="connsiteY18" fmla="*/ 227505 h 591550"/>
                        <a:gd name="connsiteX19" fmla="*/ 303775 w 607639"/>
                        <a:gd name="connsiteY19" fmla="*/ 159253 h 591550"/>
                        <a:gd name="connsiteX20" fmla="*/ 341780 w 607639"/>
                        <a:gd name="connsiteY20" fmla="*/ 121395 h 591550"/>
                        <a:gd name="connsiteX21" fmla="*/ 303775 w 607639"/>
                        <a:gd name="connsiteY21" fmla="*/ 83448 h 591550"/>
                        <a:gd name="connsiteX22" fmla="*/ 0 w 607639"/>
                        <a:gd name="connsiteY22" fmla="*/ 0 h 591550"/>
                        <a:gd name="connsiteX23" fmla="*/ 607639 w 607639"/>
                        <a:gd name="connsiteY23" fmla="*/ 0 h 591550"/>
                        <a:gd name="connsiteX24" fmla="*/ 607639 w 607639"/>
                        <a:gd name="connsiteY24" fmla="*/ 333704 h 591550"/>
                        <a:gd name="connsiteX25" fmla="*/ 0 w 607639"/>
                        <a:gd name="connsiteY25" fmla="*/ 333704 h 591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07639" h="591550">
                          <a:moveTo>
                            <a:pt x="243043" y="500521"/>
                          </a:moveTo>
                          <a:lnTo>
                            <a:pt x="364543" y="500521"/>
                          </a:lnTo>
                          <a:lnTo>
                            <a:pt x="364543" y="546036"/>
                          </a:lnTo>
                          <a:lnTo>
                            <a:pt x="440469" y="546036"/>
                          </a:lnTo>
                          <a:lnTo>
                            <a:pt x="440469" y="591550"/>
                          </a:lnTo>
                          <a:lnTo>
                            <a:pt x="167028" y="591550"/>
                          </a:lnTo>
                          <a:lnTo>
                            <a:pt x="167028" y="546036"/>
                          </a:lnTo>
                          <a:lnTo>
                            <a:pt x="243043" y="546036"/>
                          </a:lnTo>
                          <a:close/>
                          <a:moveTo>
                            <a:pt x="0" y="379219"/>
                          </a:moveTo>
                          <a:lnTo>
                            <a:pt x="607639" y="379219"/>
                          </a:lnTo>
                          <a:lnTo>
                            <a:pt x="607639" y="455006"/>
                          </a:lnTo>
                          <a:lnTo>
                            <a:pt x="0" y="455006"/>
                          </a:lnTo>
                          <a:close/>
                          <a:moveTo>
                            <a:pt x="303775" y="83448"/>
                          </a:moveTo>
                          <a:cubicBezTo>
                            <a:pt x="282859" y="83448"/>
                            <a:pt x="265859" y="100422"/>
                            <a:pt x="265859" y="121395"/>
                          </a:cubicBezTo>
                          <a:cubicBezTo>
                            <a:pt x="265859" y="142279"/>
                            <a:pt x="282859" y="159253"/>
                            <a:pt x="303775" y="159253"/>
                          </a:cubicBezTo>
                          <a:cubicBezTo>
                            <a:pt x="266126" y="159253"/>
                            <a:pt x="235419" y="189913"/>
                            <a:pt x="235419" y="227505"/>
                          </a:cubicBezTo>
                          <a:cubicBezTo>
                            <a:pt x="235419" y="248478"/>
                            <a:pt x="252508" y="265452"/>
                            <a:pt x="273424" y="265452"/>
                          </a:cubicBezTo>
                          <a:lnTo>
                            <a:pt x="334215" y="265452"/>
                          </a:lnTo>
                          <a:cubicBezTo>
                            <a:pt x="355131" y="265452"/>
                            <a:pt x="372131" y="248478"/>
                            <a:pt x="372131" y="227505"/>
                          </a:cubicBezTo>
                          <a:cubicBezTo>
                            <a:pt x="372131" y="189913"/>
                            <a:pt x="341513" y="159253"/>
                            <a:pt x="303775" y="159253"/>
                          </a:cubicBezTo>
                          <a:cubicBezTo>
                            <a:pt x="324780" y="159253"/>
                            <a:pt x="341780" y="142279"/>
                            <a:pt x="341780" y="121395"/>
                          </a:cubicBezTo>
                          <a:cubicBezTo>
                            <a:pt x="341780" y="100422"/>
                            <a:pt x="324780" y="83448"/>
                            <a:pt x="303775" y="83448"/>
                          </a:cubicBezTo>
                          <a:close/>
                          <a:moveTo>
                            <a:pt x="0" y="0"/>
                          </a:moveTo>
                          <a:lnTo>
                            <a:pt x="607639" y="0"/>
                          </a:lnTo>
                          <a:lnTo>
                            <a:pt x="607639" y="333704"/>
                          </a:lnTo>
                          <a:lnTo>
                            <a:pt x="0" y="333704"/>
                          </a:lnTo>
                          <a:close/>
                        </a:path>
                      </a:pathLst>
                    </a:custGeom>
                    <a:solidFill>
                      <a:schemeClr val="bg1"/>
                    </a:solidFill>
                    <a:ln>
                      <a:noFill/>
                    </a:ln>
                  </p:spPr>
                  <p:txBody>
                    <a:bodyPr wrap="square" lIns="91440" tIns="45720" rIns="91440" bIns="45720">
                      <a:normAutofit fontScale="92500"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grpSp>
          </p:grpSp>
          <p:grpSp>
            <p:nvGrpSpPr>
              <p:cNvPr id="80" name="íSḻîḑe"/>
              <p:cNvGrpSpPr/>
              <p:nvPr/>
            </p:nvGrpSpPr>
            <p:grpSpPr>
              <a:xfrm>
                <a:off x="9704298" y="2858900"/>
                <a:ext cx="1559300" cy="1559300"/>
                <a:chOff x="9571133" y="2858900"/>
                <a:chExt cx="1559300" cy="1559300"/>
              </a:xfrm>
            </p:grpSpPr>
            <p:sp>
              <p:nvSpPr>
                <p:cNvPr id="84" name="îSľîḋè"/>
                <p:cNvSpPr/>
                <p:nvPr/>
              </p:nvSpPr>
              <p:spPr>
                <a:xfrm>
                  <a:off x="9571133" y="2858900"/>
                  <a:ext cx="1559300" cy="1559300"/>
                </a:xfrm>
                <a:prstGeom prst="ellipse">
                  <a:avLst/>
                </a:prstGeom>
                <a:pattFill prst="pct5">
                  <a:fgClr>
                    <a:srgbClr val="E4E6EA"/>
                  </a:fgClr>
                  <a:bgClr>
                    <a:srgbClr val="ADB5BF"/>
                  </a:bgClr>
                </a:pattFill>
                <a:ln w="9525">
                  <a:noFill/>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85" name="iṧlïďê"/>
                <p:cNvSpPr/>
                <p:nvPr/>
              </p:nvSpPr>
              <p:spPr>
                <a:xfrm>
                  <a:off x="9662264" y="2904442"/>
                  <a:ext cx="1448588" cy="1448588"/>
                </a:xfrm>
                <a:prstGeom prst="ellipse">
                  <a:avLst/>
                </a:prstGeom>
                <a:solidFill>
                  <a:schemeClr val="accent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2800" b="1" i="1" dirty="0" smtClean="0"/>
                    <a:t>描述需求</a:t>
                  </a:r>
                  <a:endParaRPr lang="zh-CN" altLang="en-US" sz="2800" b="1" i="1" dirty="0"/>
                </a:p>
              </p:txBody>
            </p:sp>
          </p:grpSp>
          <p:cxnSp>
            <p:nvCxnSpPr>
              <p:cNvPr id="81" name="直接连接符 80"/>
              <p:cNvCxnSpPr>
                <a:stCxn id="84" idx="1"/>
                <a:endCxn id="99" idx="6"/>
              </p:cNvCxnSpPr>
              <p:nvPr/>
            </p:nvCxnSpPr>
            <p:spPr>
              <a:xfrm flipH="1" flipV="1">
                <a:off x="8832259" y="2395152"/>
                <a:ext cx="1100393" cy="692102"/>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82" name="直接连接符 81"/>
              <p:cNvCxnSpPr>
                <a:stCxn id="84" idx="3"/>
                <a:endCxn id="93" idx="7"/>
              </p:cNvCxnSpPr>
              <p:nvPr/>
            </p:nvCxnSpPr>
            <p:spPr>
              <a:xfrm flipH="1">
                <a:off x="8770731" y="4189846"/>
                <a:ext cx="1161921" cy="483679"/>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83" name="直接连接符 82"/>
              <p:cNvCxnSpPr>
                <a:stCxn id="105" idx="6"/>
                <a:endCxn id="84" idx="2"/>
              </p:cNvCxnSpPr>
              <p:nvPr/>
            </p:nvCxnSpPr>
            <p:spPr>
              <a:xfrm>
                <a:off x="8857063" y="3638550"/>
                <a:ext cx="847235"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grpSp>
      <p:sp>
        <p:nvSpPr>
          <p:cNvPr id="147" name="iṡľiďé">
            <a:extLst>
              <a:ext uri="{FF2B5EF4-FFF2-40B4-BE49-F238E27FC236}">
                <a16:creationId xmlns:a16="http://schemas.microsoft.com/office/drawing/2014/main" id="{EBFBA4E3-9332-44DF-A320-7B0744C1A346}"/>
              </a:ext>
            </a:extLst>
          </p:cNvPr>
          <p:cNvSpPr txBox="1"/>
          <p:nvPr/>
        </p:nvSpPr>
        <p:spPr>
          <a:xfrm>
            <a:off x="744778" y="3057985"/>
            <a:ext cx="4103085" cy="889138"/>
          </a:xfrm>
          <a:prstGeom prst="rect">
            <a:avLst/>
          </a:prstGeom>
          <a:noFill/>
          <a:ln>
            <a:noFill/>
          </a:ln>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SzPct val="25000"/>
            </a:pPr>
            <a:r>
              <a:rPr lang="zh-CN" altLang="en-US" sz="3600" b="1" dirty="0" smtClean="0">
                <a:solidFill>
                  <a:srgbClr val="CC3300"/>
                </a:solidFill>
              </a:rPr>
              <a:t>描述软件需求方法？</a:t>
            </a:r>
            <a:endParaRPr lang="en-US" sz="3600" b="1" dirty="0">
              <a:solidFill>
                <a:srgbClr val="CC3300"/>
              </a:solidFill>
            </a:endParaRPr>
          </a:p>
        </p:txBody>
      </p:sp>
    </p:spTree>
    <p:extLst>
      <p:ext uri="{BB962C8B-B14F-4D97-AF65-F5344CB8AC3E}">
        <p14:creationId xmlns:p14="http://schemas.microsoft.com/office/powerpoint/2010/main" val="415098979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íśḷîḓe"/>
          <p:cNvSpPr/>
          <p:nvPr/>
        </p:nvSpPr>
        <p:spPr>
          <a:xfrm>
            <a:off x="0" y="0"/>
            <a:ext cx="5772726" cy="6870700"/>
          </a:xfrm>
          <a:prstGeom prst="rect">
            <a:avLst/>
          </a:prstGeom>
          <a:pattFill prst="pct5">
            <a:fgClr>
              <a:srgbClr val="E4E6EA"/>
            </a:fgClr>
            <a:bgClr>
              <a:srgbClr val="ADB5BF"/>
            </a:bgClr>
          </a:patt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dirty="0"/>
          </a:p>
        </p:txBody>
      </p:sp>
      <p:sp>
        <p:nvSpPr>
          <p:cNvPr id="10" name="标题 9"/>
          <p:cNvSpPr>
            <a:spLocks noGrp="1"/>
          </p:cNvSpPr>
          <p:nvPr>
            <p:ph type="title"/>
          </p:nvPr>
        </p:nvSpPr>
        <p:spPr>
          <a:xfrm>
            <a:off x="256309" y="134216"/>
            <a:ext cx="10515600" cy="604693"/>
          </a:xfrm>
        </p:spPr>
        <p:txBody>
          <a:bodyPr/>
          <a:lstStyle/>
          <a:p>
            <a:r>
              <a:rPr lang="zh-CN" altLang="en-US" dirty="0" smtClean="0"/>
              <a:t>伪代码</a:t>
            </a:r>
            <a:endParaRPr lang="zh-CN" altLang="en-US" dirty="0"/>
          </a:p>
        </p:txBody>
      </p:sp>
      <p:pic>
        <p:nvPicPr>
          <p:cNvPr id="27" name="Picture 2" descr="å¿«éäººç©ç´ æï¼5åéä½ä¸ä¸ªäººç©éåï¼1/3ï¼"/>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9634" y="956249"/>
            <a:ext cx="5623092" cy="4964257"/>
          </a:xfrm>
          <a:prstGeom prst="rect">
            <a:avLst/>
          </a:prstGeom>
          <a:noFill/>
          <a:extLst>
            <a:ext uri="{909E8E84-426E-40DD-AFC4-6F175D3DCCD1}">
              <a14:hiddenFill xmlns:a14="http://schemas.microsoft.com/office/drawing/2010/main">
                <a:solidFill>
                  <a:srgbClr val="FFFFFF"/>
                </a:solidFill>
              </a14:hiddenFill>
            </a:ext>
          </a:extLst>
        </p:spPr>
      </p:pic>
      <p:sp>
        <p:nvSpPr>
          <p:cNvPr id="30" name="矩形 29"/>
          <p:cNvSpPr/>
          <p:nvPr/>
        </p:nvSpPr>
        <p:spPr>
          <a:xfrm>
            <a:off x="6501161" y="1182029"/>
            <a:ext cx="4416221" cy="3108543"/>
          </a:xfrm>
          <a:prstGeom prst="rect">
            <a:avLst/>
          </a:prstGeom>
        </p:spPr>
        <p:txBody>
          <a:bodyPr wrap="square">
            <a:spAutoFit/>
          </a:bodyPr>
          <a:lstStyle/>
          <a:p>
            <a:pPr algn="just" latinLnBrk="1"/>
            <a:r>
              <a:rPr lang="en-US" altLang="zh-CN" sz="2800" b="1" dirty="0">
                <a:solidFill>
                  <a:schemeClr val="bg1">
                    <a:lumMod val="50000"/>
                  </a:schemeClr>
                </a:solidFill>
                <a:latin typeface="微软雅黑" panose="020B0503020204020204" pitchFamily="34" charset="-122"/>
                <a:ea typeface="微软雅黑" panose="020B0503020204020204" pitchFamily="34" charset="-122"/>
              </a:rPr>
              <a:t>IF </a:t>
            </a:r>
            <a:r>
              <a:rPr lang="zh-CN" altLang="en-US" sz="2800" b="1" dirty="0">
                <a:solidFill>
                  <a:schemeClr val="bg1">
                    <a:lumMod val="50000"/>
                  </a:schemeClr>
                </a:solidFill>
                <a:latin typeface="微软雅黑" panose="020B0503020204020204" pitchFamily="34" charset="-122"/>
                <a:ea typeface="微软雅黑" panose="020B0503020204020204" pitchFamily="34" charset="-122"/>
              </a:rPr>
              <a:t>九点以前 </a:t>
            </a:r>
            <a:r>
              <a:rPr lang="en-US" altLang="zh-CN" sz="2800" b="1" dirty="0">
                <a:solidFill>
                  <a:schemeClr val="bg1">
                    <a:lumMod val="50000"/>
                  </a:schemeClr>
                </a:solidFill>
                <a:latin typeface="微软雅黑" panose="020B0503020204020204" pitchFamily="34" charset="-122"/>
                <a:ea typeface="微软雅黑" panose="020B0503020204020204" pitchFamily="34" charset="-122"/>
              </a:rPr>
              <a:t>THEN</a:t>
            </a:r>
          </a:p>
          <a:p>
            <a:pPr algn="just" latinLnBrk="1"/>
            <a:r>
              <a:rPr lang="en-US" altLang="zh-CN" sz="2800" b="1" dirty="0">
                <a:solidFill>
                  <a:schemeClr val="bg1">
                    <a:lumMod val="50000"/>
                  </a:schemeClr>
                </a:solidFill>
                <a:latin typeface="微软雅黑" panose="020B0503020204020204" pitchFamily="34" charset="-122"/>
                <a:ea typeface="微软雅黑" panose="020B0503020204020204" pitchFamily="34" charset="-122"/>
              </a:rPr>
              <a:t>  </a:t>
            </a:r>
            <a:r>
              <a:rPr lang="en-US" altLang="zh-CN" sz="2800" b="1" dirty="0" smtClean="0">
                <a:solidFill>
                  <a:schemeClr val="bg1">
                    <a:lumMod val="50000"/>
                  </a:schemeClr>
                </a:solidFill>
                <a:latin typeface="微软雅黑" panose="020B0503020204020204" pitchFamily="34" charset="-122"/>
                <a:ea typeface="微软雅黑" panose="020B0503020204020204" pitchFamily="34" charset="-122"/>
              </a:rPr>
              <a:t>do </a:t>
            </a:r>
            <a:r>
              <a:rPr lang="zh-CN" altLang="en-US" sz="2800" b="1" dirty="0">
                <a:solidFill>
                  <a:schemeClr val="bg1">
                    <a:lumMod val="50000"/>
                  </a:schemeClr>
                </a:solidFill>
                <a:latin typeface="微软雅黑" panose="020B0503020204020204" pitchFamily="34" charset="-122"/>
                <a:ea typeface="微软雅黑" panose="020B0503020204020204" pitchFamily="34" charset="-122"/>
              </a:rPr>
              <a:t>私人事务；</a:t>
            </a:r>
          </a:p>
          <a:p>
            <a:pPr algn="just" latinLnBrk="1"/>
            <a:r>
              <a:rPr lang="en-US" altLang="zh-CN" sz="2800" b="1" dirty="0" smtClean="0">
                <a:solidFill>
                  <a:schemeClr val="bg1">
                    <a:lumMod val="50000"/>
                  </a:schemeClr>
                </a:solidFill>
                <a:latin typeface="微软雅黑" panose="020B0503020204020204" pitchFamily="34" charset="-122"/>
                <a:ea typeface="微软雅黑" panose="020B0503020204020204" pitchFamily="34" charset="-122"/>
              </a:rPr>
              <a:t>ELSE </a:t>
            </a:r>
            <a:r>
              <a:rPr lang="en-US" altLang="zh-CN" sz="2800" b="1" dirty="0">
                <a:solidFill>
                  <a:schemeClr val="bg1">
                    <a:lumMod val="50000"/>
                  </a:schemeClr>
                </a:solidFill>
                <a:latin typeface="微软雅黑" panose="020B0503020204020204" pitchFamily="34" charset="-122"/>
                <a:ea typeface="微软雅黑" panose="020B0503020204020204" pitchFamily="34" charset="-122"/>
              </a:rPr>
              <a:t>9</a:t>
            </a:r>
            <a:r>
              <a:rPr lang="zh-CN" altLang="en-US" sz="2800" b="1" dirty="0">
                <a:solidFill>
                  <a:schemeClr val="bg1">
                    <a:lumMod val="50000"/>
                  </a:schemeClr>
                </a:solidFill>
                <a:latin typeface="微软雅黑" panose="020B0503020204020204" pitchFamily="34" charset="-122"/>
                <a:ea typeface="微软雅黑" panose="020B0503020204020204" pitchFamily="34" charset="-122"/>
              </a:rPr>
              <a:t>点</a:t>
            </a:r>
            <a:r>
              <a:rPr lang="zh-CN" altLang="en-US" sz="2800" b="1" dirty="0" smtClean="0">
                <a:solidFill>
                  <a:schemeClr val="bg1">
                    <a:lumMod val="50000"/>
                  </a:schemeClr>
                </a:solidFill>
                <a:latin typeface="微软雅黑" panose="020B0503020204020204" pitchFamily="34" charset="-122"/>
                <a:ea typeface="微软雅黑" panose="020B0503020204020204" pitchFamily="34" charset="-122"/>
              </a:rPr>
              <a:t>到</a:t>
            </a:r>
            <a:r>
              <a:rPr lang="en-US" altLang="zh-CN" sz="2800" b="1" dirty="0" smtClean="0">
                <a:solidFill>
                  <a:schemeClr val="bg1">
                    <a:lumMod val="50000"/>
                  </a:schemeClr>
                </a:solidFill>
                <a:latin typeface="微软雅黑" panose="020B0503020204020204" pitchFamily="34" charset="-122"/>
                <a:ea typeface="微软雅黑" panose="020B0503020204020204" pitchFamily="34" charset="-122"/>
              </a:rPr>
              <a:t>22</a:t>
            </a:r>
            <a:r>
              <a:rPr lang="zh-CN" altLang="en-US" sz="2800" b="1" dirty="0" smtClean="0">
                <a:solidFill>
                  <a:schemeClr val="bg1">
                    <a:lumMod val="50000"/>
                  </a:schemeClr>
                </a:solidFill>
                <a:latin typeface="微软雅黑" panose="020B0503020204020204" pitchFamily="34" charset="-122"/>
                <a:ea typeface="微软雅黑" panose="020B0503020204020204" pitchFamily="34" charset="-122"/>
              </a:rPr>
              <a:t>点 </a:t>
            </a:r>
            <a:r>
              <a:rPr lang="en-US" altLang="zh-CN" sz="2800" b="1" dirty="0">
                <a:solidFill>
                  <a:schemeClr val="bg1">
                    <a:lumMod val="50000"/>
                  </a:schemeClr>
                </a:solidFill>
                <a:latin typeface="微软雅黑" panose="020B0503020204020204" pitchFamily="34" charset="-122"/>
                <a:ea typeface="微软雅黑" panose="020B0503020204020204" pitchFamily="34" charset="-122"/>
              </a:rPr>
              <a:t>THEN</a:t>
            </a:r>
          </a:p>
          <a:p>
            <a:pPr algn="just" latinLnBrk="1"/>
            <a:r>
              <a:rPr lang="zh-CN" altLang="en-US" sz="2800" b="1" dirty="0">
                <a:solidFill>
                  <a:schemeClr val="bg1">
                    <a:lumMod val="50000"/>
                  </a:schemeClr>
                </a:solidFill>
                <a:latin typeface="微软雅黑" panose="020B0503020204020204" pitchFamily="34" charset="-122"/>
                <a:ea typeface="微软雅黑" panose="020B0503020204020204" pitchFamily="34" charset="-122"/>
              </a:rPr>
              <a:t>　　</a:t>
            </a:r>
            <a:r>
              <a:rPr lang="zh-CN" altLang="en-US" sz="2800" b="1" dirty="0" smtClean="0">
                <a:solidFill>
                  <a:schemeClr val="bg1">
                    <a:lumMod val="50000"/>
                  </a:schemeClr>
                </a:solidFill>
                <a:latin typeface="微软雅黑" panose="020B0503020204020204" pitchFamily="34" charset="-122"/>
                <a:ea typeface="微软雅黑" panose="020B0503020204020204" pitchFamily="34" charset="-122"/>
              </a:rPr>
              <a:t>解</a:t>
            </a:r>
            <a:r>
              <a:rPr lang="en-US" altLang="zh-CN" sz="2800" b="1" dirty="0" smtClean="0">
                <a:solidFill>
                  <a:schemeClr val="bg1">
                    <a:lumMod val="50000"/>
                  </a:schemeClr>
                </a:solidFill>
                <a:latin typeface="微软雅黑" panose="020B0503020204020204" pitchFamily="34" charset="-122"/>
                <a:ea typeface="微软雅黑" panose="020B0503020204020204" pitchFamily="34" charset="-122"/>
              </a:rPr>
              <a:t>bug</a:t>
            </a:r>
            <a:r>
              <a:rPr lang="zh-CN" altLang="en-US" sz="2800" b="1" dirty="0" smtClean="0">
                <a:solidFill>
                  <a:schemeClr val="bg1">
                    <a:lumMod val="50000"/>
                  </a:schemeClr>
                </a:solidFill>
                <a:latin typeface="微软雅黑" panose="020B0503020204020204" pitchFamily="34" charset="-122"/>
                <a:ea typeface="微软雅黑" panose="020B0503020204020204" pitchFamily="34" charset="-122"/>
              </a:rPr>
              <a:t>；</a:t>
            </a:r>
            <a:endParaRPr lang="zh-CN" altLang="en-US" sz="2800" b="1" dirty="0">
              <a:solidFill>
                <a:schemeClr val="bg1">
                  <a:lumMod val="50000"/>
                </a:schemeClr>
              </a:solidFill>
              <a:latin typeface="微软雅黑" panose="020B0503020204020204" pitchFamily="34" charset="-122"/>
              <a:ea typeface="微软雅黑" panose="020B0503020204020204" pitchFamily="34" charset="-122"/>
            </a:endParaRPr>
          </a:p>
          <a:p>
            <a:pPr algn="just" latinLnBrk="1"/>
            <a:r>
              <a:rPr lang="en-US" altLang="zh-CN" sz="2800" b="1" dirty="0" smtClean="0">
                <a:solidFill>
                  <a:schemeClr val="bg1">
                    <a:lumMod val="50000"/>
                  </a:schemeClr>
                </a:solidFill>
                <a:latin typeface="微软雅黑" panose="020B0503020204020204" pitchFamily="34" charset="-122"/>
                <a:ea typeface="微软雅黑" panose="020B0503020204020204" pitchFamily="34" charset="-122"/>
              </a:rPr>
              <a:t>ELSE</a:t>
            </a:r>
            <a:endParaRPr lang="en-US" altLang="zh-CN" sz="2800" b="1" dirty="0">
              <a:solidFill>
                <a:schemeClr val="bg1">
                  <a:lumMod val="50000"/>
                </a:schemeClr>
              </a:solidFill>
              <a:latin typeface="微软雅黑" panose="020B0503020204020204" pitchFamily="34" charset="-122"/>
              <a:ea typeface="微软雅黑" panose="020B0503020204020204" pitchFamily="34" charset="-122"/>
            </a:endParaRPr>
          </a:p>
          <a:p>
            <a:pPr algn="just" latinLnBrk="1"/>
            <a:r>
              <a:rPr lang="zh-CN" altLang="en-US" sz="2800" b="1" dirty="0">
                <a:solidFill>
                  <a:schemeClr val="bg1">
                    <a:lumMod val="50000"/>
                  </a:schemeClr>
                </a:solidFill>
                <a:latin typeface="微软雅黑" panose="020B0503020204020204" pitchFamily="34" charset="-122"/>
                <a:ea typeface="微软雅黑" panose="020B0503020204020204" pitchFamily="34" charset="-122"/>
              </a:rPr>
              <a:t>　　下班</a:t>
            </a:r>
            <a:r>
              <a:rPr lang="en-US" altLang="zh-CN" sz="2800" b="1" dirty="0">
                <a:solidFill>
                  <a:schemeClr val="bg1">
                    <a:lumMod val="50000"/>
                  </a:schemeClr>
                </a:solidFill>
                <a:latin typeface="微软雅黑" panose="020B0503020204020204" pitchFamily="34" charset="-122"/>
                <a:ea typeface="微软雅黑" panose="020B0503020204020204" pitchFamily="34" charset="-122"/>
              </a:rPr>
              <a:t>;</a:t>
            </a:r>
          </a:p>
          <a:p>
            <a:pPr algn="just" latinLnBrk="1"/>
            <a:r>
              <a:rPr lang="en-US" altLang="zh-CN" sz="2800" b="1" dirty="0" smtClean="0">
                <a:solidFill>
                  <a:schemeClr val="bg1">
                    <a:lumMod val="50000"/>
                  </a:schemeClr>
                </a:solidFill>
                <a:latin typeface="微软雅黑" panose="020B0503020204020204" pitchFamily="34" charset="-122"/>
                <a:ea typeface="微软雅黑" panose="020B0503020204020204" pitchFamily="34" charset="-122"/>
              </a:rPr>
              <a:t>END IF</a:t>
            </a:r>
            <a:endParaRPr lang="en-US" altLang="zh-CN" sz="2800" b="1" dirty="0">
              <a:solidFill>
                <a:schemeClr val="bg1">
                  <a:lumMod val="50000"/>
                </a:schemeClr>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15438559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组合 10"/>
          <p:cNvGrpSpPr/>
          <p:nvPr/>
        </p:nvGrpSpPr>
        <p:grpSpPr>
          <a:xfrm>
            <a:off x="1856159" y="-12700"/>
            <a:ext cx="10335840" cy="6870700"/>
            <a:chOff x="1856159" y="-12700"/>
            <a:chExt cx="10335840" cy="6870700"/>
          </a:xfrm>
        </p:grpSpPr>
        <p:sp>
          <p:nvSpPr>
            <p:cNvPr id="4" name="íśḷîḓe"/>
            <p:cNvSpPr/>
            <p:nvPr/>
          </p:nvSpPr>
          <p:spPr>
            <a:xfrm>
              <a:off x="6419273" y="-12700"/>
              <a:ext cx="5772726" cy="6870700"/>
            </a:xfrm>
            <a:prstGeom prst="rect">
              <a:avLst/>
            </a:prstGeom>
            <a:pattFill prst="pct5">
              <a:fgClr>
                <a:srgbClr val="E4E6EA"/>
              </a:fgClr>
              <a:bgClr>
                <a:srgbClr val="ADB5BF"/>
              </a:bgClr>
            </a:patt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dirty="0"/>
            </a:p>
          </p:txBody>
        </p:sp>
        <p:grpSp>
          <p:nvGrpSpPr>
            <p:cNvPr id="5" name="îṣ1ídè"/>
            <p:cNvGrpSpPr/>
            <p:nvPr/>
          </p:nvGrpSpPr>
          <p:grpSpPr>
            <a:xfrm>
              <a:off x="1856159" y="2245887"/>
              <a:ext cx="4786369" cy="594355"/>
              <a:chOff x="1856159" y="1621636"/>
              <a:chExt cx="4786369" cy="594355"/>
            </a:xfrm>
          </p:grpSpPr>
          <p:sp>
            <p:nvSpPr>
              <p:cNvPr id="28" name="îS1íḑe"/>
              <p:cNvSpPr txBox="1"/>
              <p:nvPr/>
            </p:nvSpPr>
            <p:spPr bwMode="auto">
              <a:xfrm>
                <a:off x="2450513" y="1759451"/>
                <a:ext cx="4192015"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lnSpcReduction="1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eaLnBrk="1" hangingPunct="1">
                  <a:lnSpc>
                    <a:spcPct val="100000"/>
                  </a:lnSpc>
                  <a:spcBef>
                    <a:spcPct val="0"/>
                  </a:spcBef>
                  <a:buFontTx/>
                  <a:buNone/>
                </a:pPr>
                <a:r>
                  <a:rPr lang="zh-CN" altLang="en-US" sz="2000" dirty="0" smtClean="0"/>
                  <a:t>逻辑清晰</a:t>
                </a:r>
                <a:endParaRPr lang="en-US" altLang="zh-CN" sz="2000" dirty="0"/>
              </a:p>
            </p:txBody>
          </p:sp>
          <p:grpSp>
            <p:nvGrpSpPr>
              <p:cNvPr id="24" name="ïṥḷíďé"/>
              <p:cNvGrpSpPr/>
              <p:nvPr/>
            </p:nvGrpSpPr>
            <p:grpSpPr>
              <a:xfrm>
                <a:off x="1856159" y="1621636"/>
                <a:ext cx="594355" cy="594355"/>
                <a:chOff x="3024090" y="2288618"/>
                <a:chExt cx="594355" cy="594355"/>
              </a:xfrm>
            </p:grpSpPr>
            <p:sp>
              <p:nvSpPr>
                <p:cNvPr id="25" name="í$liďé"/>
                <p:cNvSpPr/>
                <p:nvPr/>
              </p:nvSpPr>
              <p:spPr>
                <a:xfrm>
                  <a:off x="3024090" y="2288618"/>
                  <a:ext cx="594355" cy="59435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dirty="0"/>
                </a:p>
              </p:txBody>
            </p:sp>
            <p:sp>
              <p:nvSpPr>
                <p:cNvPr id="26" name="ïŝ1ide"/>
                <p:cNvSpPr/>
                <p:nvPr/>
              </p:nvSpPr>
              <p:spPr bwMode="auto">
                <a:xfrm>
                  <a:off x="3153300" y="2424036"/>
                  <a:ext cx="335934" cy="323518"/>
                </a:xfrm>
                <a:custGeom>
                  <a:avLst/>
                  <a:gdLst>
                    <a:gd name="connsiteX0" fmla="*/ 216243 w 609050"/>
                    <a:gd name="connsiteY0" fmla="*/ 412730 h 586540"/>
                    <a:gd name="connsiteX1" fmla="*/ 216243 w 609050"/>
                    <a:gd name="connsiteY1" fmla="*/ 456594 h 586540"/>
                    <a:gd name="connsiteX2" fmla="*/ 293953 w 609050"/>
                    <a:gd name="connsiteY2" fmla="*/ 456594 h 586540"/>
                    <a:gd name="connsiteX3" fmla="*/ 293953 w 609050"/>
                    <a:gd name="connsiteY3" fmla="*/ 412730 h 586540"/>
                    <a:gd name="connsiteX4" fmla="*/ 69884 w 609050"/>
                    <a:gd name="connsiteY4" fmla="*/ 412730 h 586540"/>
                    <a:gd name="connsiteX5" fmla="*/ 69884 w 609050"/>
                    <a:gd name="connsiteY5" fmla="*/ 456594 h 586540"/>
                    <a:gd name="connsiteX6" fmla="*/ 147595 w 609050"/>
                    <a:gd name="connsiteY6" fmla="*/ 456594 h 586540"/>
                    <a:gd name="connsiteX7" fmla="*/ 147595 w 609050"/>
                    <a:gd name="connsiteY7" fmla="*/ 412730 h 586540"/>
                    <a:gd name="connsiteX8" fmla="*/ 460769 w 609050"/>
                    <a:gd name="connsiteY8" fmla="*/ 376268 h 586540"/>
                    <a:gd name="connsiteX9" fmla="*/ 460769 w 609050"/>
                    <a:gd name="connsiteY9" fmla="*/ 414786 h 586540"/>
                    <a:gd name="connsiteX10" fmla="*/ 555916 w 609050"/>
                    <a:gd name="connsiteY10" fmla="*/ 414786 h 586540"/>
                    <a:gd name="connsiteX11" fmla="*/ 555916 w 609050"/>
                    <a:gd name="connsiteY11" fmla="*/ 376268 h 586540"/>
                    <a:gd name="connsiteX12" fmla="*/ 216243 w 609050"/>
                    <a:gd name="connsiteY12" fmla="*/ 339670 h 586540"/>
                    <a:gd name="connsiteX13" fmla="*/ 216243 w 609050"/>
                    <a:gd name="connsiteY13" fmla="*/ 383533 h 586540"/>
                    <a:gd name="connsiteX14" fmla="*/ 293953 w 609050"/>
                    <a:gd name="connsiteY14" fmla="*/ 383533 h 586540"/>
                    <a:gd name="connsiteX15" fmla="*/ 293953 w 609050"/>
                    <a:gd name="connsiteY15" fmla="*/ 339670 h 586540"/>
                    <a:gd name="connsiteX16" fmla="*/ 69884 w 609050"/>
                    <a:gd name="connsiteY16" fmla="*/ 339670 h 586540"/>
                    <a:gd name="connsiteX17" fmla="*/ 69884 w 609050"/>
                    <a:gd name="connsiteY17" fmla="*/ 383533 h 586540"/>
                    <a:gd name="connsiteX18" fmla="*/ 147595 w 609050"/>
                    <a:gd name="connsiteY18" fmla="*/ 383533 h 586540"/>
                    <a:gd name="connsiteX19" fmla="*/ 147595 w 609050"/>
                    <a:gd name="connsiteY19" fmla="*/ 339670 h 586540"/>
                    <a:gd name="connsiteX20" fmla="*/ 460769 w 609050"/>
                    <a:gd name="connsiteY20" fmla="*/ 303071 h 586540"/>
                    <a:gd name="connsiteX21" fmla="*/ 460769 w 609050"/>
                    <a:gd name="connsiteY21" fmla="*/ 341726 h 586540"/>
                    <a:gd name="connsiteX22" fmla="*/ 555916 w 609050"/>
                    <a:gd name="connsiteY22" fmla="*/ 341726 h 586540"/>
                    <a:gd name="connsiteX23" fmla="*/ 555916 w 609050"/>
                    <a:gd name="connsiteY23" fmla="*/ 303071 h 586540"/>
                    <a:gd name="connsiteX24" fmla="*/ 216243 w 609050"/>
                    <a:gd name="connsiteY24" fmla="*/ 266609 h 586540"/>
                    <a:gd name="connsiteX25" fmla="*/ 216243 w 609050"/>
                    <a:gd name="connsiteY25" fmla="*/ 310473 h 586540"/>
                    <a:gd name="connsiteX26" fmla="*/ 293953 w 609050"/>
                    <a:gd name="connsiteY26" fmla="*/ 310473 h 586540"/>
                    <a:gd name="connsiteX27" fmla="*/ 293953 w 609050"/>
                    <a:gd name="connsiteY27" fmla="*/ 266609 h 586540"/>
                    <a:gd name="connsiteX28" fmla="*/ 69884 w 609050"/>
                    <a:gd name="connsiteY28" fmla="*/ 266609 h 586540"/>
                    <a:gd name="connsiteX29" fmla="*/ 69884 w 609050"/>
                    <a:gd name="connsiteY29" fmla="*/ 310473 h 586540"/>
                    <a:gd name="connsiteX30" fmla="*/ 147595 w 609050"/>
                    <a:gd name="connsiteY30" fmla="*/ 310473 h 586540"/>
                    <a:gd name="connsiteX31" fmla="*/ 147595 w 609050"/>
                    <a:gd name="connsiteY31" fmla="*/ 266609 h 586540"/>
                    <a:gd name="connsiteX32" fmla="*/ 460769 w 609050"/>
                    <a:gd name="connsiteY32" fmla="*/ 230010 h 586540"/>
                    <a:gd name="connsiteX33" fmla="*/ 460769 w 609050"/>
                    <a:gd name="connsiteY33" fmla="*/ 268528 h 586540"/>
                    <a:gd name="connsiteX34" fmla="*/ 555916 w 609050"/>
                    <a:gd name="connsiteY34" fmla="*/ 268528 h 586540"/>
                    <a:gd name="connsiteX35" fmla="*/ 555916 w 609050"/>
                    <a:gd name="connsiteY35" fmla="*/ 230010 h 586540"/>
                    <a:gd name="connsiteX36" fmla="*/ 216243 w 609050"/>
                    <a:gd name="connsiteY36" fmla="*/ 193549 h 586540"/>
                    <a:gd name="connsiteX37" fmla="*/ 216243 w 609050"/>
                    <a:gd name="connsiteY37" fmla="*/ 237412 h 586540"/>
                    <a:gd name="connsiteX38" fmla="*/ 293953 w 609050"/>
                    <a:gd name="connsiteY38" fmla="*/ 237412 h 586540"/>
                    <a:gd name="connsiteX39" fmla="*/ 293953 w 609050"/>
                    <a:gd name="connsiteY39" fmla="*/ 193549 h 586540"/>
                    <a:gd name="connsiteX40" fmla="*/ 69884 w 609050"/>
                    <a:gd name="connsiteY40" fmla="*/ 193549 h 586540"/>
                    <a:gd name="connsiteX41" fmla="*/ 69884 w 609050"/>
                    <a:gd name="connsiteY41" fmla="*/ 237412 h 586540"/>
                    <a:gd name="connsiteX42" fmla="*/ 147595 w 609050"/>
                    <a:gd name="connsiteY42" fmla="*/ 237412 h 586540"/>
                    <a:gd name="connsiteX43" fmla="*/ 147595 w 609050"/>
                    <a:gd name="connsiteY43" fmla="*/ 193549 h 586540"/>
                    <a:gd name="connsiteX44" fmla="*/ 460769 w 609050"/>
                    <a:gd name="connsiteY44" fmla="*/ 156950 h 586540"/>
                    <a:gd name="connsiteX45" fmla="*/ 460769 w 609050"/>
                    <a:gd name="connsiteY45" fmla="*/ 195468 h 586540"/>
                    <a:gd name="connsiteX46" fmla="*/ 555916 w 609050"/>
                    <a:gd name="connsiteY46" fmla="*/ 195468 h 586540"/>
                    <a:gd name="connsiteX47" fmla="*/ 555916 w 609050"/>
                    <a:gd name="connsiteY47" fmla="*/ 156950 h 586540"/>
                    <a:gd name="connsiteX48" fmla="*/ 192926 w 609050"/>
                    <a:gd name="connsiteY48" fmla="*/ 96251 h 586540"/>
                    <a:gd name="connsiteX49" fmla="*/ 361366 w 609050"/>
                    <a:gd name="connsiteY49" fmla="*/ 96251 h 586540"/>
                    <a:gd name="connsiteX50" fmla="*/ 361366 w 609050"/>
                    <a:gd name="connsiteY50" fmla="*/ 114880 h 586540"/>
                    <a:gd name="connsiteX51" fmla="*/ 192926 w 609050"/>
                    <a:gd name="connsiteY51" fmla="*/ 114880 h 586540"/>
                    <a:gd name="connsiteX52" fmla="*/ 192926 w 609050"/>
                    <a:gd name="connsiteY52" fmla="*/ 49819 h 586540"/>
                    <a:gd name="connsiteX53" fmla="*/ 361366 w 609050"/>
                    <a:gd name="connsiteY53" fmla="*/ 49819 h 586540"/>
                    <a:gd name="connsiteX54" fmla="*/ 361366 w 609050"/>
                    <a:gd name="connsiteY54" fmla="*/ 68307 h 586540"/>
                    <a:gd name="connsiteX55" fmla="*/ 192926 w 609050"/>
                    <a:gd name="connsiteY55" fmla="*/ 68307 h 586540"/>
                    <a:gd name="connsiteX56" fmla="*/ 166130 w 609050"/>
                    <a:gd name="connsiteY56" fmla="*/ 25222 h 586540"/>
                    <a:gd name="connsiteX57" fmla="*/ 166130 w 609050"/>
                    <a:gd name="connsiteY57" fmla="*/ 155716 h 586540"/>
                    <a:gd name="connsiteX58" fmla="*/ 338987 w 609050"/>
                    <a:gd name="connsiteY58" fmla="*/ 155716 h 586540"/>
                    <a:gd name="connsiteX59" fmla="*/ 338987 w 609050"/>
                    <a:gd name="connsiteY59" fmla="*/ 341040 h 586540"/>
                    <a:gd name="connsiteX60" fmla="*/ 338987 w 609050"/>
                    <a:gd name="connsiteY60" fmla="*/ 531710 h 586540"/>
                    <a:gd name="connsiteX61" fmla="*/ 366721 w 609050"/>
                    <a:gd name="connsiteY61" fmla="*/ 531710 h 586540"/>
                    <a:gd name="connsiteX62" fmla="*/ 366721 w 609050"/>
                    <a:gd name="connsiteY62" fmla="*/ 341040 h 586540"/>
                    <a:gd name="connsiteX63" fmla="*/ 366721 w 609050"/>
                    <a:gd name="connsiteY63" fmla="*/ 155305 h 586540"/>
                    <a:gd name="connsiteX64" fmla="*/ 388002 w 609050"/>
                    <a:gd name="connsiteY64" fmla="*/ 143517 h 586540"/>
                    <a:gd name="connsiteX65" fmla="*/ 388002 w 609050"/>
                    <a:gd name="connsiteY65" fmla="*/ 25222 h 586540"/>
                    <a:gd name="connsiteX66" fmla="*/ 140867 w 609050"/>
                    <a:gd name="connsiteY66" fmla="*/ 0 h 586540"/>
                    <a:gd name="connsiteX67" fmla="*/ 413402 w 609050"/>
                    <a:gd name="connsiteY67" fmla="*/ 0 h 586540"/>
                    <a:gd name="connsiteX68" fmla="*/ 413402 w 609050"/>
                    <a:gd name="connsiteY68" fmla="*/ 129398 h 586540"/>
                    <a:gd name="connsiteX69" fmla="*/ 432486 w 609050"/>
                    <a:gd name="connsiteY69" fmla="*/ 118843 h 586540"/>
                    <a:gd name="connsiteX70" fmla="*/ 584199 w 609050"/>
                    <a:gd name="connsiteY70" fmla="*/ 118843 h 586540"/>
                    <a:gd name="connsiteX71" fmla="*/ 584199 w 609050"/>
                    <a:gd name="connsiteY71" fmla="*/ 531710 h 586540"/>
                    <a:gd name="connsiteX72" fmla="*/ 609050 w 609050"/>
                    <a:gd name="connsiteY72" fmla="*/ 531710 h 586540"/>
                    <a:gd name="connsiteX73" fmla="*/ 609050 w 609050"/>
                    <a:gd name="connsiteY73" fmla="*/ 586540 h 586540"/>
                    <a:gd name="connsiteX74" fmla="*/ 0 w 609050"/>
                    <a:gd name="connsiteY74" fmla="*/ 586540 h 586540"/>
                    <a:gd name="connsiteX75" fmla="*/ 0 w 609050"/>
                    <a:gd name="connsiteY75" fmla="*/ 531710 h 586540"/>
                    <a:gd name="connsiteX76" fmla="*/ 24851 w 609050"/>
                    <a:gd name="connsiteY76" fmla="*/ 531710 h 586540"/>
                    <a:gd name="connsiteX77" fmla="*/ 24851 w 609050"/>
                    <a:gd name="connsiteY77" fmla="*/ 155716 h 586540"/>
                    <a:gd name="connsiteX78" fmla="*/ 140867 w 609050"/>
                    <a:gd name="connsiteY78" fmla="*/ 155716 h 586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609050" h="586540">
                      <a:moveTo>
                        <a:pt x="216243" y="412730"/>
                      </a:moveTo>
                      <a:lnTo>
                        <a:pt x="216243" y="456594"/>
                      </a:lnTo>
                      <a:lnTo>
                        <a:pt x="293953" y="456594"/>
                      </a:lnTo>
                      <a:lnTo>
                        <a:pt x="293953" y="412730"/>
                      </a:lnTo>
                      <a:close/>
                      <a:moveTo>
                        <a:pt x="69884" y="412730"/>
                      </a:moveTo>
                      <a:lnTo>
                        <a:pt x="69884" y="456594"/>
                      </a:lnTo>
                      <a:lnTo>
                        <a:pt x="147595" y="456594"/>
                      </a:lnTo>
                      <a:lnTo>
                        <a:pt x="147595" y="412730"/>
                      </a:lnTo>
                      <a:close/>
                      <a:moveTo>
                        <a:pt x="460769" y="376268"/>
                      </a:moveTo>
                      <a:lnTo>
                        <a:pt x="460769" y="414786"/>
                      </a:lnTo>
                      <a:lnTo>
                        <a:pt x="555916" y="414786"/>
                      </a:lnTo>
                      <a:lnTo>
                        <a:pt x="555916" y="376268"/>
                      </a:lnTo>
                      <a:close/>
                      <a:moveTo>
                        <a:pt x="216243" y="339670"/>
                      </a:moveTo>
                      <a:lnTo>
                        <a:pt x="216243" y="383533"/>
                      </a:lnTo>
                      <a:lnTo>
                        <a:pt x="293953" y="383533"/>
                      </a:lnTo>
                      <a:lnTo>
                        <a:pt x="293953" y="339670"/>
                      </a:lnTo>
                      <a:close/>
                      <a:moveTo>
                        <a:pt x="69884" y="339670"/>
                      </a:moveTo>
                      <a:lnTo>
                        <a:pt x="69884" y="383533"/>
                      </a:lnTo>
                      <a:lnTo>
                        <a:pt x="147595" y="383533"/>
                      </a:lnTo>
                      <a:lnTo>
                        <a:pt x="147595" y="339670"/>
                      </a:lnTo>
                      <a:close/>
                      <a:moveTo>
                        <a:pt x="460769" y="303071"/>
                      </a:moveTo>
                      <a:lnTo>
                        <a:pt x="460769" y="341726"/>
                      </a:lnTo>
                      <a:lnTo>
                        <a:pt x="555916" y="341726"/>
                      </a:lnTo>
                      <a:lnTo>
                        <a:pt x="555916" y="303071"/>
                      </a:lnTo>
                      <a:close/>
                      <a:moveTo>
                        <a:pt x="216243" y="266609"/>
                      </a:moveTo>
                      <a:lnTo>
                        <a:pt x="216243" y="310473"/>
                      </a:lnTo>
                      <a:lnTo>
                        <a:pt x="293953" y="310473"/>
                      </a:lnTo>
                      <a:lnTo>
                        <a:pt x="293953" y="266609"/>
                      </a:lnTo>
                      <a:close/>
                      <a:moveTo>
                        <a:pt x="69884" y="266609"/>
                      </a:moveTo>
                      <a:lnTo>
                        <a:pt x="69884" y="310473"/>
                      </a:lnTo>
                      <a:lnTo>
                        <a:pt x="147595" y="310473"/>
                      </a:lnTo>
                      <a:lnTo>
                        <a:pt x="147595" y="266609"/>
                      </a:lnTo>
                      <a:close/>
                      <a:moveTo>
                        <a:pt x="460769" y="230010"/>
                      </a:moveTo>
                      <a:lnTo>
                        <a:pt x="460769" y="268528"/>
                      </a:lnTo>
                      <a:lnTo>
                        <a:pt x="555916" y="268528"/>
                      </a:lnTo>
                      <a:lnTo>
                        <a:pt x="555916" y="230010"/>
                      </a:lnTo>
                      <a:close/>
                      <a:moveTo>
                        <a:pt x="216243" y="193549"/>
                      </a:moveTo>
                      <a:lnTo>
                        <a:pt x="216243" y="237412"/>
                      </a:lnTo>
                      <a:lnTo>
                        <a:pt x="293953" y="237412"/>
                      </a:lnTo>
                      <a:lnTo>
                        <a:pt x="293953" y="193549"/>
                      </a:lnTo>
                      <a:close/>
                      <a:moveTo>
                        <a:pt x="69884" y="193549"/>
                      </a:moveTo>
                      <a:lnTo>
                        <a:pt x="69884" y="237412"/>
                      </a:lnTo>
                      <a:lnTo>
                        <a:pt x="147595" y="237412"/>
                      </a:lnTo>
                      <a:lnTo>
                        <a:pt x="147595" y="193549"/>
                      </a:lnTo>
                      <a:close/>
                      <a:moveTo>
                        <a:pt x="460769" y="156950"/>
                      </a:moveTo>
                      <a:lnTo>
                        <a:pt x="460769" y="195468"/>
                      </a:lnTo>
                      <a:lnTo>
                        <a:pt x="555916" y="195468"/>
                      </a:lnTo>
                      <a:lnTo>
                        <a:pt x="555916" y="156950"/>
                      </a:lnTo>
                      <a:close/>
                      <a:moveTo>
                        <a:pt x="192926" y="96251"/>
                      </a:moveTo>
                      <a:lnTo>
                        <a:pt x="361366" y="96251"/>
                      </a:lnTo>
                      <a:lnTo>
                        <a:pt x="361366" y="114880"/>
                      </a:lnTo>
                      <a:lnTo>
                        <a:pt x="192926" y="114880"/>
                      </a:lnTo>
                      <a:close/>
                      <a:moveTo>
                        <a:pt x="192926" y="49819"/>
                      </a:moveTo>
                      <a:lnTo>
                        <a:pt x="361366" y="49819"/>
                      </a:lnTo>
                      <a:lnTo>
                        <a:pt x="361366" y="68307"/>
                      </a:lnTo>
                      <a:lnTo>
                        <a:pt x="192926" y="68307"/>
                      </a:lnTo>
                      <a:close/>
                      <a:moveTo>
                        <a:pt x="166130" y="25222"/>
                      </a:moveTo>
                      <a:lnTo>
                        <a:pt x="166130" y="155716"/>
                      </a:lnTo>
                      <a:lnTo>
                        <a:pt x="338987" y="155716"/>
                      </a:lnTo>
                      <a:lnTo>
                        <a:pt x="338987" y="341040"/>
                      </a:lnTo>
                      <a:lnTo>
                        <a:pt x="338987" y="531710"/>
                      </a:lnTo>
                      <a:lnTo>
                        <a:pt x="366721" y="531710"/>
                      </a:lnTo>
                      <a:lnTo>
                        <a:pt x="366721" y="341040"/>
                      </a:lnTo>
                      <a:lnTo>
                        <a:pt x="366721" y="155305"/>
                      </a:lnTo>
                      <a:lnTo>
                        <a:pt x="388002" y="143517"/>
                      </a:lnTo>
                      <a:lnTo>
                        <a:pt x="388002" y="25222"/>
                      </a:lnTo>
                      <a:close/>
                      <a:moveTo>
                        <a:pt x="140867" y="0"/>
                      </a:moveTo>
                      <a:lnTo>
                        <a:pt x="413402" y="0"/>
                      </a:lnTo>
                      <a:lnTo>
                        <a:pt x="413402" y="129398"/>
                      </a:lnTo>
                      <a:lnTo>
                        <a:pt x="432486" y="118843"/>
                      </a:lnTo>
                      <a:lnTo>
                        <a:pt x="584199" y="118843"/>
                      </a:lnTo>
                      <a:lnTo>
                        <a:pt x="584199" y="531710"/>
                      </a:lnTo>
                      <a:lnTo>
                        <a:pt x="609050" y="531710"/>
                      </a:lnTo>
                      <a:lnTo>
                        <a:pt x="609050" y="586540"/>
                      </a:lnTo>
                      <a:lnTo>
                        <a:pt x="0" y="586540"/>
                      </a:lnTo>
                      <a:lnTo>
                        <a:pt x="0" y="531710"/>
                      </a:lnTo>
                      <a:lnTo>
                        <a:pt x="24851" y="531710"/>
                      </a:lnTo>
                      <a:lnTo>
                        <a:pt x="24851" y="155716"/>
                      </a:lnTo>
                      <a:lnTo>
                        <a:pt x="140867" y="155716"/>
                      </a:lnTo>
                      <a:close/>
                    </a:path>
                  </a:pathLst>
                </a:custGeom>
                <a:solidFill>
                  <a:schemeClr val="bg1"/>
                </a:solidFill>
                <a:ln>
                  <a:noFill/>
                </a:ln>
              </p:spPr>
              <p:txBody>
                <a:bodyPr/>
                <a:lstStyle/>
                <a:p>
                  <a:endParaRPr lang="zh-CN" altLang="en-US"/>
                </a:p>
              </p:txBody>
            </p:sp>
          </p:grpSp>
        </p:grpSp>
        <p:grpSp>
          <p:nvGrpSpPr>
            <p:cNvPr id="6" name="iŝ1íďê"/>
            <p:cNvGrpSpPr/>
            <p:nvPr/>
          </p:nvGrpSpPr>
          <p:grpSpPr>
            <a:xfrm>
              <a:off x="1856159" y="3363796"/>
              <a:ext cx="4786369" cy="594355"/>
              <a:chOff x="1856159" y="2739545"/>
              <a:chExt cx="4786369" cy="594355"/>
            </a:xfrm>
          </p:grpSpPr>
          <p:sp>
            <p:nvSpPr>
              <p:cNvPr id="22" name="í$ḷïḋê"/>
              <p:cNvSpPr txBox="1"/>
              <p:nvPr/>
            </p:nvSpPr>
            <p:spPr bwMode="auto">
              <a:xfrm>
                <a:off x="2450513" y="2853052"/>
                <a:ext cx="4192015"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lnSpcReduction="1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eaLnBrk="1" hangingPunct="1">
                  <a:lnSpc>
                    <a:spcPct val="100000"/>
                  </a:lnSpc>
                  <a:spcBef>
                    <a:spcPct val="0"/>
                  </a:spcBef>
                  <a:buFontTx/>
                  <a:buNone/>
                </a:pPr>
                <a:r>
                  <a:rPr lang="zh-CN" altLang="en-US" sz="2000" dirty="0" smtClean="0"/>
                  <a:t>形象直观</a:t>
                </a:r>
                <a:endParaRPr lang="en-US" altLang="zh-CN" sz="2000" dirty="0"/>
              </a:p>
            </p:txBody>
          </p:sp>
          <p:grpSp>
            <p:nvGrpSpPr>
              <p:cNvPr id="18" name="îṡļiḓé"/>
              <p:cNvGrpSpPr/>
              <p:nvPr/>
            </p:nvGrpSpPr>
            <p:grpSpPr>
              <a:xfrm>
                <a:off x="1856159" y="2739545"/>
                <a:ext cx="594355" cy="594355"/>
                <a:chOff x="3024090" y="3372302"/>
                <a:chExt cx="594355" cy="594355"/>
              </a:xfrm>
            </p:grpSpPr>
            <p:sp>
              <p:nvSpPr>
                <p:cNvPr id="19" name="ïšļíḋè"/>
                <p:cNvSpPr/>
                <p:nvPr/>
              </p:nvSpPr>
              <p:spPr>
                <a:xfrm>
                  <a:off x="3024090" y="3372302"/>
                  <a:ext cx="594355" cy="59435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dirty="0"/>
                </a:p>
              </p:txBody>
            </p:sp>
            <p:sp>
              <p:nvSpPr>
                <p:cNvPr id="20" name="îsļíḍè"/>
                <p:cNvSpPr/>
                <p:nvPr/>
              </p:nvSpPr>
              <p:spPr bwMode="auto">
                <a:xfrm>
                  <a:off x="3142865" y="3503499"/>
                  <a:ext cx="356804" cy="331960"/>
                </a:xfrm>
                <a:custGeom>
                  <a:avLst/>
                  <a:gdLst>
                    <a:gd name="connsiteX0" fmla="*/ 308760 w 605409"/>
                    <a:gd name="connsiteY0" fmla="*/ 382178 h 563254"/>
                    <a:gd name="connsiteX1" fmla="*/ 308760 w 605409"/>
                    <a:gd name="connsiteY1" fmla="*/ 437705 h 563254"/>
                    <a:gd name="connsiteX2" fmla="*/ 326766 w 605409"/>
                    <a:gd name="connsiteY2" fmla="*/ 411294 h 563254"/>
                    <a:gd name="connsiteX3" fmla="*/ 308760 w 605409"/>
                    <a:gd name="connsiteY3" fmla="*/ 382178 h 563254"/>
                    <a:gd name="connsiteX4" fmla="*/ 295534 w 605409"/>
                    <a:gd name="connsiteY4" fmla="*/ 283057 h 563254"/>
                    <a:gd name="connsiteX5" fmla="*/ 278484 w 605409"/>
                    <a:gd name="connsiteY5" fmla="*/ 305490 h 563254"/>
                    <a:gd name="connsiteX6" fmla="*/ 295534 w 605409"/>
                    <a:gd name="connsiteY6" fmla="*/ 332220 h 563254"/>
                    <a:gd name="connsiteX7" fmla="*/ 302067 w 605409"/>
                    <a:gd name="connsiteY7" fmla="*/ 240417 h 563254"/>
                    <a:gd name="connsiteX8" fmla="*/ 308760 w 605409"/>
                    <a:gd name="connsiteY8" fmla="*/ 248213 h 563254"/>
                    <a:gd name="connsiteX9" fmla="*/ 308760 w 605409"/>
                    <a:gd name="connsiteY9" fmla="*/ 255532 h 563254"/>
                    <a:gd name="connsiteX10" fmla="*/ 356244 w 605409"/>
                    <a:gd name="connsiteY10" fmla="*/ 298808 h 563254"/>
                    <a:gd name="connsiteX11" fmla="*/ 340629 w 605409"/>
                    <a:gd name="connsiteY11" fmla="*/ 315355 h 563254"/>
                    <a:gd name="connsiteX12" fmla="*/ 323738 w 605409"/>
                    <a:gd name="connsiteY12" fmla="*/ 298490 h 563254"/>
                    <a:gd name="connsiteX13" fmla="*/ 308760 w 605409"/>
                    <a:gd name="connsiteY13" fmla="*/ 283057 h 563254"/>
                    <a:gd name="connsiteX14" fmla="*/ 308760 w 605409"/>
                    <a:gd name="connsiteY14" fmla="*/ 339379 h 563254"/>
                    <a:gd name="connsiteX15" fmla="*/ 325331 w 605409"/>
                    <a:gd name="connsiteY15" fmla="*/ 349085 h 563254"/>
                    <a:gd name="connsiteX16" fmla="*/ 361662 w 605409"/>
                    <a:gd name="connsiteY16" fmla="*/ 404771 h 563254"/>
                    <a:gd name="connsiteX17" fmla="*/ 308760 w 605409"/>
                    <a:gd name="connsiteY17" fmla="*/ 465230 h 563254"/>
                    <a:gd name="connsiteX18" fmla="*/ 308760 w 605409"/>
                    <a:gd name="connsiteY18" fmla="*/ 487186 h 563254"/>
                    <a:gd name="connsiteX19" fmla="*/ 302067 w 605409"/>
                    <a:gd name="connsiteY19" fmla="*/ 494664 h 563254"/>
                    <a:gd name="connsiteX20" fmla="*/ 295534 w 605409"/>
                    <a:gd name="connsiteY20" fmla="*/ 487186 h 563254"/>
                    <a:gd name="connsiteX21" fmla="*/ 295534 w 605409"/>
                    <a:gd name="connsiteY21" fmla="*/ 465230 h 563254"/>
                    <a:gd name="connsiteX22" fmla="*/ 243747 w 605409"/>
                    <a:gd name="connsiteY22" fmla="*/ 414317 h 563254"/>
                    <a:gd name="connsiteX23" fmla="*/ 259522 w 605409"/>
                    <a:gd name="connsiteY23" fmla="*/ 394747 h 563254"/>
                    <a:gd name="connsiteX24" fmla="*/ 276413 w 605409"/>
                    <a:gd name="connsiteY24" fmla="*/ 413681 h 563254"/>
                    <a:gd name="connsiteX25" fmla="*/ 295534 w 605409"/>
                    <a:gd name="connsiteY25" fmla="*/ 437705 h 563254"/>
                    <a:gd name="connsiteX26" fmla="*/ 295534 w 605409"/>
                    <a:gd name="connsiteY26" fmla="*/ 375337 h 563254"/>
                    <a:gd name="connsiteX27" fmla="*/ 277209 w 605409"/>
                    <a:gd name="connsiteY27" fmla="*/ 363722 h 563254"/>
                    <a:gd name="connsiteX28" fmla="*/ 245659 w 605409"/>
                    <a:gd name="connsiteY28" fmla="*/ 309309 h 563254"/>
                    <a:gd name="connsiteX29" fmla="*/ 295534 w 605409"/>
                    <a:gd name="connsiteY29" fmla="*/ 255532 h 563254"/>
                    <a:gd name="connsiteX30" fmla="*/ 295534 w 605409"/>
                    <a:gd name="connsiteY30" fmla="*/ 248213 h 563254"/>
                    <a:gd name="connsiteX31" fmla="*/ 302067 w 605409"/>
                    <a:gd name="connsiteY31" fmla="*/ 240417 h 563254"/>
                    <a:gd name="connsiteX32" fmla="*/ 302669 w 605409"/>
                    <a:gd name="connsiteY32" fmla="*/ 216368 h 563254"/>
                    <a:gd name="connsiteX33" fmla="*/ 151304 w 605409"/>
                    <a:gd name="connsiteY33" fmla="*/ 367534 h 563254"/>
                    <a:gd name="connsiteX34" fmla="*/ 302669 w 605409"/>
                    <a:gd name="connsiteY34" fmla="*/ 518700 h 563254"/>
                    <a:gd name="connsiteX35" fmla="*/ 454034 w 605409"/>
                    <a:gd name="connsiteY35" fmla="*/ 367534 h 563254"/>
                    <a:gd name="connsiteX36" fmla="*/ 302669 w 605409"/>
                    <a:gd name="connsiteY36" fmla="*/ 216368 h 563254"/>
                    <a:gd name="connsiteX37" fmla="*/ 293746 w 605409"/>
                    <a:gd name="connsiteY37" fmla="*/ 102118 h 563254"/>
                    <a:gd name="connsiteX38" fmla="*/ 311592 w 605409"/>
                    <a:gd name="connsiteY38" fmla="*/ 102118 h 563254"/>
                    <a:gd name="connsiteX39" fmla="*/ 519041 w 605409"/>
                    <a:gd name="connsiteY39" fmla="*/ 280813 h 563254"/>
                    <a:gd name="connsiteX40" fmla="*/ 523821 w 605409"/>
                    <a:gd name="connsiteY40" fmla="*/ 291156 h 563254"/>
                    <a:gd name="connsiteX41" fmla="*/ 523821 w 605409"/>
                    <a:gd name="connsiteY41" fmla="*/ 549570 h 563254"/>
                    <a:gd name="connsiteX42" fmla="*/ 510119 w 605409"/>
                    <a:gd name="connsiteY42" fmla="*/ 563254 h 563254"/>
                    <a:gd name="connsiteX43" fmla="*/ 95220 w 605409"/>
                    <a:gd name="connsiteY43" fmla="*/ 563254 h 563254"/>
                    <a:gd name="connsiteX44" fmla="*/ 81517 w 605409"/>
                    <a:gd name="connsiteY44" fmla="*/ 549570 h 563254"/>
                    <a:gd name="connsiteX45" fmla="*/ 81517 w 605409"/>
                    <a:gd name="connsiteY45" fmla="*/ 291156 h 563254"/>
                    <a:gd name="connsiteX46" fmla="*/ 86297 w 605409"/>
                    <a:gd name="connsiteY46" fmla="*/ 280813 h 563254"/>
                    <a:gd name="connsiteX47" fmla="*/ 302705 w 605409"/>
                    <a:gd name="connsiteY47" fmla="*/ 0 h 563254"/>
                    <a:gd name="connsiteX48" fmla="*/ 320710 w 605409"/>
                    <a:gd name="connsiteY48" fmla="*/ 6563 h 563254"/>
                    <a:gd name="connsiteX49" fmla="*/ 595894 w 605409"/>
                    <a:gd name="connsiteY49" fmla="*/ 242992 h 563254"/>
                    <a:gd name="connsiteX50" fmla="*/ 598762 w 605409"/>
                    <a:gd name="connsiteY50" fmla="*/ 281654 h 563254"/>
                    <a:gd name="connsiteX51" fmla="*/ 577888 w 605409"/>
                    <a:gd name="connsiteY51" fmla="*/ 291200 h 563254"/>
                    <a:gd name="connsiteX52" fmla="*/ 560042 w 605409"/>
                    <a:gd name="connsiteY52" fmla="*/ 284677 h 563254"/>
                    <a:gd name="connsiteX53" fmla="*/ 302705 w 605409"/>
                    <a:gd name="connsiteY53" fmla="*/ 63682 h 563254"/>
                    <a:gd name="connsiteX54" fmla="*/ 45367 w 605409"/>
                    <a:gd name="connsiteY54" fmla="*/ 284677 h 563254"/>
                    <a:gd name="connsiteX55" fmla="*/ 6647 w 605409"/>
                    <a:gd name="connsiteY55" fmla="*/ 281654 h 563254"/>
                    <a:gd name="connsiteX56" fmla="*/ 9515 w 605409"/>
                    <a:gd name="connsiteY56" fmla="*/ 242992 h 563254"/>
                    <a:gd name="connsiteX57" fmla="*/ 284699 w 605409"/>
                    <a:gd name="connsiteY57" fmla="*/ 6563 h 563254"/>
                    <a:gd name="connsiteX58" fmla="*/ 302705 w 605409"/>
                    <a:gd name="connsiteY58" fmla="*/ 0 h 563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605409" h="563254">
                      <a:moveTo>
                        <a:pt x="308760" y="382178"/>
                      </a:moveTo>
                      <a:lnTo>
                        <a:pt x="308760" y="437705"/>
                      </a:lnTo>
                      <a:cubicBezTo>
                        <a:pt x="319914" y="435955"/>
                        <a:pt x="326766" y="424022"/>
                        <a:pt x="326766" y="411294"/>
                      </a:cubicBezTo>
                      <a:cubicBezTo>
                        <a:pt x="326766" y="397452"/>
                        <a:pt x="320710" y="388701"/>
                        <a:pt x="308760" y="382178"/>
                      </a:cubicBezTo>
                      <a:close/>
                      <a:moveTo>
                        <a:pt x="295534" y="283057"/>
                      </a:moveTo>
                      <a:cubicBezTo>
                        <a:pt x="284061" y="285125"/>
                        <a:pt x="278484" y="293558"/>
                        <a:pt x="278484" y="305490"/>
                      </a:cubicBezTo>
                      <a:cubicBezTo>
                        <a:pt x="278484" y="315991"/>
                        <a:pt x="281512" y="321083"/>
                        <a:pt x="295534" y="332220"/>
                      </a:cubicBezTo>
                      <a:close/>
                      <a:moveTo>
                        <a:pt x="302067" y="240417"/>
                      </a:moveTo>
                      <a:cubicBezTo>
                        <a:pt x="306688" y="240417"/>
                        <a:pt x="308760" y="243440"/>
                        <a:pt x="308760" y="248213"/>
                      </a:cubicBezTo>
                      <a:lnTo>
                        <a:pt x="308760" y="255532"/>
                      </a:lnTo>
                      <a:cubicBezTo>
                        <a:pt x="334733" y="255532"/>
                        <a:pt x="356244" y="272715"/>
                        <a:pt x="356244" y="298808"/>
                      </a:cubicBezTo>
                      <a:cubicBezTo>
                        <a:pt x="356244" y="307877"/>
                        <a:pt x="350030" y="315355"/>
                        <a:pt x="340629" y="315355"/>
                      </a:cubicBezTo>
                      <a:cubicBezTo>
                        <a:pt x="328200" y="315355"/>
                        <a:pt x="325650" y="307877"/>
                        <a:pt x="323738" y="298490"/>
                      </a:cubicBezTo>
                      <a:cubicBezTo>
                        <a:pt x="321348" y="287512"/>
                        <a:pt x="314974" y="283057"/>
                        <a:pt x="308760" y="283057"/>
                      </a:cubicBezTo>
                      <a:lnTo>
                        <a:pt x="308760" y="339379"/>
                      </a:lnTo>
                      <a:lnTo>
                        <a:pt x="325331" y="349085"/>
                      </a:lnTo>
                      <a:cubicBezTo>
                        <a:pt x="347162" y="361654"/>
                        <a:pt x="361662" y="378042"/>
                        <a:pt x="361662" y="404771"/>
                      </a:cubicBezTo>
                      <a:cubicBezTo>
                        <a:pt x="361662" y="441524"/>
                        <a:pt x="342541" y="463639"/>
                        <a:pt x="308760" y="465230"/>
                      </a:cubicBezTo>
                      <a:lnTo>
                        <a:pt x="308760" y="487186"/>
                      </a:lnTo>
                      <a:cubicBezTo>
                        <a:pt x="308760" y="491482"/>
                        <a:pt x="306688" y="494664"/>
                        <a:pt x="302067" y="494664"/>
                      </a:cubicBezTo>
                      <a:cubicBezTo>
                        <a:pt x="297605" y="494664"/>
                        <a:pt x="295534" y="491482"/>
                        <a:pt x="295534" y="487186"/>
                      </a:cubicBezTo>
                      <a:lnTo>
                        <a:pt x="295534" y="465230"/>
                      </a:lnTo>
                      <a:cubicBezTo>
                        <a:pt x="265577" y="465230"/>
                        <a:pt x="243747" y="443274"/>
                        <a:pt x="243747" y="414317"/>
                      </a:cubicBezTo>
                      <a:cubicBezTo>
                        <a:pt x="243747" y="403975"/>
                        <a:pt x="248527" y="394747"/>
                        <a:pt x="259522" y="394747"/>
                      </a:cubicBezTo>
                      <a:cubicBezTo>
                        <a:pt x="269561" y="394747"/>
                        <a:pt x="274979" y="400475"/>
                        <a:pt x="276413" y="413681"/>
                      </a:cubicBezTo>
                      <a:cubicBezTo>
                        <a:pt x="277847" y="427682"/>
                        <a:pt x="283583" y="436592"/>
                        <a:pt x="295534" y="437705"/>
                      </a:cubicBezTo>
                      <a:lnTo>
                        <a:pt x="295534" y="375337"/>
                      </a:lnTo>
                      <a:lnTo>
                        <a:pt x="277209" y="363722"/>
                      </a:lnTo>
                      <a:cubicBezTo>
                        <a:pt x="256654" y="350517"/>
                        <a:pt x="245659" y="333334"/>
                        <a:pt x="245659" y="309309"/>
                      </a:cubicBezTo>
                      <a:cubicBezTo>
                        <a:pt x="245659" y="279238"/>
                        <a:pt x="264143" y="256487"/>
                        <a:pt x="295534" y="255532"/>
                      </a:cubicBezTo>
                      <a:lnTo>
                        <a:pt x="295534" y="248213"/>
                      </a:lnTo>
                      <a:cubicBezTo>
                        <a:pt x="295534" y="243599"/>
                        <a:pt x="297605" y="240417"/>
                        <a:pt x="302067" y="240417"/>
                      </a:cubicBezTo>
                      <a:close/>
                      <a:moveTo>
                        <a:pt x="302669" y="216368"/>
                      </a:moveTo>
                      <a:cubicBezTo>
                        <a:pt x="219179" y="216368"/>
                        <a:pt x="151304" y="284154"/>
                        <a:pt x="151304" y="367534"/>
                      </a:cubicBezTo>
                      <a:cubicBezTo>
                        <a:pt x="151304" y="450914"/>
                        <a:pt x="219179" y="518700"/>
                        <a:pt x="302669" y="518700"/>
                      </a:cubicBezTo>
                      <a:cubicBezTo>
                        <a:pt x="386159" y="518700"/>
                        <a:pt x="454034" y="450914"/>
                        <a:pt x="454034" y="367534"/>
                      </a:cubicBezTo>
                      <a:cubicBezTo>
                        <a:pt x="454034" y="284154"/>
                        <a:pt x="386159" y="216368"/>
                        <a:pt x="302669" y="216368"/>
                      </a:cubicBezTo>
                      <a:close/>
                      <a:moveTo>
                        <a:pt x="293746" y="102118"/>
                      </a:moveTo>
                      <a:cubicBezTo>
                        <a:pt x="298845" y="97663"/>
                        <a:pt x="306493" y="97663"/>
                        <a:pt x="311592" y="102118"/>
                      </a:cubicBezTo>
                      <a:lnTo>
                        <a:pt x="519041" y="280813"/>
                      </a:lnTo>
                      <a:cubicBezTo>
                        <a:pt x="522068" y="283359"/>
                        <a:pt x="523821" y="287178"/>
                        <a:pt x="523821" y="291156"/>
                      </a:cubicBezTo>
                      <a:lnTo>
                        <a:pt x="523821" y="549570"/>
                      </a:lnTo>
                      <a:cubicBezTo>
                        <a:pt x="523821" y="557208"/>
                        <a:pt x="517607" y="563254"/>
                        <a:pt x="510119" y="563254"/>
                      </a:cubicBezTo>
                      <a:lnTo>
                        <a:pt x="95220" y="563254"/>
                      </a:lnTo>
                      <a:cubicBezTo>
                        <a:pt x="87731" y="563254"/>
                        <a:pt x="81517" y="557208"/>
                        <a:pt x="81517" y="549570"/>
                      </a:cubicBezTo>
                      <a:lnTo>
                        <a:pt x="81517" y="291156"/>
                      </a:lnTo>
                      <a:cubicBezTo>
                        <a:pt x="81517" y="287178"/>
                        <a:pt x="83270" y="283359"/>
                        <a:pt x="86297" y="280813"/>
                      </a:cubicBezTo>
                      <a:close/>
                      <a:moveTo>
                        <a:pt x="302705" y="0"/>
                      </a:moveTo>
                      <a:cubicBezTo>
                        <a:pt x="309118" y="0"/>
                        <a:pt x="315532" y="2188"/>
                        <a:pt x="320710" y="6563"/>
                      </a:cubicBezTo>
                      <a:lnTo>
                        <a:pt x="595894" y="242992"/>
                      </a:lnTo>
                      <a:cubicBezTo>
                        <a:pt x="607366" y="252856"/>
                        <a:pt x="608641" y="270198"/>
                        <a:pt x="598762" y="281654"/>
                      </a:cubicBezTo>
                      <a:cubicBezTo>
                        <a:pt x="593344" y="288018"/>
                        <a:pt x="585696" y="291200"/>
                        <a:pt x="577888" y="291200"/>
                      </a:cubicBezTo>
                      <a:cubicBezTo>
                        <a:pt x="571514" y="291200"/>
                        <a:pt x="565141" y="289132"/>
                        <a:pt x="560042" y="284677"/>
                      </a:cubicBezTo>
                      <a:lnTo>
                        <a:pt x="302705" y="63682"/>
                      </a:lnTo>
                      <a:lnTo>
                        <a:pt x="45367" y="284677"/>
                      </a:lnTo>
                      <a:cubicBezTo>
                        <a:pt x="33895" y="294541"/>
                        <a:pt x="16526" y="293268"/>
                        <a:pt x="6647" y="281654"/>
                      </a:cubicBezTo>
                      <a:cubicBezTo>
                        <a:pt x="-3232" y="270198"/>
                        <a:pt x="-1957" y="252856"/>
                        <a:pt x="9515" y="242992"/>
                      </a:cubicBezTo>
                      <a:lnTo>
                        <a:pt x="284699" y="6563"/>
                      </a:lnTo>
                      <a:cubicBezTo>
                        <a:pt x="289878" y="2188"/>
                        <a:pt x="296291" y="0"/>
                        <a:pt x="302705" y="0"/>
                      </a:cubicBezTo>
                      <a:close/>
                    </a:path>
                  </a:pathLst>
                </a:custGeom>
                <a:solidFill>
                  <a:schemeClr val="bg1"/>
                </a:solidFill>
                <a:ln>
                  <a:noFill/>
                </a:ln>
              </p:spPr>
              <p:txBody>
                <a:bodyPr wrap="square" lIns="91440" tIns="45720" rIns="91440" bIns="45720">
                  <a:normAutofit fontScale="92500" lnSpcReduction="10000"/>
                </a:bodyPr>
                <a:lstStyle/>
                <a:p>
                  <a:pPr algn="ctr"/>
                  <a:endParaRPr lang="zh-CN" altLang="en-US"/>
                </a:p>
              </p:txBody>
            </p:sp>
          </p:grpSp>
        </p:grpSp>
        <p:grpSp>
          <p:nvGrpSpPr>
            <p:cNvPr id="7" name="işḷïḋé"/>
            <p:cNvGrpSpPr/>
            <p:nvPr/>
          </p:nvGrpSpPr>
          <p:grpSpPr>
            <a:xfrm>
              <a:off x="1856159" y="4437333"/>
              <a:ext cx="4786369" cy="594355"/>
              <a:chOff x="1856159" y="3813082"/>
              <a:chExt cx="4786369" cy="594355"/>
            </a:xfrm>
          </p:grpSpPr>
          <p:sp>
            <p:nvSpPr>
              <p:cNvPr id="16" name="iş1íḋè"/>
              <p:cNvSpPr txBox="1"/>
              <p:nvPr/>
            </p:nvSpPr>
            <p:spPr bwMode="auto">
              <a:xfrm>
                <a:off x="2450513" y="3955880"/>
                <a:ext cx="4192015"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lnSpcReduction="1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eaLnBrk="1" hangingPunct="1">
                  <a:lnSpc>
                    <a:spcPct val="100000"/>
                  </a:lnSpc>
                  <a:spcBef>
                    <a:spcPct val="0"/>
                  </a:spcBef>
                  <a:buFontTx/>
                  <a:buNone/>
                </a:pPr>
                <a:r>
                  <a:rPr lang="zh-CN" altLang="en-US" sz="2000" dirty="0" smtClean="0"/>
                  <a:t>便于理解</a:t>
                </a:r>
                <a:endParaRPr lang="en-US" altLang="zh-CN" sz="2000" dirty="0"/>
              </a:p>
            </p:txBody>
          </p:sp>
          <p:grpSp>
            <p:nvGrpSpPr>
              <p:cNvPr id="12" name="íšḷïḍé"/>
              <p:cNvGrpSpPr/>
              <p:nvPr/>
            </p:nvGrpSpPr>
            <p:grpSpPr>
              <a:xfrm>
                <a:off x="1856159" y="3813082"/>
                <a:ext cx="594355" cy="594355"/>
                <a:chOff x="3024090" y="4462414"/>
                <a:chExt cx="594355" cy="594355"/>
              </a:xfrm>
            </p:grpSpPr>
            <p:sp>
              <p:nvSpPr>
                <p:cNvPr id="13" name="íṧlïďè"/>
                <p:cNvSpPr/>
                <p:nvPr/>
              </p:nvSpPr>
              <p:spPr>
                <a:xfrm>
                  <a:off x="3024090" y="4462414"/>
                  <a:ext cx="594355" cy="59435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dirty="0"/>
                </a:p>
              </p:txBody>
            </p:sp>
            <p:sp>
              <p:nvSpPr>
                <p:cNvPr id="14" name="íṥḻíde"/>
                <p:cNvSpPr/>
                <p:nvPr/>
              </p:nvSpPr>
              <p:spPr bwMode="auto">
                <a:xfrm>
                  <a:off x="3152057" y="4581451"/>
                  <a:ext cx="338420" cy="356280"/>
                </a:xfrm>
                <a:custGeom>
                  <a:avLst/>
                  <a:gdLst>
                    <a:gd name="connsiteX0" fmla="*/ 17244 w 576909"/>
                    <a:gd name="connsiteY0" fmla="*/ 412385 h 607357"/>
                    <a:gd name="connsiteX1" fmla="*/ 49769 w 576909"/>
                    <a:gd name="connsiteY1" fmla="*/ 412385 h 607357"/>
                    <a:gd name="connsiteX2" fmla="*/ 57152 w 576909"/>
                    <a:gd name="connsiteY2" fmla="*/ 412385 h 607357"/>
                    <a:gd name="connsiteX3" fmla="*/ 60095 w 576909"/>
                    <a:gd name="connsiteY3" fmla="*/ 412643 h 607357"/>
                    <a:gd name="connsiteX4" fmla="*/ 72020 w 576909"/>
                    <a:gd name="connsiteY4" fmla="*/ 420839 h 607357"/>
                    <a:gd name="connsiteX5" fmla="*/ 74292 w 576909"/>
                    <a:gd name="connsiteY5" fmla="*/ 429498 h 607357"/>
                    <a:gd name="connsiteX6" fmla="*/ 74447 w 576909"/>
                    <a:gd name="connsiteY6" fmla="*/ 577176 h 607357"/>
                    <a:gd name="connsiteX7" fmla="*/ 72588 w 576909"/>
                    <a:gd name="connsiteY7" fmla="*/ 585011 h 607357"/>
                    <a:gd name="connsiteX8" fmla="*/ 60714 w 576909"/>
                    <a:gd name="connsiteY8" fmla="*/ 594083 h 607357"/>
                    <a:gd name="connsiteX9" fmla="*/ 57307 w 576909"/>
                    <a:gd name="connsiteY9" fmla="*/ 594444 h 607357"/>
                    <a:gd name="connsiteX10" fmla="*/ 50389 w 576909"/>
                    <a:gd name="connsiteY10" fmla="*/ 594444 h 607357"/>
                    <a:gd name="connsiteX11" fmla="*/ 17347 w 576909"/>
                    <a:gd name="connsiteY11" fmla="*/ 594444 h 607357"/>
                    <a:gd name="connsiteX12" fmla="*/ 155 w 576909"/>
                    <a:gd name="connsiteY12" fmla="*/ 577280 h 607357"/>
                    <a:gd name="connsiteX13" fmla="*/ 0 w 576909"/>
                    <a:gd name="connsiteY13" fmla="*/ 429550 h 607357"/>
                    <a:gd name="connsiteX14" fmla="*/ 17244 w 576909"/>
                    <a:gd name="connsiteY14" fmla="*/ 412385 h 607357"/>
                    <a:gd name="connsiteX15" fmla="*/ 196520 w 576909"/>
                    <a:gd name="connsiteY15" fmla="*/ 401870 h 607357"/>
                    <a:gd name="connsiteX16" fmla="*/ 308583 w 576909"/>
                    <a:gd name="connsiteY16" fmla="*/ 433626 h 607357"/>
                    <a:gd name="connsiteX17" fmla="*/ 325823 w 576909"/>
                    <a:gd name="connsiteY17" fmla="*/ 438369 h 607357"/>
                    <a:gd name="connsiteX18" fmla="*/ 392669 w 576909"/>
                    <a:gd name="connsiteY18" fmla="*/ 438782 h 607357"/>
                    <a:gd name="connsiteX19" fmla="*/ 409806 w 576909"/>
                    <a:gd name="connsiteY19" fmla="*/ 456052 h 607357"/>
                    <a:gd name="connsiteX20" fmla="*/ 409651 w 576909"/>
                    <a:gd name="connsiteY20" fmla="*/ 484096 h 607357"/>
                    <a:gd name="connsiteX21" fmla="*/ 409599 w 576909"/>
                    <a:gd name="connsiteY21" fmla="*/ 494252 h 607357"/>
                    <a:gd name="connsiteX22" fmla="*/ 392410 w 576909"/>
                    <a:gd name="connsiteY22" fmla="*/ 511367 h 607357"/>
                    <a:gd name="connsiteX23" fmla="*/ 257584 w 576909"/>
                    <a:gd name="connsiteY23" fmla="*/ 511161 h 607357"/>
                    <a:gd name="connsiteX24" fmla="*/ 249325 w 576909"/>
                    <a:gd name="connsiteY24" fmla="*/ 519358 h 607357"/>
                    <a:gd name="connsiteX25" fmla="*/ 249325 w 576909"/>
                    <a:gd name="connsiteY25" fmla="*/ 521987 h 607357"/>
                    <a:gd name="connsiteX26" fmla="*/ 257584 w 576909"/>
                    <a:gd name="connsiteY26" fmla="*/ 530287 h 607357"/>
                    <a:gd name="connsiteX27" fmla="*/ 407122 w 576909"/>
                    <a:gd name="connsiteY27" fmla="*/ 530493 h 607357"/>
                    <a:gd name="connsiteX28" fmla="*/ 407793 w 576909"/>
                    <a:gd name="connsiteY28" fmla="*/ 530493 h 607357"/>
                    <a:gd name="connsiteX29" fmla="*/ 507519 w 576909"/>
                    <a:gd name="connsiteY29" fmla="*/ 429296 h 607357"/>
                    <a:gd name="connsiteX30" fmla="*/ 524656 w 576909"/>
                    <a:gd name="connsiteY30" fmla="*/ 413573 h 607357"/>
                    <a:gd name="connsiteX31" fmla="*/ 524811 w 576909"/>
                    <a:gd name="connsiteY31" fmla="*/ 413573 h 607357"/>
                    <a:gd name="connsiteX32" fmla="*/ 529921 w 576909"/>
                    <a:gd name="connsiteY32" fmla="*/ 413573 h 607357"/>
                    <a:gd name="connsiteX33" fmla="*/ 560066 w 576909"/>
                    <a:gd name="connsiteY33" fmla="*/ 413779 h 607357"/>
                    <a:gd name="connsiteX34" fmla="*/ 576842 w 576909"/>
                    <a:gd name="connsiteY34" fmla="*/ 432131 h 607357"/>
                    <a:gd name="connsiteX35" fmla="*/ 416258 w 576909"/>
                    <a:gd name="connsiteY35" fmla="*/ 607357 h 607357"/>
                    <a:gd name="connsiteX36" fmla="*/ 360252 w 576909"/>
                    <a:gd name="connsiteY36" fmla="*/ 606996 h 607357"/>
                    <a:gd name="connsiteX37" fmla="*/ 233943 w 576909"/>
                    <a:gd name="connsiteY37" fmla="*/ 594779 h 607357"/>
                    <a:gd name="connsiteX38" fmla="*/ 197191 w 576909"/>
                    <a:gd name="connsiteY38" fmla="*/ 587819 h 607357"/>
                    <a:gd name="connsiteX39" fmla="*/ 168801 w 576909"/>
                    <a:gd name="connsiteY39" fmla="*/ 585138 h 607357"/>
                    <a:gd name="connsiteX40" fmla="*/ 94162 w 576909"/>
                    <a:gd name="connsiteY40" fmla="*/ 585138 h 607357"/>
                    <a:gd name="connsiteX41" fmla="*/ 94988 w 576909"/>
                    <a:gd name="connsiteY41" fmla="*/ 577302 h 607357"/>
                    <a:gd name="connsiteX42" fmla="*/ 94884 w 576909"/>
                    <a:gd name="connsiteY42" fmla="*/ 429605 h 607357"/>
                    <a:gd name="connsiteX43" fmla="*/ 93852 w 576909"/>
                    <a:gd name="connsiteY43" fmla="*/ 420738 h 607357"/>
                    <a:gd name="connsiteX44" fmla="*/ 117028 w 576909"/>
                    <a:gd name="connsiteY44" fmla="*/ 420584 h 607357"/>
                    <a:gd name="connsiteX45" fmla="*/ 196520 w 576909"/>
                    <a:gd name="connsiteY45" fmla="*/ 401870 h 607357"/>
                    <a:gd name="connsiteX46" fmla="*/ 468886 w 576909"/>
                    <a:gd name="connsiteY46" fmla="*/ 357273 h 607357"/>
                    <a:gd name="connsiteX47" fmla="*/ 512800 w 576909"/>
                    <a:gd name="connsiteY47" fmla="*/ 357273 h 607357"/>
                    <a:gd name="connsiteX48" fmla="*/ 529984 w 576909"/>
                    <a:gd name="connsiteY48" fmla="*/ 374594 h 607357"/>
                    <a:gd name="connsiteX49" fmla="*/ 529881 w 576909"/>
                    <a:gd name="connsiteY49" fmla="*/ 392946 h 607357"/>
                    <a:gd name="connsiteX50" fmla="*/ 524772 w 576909"/>
                    <a:gd name="connsiteY50" fmla="*/ 392946 h 607357"/>
                    <a:gd name="connsiteX51" fmla="*/ 524566 w 576909"/>
                    <a:gd name="connsiteY51" fmla="*/ 392946 h 607357"/>
                    <a:gd name="connsiteX52" fmla="*/ 498971 w 576909"/>
                    <a:gd name="connsiteY52" fmla="*/ 402895 h 607357"/>
                    <a:gd name="connsiteX53" fmla="*/ 486844 w 576909"/>
                    <a:gd name="connsiteY53" fmla="*/ 427485 h 607357"/>
                    <a:gd name="connsiteX54" fmla="*/ 447368 w 576909"/>
                    <a:gd name="connsiteY54" fmla="*/ 498985 h 607357"/>
                    <a:gd name="connsiteX55" fmla="*/ 428120 w 576909"/>
                    <a:gd name="connsiteY55" fmla="*/ 506872 h 607357"/>
                    <a:gd name="connsiteX56" fmla="*/ 430287 w 576909"/>
                    <a:gd name="connsiteY56" fmla="*/ 494449 h 607357"/>
                    <a:gd name="connsiteX57" fmla="*/ 430391 w 576909"/>
                    <a:gd name="connsiteY57" fmla="*/ 470478 h 607357"/>
                    <a:gd name="connsiteX58" fmla="*/ 451496 w 576909"/>
                    <a:gd name="connsiteY58" fmla="*/ 405524 h 607357"/>
                    <a:gd name="connsiteX59" fmla="*/ 451702 w 576909"/>
                    <a:gd name="connsiteY59" fmla="*/ 374285 h 607357"/>
                    <a:gd name="connsiteX60" fmla="*/ 468886 w 576909"/>
                    <a:gd name="connsiteY60" fmla="*/ 357273 h 607357"/>
                    <a:gd name="connsiteX61" fmla="*/ 361457 w 576909"/>
                    <a:gd name="connsiteY61" fmla="*/ 0 h 607357"/>
                    <a:gd name="connsiteX62" fmla="*/ 386592 w 576909"/>
                    <a:gd name="connsiteY62" fmla="*/ 0 h 607357"/>
                    <a:gd name="connsiteX63" fmla="*/ 407237 w 576909"/>
                    <a:gd name="connsiteY63" fmla="*/ 20619 h 607357"/>
                    <a:gd name="connsiteX64" fmla="*/ 407237 w 576909"/>
                    <a:gd name="connsiteY64" fmla="*/ 127010 h 607357"/>
                    <a:gd name="connsiteX65" fmla="*/ 455649 w 576909"/>
                    <a:gd name="connsiteY65" fmla="*/ 175463 h 607357"/>
                    <a:gd name="connsiteX66" fmla="*/ 445946 w 576909"/>
                    <a:gd name="connsiteY66" fmla="*/ 198917 h 607357"/>
                    <a:gd name="connsiteX67" fmla="*/ 423753 w 576909"/>
                    <a:gd name="connsiteY67" fmla="*/ 198917 h 607357"/>
                    <a:gd name="connsiteX68" fmla="*/ 406514 w 576909"/>
                    <a:gd name="connsiteY68" fmla="*/ 216081 h 607357"/>
                    <a:gd name="connsiteX69" fmla="*/ 406514 w 576909"/>
                    <a:gd name="connsiteY69" fmla="*/ 349070 h 607357"/>
                    <a:gd name="connsiteX70" fmla="*/ 389327 w 576909"/>
                    <a:gd name="connsiteY70" fmla="*/ 366235 h 607357"/>
                    <a:gd name="connsiteX71" fmla="*/ 352631 w 576909"/>
                    <a:gd name="connsiteY71" fmla="*/ 366235 h 607357"/>
                    <a:gd name="connsiteX72" fmla="*/ 335444 w 576909"/>
                    <a:gd name="connsiteY72" fmla="*/ 349070 h 607357"/>
                    <a:gd name="connsiteX73" fmla="*/ 335444 w 576909"/>
                    <a:gd name="connsiteY73" fmla="*/ 289895 h 607357"/>
                    <a:gd name="connsiteX74" fmla="*/ 318257 w 576909"/>
                    <a:gd name="connsiteY74" fmla="*/ 272731 h 607357"/>
                    <a:gd name="connsiteX75" fmla="*/ 241871 w 576909"/>
                    <a:gd name="connsiteY75" fmla="*/ 272731 h 607357"/>
                    <a:gd name="connsiteX76" fmla="*/ 224633 w 576909"/>
                    <a:gd name="connsiteY76" fmla="*/ 289895 h 607357"/>
                    <a:gd name="connsiteX77" fmla="*/ 224633 w 576909"/>
                    <a:gd name="connsiteY77" fmla="*/ 349019 h 607357"/>
                    <a:gd name="connsiteX78" fmla="*/ 207446 w 576909"/>
                    <a:gd name="connsiteY78" fmla="*/ 366184 h 607357"/>
                    <a:gd name="connsiteX79" fmla="*/ 170750 w 576909"/>
                    <a:gd name="connsiteY79" fmla="*/ 366184 h 607357"/>
                    <a:gd name="connsiteX80" fmla="*/ 153563 w 576909"/>
                    <a:gd name="connsiteY80" fmla="*/ 349019 h 607357"/>
                    <a:gd name="connsiteX81" fmla="*/ 153563 w 576909"/>
                    <a:gd name="connsiteY81" fmla="*/ 216030 h 607357"/>
                    <a:gd name="connsiteX82" fmla="*/ 136376 w 576909"/>
                    <a:gd name="connsiteY82" fmla="*/ 198814 h 607357"/>
                    <a:gd name="connsiteX83" fmla="*/ 114131 w 576909"/>
                    <a:gd name="connsiteY83" fmla="*/ 198814 h 607357"/>
                    <a:gd name="connsiteX84" fmla="*/ 104428 w 576909"/>
                    <a:gd name="connsiteY84" fmla="*/ 175412 h 607357"/>
                    <a:gd name="connsiteX85" fmla="*/ 267884 w 576909"/>
                    <a:gd name="connsiteY85" fmla="*/ 12165 h 607357"/>
                    <a:gd name="connsiteX86" fmla="*/ 292245 w 576909"/>
                    <a:gd name="connsiteY86" fmla="*/ 12165 h 607357"/>
                    <a:gd name="connsiteX87" fmla="*/ 340812 w 576909"/>
                    <a:gd name="connsiteY87" fmla="*/ 60670 h 607357"/>
                    <a:gd name="connsiteX88" fmla="*/ 340812 w 576909"/>
                    <a:gd name="connsiteY88" fmla="*/ 20619 h 607357"/>
                    <a:gd name="connsiteX89" fmla="*/ 361457 w 576909"/>
                    <a:gd name="connsiteY89" fmla="*/ 0 h 607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576909" h="607357">
                      <a:moveTo>
                        <a:pt x="17244" y="412385"/>
                      </a:moveTo>
                      <a:lnTo>
                        <a:pt x="49769" y="412385"/>
                      </a:lnTo>
                      <a:lnTo>
                        <a:pt x="57152" y="412385"/>
                      </a:lnTo>
                      <a:cubicBezTo>
                        <a:pt x="58184" y="412385"/>
                        <a:pt x="59165" y="412540"/>
                        <a:pt x="60095" y="412643"/>
                      </a:cubicBezTo>
                      <a:cubicBezTo>
                        <a:pt x="65206" y="413571"/>
                        <a:pt x="69491" y="416560"/>
                        <a:pt x="72020" y="420839"/>
                      </a:cubicBezTo>
                      <a:cubicBezTo>
                        <a:pt x="73518" y="423364"/>
                        <a:pt x="74447" y="426406"/>
                        <a:pt x="74292" y="429498"/>
                      </a:cubicBezTo>
                      <a:lnTo>
                        <a:pt x="74447" y="577176"/>
                      </a:lnTo>
                      <a:cubicBezTo>
                        <a:pt x="74447" y="580011"/>
                        <a:pt x="73724" y="582692"/>
                        <a:pt x="72588" y="585011"/>
                      </a:cubicBezTo>
                      <a:cubicBezTo>
                        <a:pt x="70214" y="589651"/>
                        <a:pt x="65877" y="593053"/>
                        <a:pt x="60714" y="594083"/>
                      </a:cubicBezTo>
                      <a:cubicBezTo>
                        <a:pt x="59630" y="594290"/>
                        <a:pt x="58442" y="594444"/>
                        <a:pt x="57307" y="594444"/>
                      </a:cubicBezTo>
                      <a:lnTo>
                        <a:pt x="50389" y="594444"/>
                      </a:lnTo>
                      <a:lnTo>
                        <a:pt x="17347" y="594444"/>
                      </a:lnTo>
                      <a:cubicBezTo>
                        <a:pt x="7847" y="594444"/>
                        <a:pt x="155" y="586764"/>
                        <a:pt x="155" y="577280"/>
                      </a:cubicBezTo>
                      <a:lnTo>
                        <a:pt x="0" y="429550"/>
                      </a:lnTo>
                      <a:cubicBezTo>
                        <a:pt x="0" y="420066"/>
                        <a:pt x="7744" y="412385"/>
                        <a:pt x="17244" y="412385"/>
                      </a:cubicBezTo>
                      <a:close/>
                      <a:moveTo>
                        <a:pt x="196520" y="401870"/>
                      </a:moveTo>
                      <a:cubicBezTo>
                        <a:pt x="248809" y="401870"/>
                        <a:pt x="291859" y="423831"/>
                        <a:pt x="308583" y="433626"/>
                      </a:cubicBezTo>
                      <a:cubicBezTo>
                        <a:pt x="313796" y="436720"/>
                        <a:pt x="319784" y="438318"/>
                        <a:pt x="325823" y="438369"/>
                      </a:cubicBezTo>
                      <a:lnTo>
                        <a:pt x="392669" y="438782"/>
                      </a:lnTo>
                      <a:cubicBezTo>
                        <a:pt x="402218" y="438782"/>
                        <a:pt x="409857" y="446566"/>
                        <a:pt x="409806" y="456052"/>
                      </a:cubicBezTo>
                      <a:lnTo>
                        <a:pt x="409651" y="484096"/>
                      </a:lnTo>
                      <a:lnTo>
                        <a:pt x="409599" y="494252"/>
                      </a:lnTo>
                      <a:cubicBezTo>
                        <a:pt x="409548" y="503737"/>
                        <a:pt x="401805" y="511367"/>
                        <a:pt x="392410" y="511367"/>
                      </a:cubicBezTo>
                      <a:lnTo>
                        <a:pt x="257584" y="511161"/>
                      </a:lnTo>
                      <a:cubicBezTo>
                        <a:pt x="253042" y="511161"/>
                        <a:pt x="249325" y="514821"/>
                        <a:pt x="249325" y="519358"/>
                      </a:cubicBezTo>
                      <a:lnTo>
                        <a:pt x="249325" y="521987"/>
                      </a:lnTo>
                      <a:cubicBezTo>
                        <a:pt x="249325" y="526575"/>
                        <a:pt x="253042" y="530287"/>
                        <a:pt x="257584" y="530287"/>
                      </a:cubicBezTo>
                      <a:lnTo>
                        <a:pt x="407122" y="530493"/>
                      </a:lnTo>
                      <a:lnTo>
                        <a:pt x="407793" y="530493"/>
                      </a:lnTo>
                      <a:cubicBezTo>
                        <a:pt x="416361" y="530493"/>
                        <a:pt x="499002" y="527967"/>
                        <a:pt x="507519" y="429296"/>
                      </a:cubicBezTo>
                      <a:cubicBezTo>
                        <a:pt x="508293" y="420377"/>
                        <a:pt x="515726" y="413573"/>
                        <a:pt x="524656" y="413573"/>
                      </a:cubicBezTo>
                      <a:lnTo>
                        <a:pt x="524811" y="413573"/>
                      </a:lnTo>
                      <a:lnTo>
                        <a:pt x="529921" y="413573"/>
                      </a:lnTo>
                      <a:lnTo>
                        <a:pt x="560066" y="413779"/>
                      </a:lnTo>
                      <a:cubicBezTo>
                        <a:pt x="569976" y="413830"/>
                        <a:pt x="577719" y="422233"/>
                        <a:pt x="576842" y="432131"/>
                      </a:cubicBezTo>
                      <a:cubicBezTo>
                        <a:pt x="565744" y="600346"/>
                        <a:pt x="416258" y="607357"/>
                        <a:pt x="416258" y="607357"/>
                      </a:cubicBezTo>
                      <a:lnTo>
                        <a:pt x="360252" y="606996"/>
                      </a:lnTo>
                      <a:cubicBezTo>
                        <a:pt x="317874" y="606739"/>
                        <a:pt x="275599" y="602666"/>
                        <a:pt x="233943" y="594779"/>
                      </a:cubicBezTo>
                      <a:lnTo>
                        <a:pt x="197191" y="587819"/>
                      </a:lnTo>
                      <a:cubicBezTo>
                        <a:pt x="187848" y="586015"/>
                        <a:pt x="178351" y="585138"/>
                        <a:pt x="168801" y="585138"/>
                      </a:cubicBezTo>
                      <a:lnTo>
                        <a:pt x="94162" y="585138"/>
                      </a:lnTo>
                      <a:cubicBezTo>
                        <a:pt x="94730" y="582612"/>
                        <a:pt x="94988" y="579983"/>
                        <a:pt x="94988" y="577302"/>
                      </a:cubicBezTo>
                      <a:lnTo>
                        <a:pt x="94884" y="429605"/>
                      </a:lnTo>
                      <a:cubicBezTo>
                        <a:pt x="94884" y="426512"/>
                        <a:pt x="94523" y="423522"/>
                        <a:pt x="93852" y="420738"/>
                      </a:cubicBezTo>
                      <a:lnTo>
                        <a:pt x="117028" y="420584"/>
                      </a:lnTo>
                      <a:cubicBezTo>
                        <a:pt x="144438" y="406922"/>
                        <a:pt x="171537" y="401870"/>
                        <a:pt x="196520" y="401870"/>
                      </a:cubicBezTo>
                      <a:close/>
                      <a:moveTo>
                        <a:pt x="468886" y="357273"/>
                      </a:moveTo>
                      <a:lnTo>
                        <a:pt x="512800" y="357273"/>
                      </a:lnTo>
                      <a:cubicBezTo>
                        <a:pt x="522347" y="357273"/>
                        <a:pt x="530087" y="365006"/>
                        <a:pt x="529984" y="374594"/>
                      </a:cubicBezTo>
                      <a:lnTo>
                        <a:pt x="529881" y="392946"/>
                      </a:lnTo>
                      <a:lnTo>
                        <a:pt x="524772" y="392946"/>
                      </a:lnTo>
                      <a:lnTo>
                        <a:pt x="524566" y="392946"/>
                      </a:lnTo>
                      <a:cubicBezTo>
                        <a:pt x="515071" y="392946"/>
                        <a:pt x="505989" y="396451"/>
                        <a:pt x="498971" y="402895"/>
                      </a:cubicBezTo>
                      <a:cubicBezTo>
                        <a:pt x="491953" y="409288"/>
                        <a:pt x="487670" y="418103"/>
                        <a:pt x="486844" y="427485"/>
                      </a:cubicBezTo>
                      <a:cubicBezTo>
                        <a:pt x="483903" y="461714"/>
                        <a:pt x="470641" y="485737"/>
                        <a:pt x="447368" y="498985"/>
                      </a:cubicBezTo>
                      <a:cubicBezTo>
                        <a:pt x="440763" y="502851"/>
                        <a:pt x="434003" y="505326"/>
                        <a:pt x="428120" y="506872"/>
                      </a:cubicBezTo>
                      <a:cubicBezTo>
                        <a:pt x="429565" y="502954"/>
                        <a:pt x="430287" y="498779"/>
                        <a:pt x="430287" y="494449"/>
                      </a:cubicBezTo>
                      <a:lnTo>
                        <a:pt x="430391" y="470478"/>
                      </a:lnTo>
                      <a:cubicBezTo>
                        <a:pt x="443085" y="457899"/>
                        <a:pt x="452064" y="437692"/>
                        <a:pt x="451496" y="405524"/>
                      </a:cubicBezTo>
                      <a:lnTo>
                        <a:pt x="451702" y="374285"/>
                      </a:lnTo>
                      <a:cubicBezTo>
                        <a:pt x="451754" y="364903"/>
                        <a:pt x="459494" y="357273"/>
                        <a:pt x="468886" y="357273"/>
                      </a:cubicBezTo>
                      <a:close/>
                      <a:moveTo>
                        <a:pt x="361457" y="0"/>
                      </a:moveTo>
                      <a:lnTo>
                        <a:pt x="386592" y="0"/>
                      </a:lnTo>
                      <a:cubicBezTo>
                        <a:pt x="397998" y="0"/>
                        <a:pt x="407237" y="9227"/>
                        <a:pt x="407237" y="20619"/>
                      </a:cubicBezTo>
                      <a:lnTo>
                        <a:pt x="407237" y="127010"/>
                      </a:lnTo>
                      <a:lnTo>
                        <a:pt x="455649" y="175463"/>
                      </a:lnTo>
                      <a:cubicBezTo>
                        <a:pt x="464320" y="184123"/>
                        <a:pt x="458230" y="198917"/>
                        <a:pt x="445946" y="198917"/>
                      </a:cubicBezTo>
                      <a:lnTo>
                        <a:pt x="423753" y="198917"/>
                      </a:lnTo>
                      <a:cubicBezTo>
                        <a:pt x="414256" y="198917"/>
                        <a:pt x="406514" y="206597"/>
                        <a:pt x="406514" y="216081"/>
                      </a:cubicBezTo>
                      <a:lnTo>
                        <a:pt x="406514" y="349070"/>
                      </a:lnTo>
                      <a:cubicBezTo>
                        <a:pt x="406514" y="358555"/>
                        <a:pt x="398824" y="366235"/>
                        <a:pt x="389327" y="366235"/>
                      </a:cubicBezTo>
                      <a:lnTo>
                        <a:pt x="352631" y="366235"/>
                      </a:lnTo>
                      <a:cubicBezTo>
                        <a:pt x="343134" y="366235"/>
                        <a:pt x="335444" y="358555"/>
                        <a:pt x="335444" y="349070"/>
                      </a:cubicBezTo>
                      <a:lnTo>
                        <a:pt x="335444" y="289895"/>
                      </a:lnTo>
                      <a:cubicBezTo>
                        <a:pt x="335444" y="280411"/>
                        <a:pt x="327754" y="272731"/>
                        <a:pt x="318257" y="272731"/>
                      </a:cubicBezTo>
                      <a:lnTo>
                        <a:pt x="241871" y="272731"/>
                      </a:lnTo>
                      <a:cubicBezTo>
                        <a:pt x="232375" y="272731"/>
                        <a:pt x="224633" y="280411"/>
                        <a:pt x="224633" y="289895"/>
                      </a:cubicBezTo>
                      <a:lnTo>
                        <a:pt x="224633" y="349019"/>
                      </a:lnTo>
                      <a:cubicBezTo>
                        <a:pt x="224633" y="358503"/>
                        <a:pt x="216943" y="366184"/>
                        <a:pt x="207446" y="366184"/>
                      </a:cubicBezTo>
                      <a:lnTo>
                        <a:pt x="170750" y="366184"/>
                      </a:lnTo>
                      <a:cubicBezTo>
                        <a:pt x="161253" y="366184"/>
                        <a:pt x="153563" y="358503"/>
                        <a:pt x="153563" y="349019"/>
                      </a:cubicBezTo>
                      <a:lnTo>
                        <a:pt x="153563" y="216030"/>
                      </a:lnTo>
                      <a:cubicBezTo>
                        <a:pt x="153563" y="206545"/>
                        <a:pt x="145872" y="198814"/>
                        <a:pt x="136376" y="198814"/>
                      </a:cubicBezTo>
                      <a:lnTo>
                        <a:pt x="114131" y="198814"/>
                      </a:lnTo>
                      <a:cubicBezTo>
                        <a:pt x="101899" y="198814"/>
                        <a:pt x="95757" y="184071"/>
                        <a:pt x="104428" y="175412"/>
                      </a:cubicBezTo>
                      <a:lnTo>
                        <a:pt x="267884" y="12165"/>
                      </a:lnTo>
                      <a:cubicBezTo>
                        <a:pt x="274593" y="5413"/>
                        <a:pt x="285484" y="5413"/>
                        <a:pt x="292245" y="12165"/>
                      </a:cubicBezTo>
                      <a:lnTo>
                        <a:pt x="340812" y="60670"/>
                      </a:lnTo>
                      <a:lnTo>
                        <a:pt x="340812" y="20619"/>
                      </a:lnTo>
                      <a:cubicBezTo>
                        <a:pt x="340812" y="9227"/>
                        <a:pt x="350050" y="0"/>
                        <a:pt x="361457" y="0"/>
                      </a:cubicBezTo>
                      <a:close/>
                    </a:path>
                  </a:pathLst>
                </a:custGeom>
                <a:solidFill>
                  <a:schemeClr val="bg1"/>
                </a:solidFill>
                <a:ln>
                  <a:noFill/>
                </a:ln>
              </p:spPr>
              <p:txBody>
                <a:bodyPr wrap="square" lIns="91440" tIns="45720" rIns="91440" bIns="45720">
                  <a:normAutofit lnSpcReduction="1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endParaRPr lang="zh-CN" altLang="en-US"/>
                </a:p>
              </p:txBody>
            </p:sp>
          </p:grpSp>
        </p:grpSp>
        <p:cxnSp>
          <p:nvCxnSpPr>
            <p:cNvPr id="8" name="直接连接符 7"/>
            <p:cNvCxnSpPr/>
            <p:nvPr/>
          </p:nvCxnSpPr>
          <p:spPr>
            <a:xfrm>
              <a:off x="2579235" y="3094638"/>
              <a:ext cx="3375000"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9" name="直接连接符 8"/>
            <p:cNvCxnSpPr/>
            <p:nvPr/>
          </p:nvCxnSpPr>
          <p:spPr>
            <a:xfrm>
              <a:off x="2579235" y="4169761"/>
              <a:ext cx="3375000"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pic>
        <p:nvPicPr>
          <p:cNvPr id="29" name="Picture 4" descr="outPu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73318" y="101488"/>
            <a:ext cx="5229548" cy="6642324"/>
          </a:xfrm>
          <a:prstGeom prst="rect">
            <a:avLst/>
          </a:prstGeom>
          <a:noFill/>
          <a:extLst>
            <a:ext uri="{909E8E84-426E-40DD-AFC4-6F175D3DCCD1}">
              <a14:hiddenFill xmlns:a14="http://schemas.microsoft.com/office/drawing/2010/main">
                <a:solidFill>
                  <a:srgbClr val="FFFFFF"/>
                </a:solidFill>
              </a14:hiddenFill>
            </a:ext>
          </a:extLst>
        </p:spPr>
      </p:pic>
      <p:grpSp>
        <p:nvGrpSpPr>
          <p:cNvPr id="23" name="组合 22">
            <a:extLst>
              <a:ext uri="{FF2B5EF4-FFF2-40B4-BE49-F238E27FC236}">
                <a16:creationId xmlns:a16="http://schemas.microsoft.com/office/drawing/2014/main" id="{0853A8D8-448C-4E50-AD38-219140CD6184}"/>
              </a:ext>
            </a:extLst>
          </p:cNvPr>
          <p:cNvGrpSpPr/>
          <p:nvPr/>
        </p:nvGrpSpPr>
        <p:grpSpPr>
          <a:xfrm>
            <a:off x="669925" y="210537"/>
            <a:ext cx="468000" cy="468000"/>
            <a:chOff x="669925" y="48611"/>
            <a:chExt cx="468000" cy="468000"/>
          </a:xfrm>
        </p:grpSpPr>
        <p:sp>
          <p:nvSpPr>
            <p:cNvPr id="27" name="椭圆 26">
              <a:extLst>
                <a:ext uri="{FF2B5EF4-FFF2-40B4-BE49-F238E27FC236}">
                  <a16:creationId xmlns:a16="http://schemas.microsoft.com/office/drawing/2014/main" id="{18765B3C-06BD-445D-B72B-512E55DEF34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30" name="椭圆 29">
              <a:extLst>
                <a:ext uri="{FF2B5EF4-FFF2-40B4-BE49-F238E27FC236}">
                  <a16:creationId xmlns:a16="http://schemas.microsoft.com/office/drawing/2014/main" id="{A6AA7771-0E3D-4241-9DE3-825324394A29}"/>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grpSp>
      <p:sp>
        <p:nvSpPr>
          <p:cNvPr id="31" name="标题 1">
            <a:extLst>
              <a:ext uri="{FF2B5EF4-FFF2-40B4-BE49-F238E27FC236}">
                <a16:creationId xmlns:a16="http://schemas.microsoft.com/office/drawing/2014/main" id="{62930304-3D14-4FEB-B45D-709CE5948953}"/>
              </a:ext>
            </a:extLst>
          </p:cNvPr>
          <p:cNvSpPr txBox="1">
            <a:spLocks/>
          </p:cNvSpPr>
          <p:nvPr/>
        </p:nvSpPr>
        <p:spPr>
          <a:xfrm>
            <a:off x="1149782" y="198392"/>
            <a:ext cx="7347103" cy="57784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3200" b="0" dirty="0">
                <a:latin typeface="Arial" panose="020B0604020202020204" pitchFamily="34" charset="0"/>
                <a:ea typeface="Microsoft YaHei" panose="020B0503020204020204" pitchFamily="34" charset="-122"/>
                <a:cs typeface="+mn-ea"/>
                <a:sym typeface="Arial" panose="020B0604020202020204" pitchFamily="34" charset="0"/>
              </a:rPr>
              <a:t>流程图</a:t>
            </a:r>
          </a:p>
        </p:txBody>
      </p:sp>
    </p:spTree>
    <p:extLst>
      <p:ext uri="{BB962C8B-B14F-4D97-AF65-F5344CB8AC3E}">
        <p14:creationId xmlns:p14="http://schemas.microsoft.com/office/powerpoint/2010/main" val="124030258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组合 31">
            <a:extLst>
              <a:ext uri="{FF2B5EF4-FFF2-40B4-BE49-F238E27FC236}">
                <a16:creationId xmlns:a16="http://schemas.microsoft.com/office/drawing/2014/main" id="{0853A8D8-448C-4E50-AD38-219140CD6184}"/>
              </a:ext>
            </a:extLst>
          </p:cNvPr>
          <p:cNvGrpSpPr/>
          <p:nvPr/>
        </p:nvGrpSpPr>
        <p:grpSpPr>
          <a:xfrm>
            <a:off x="669925" y="210537"/>
            <a:ext cx="468000" cy="468000"/>
            <a:chOff x="669925" y="48611"/>
            <a:chExt cx="468000" cy="468000"/>
          </a:xfrm>
        </p:grpSpPr>
        <p:sp>
          <p:nvSpPr>
            <p:cNvPr id="33" name="椭圆 32">
              <a:extLst>
                <a:ext uri="{FF2B5EF4-FFF2-40B4-BE49-F238E27FC236}">
                  <a16:creationId xmlns:a16="http://schemas.microsoft.com/office/drawing/2014/main" id="{18765B3C-06BD-445D-B72B-512E55DEF34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34" name="椭圆 33">
              <a:extLst>
                <a:ext uri="{FF2B5EF4-FFF2-40B4-BE49-F238E27FC236}">
                  <a16:creationId xmlns:a16="http://schemas.microsoft.com/office/drawing/2014/main" id="{A6AA7771-0E3D-4241-9DE3-825324394A29}"/>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grpSp>
      <p:sp>
        <p:nvSpPr>
          <p:cNvPr id="35" name="标题 1">
            <a:extLst>
              <a:ext uri="{FF2B5EF4-FFF2-40B4-BE49-F238E27FC236}">
                <a16:creationId xmlns:a16="http://schemas.microsoft.com/office/drawing/2014/main" id="{62930304-3D14-4FEB-B45D-709CE5948953}"/>
              </a:ext>
            </a:extLst>
          </p:cNvPr>
          <p:cNvSpPr txBox="1">
            <a:spLocks/>
          </p:cNvSpPr>
          <p:nvPr/>
        </p:nvSpPr>
        <p:spPr>
          <a:xfrm>
            <a:off x="1149782" y="198392"/>
            <a:ext cx="7347103" cy="57784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3200" b="0" dirty="0" smtClean="0">
                <a:latin typeface="Arial" panose="020B0604020202020204" pitchFamily="34" charset="0"/>
                <a:ea typeface="Microsoft YaHei" panose="020B0503020204020204" pitchFamily="34" charset="-122"/>
                <a:cs typeface="+mn-ea"/>
                <a:sym typeface="Arial" panose="020B0604020202020204" pitchFamily="34" charset="0"/>
              </a:rPr>
              <a:t>流程图的基本要素</a:t>
            </a:r>
            <a:endParaRPr lang="zh-CN" altLang="en-US" sz="3200" b="0" dirty="0">
              <a:latin typeface="Arial" panose="020B0604020202020204" pitchFamily="34" charset="0"/>
              <a:ea typeface="Microsoft YaHei" panose="020B0503020204020204" pitchFamily="34" charset="-122"/>
              <a:cs typeface="+mn-ea"/>
              <a:sym typeface="Arial" panose="020B0604020202020204" pitchFamily="34" charset="0"/>
            </a:endParaRPr>
          </a:p>
        </p:txBody>
      </p:sp>
      <p:grpSp>
        <p:nvGrpSpPr>
          <p:cNvPr id="37" name="组合 36">
            <a:extLst>
              <a:ext uri="{FF2B5EF4-FFF2-40B4-BE49-F238E27FC236}">
                <a16:creationId xmlns:a16="http://schemas.microsoft.com/office/drawing/2014/main" id="{0853A8D8-448C-4E50-AD38-219140CD6184}"/>
              </a:ext>
            </a:extLst>
          </p:cNvPr>
          <p:cNvGrpSpPr/>
          <p:nvPr/>
        </p:nvGrpSpPr>
        <p:grpSpPr>
          <a:xfrm>
            <a:off x="669925" y="210537"/>
            <a:ext cx="468000" cy="468000"/>
            <a:chOff x="669925" y="48611"/>
            <a:chExt cx="468000" cy="468000"/>
          </a:xfrm>
        </p:grpSpPr>
        <p:sp>
          <p:nvSpPr>
            <p:cNvPr id="38" name="椭圆 37">
              <a:extLst>
                <a:ext uri="{FF2B5EF4-FFF2-40B4-BE49-F238E27FC236}">
                  <a16:creationId xmlns:a16="http://schemas.microsoft.com/office/drawing/2014/main" id="{18765B3C-06BD-445D-B72B-512E55DEF34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39" name="椭圆 38">
              <a:extLst>
                <a:ext uri="{FF2B5EF4-FFF2-40B4-BE49-F238E27FC236}">
                  <a16:creationId xmlns:a16="http://schemas.microsoft.com/office/drawing/2014/main" id="{A6AA7771-0E3D-4241-9DE3-825324394A29}"/>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grpSp>
      <p:sp>
        <p:nvSpPr>
          <p:cNvPr id="40" name="标题 1">
            <a:extLst>
              <a:ext uri="{FF2B5EF4-FFF2-40B4-BE49-F238E27FC236}">
                <a16:creationId xmlns:a16="http://schemas.microsoft.com/office/drawing/2014/main" id="{62930304-3D14-4FEB-B45D-709CE5948953}"/>
              </a:ext>
            </a:extLst>
          </p:cNvPr>
          <p:cNvSpPr txBox="1">
            <a:spLocks/>
          </p:cNvSpPr>
          <p:nvPr/>
        </p:nvSpPr>
        <p:spPr>
          <a:xfrm>
            <a:off x="1149782" y="198392"/>
            <a:ext cx="7347103" cy="57784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3200" b="0" dirty="0" smtClean="0">
                <a:latin typeface="Arial" panose="020B0604020202020204" pitchFamily="34" charset="0"/>
                <a:ea typeface="Microsoft YaHei" panose="020B0503020204020204" pitchFamily="34" charset="-122"/>
                <a:cs typeface="+mn-ea"/>
                <a:sym typeface="Arial" panose="020B0604020202020204" pitchFamily="34" charset="0"/>
              </a:rPr>
              <a:t>流程图</a:t>
            </a:r>
            <a:endParaRPr lang="zh-CN" altLang="en-US" sz="3200" b="0" dirty="0">
              <a:latin typeface="Arial" panose="020B0604020202020204" pitchFamily="34" charset="0"/>
              <a:ea typeface="Microsoft YaHei" panose="020B0503020204020204" pitchFamily="34" charset="-122"/>
              <a:cs typeface="+mn-ea"/>
              <a:sym typeface="Arial" panose="020B0604020202020204" pitchFamily="34" charset="0"/>
            </a:endParaRPr>
          </a:p>
        </p:txBody>
      </p:sp>
      <p:grpSp>
        <p:nvGrpSpPr>
          <p:cNvPr id="5" name="组合 4"/>
          <p:cNvGrpSpPr/>
          <p:nvPr/>
        </p:nvGrpSpPr>
        <p:grpSpPr>
          <a:xfrm>
            <a:off x="8117622" y="776241"/>
            <a:ext cx="5303571" cy="5922579"/>
            <a:chOff x="6888429" y="867965"/>
            <a:chExt cx="5303571" cy="5922579"/>
          </a:xfrm>
        </p:grpSpPr>
        <p:grpSp>
          <p:nvGrpSpPr>
            <p:cNvPr id="3" name="组合 2"/>
            <p:cNvGrpSpPr/>
            <p:nvPr/>
          </p:nvGrpSpPr>
          <p:grpSpPr>
            <a:xfrm>
              <a:off x="6888429" y="867965"/>
              <a:ext cx="5303571" cy="5922579"/>
              <a:chOff x="6724140" y="860470"/>
              <a:chExt cx="5303571" cy="5922579"/>
            </a:xfrm>
          </p:grpSpPr>
          <p:pic>
            <p:nvPicPr>
              <p:cNvPr id="36" name="图片 35"/>
              <p:cNvPicPr>
                <a:picLocks noChangeAspect="1"/>
              </p:cNvPicPr>
              <p:nvPr/>
            </p:nvPicPr>
            <p:blipFill>
              <a:blip r:embed="rId3"/>
              <a:stretch>
                <a:fillRect/>
              </a:stretch>
            </p:blipFill>
            <p:spPr>
              <a:xfrm>
                <a:off x="6724140" y="860470"/>
                <a:ext cx="5303571" cy="5922579"/>
              </a:xfrm>
              <a:prstGeom prst="rect">
                <a:avLst/>
              </a:prstGeom>
            </p:spPr>
          </p:pic>
          <p:sp>
            <p:nvSpPr>
              <p:cNvPr id="2" name="十字形 1"/>
              <p:cNvSpPr/>
              <p:nvPr/>
            </p:nvSpPr>
            <p:spPr>
              <a:xfrm rot="1895510">
                <a:off x="9534347" y="1139423"/>
                <a:ext cx="614597" cy="577122"/>
              </a:xfrm>
              <a:prstGeom prst="plus">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4" name="矩形 3"/>
            <p:cNvSpPr/>
            <p:nvPr/>
          </p:nvSpPr>
          <p:spPr>
            <a:xfrm>
              <a:off x="7967272" y="936885"/>
              <a:ext cx="2038662" cy="5666282"/>
            </a:xfrm>
            <a:prstGeom prst="rect">
              <a:avLst/>
            </a:prstGeom>
            <a:noFill/>
            <a:ln w="63500">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6" name="矩形 5"/>
          <p:cNvSpPr/>
          <p:nvPr/>
        </p:nvSpPr>
        <p:spPr>
          <a:xfrm>
            <a:off x="3059921" y="1343659"/>
            <a:ext cx="1223412" cy="369332"/>
          </a:xfrm>
          <a:prstGeom prst="rect">
            <a:avLst/>
          </a:prstGeom>
        </p:spPr>
        <p:txBody>
          <a:bodyPr wrap="none">
            <a:spAutoFit/>
          </a:bodyPr>
          <a:lstStyle/>
          <a:p>
            <a:r>
              <a:rPr lang="zh-CN" altLang="en-US" b="1" dirty="0">
                <a:latin typeface="微软雅黑" panose="020B0503020204020204" pitchFamily="34" charset="-122"/>
                <a:ea typeface="微软雅黑" panose="020B0503020204020204" pitchFamily="34" charset="-122"/>
              </a:rPr>
              <a:t>开始</a:t>
            </a:r>
            <a:r>
              <a:rPr lang="en-US" altLang="zh-CN" b="1" dirty="0">
                <a:latin typeface="微软雅黑" panose="020B0503020204020204" pitchFamily="34" charset="-122"/>
                <a:ea typeface="微软雅黑" panose="020B0503020204020204" pitchFamily="34" charset="-122"/>
              </a:rPr>
              <a:t>/</a:t>
            </a:r>
            <a:r>
              <a:rPr lang="zh-CN" altLang="en-US" b="1" dirty="0">
                <a:latin typeface="微软雅黑" panose="020B0503020204020204" pitchFamily="34" charset="-122"/>
                <a:ea typeface="微软雅黑" panose="020B0503020204020204" pitchFamily="34" charset="-122"/>
              </a:rPr>
              <a:t>结束</a:t>
            </a:r>
          </a:p>
        </p:txBody>
      </p:sp>
      <p:sp>
        <p:nvSpPr>
          <p:cNvPr id="9" name="流程图: 可选过程 8"/>
          <p:cNvSpPr/>
          <p:nvPr/>
        </p:nvSpPr>
        <p:spPr>
          <a:xfrm>
            <a:off x="4655128" y="1307330"/>
            <a:ext cx="1141111" cy="443205"/>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p:cNvSpPr/>
          <p:nvPr/>
        </p:nvSpPr>
        <p:spPr>
          <a:xfrm>
            <a:off x="3348461" y="2212553"/>
            <a:ext cx="646331" cy="369332"/>
          </a:xfrm>
          <a:prstGeom prst="rect">
            <a:avLst/>
          </a:prstGeom>
        </p:spPr>
        <p:txBody>
          <a:bodyPr wrap="none">
            <a:spAutoFit/>
          </a:bodyPr>
          <a:lstStyle/>
          <a:p>
            <a:r>
              <a:rPr lang="zh-CN" altLang="en-US" b="1" dirty="0">
                <a:latin typeface="微软雅黑" panose="020B0503020204020204" pitchFamily="34" charset="-122"/>
                <a:ea typeface="微软雅黑" panose="020B0503020204020204" pitchFamily="34" charset="-122"/>
              </a:rPr>
              <a:t>流程</a:t>
            </a:r>
          </a:p>
        </p:txBody>
      </p:sp>
      <p:sp>
        <p:nvSpPr>
          <p:cNvPr id="11" name="流程图: 过程 10"/>
          <p:cNvSpPr/>
          <p:nvPr/>
        </p:nvSpPr>
        <p:spPr>
          <a:xfrm>
            <a:off x="4655128" y="2159442"/>
            <a:ext cx="1141111" cy="475554"/>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矩形 11"/>
          <p:cNvSpPr/>
          <p:nvPr/>
        </p:nvSpPr>
        <p:spPr>
          <a:xfrm>
            <a:off x="3233044" y="3171630"/>
            <a:ext cx="877163" cy="369332"/>
          </a:xfrm>
          <a:prstGeom prst="rect">
            <a:avLst/>
          </a:prstGeom>
        </p:spPr>
        <p:txBody>
          <a:bodyPr wrap="none">
            <a:spAutoFit/>
          </a:bodyPr>
          <a:lstStyle/>
          <a:p>
            <a:r>
              <a:rPr lang="zh-CN" altLang="en-US" b="1" dirty="0">
                <a:latin typeface="微软雅黑" panose="020B0503020204020204" pitchFamily="34" charset="-122"/>
                <a:ea typeface="微软雅黑" panose="020B0503020204020204" pitchFamily="34" charset="-122"/>
              </a:rPr>
              <a:t>子流程</a:t>
            </a:r>
          </a:p>
        </p:txBody>
      </p:sp>
      <p:sp>
        <p:nvSpPr>
          <p:cNvPr id="13" name="流程图: 预定义过程 12"/>
          <p:cNvSpPr/>
          <p:nvPr/>
        </p:nvSpPr>
        <p:spPr>
          <a:xfrm>
            <a:off x="4655128" y="3116070"/>
            <a:ext cx="1141111" cy="480452"/>
          </a:xfrm>
          <a:prstGeom prst="flowChartPredefined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矩形 13"/>
          <p:cNvSpPr/>
          <p:nvPr/>
        </p:nvSpPr>
        <p:spPr>
          <a:xfrm>
            <a:off x="3348459" y="4101369"/>
            <a:ext cx="646331" cy="369332"/>
          </a:xfrm>
          <a:prstGeom prst="rect">
            <a:avLst/>
          </a:prstGeom>
        </p:spPr>
        <p:txBody>
          <a:bodyPr wrap="none">
            <a:spAutoFit/>
          </a:bodyPr>
          <a:lstStyle/>
          <a:p>
            <a:r>
              <a:rPr lang="zh-CN" altLang="en-US" b="1" dirty="0">
                <a:latin typeface="微软雅黑" panose="020B0503020204020204" pitchFamily="34" charset="-122"/>
                <a:ea typeface="微软雅黑" panose="020B0503020204020204" pitchFamily="34" charset="-122"/>
              </a:rPr>
              <a:t>判定</a:t>
            </a:r>
          </a:p>
        </p:txBody>
      </p:sp>
      <p:sp>
        <p:nvSpPr>
          <p:cNvPr id="15" name="流程图: 决策 14"/>
          <p:cNvSpPr/>
          <p:nvPr/>
        </p:nvSpPr>
        <p:spPr>
          <a:xfrm>
            <a:off x="4655128" y="4005429"/>
            <a:ext cx="1141111" cy="561212"/>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矩形 15"/>
          <p:cNvSpPr/>
          <p:nvPr/>
        </p:nvSpPr>
        <p:spPr>
          <a:xfrm>
            <a:off x="3347096" y="5160931"/>
            <a:ext cx="646331" cy="369332"/>
          </a:xfrm>
          <a:prstGeom prst="rect">
            <a:avLst/>
          </a:prstGeom>
        </p:spPr>
        <p:txBody>
          <a:bodyPr wrap="none">
            <a:spAutoFit/>
          </a:bodyPr>
          <a:lstStyle/>
          <a:p>
            <a:r>
              <a:rPr lang="zh-CN" altLang="en-US" b="1" dirty="0">
                <a:latin typeface="微软雅黑" panose="020B0503020204020204" pitchFamily="34" charset="-122"/>
                <a:ea typeface="微软雅黑" panose="020B0503020204020204" pitchFamily="34" charset="-122"/>
              </a:rPr>
              <a:t>文档</a:t>
            </a:r>
          </a:p>
        </p:txBody>
      </p:sp>
      <p:sp>
        <p:nvSpPr>
          <p:cNvPr id="17" name="流程图: 文档 16"/>
          <p:cNvSpPr/>
          <p:nvPr/>
        </p:nvSpPr>
        <p:spPr>
          <a:xfrm>
            <a:off x="4655128" y="5054652"/>
            <a:ext cx="1141111" cy="581891"/>
          </a:xfrm>
          <a:prstGeom prst="flowChartDocumen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1314554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show="0">
  <p:cSld>
    <p:bg>
      <p:bgPr>
        <a:solidFill>
          <a:schemeClr val="accent5">
            <a:lumMod val="40000"/>
            <a:lumOff val="60000"/>
          </a:schemeClr>
        </a:solidFill>
        <a:effectLst/>
      </p:bgPr>
    </p:bg>
    <p:spTree>
      <p:nvGrpSpPr>
        <p:cNvPr id="1" name=""/>
        <p:cNvGrpSpPr/>
        <p:nvPr/>
      </p:nvGrpSpPr>
      <p:grpSpPr>
        <a:xfrm>
          <a:off x="0" y="0"/>
          <a:ext cx="0" cy="0"/>
          <a:chOff x="0" y="0"/>
          <a:chExt cx="0" cy="0"/>
        </a:xfrm>
      </p:grpSpPr>
      <p:grpSp>
        <p:nvGrpSpPr>
          <p:cNvPr id="20" name="组合 19">
            <a:extLst>
              <a:ext uri="{FF2B5EF4-FFF2-40B4-BE49-F238E27FC236}">
                <a16:creationId xmlns:a16="http://schemas.microsoft.com/office/drawing/2014/main" id="{0853A8D8-448C-4E50-AD38-219140CD6184}"/>
              </a:ext>
            </a:extLst>
          </p:cNvPr>
          <p:cNvGrpSpPr/>
          <p:nvPr/>
        </p:nvGrpSpPr>
        <p:grpSpPr>
          <a:xfrm>
            <a:off x="669925" y="210537"/>
            <a:ext cx="468000" cy="468000"/>
            <a:chOff x="669925" y="48611"/>
            <a:chExt cx="468000" cy="468000"/>
          </a:xfrm>
        </p:grpSpPr>
        <p:sp>
          <p:nvSpPr>
            <p:cNvPr id="21" name="椭圆 20">
              <a:extLst>
                <a:ext uri="{FF2B5EF4-FFF2-40B4-BE49-F238E27FC236}">
                  <a16:creationId xmlns:a16="http://schemas.microsoft.com/office/drawing/2014/main" id="{18765B3C-06BD-445D-B72B-512E55DEF34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22" name="椭圆 21">
              <a:extLst>
                <a:ext uri="{FF2B5EF4-FFF2-40B4-BE49-F238E27FC236}">
                  <a16:creationId xmlns:a16="http://schemas.microsoft.com/office/drawing/2014/main" id="{A6AA7771-0E3D-4241-9DE3-825324394A29}"/>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grpSp>
      <p:sp>
        <p:nvSpPr>
          <p:cNvPr id="23" name="标题 1">
            <a:extLst>
              <a:ext uri="{FF2B5EF4-FFF2-40B4-BE49-F238E27FC236}">
                <a16:creationId xmlns:a16="http://schemas.microsoft.com/office/drawing/2014/main" id="{62930304-3D14-4FEB-B45D-709CE5948953}"/>
              </a:ext>
            </a:extLst>
          </p:cNvPr>
          <p:cNvSpPr txBox="1">
            <a:spLocks/>
          </p:cNvSpPr>
          <p:nvPr/>
        </p:nvSpPr>
        <p:spPr>
          <a:xfrm>
            <a:off x="1149782" y="198392"/>
            <a:ext cx="7347103" cy="57784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en-US" altLang="zh-CN" sz="3200" b="0" dirty="0" smtClean="0">
                <a:latin typeface="Arial" panose="020B0604020202020204" pitchFamily="34" charset="0"/>
                <a:ea typeface="Microsoft YaHei" panose="020B0503020204020204" pitchFamily="34" charset="-122"/>
                <a:cs typeface="+mn-ea"/>
                <a:sym typeface="Arial" panose="020B0604020202020204" pitchFamily="34" charset="0"/>
              </a:rPr>
              <a:t>UML</a:t>
            </a:r>
            <a:r>
              <a:rPr lang="zh-CN" altLang="en-US" sz="3200" b="0" dirty="0" smtClean="0">
                <a:latin typeface="Arial" panose="020B0604020202020204" pitchFamily="34" charset="0"/>
                <a:ea typeface="Microsoft YaHei" panose="020B0503020204020204" pitchFamily="34" charset="-122"/>
                <a:cs typeface="+mn-ea"/>
                <a:sym typeface="Arial" panose="020B0604020202020204" pitchFamily="34" charset="0"/>
              </a:rPr>
              <a:t>知识概述</a:t>
            </a:r>
            <a:endParaRPr lang="zh-CN" altLang="en-US" sz="3200" b="0" dirty="0">
              <a:latin typeface="Arial" panose="020B0604020202020204" pitchFamily="34" charset="0"/>
              <a:ea typeface="Microsoft YaHei" panose="020B0503020204020204" pitchFamily="34" charset="-122"/>
              <a:cs typeface="+mn-ea"/>
              <a:sym typeface="Arial" panose="020B0604020202020204" pitchFamily="34" charset="0"/>
            </a:endParaRPr>
          </a:p>
        </p:txBody>
      </p:sp>
      <p:grpSp>
        <p:nvGrpSpPr>
          <p:cNvPr id="37" name="20285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572655" y="1062182"/>
            <a:ext cx="13043847" cy="5595218"/>
            <a:chOff x="1" y="1130309"/>
            <a:chExt cx="13256447" cy="5000620"/>
          </a:xfrm>
        </p:grpSpPr>
        <p:sp>
          <p:nvSpPr>
            <p:cNvPr id="38" name="îṡḷîḋe"/>
            <p:cNvSpPr/>
            <p:nvPr/>
          </p:nvSpPr>
          <p:spPr bwMode="auto">
            <a:xfrm>
              <a:off x="6433938" y="2009799"/>
              <a:ext cx="543021" cy="39078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537" y="19720"/>
                  </a:moveTo>
                  <a:lnTo>
                    <a:pt x="16537" y="19721"/>
                  </a:lnTo>
                  <a:lnTo>
                    <a:pt x="4387" y="19721"/>
                  </a:lnTo>
                  <a:cubicBezTo>
                    <a:pt x="2713" y="19720"/>
                    <a:pt x="1350" y="17824"/>
                    <a:pt x="1350" y="15494"/>
                  </a:cubicBezTo>
                  <a:cubicBezTo>
                    <a:pt x="1350" y="13992"/>
                    <a:pt x="1918" y="12635"/>
                    <a:pt x="2871" y="11862"/>
                  </a:cubicBezTo>
                  <a:cubicBezTo>
                    <a:pt x="3797" y="11123"/>
                    <a:pt x="3860" y="10975"/>
                    <a:pt x="3472" y="9647"/>
                  </a:cubicBezTo>
                  <a:cubicBezTo>
                    <a:pt x="3406" y="9374"/>
                    <a:pt x="3375" y="9136"/>
                    <a:pt x="3375" y="8921"/>
                  </a:cubicBezTo>
                  <a:cubicBezTo>
                    <a:pt x="3375" y="7626"/>
                    <a:pt x="4131" y="6573"/>
                    <a:pt x="5062" y="6573"/>
                  </a:cubicBezTo>
                  <a:cubicBezTo>
                    <a:pt x="5062" y="6573"/>
                    <a:pt x="5505" y="6529"/>
                    <a:pt x="5976" y="6789"/>
                  </a:cubicBezTo>
                  <a:cubicBezTo>
                    <a:pt x="6750" y="7219"/>
                    <a:pt x="6834" y="6808"/>
                    <a:pt x="7200" y="5701"/>
                  </a:cubicBezTo>
                  <a:cubicBezTo>
                    <a:pt x="7974" y="3380"/>
                    <a:pt x="9652" y="1878"/>
                    <a:pt x="11475" y="1878"/>
                  </a:cubicBezTo>
                  <a:cubicBezTo>
                    <a:pt x="13905" y="1878"/>
                    <a:pt x="15914" y="4435"/>
                    <a:pt x="16148" y="7826"/>
                  </a:cubicBezTo>
                  <a:cubicBezTo>
                    <a:pt x="16231" y="9171"/>
                    <a:pt x="16231" y="9171"/>
                    <a:pt x="17239" y="9491"/>
                  </a:cubicBezTo>
                  <a:cubicBezTo>
                    <a:pt x="18984" y="9955"/>
                    <a:pt x="20250" y="12085"/>
                    <a:pt x="20250" y="14555"/>
                  </a:cubicBezTo>
                  <a:cubicBezTo>
                    <a:pt x="20250" y="17404"/>
                    <a:pt x="18585" y="19720"/>
                    <a:pt x="16537" y="19720"/>
                  </a:cubicBezTo>
                  <a:moveTo>
                    <a:pt x="17492" y="7647"/>
                  </a:moveTo>
                  <a:cubicBezTo>
                    <a:pt x="17196" y="3362"/>
                    <a:pt x="14632" y="0"/>
                    <a:pt x="11475" y="0"/>
                  </a:cubicBezTo>
                  <a:cubicBezTo>
                    <a:pt x="9031" y="0"/>
                    <a:pt x="6939" y="2017"/>
                    <a:pt x="5976" y="4911"/>
                  </a:cubicBezTo>
                  <a:cubicBezTo>
                    <a:pt x="5685" y="4784"/>
                    <a:pt x="5383" y="4695"/>
                    <a:pt x="5062" y="4695"/>
                  </a:cubicBezTo>
                  <a:cubicBezTo>
                    <a:pt x="3385" y="4695"/>
                    <a:pt x="2025" y="6589"/>
                    <a:pt x="2025" y="8921"/>
                  </a:cubicBezTo>
                  <a:cubicBezTo>
                    <a:pt x="2025" y="9385"/>
                    <a:pt x="2092" y="9824"/>
                    <a:pt x="2191" y="10240"/>
                  </a:cubicBezTo>
                  <a:cubicBezTo>
                    <a:pt x="886" y="11298"/>
                    <a:pt x="0" y="13242"/>
                    <a:pt x="0" y="15494"/>
                  </a:cubicBezTo>
                  <a:cubicBezTo>
                    <a:pt x="0" y="18866"/>
                    <a:pt x="1964" y="21599"/>
                    <a:pt x="4387" y="21599"/>
                  </a:cubicBezTo>
                  <a:lnTo>
                    <a:pt x="4387" y="21600"/>
                  </a:lnTo>
                  <a:lnTo>
                    <a:pt x="16537" y="21600"/>
                  </a:lnTo>
                  <a:lnTo>
                    <a:pt x="16537" y="21599"/>
                  </a:lnTo>
                  <a:cubicBezTo>
                    <a:pt x="19334" y="21599"/>
                    <a:pt x="21599" y="18446"/>
                    <a:pt x="21599" y="14555"/>
                  </a:cubicBezTo>
                  <a:cubicBezTo>
                    <a:pt x="21599" y="11120"/>
                    <a:pt x="19831" y="8269"/>
                    <a:pt x="17492" y="7647"/>
                  </a:cubicBezTo>
                </a:path>
              </a:pathLst>
            </a:custGeom>
            <a:solidFill>
              <a:schemeClr val="tx1">
                <a:lumMod val="65000"/>
                <a:lumOff val="35000"/>
              </a:schemeClr>
            </a:solidFill>
            <a:ln>
              <a:noFill/>
            </a:ln>
            <a:effec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71450" fontAlgn="base" hangingPunct="0">
                <a:spcBef>
                  <a:spcPct val="0"/>
                </a:spcBef>
                <a:spcAft>
                  <a:spcPct val="0"/>
                </a:spcAft>
              </a:pPr>
              <a:endParaRPr lang="en-US" sz="1125" dirty="0">
                <a:solidFill>
                  <a:srgbClr val="FFFFFF"/>
                </a:solidFill>
                <a:effectLst>
                  <a:outerShdw blurRad="38100" dist="38100" dir="2700000" algn="tl">
                    <a:srgbClr val="000000"/>
                  </a:outerShdw>
                </a:effectLst>
              </a:endParaRPr>
            </a:p>
          </p:txBody>
        </p:sp>
        <p:sp>
          <p:nvSpPr>
            <p:cNvPr id="39" name="íş1íďe"/>
            <p:cNvSpPr/>
            <p:nvPr/>
          </p:nvSpPr>
          <p:spPr bwMode="auto">
            <a:xfrm>
              <a:off x="7294906" y="2211468"/>
              <a:ext cx="4223993" cy="712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lnSpc>
                  <a:spcPct val="150000"/>
                </a:lnSpc>
                <a:spcBef>
                  <a:spcPct val="0"/>
                </a:spcBef>
                <a:buFont typeface="Arial" panose="020B0604020202020204" pitchFamily="34" charset="0"/>
                <a:buChar char="•"/>
              </a:pPr>
              <a:r>
                <a:rPr lang="zh-CN" altLang="en-US" sz="1600" dirty="0"/>
                <a:t>建模</a:t>
              </a:r>
              <a:endParaRPr lang="en-US" altLang="zh-CN" sz="1600" b="1" dirty="0">
                <a:solidFill>
                  <a:srgbClr val="FF0000"/>
                </a:solidFill>
              </a:endParaRPr>
            </a:p>
          </p:txBody>
        </p:sp>
        <p:sp>
          <p:nvSpPr>
            <p:cNvPr id="40" name="ï$ḷíḋe"/>
            <p:cNvSpPr txBox="1"/>
            <p:nvPr/>
          </p:nvSpPr>
          <p:spPr bwMode="auto">
            <a:xfrm>
              <a:off x="7294905" y="1769664"/>
              <a:ext cx="4223995"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hangingPunct="1">
                <a:lnSpc>
                  <a:spcPct val="100000"/>
                </a:lnSpc>
                <a:spcBef>
                  <a:spcPct val="0"/>
                </a:spcBef>
              </a:pPr>
              <a:r>
                <a:rPr lang="en-US" altLang="zh-CN" sz="2000" b="1" dirty="0" smtClean="0"/>
                <a:t>01.</a:t>
              </a:r>
              <a:r>
                <a:rPr lang="zh-CN" altLang="en-US" sz="2000" b="1" dirty="0" smtClean="0"/>
                <a:t>目标</a:t>
              </a:r>
              <a:endParaRPr lang="en-US" altLang="zh-CN" sz="2000" b="1" dirty="0"/>
            </a:p>
          </p:txBody>
        </p:sp>
        <p:sp>
          <p:nvSpPr>
            <p:cNvPr id="41" name="î$ḷíḍê"/>
            <p:cNvSpPr/>
            <p:nvPr/>
          </p:nvSpPr>
          <p:spPr bwMode="auto">
            <a:xfrm>
              <a:off x="6495952" y="3239002"/>
              <a:ext cx="513018" cy="512301"/>
            </a:xfrm>
            <a:custGeom>
              <a:avLst/>
              <a:gdLst>
                <a:gd name="T0" fmla="*/ 2867 w 5733"/>
                <a:gd name="T1" fmla="*/ 0 h 5733"/>
                <a:gd name="T2" fmla="*/ 0 w 5733"/>
                <a:gd name="T3" fmla="*/ 2867 h 5733"/>
                <a:gd name="T4" fmla="*/ 2867 w 5733"/>
                <a:gd name="T5" fmla="*/ 5733 h 5733"/>
                <a:gd name="T6" fmla="*/ 5733 w 5733"/>
                <a:gd name="T7" fmla="*/ 2867 h 5733"/>
                <a:gd name="T8" fmla="*/ 2867 w 5733"/>
                <a:gd name="T9" fmla="*/ 0 h 5733"/>
                <a:gd name="T10" fmla="*/ 5132 w 5733"/>
                <a:gd name="T11" fmla="*/ 3813 h 5733"/>
                <a:gd name="T12" fmla="*/ 3572 w 5733"/>
                <a:gd name="T13" fmla="*/ 5218 h 5733"/>
                <a:gd name="T14" fmla="*/ 3608 w 5733"/>
                <a:gd name="T15" fmla="*/ 5147 h 5733"/>
                <a:gd name="T16" fmla="*/ 3840 w 5733"/>
                <a:gd name="T17" fmla="*/ 4852 h 5733"/>
                <a:gd name="T18" fmla="*/ 4056 w 5733"/>
                <a:gd name="T19" fmla="*/ 4554 h 5733"/>
                <a:gd name="T20" fmla="*/ 3850 w 5733"/>
                <a:gd name="T21" fmla="*/ 4400 h 5733"/>
                <a:gd name="T22" fmla="*/ 3454 w 5733"/>
                <a:gd name="T23" fmla="*/ 4345 h 5733"/>
                <a:gd name="T24" fmla="*/ 3110 w 5733"/>
                <a:gd name="T25" fmla="*/ 4313 h 5733"/>
                <a:gd name="T26" fmla="*/ 2895 w 5733"/>
                <a:gd name="T27" fmla="*/ 3974 h 5733"/>
                <a:gd name="T28" fmla="*/ 2821 w 5733"/>
                <a:gd name="T29" fmla="*/ 3578 h 5733"/>
                <a:gd name="T30" fmla="*/ 2375 w 5733"/>
                <a:gd name="T31" fmla="*/ 3360 h 5733"/>
                <a:gd name="T32" fmla="*/ 1962 w 5733"/>
                <a:gd name="T33" fmla="*/ 3331 h 5733"/>
                <a:gd name="T34" fmla="*/ 1570 w 5733"/>
                <a:gd name="T35" fmla="*/ 3268 h 5733"/>
                <a:gd name="T36" fmla="*/ 1240 w 5733"/>
                <a:gd name="T37" fmla="*/ 3532 h 5733"/>
                <a:gd name="T38" fmla="*/ 832 w 5733"/>
                <a:gd name="T39" fmla="*/ 4240 h 5733"/>
                <a:gd name="T40" fmla="*/ 417 w 5733"/>
                <a:gd name="T41" fmla="*/ 3031 h 5733"/>
                <a:gd name="T42" fmla="*/ 475 w 5733"/>
                <a:gd name="T43" fmla="*/ 3009 h 5733"/>
                <a:gd name="T44" fmla="*/ 688 w 5733"/>
                <a:gd name="T45" fmla="*/ 2876 h 5733"/>
                <a:gd name="T46" fmla="*/ 951 w 5733"/>
                <a:gd name="T47" fmla="*/ 2881 h 5733"/>
                <a:gd name="T48" fmla="*/ 1194 w 5733"/>
                <a:gd name="T49" fmla="*/ 2886 h 5733"/>
                <a:gd name="T50" fmla="*/ 1466 w 5733"/>
                <a:gd name="T51" fmla="*/ 2598 h 5733"/>
                <a:gd name="T52" fmla="*/ 1472 w 5733"/>
                <a:gd name="T53" fmla="*/ 2318 h 5733"/>
                <a:gd name="T54" fmla="*/ 1703 w 5733"/>
                <a:gd name="T55" fmla="*/ 2108 h 5733"/>
                <a:gd name="T56" fmla="*/ 2543 w 5733"/>
                <a:gd name="T57" fmla="*/ 1768 h 5733"/>
                <a:gd name="T58" fmla="*/ 2227 w 5733"/>
                <a:gd name="T59" fmla="*/ 1477 h 5733"/>
                <a:gd name="T60" fmla="*/ 1457 w 5733"/>
                <a:gd name="T61" fmla="*/ 1363 h 5733"/>
                <a:gd name="T62" fmla="*/ 1115 w 5733"/>
                <a:gd name="T63" fmla="*/ 1148 h 5733"/>
                <a:gd name="T64" fmla="*/ 2867 w 5733"/>
                <a:gd name="T65" fmla="*/ 412 h 5733"/>
                <a:gd name="T66" fmla="*/ 3296 w 5733"/>
                <a:gd name="T67" fmla="*/ 449 h 5733"/>
                <a:gd name="T68" fmla="*/ 3086 w 5733"/>
                <a:gd name="T69" fmla="*/ 509 h 5733"/>
                <a:gd name="T70" fmla="*/ 2872 w 5733"/>
                <a:gd name="T71" fmla="*/ 1373 h 5733"/>
                <a:gd name="T72" fmla="*/ 3294 w 5733"/>
                <a:gd name="T73" fmla="*/ 1857 h 5733"/>
                <a:gd name="T74" fmla="*/ 3808 w 5733"/>
                <a:gd name="T75" fmla="*/ 2160 h 5733"/>
                <a:gd name="T76" fmla="*/ 4075 w 5733"/>
                <a:gd name="T77" fmla="*/ 2857 h 5733"/>
                <a:gd name="T78" fmla="*/ 4437 w 5733"/>
                <a:gd name="T79" fmla="*/ 3278 h 5733"/>
                <a:gd name="T80" fmla="*/ 4788 w 5733"/>
                <a:gd name="T81" fmla="*/ 3367 h 5733"/>
                <a:gd name="T82" fmla="*/ 4945 w 5733"/>
                <a:gd name="T83" fmla="*/ 3672 h 5733"/>
                <a:gd name="T84" fmla="*/ 5132 w 5733"/>
                <a:gd name="T85" fmla="*/ 3813 h 5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33" h="5733">
                  <a:moveTo>
                    <a:pt x="2867" y="0"/>
                  </a:moveTo>
                  <a:cubicBezTo>
                    <a:pt x="1286" y="0"/>
                    <a:pt x="0" y="1286"/>
                    <a:pt x="0" y="2867"/>
                  </a:cubicBezTo>
                  <a:cubicBezTo>
                    <a:pt x="0" y="4447"/>
                    <a:pt x="1286" y="5733"/>
                    <a:pt x="2867" y="5733"/>
                  </a:cubicBezTo>
                  <a:cubicBezTo>
                    <a:pt x="4447" y="5733"/>
                    <a:pt x="5733" y="4447"/>
                    <a:pt x="5733" y="2867"/>
                  </a:cubicBezTo>
                  <a:cubicBezTo>
                    <a:pt x="5733" y="1286"/>
                    <a:pt x="4447" y="0"/>
                    <a:pt x="2867" y="0"/>
                  </a:cubicBezTo>
                  <a:close/>
                  <a:moveTo>
                    <a:pt x="5132" y="3813"/>
                  </a:moveTo>
                  <a:cubicBezTo>
                    <a:pt x="4850" y="4485"/>
                    <a:pt x="4277" y="5007"/>
                    <a:pt x="3572" y="5218"/>
                  </a:cubicBezTo>
                  <a:cubicBezTo>
                    <a:pt x="3584" y="5195"/>
                    <a:pt x="3597" y="5171"/>
                    <a:pt x="3608" y="5147"/>
                  </a:cubicBezTo>
                  <a:cubicBezTo>
                    <a:pt x="3669" y="5025"/>
                    <a:pt x="3733" y="4938"/>
                    <a:pt x="3840" y="4852"/>
                  </a:cubicBezTo>
                  <a:cubicBezTo>
                    <a:pt x="3922" y="4786"/>
                    <a:pt x="4082" y="4683"/>
                    <a:pt x="4056" y="4554"/>
                  </a:cubicBezTo>
                  <a:cubicBezTo>
                    <a:pt x="4037" y="4461"/>
                    <a:pt x="3931" y="4423"/>
                    <a:pt x="3850" y="4400"/>
                  </a:cubicBezTo>
                  <a:cubicBezTo>
                    <a:pt x="3722" y="4364"/>
                    <a:pt x="3586" y="4354"/>
                    <a:pt x="3454" y="4345"/>
                  </a:cubicBezTo>
                  <a:cubicBezTo>
                    <a:pt x="3340" y="4337"/>
                    <a:pt x="3221" y="4341"/>
                    <a:pt x="3110" y="4313"/>
                  </a:cubicBezTo>
                  <a:cubicBezTo>
                    <a:pt x="2943" y="4270"/>
                    <a:pt x="2906" y="4126"/>
                    <a:pt x="2895" y="3974"/>
                  </a:cubicBezTo>
                  <a:cubicBezTo>
                    <a:pt x="2886" y="3839"/>
                    <a:pt x="2888" y="3700"/>
                    <a:pt x="2821" y="3578"/>
                  </a:cubicBezTo>
                  <a:cubicBezTo>
                    <a:pt x="2736" y="3420"/>
                    <a:pt x="2539" y="3375"/>
                    <a:pt x="2375" y="3360"/>
                  </a:cubicBezTo>
                  <a:cubicBezTo>
                    <a:pt x="2237" y="3348"/>
                    <a:pt x="2100" y="3354"/>
                    <a:pt x="1962" y="3331"/>
                  </a:cubicBezTo>
                  <a:cubicBezTo>
                    <a:pt x="1830" y="3309"/>
                    <a:pt x="1705" y="3263"/>
                    <a:pt x="1570" y="3268"/>
                  </a:cubicBezTo>
                  <a:cubicBezTo>
                    <a:pt x="1394" y="3275"/>
                    <a:pt x="1315" y="3394"/>
                    <a:pt x="1240" y="3532"/>
                  </a:cubicBezTo>
                  <a:cubicBezTo>
                    <a:pt x="1203" y="3600"/>
                    <a:pt x="970" y="4123"/>
                    <a:pt x="832" y="4240"/>
                  </a:cubicBezTo>
                  <a:cubicBezTo>
                    <a:pt x="596" y="3890"/>
                    <a:pt x="447" y="3477"/>
                    <a:pt x="417" y="3031"/>
                  </a:cubicBezTo>
                  <a:cubicBezTo>
                    <a:pt x="437" y="3026"/>
                    <a:pt x="456" y="3019"/>
                    <a:pt x="475" y="3009"/>
                  </a:cubicBezTo>
                  <a:cubicBezTo>
                    <a:pt x="552" y="2971"/>
                    <a:pt x="605" y="2903"/>
                    <a:pt x="688" y="2876"/>
                  </a:cubicBezTo>
                  <a:cubicBezTo>
                    <a:pt x="768" y="2850"/>
                    <a:pt x="870" y="2873"/>
                    <a:pt x="951" y="2881"/>
                  </a:cubicBezTo>
                  <a:cubicBezTo>
                    <a:pt x="1031" y="2889"/>
                    <a:pt x="1113" y="2897"/>
                    <a:pt x="1194" y="2886"/>
                  </a:cubicBezTo>
                  <a:cubicBezTo>
                    <a:pt x="1355" y="2864"/>
                    <a:pt x="1440" y="2753"/>
                    <a:pt x="1466" y="2598"/>
                  </a:cubicBezTo>
                  <a:cubicBezTo>
                    <a:pt x="1481" y="2505"/>
                    <a:pt x="1469" y="2412"/>
                    <a:pt x="1472" y="2318"/>
                  </a:cubicBezTo>
                  <a:cubicBezTo>
                    <a:pt x="1476" y="2173"/>
                    <a:pt x="1572" y="2121"/>
                    <a:pt x="1703" y="2108"/>
                  </a:cubicBezTo>
                  <a:cubicBezTo>
                    <a:pt x="1952" y="2085"/>
                    <a:pt x="2531" y="2151"/>
                    <a:pt x="2543" y="1768"/>
                  </a:cubicBezTo>
                  <a:cubicBezTo>
                    <a:pt x="2548" y="1605"/>
                    <a:pt x="2353" y="1520"/>
                    <a:pt x="2227" y="1477"/>
                  </a:cubicBezTo>
                  <a:cubicBezTo>
                    <a:pt x="1980" y="1392"/>
                    <a:pt x="1710" y="1422"/>
                    <a:pt x="1457" y="1363"/>
                  </a:cubicBezTo>
                  <a:cubicBezTo>
                    <a:pt x="1323" y="1331"/>
                    <a:pt x="1210" y="1247"/>
                    <a:pt x="1115" y="1148"/>
                  </a:cubicBezTo>
                  <a:cubicBezTo>
                    <a:pt x="1561" y="694"/>
                    <a:pt x="2181" y="412"/>
                    <a:pt x="2867" y="412"/>
                  </a:cubicBezTo>
                  <a:cubicBezTo>
                    <a:pt x="3013" y="412"/>
                    <a:pt x="3157" y="424"/>
                    <a:pt x="3296" y="449"/>
                  </a:cubicBezTo>
                  <a:cubicBezTo>
                    <a:pt x="3225" y="462"/>
                    <a:pt x="3155" y="481"/>
                    <a:pt x="3086" y="509"/>
                  </a:cubicBezTo>
                  <a:cubicBezTo>
                    <a:pt x="2725" y="655"/>
                    <a:pt x="2714" y="1065"/>
                    <a:pt x="2872" y="1373"/>
                  </a:cubicBezTo>
                  <a:cubicBezTo>
                    <a:pt x="2970" y="1564"/>
                    <a:pt x="3128" y="1724"/>
                    <a:pt x="3294" y="1857"/>
                  </a:cubicBezTo>
                  <a:cubicBezTo>
                    <a:pt x="3454" y="1986"/>
                    <a:pt x="3630" y="2062"/>
                    <a:pt x="3808" y="2160"/>
                  </a:cubicBezTo>
                  <a:cubicBezTo>
                    <a:pt x="4044" y="2289"/>
                    <a:pt x="4015" y="2628"/>
                    <a:pt x="4075" y="2857"/>
                  </a:cubicBezTo>
                  <a:cubicBezTo>
                    <a:pt x="4125" y="3049"/>
                    <a:pt x="4246" y="3212"/>
                    <a:pt x="4437" y="3278"/>
                  </a:cubicBezTo>
                  <a:cubicBezTo>
                    <a:pt x="4552" y="3319"/>
                    <a:pt x="4687" y="3287"/>
                    <a:pt x="4788" y="3367"/>
                  </a:cubicBezTo>
                  <a:cubicBezTo>
                    <a:pt x="4875" y="3436"/>
                    <a:pt x="4895" y="3577"/>
                    <a:pt x="4945" y="3672"/>
                  </a:cubicBezTo>
                  <a:cubicBezTo>
                    <a:pt x="4994" y="3766"/>
                    <a:pt x="5060" y="3806"/>
                    <a:pt x="5132" y="3813"/>
                  </a:cubicBezTo>
                  <a:close/>
                </a:path>
              </a:pathLst>
            </a:custGeom>
            <a:solidFill>
              <a:schemeClr val="bg2">
                <a:lumMod val="50000"/>
              </a:schemeClr>
            </a:solidFill>
            <a:ln>
              <a:noFill/>
            </a:ln>
            <a:effec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71450" fontAlgn="base" hangingPunct="0">
                <a:spcBef>
                  <a:spcPct val="0"/>
                </a:spcBef>
                <a:spcAft>
                  <a:spcPct val="0"/>
                </a:spcAft>
              </a:pPr>
              <a:endParaRPr lang="en-US" sz="1125" dirty="0">
                <a:solidFill>
                  <a:srgbClr val="FFFFFF"/>
                </a:solidFill>
                <a:effectLst>
                  <a:outerShdw blurRad="38100" dist="38100" dir="2700000" algn="tl">
                    <a:srgbClr val="000000"/>
                  </a:outerShdw>
                </a:effectLst>
              </a:endParaRPr>
            </a:p>
          </p:txBody>
        </p:sp>
        <p:sp>
          <p:nvSpPr>
            <p:cNvPr id="42" name="î$ḷíḑê"/>
            <p:cNvSpPr/>
            <p:nvPr/>
          </p:nvSpPr>
          <p:spPr bwMode="auto">
            <a:xfrm>
              <a:off x="7294906" y="3187116"/>
              <a:ext cx="4223993" cy="15853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lnSpc>
                  <a:spcPct val="150000"/>
                </a:lnSpc>
                <a:spcBef>
                  <a:spcPct val="0"/>
                </a:spcBef>
                <a:buFont typeface="Arial" panose="020B0604020202020204" pitchFamily="34" charset="0"/>
                <a:buChar char="•"/>
              </a:pPr>
              <a:r>
                <a:rPr lang="zh-CN" altLang="en-US" sz="1600" dirty="0" smtClean="0"/>
                <a:t>静态结构</a:t>
              </a:r>
              <a:endParaRPr lang="en-US" altLang="zh-CN" sz="1600" dirty="0" smtClean="0"/>
            </a:p>
            <a:p>
              <a:pPr marL="171450" indent="-171450">
                <a:lnSpc>
                  <a:spcPct val="150000"/>
                </a:lnSpc>
                <a:spcBef>
                  <a:spcPct val="0"/>
                </a:spcBef>
                <a:buFont typeface="Arial" panose="020B0604020202020204" pitchFamily="34" charset="0"/>
                <a:buChar char="•"/>
              </a:pPr>
              <a:r>
                <a:rPr lang="zh-CN" altLang="en-US" sz="1600" dirty="0" smtClean="0"/>
                <a:t>动态行为</a:t>
              </a:r>
              <a:endParaRPr lang="en-US" altLang="zh-CN" sz="1600" dirty="0" smtClean="0"/>
            </a:p>
            <a:p>
              <a:pPr marL="171450" indent="-171450">
                <a:lnSpc>
                  <a:spcPct val="150000"/>
                </a:lnSpc>
                <a:spcBef>
                  <a:spcPct val="0"/>
                </a:spcBef>
                <a:buFont typeface="Arial" panose="020B0604020202020204" pitchFamily="34" charset="0"/>
                <a:buChar char="•"/>
              </a:pPr>
              <a:r>
                <a:rPr lang="zh-CN" altLang="en-US" sz="1600" dirty="0" smtClean="0"/>
                <a:t>实现构造</a:t>
              </a:r>
              <a:endParaRPr lang="en-US" altLang="zh-CN" sz="900" dirty="0" smtClean="0"/>
            </a:p>
          </p:txBody>
        </p:sp>
        <p:sp>
          <p:nvSpPr>
            <p:cNvPr id="43" name="îṧḻîde"/>
            <p:cNvSpPr txBox="1"/>
            <p:nvPr/>
          </p:nvSpPr>
          <p:spPr bwMode="auto">
            <a:xfrm>
              <a:off x="7294905" y="2745313"/>
              <a:ext cx="4223995"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hangingPunct="1">
                <a:lnSpc>
                  <a:spcPct val="100000"/>
                </a:lnSpc>
                <a:spcBef>
                  <a:spcPct val="0"/>
                </a:spcBef>
              </a:pPr>
              <a:r>
                <a:rPr lang="en-US" altLang="zh-CN" sz="2000" b="1" dirty="0" smtClean="0"/>
                <a:t>02.</a:t>
              </a:r>
              <a:r>
                <a:rPr lang="zh-CN" altLang="en-US" sz="2000" b="1" dirty="0" smtClean="0"/>
                <a:t>概念域</a:t>
              </a:r>
              <a:endParaRPr lang="en-US" altLang="zh-CN" sz="2000" b="1" dirty="0"/>
            </a:p>
          </p:txBody>
        </p:sp>
        <p:sp>
          <p:nvSpPr>
            <p:cNvPr id="44" name="iṧļíďé"/>
            <p:cNvSpPr/>
            <p:nvPr/>
          </p:nvSpPr>
          <p:spPr bwMode="auto">
            <a:xfrm>
              <a:off x="6527727" y="4620841"/>
              <a:ext cx="533052" cy="528845"/>
            </a:xfrm>
            <a:custGeom>
              <a:avLst/>
              <a:gdLst>
                <a:gd name="connsiteX0" fmla="*/ 269315 w 608062"/>
                <a:gd name="connsiteY0" fmla="*/ 421557 h 603263"/>
                <a:gd name="connsiteX1" fmla="*/ 477217 w 608062"/>
                <a:gd name="connsiteY1" fmla="*/ 421557 h 603263"/>
                <a:gd name="connsiteX2" fmla="*/ 497274 w 608062"/>
                <a:gd name="connsiteY2" fmla="*/ 441668 h 603263"/>
                <a:gd name="connsiteX3" fmla="*/ 477217 w 608062"/>
                <a:gd name="connsiteY3" fmla="*/ 461779 h 603263"/>
                <a:gd name="connsiteX4" fmla="*/ 269315 w 608062"/>
                <a:gd name="connsiteY4" fmla="*/ 461779 h 603263"/>
                <a:gd name="connsiteX5" fmla="*/ 249166 w 608062"/>
                <a:gd name="connsiteY5" fmla="*/ 441668 h 603263"/>
                <a:gd name="connsiteX6" fmla="*/ 269315 w 608062"/>
                <a:gd name="connsiteY6" fmla="*/ 421557 h 603263"/>
                <a:gd name="connsiteX7" fmla="*/ 223683 w 608062"/>
                <a:gd name="connsiteY7" fmla="*/ 359251 h 603263"/>
                <a:gd name="connsiteX8" fmla="*/ 238606 w 608062"/>
                <a:gd name="connsiteY8" fmla="*/ 363189 h 603263"/>
                <a:gd name="connsiteX9" fmla="*/ 242319 w 608062"/>
                <a:gd name="connsiteY9" fmla="*/ 391450 h 603263"/>
                <a:gd name="connsiteX10" fmla="*/ 171024 w 608062"/>
                <a:gd name="connsiteY10" fmla="*/ 484387 h 603263"/>
                <a:gd name="connsiteX11" fmla="*/ 155057 w 608062"/>
                <a:gd name="connsiteY11" fmla="*/ 492263 h 603263"/>
                <a:gd name="connsiteX12" fmla="*/ 143639 w 608062"/>
                <a:gd name="connsiteY12" fmla="*/ 488650 h 603263"/>
                <a:gd name="connsiteX13" fmla="*/ 100472 w 608062"/>
                <a:gd name="connsiteY13" fmla="*/ 458906 h 603263"/>
                <a:gd name="connsiteX14" fmla="*/ 95367 w 608062"/>
                <a:gd name="connsiteY14" fmla="*/ 430923 h 603263"/>
                <a:gd name="connsiteX15" fmla="*/ 123402 w 608062"/>
                <a:gd name="connsiteY15" fmla="*/ 425827 h 603263"/>
                <a:gd name="connsiteX16" fmla="*/ 150694 w 608062"/>
                <a:gd name="connsiteY16" fmla="*/ 444729 h 603263"/>
                <a:gd name="connsiteX17" fmla="*/ 210292 w 608062"/>
                <a:gd name="connsiteY17" fmla="*/ 366988 h 603263"/>
                <a:gd name="connsiteX18" fmla="*/ 223683 w 608062"/>
                <a:gd name="connsiteY18" fmla="*/ 359251 h 603263"/>
                <a:gd name="connsiteX19" fmla="*/ 269315 w 608062"/>
                <a:gd name="connsiteY19" fmla="*/ 274640 h 603263"/>
                <a:gd name="connsiteX20" fmla="*/ 477217 w 608062"/>
                <a:gd name="connsiteY20" fmla="*/ 274640 h 603263"/>
                <a:gd name="connsiteX21" fmla="*/ 497274 w 608062"/>
                <a:gd name="connsiteY21" fmla="*/ 294833 h 603263"/>
                <a:gd name="connsiteX22" fmla="*/ 477217 w 608062"/>
                <a:gd name="connsiteY22" fmla="*/ 314933 h 603263"/>
                <a:gd name="connsiteX23" fmla="*/ 269315 w 608062"/>
                <a:gd name="connsiteY23" fmla="*/ 314933 h 603263"/>
                <a:gd name="connsiteX24" fmla="*/ 249166 w 608062"/>
                <a:gd name="connsiteY24" fmla="*/ 294833 h 603263"/>
                <a:gd name="connsiteX25" fmla="*/ 269315 w 608062"/>
                <a:gd name="connsiteY25" fmla="*/ 274640 h 603263"/>
                <a:gd name="connsiteX26" fmla="*/ 223683 w 608062"/>
                <a:gd name="connsiteY26" fmla="*/ 212407 h 603263"/>
                <a:gd name="connsiteX27" fmla="*/ 238606 w 608062"/>
                <a:gd name="connsiteY27" fmla="*/ 216347 h 603263"/>
                <a:gd name="connsiteX28" fmla="*/ 242319 w 608062"/>
                <a:gd name="connsiteY28" fmla="*/ 244623 h 603263"/>
                <a:gd name="connsiteX29" fmla="*/ 171024 w 608062"/>
                <a:gd name="connsiteY29" fmla="*/ 337608 h 603263"/>
                <a:gd name="connsiteX30" fmla="*/ 155057 w 608062"/>
                <a:gd name="connsiteY30" fmla="*/ 345488 h 603263"/>
                <a:gd name="connsiteX31" fmla="*/ 143639 w 608062"/>
                <a:gd name="connsiteY31" fmla="*/ 341873 h 603263"/>
                <a:gd name="connsiteX32" fmla="*/ 100472 w 608062"/>
                <a:gd name="connsiteY32" fmla="*/ 312114 h 603263"/>
                <a:gd name="connsiteX33" fmla="*/ 95367 w 608062"/>
                <a:gd name="connsiteY33" fmla="*/ 284116 h 603263"/>
                <a:gd name="connsiteX34" fmla="*/ 123402 w 608062"/>
                <a:gd name="connsiteY34" fmla="*/ 279017 h 603263"/>
                <a:gd name="connsiteX35" fmla="*/ 150694 w 608062"/>
                <a:gd name="connsiteY35" fmla="*/ 297929 h 603263"/>
                <a:gd name="connsiteX36" fmla="*/ 210292 w 608062"/>
                <a:gd name="connsiteY36" fmla="*/ 220148 h 603263"/>
                <a:gd name="connsiteX37" fmla="*/ 223683 w 608062"/>
                <a:gd name="connsiteY37" fmla="*/ 212407 h 603263"/>
                <a:gd name="connsiteX38" fmla="*/ 71029 w 608062"/>
                <a:gd name="connsiteY38" fmla="*/ 77763 h 603263"/>
                <a:gd name="connsiteX39" fmla="*/ 228128 w 608062"/>
                <a:gd name="connsiteY39" fmla="*/ 77763 h 603263"/>
                <a:gd name="connsiteX40" fmla="*/ 229799 w 608062"/>
                <a:gd name="connsiteY40" fmla="*/ 86106 h 603263"/>
                <a:gd name="connsiteX41" fmla="*/ 205009 w 608062"/>
                <a:gd name="connsiteY41" fmla="*/ 123648 h 603263"/>
                <a:gd name="connsiteX42" fmla="*/ 198138 w 608062"/>
                <a:gd name="connsiteY42" fmla="*/ 138109 h 603263"/>
                <a:gd name="connsiteX43" fmla="*/ 71029 w 608062"/>
                <a:gd name="connsiteY43" fmla="*/ 138109 h 603263"/>
                <a:gd name="connsiteX44" fmla="*/ 60444 w 608062"/>
                <a:gd name="connsiteY44" fmla="*/ 148584 h 603263"/>
                <a:gd name="connsiteX45" fmla="*/ 60444 w 608062"/>
                <a:gd name="connsiteY45" fmla="*/ 532350 h 603263"/>
                <a:gd name="connsiteX46" fmla="*/ 71029 w 608062"/>
                <a:gd name="connsiteY46" fmla="*/ 542917 h 603263"/>
                <a:gd name="connsiteX47" fmla="*/ 537033 w 608062"/>
                <a:gd name="connsiteY47" fmla="*/ 542917 h 603263"/>
                <a:gd name="connsiteX48" fmla="*/ 547618 w 608062"/>
                <a:gd name="connsiteY48" fmla="*/ 532350 h 603263"/>
                <a:gd name="connsiteX49" fmla="*/ 547618 w 608062"/>
                <a:gd name="connsiteY49" fmla="*/ 148584 h 603263"/>
                <a:gd name="connsiteX50" fmla="*/ 537033 w 608062"/>
                <a:gd name="connsiteY50" fmla="*/ 138109 h 603263"/>
                <a:gd name="connsiteX51" fmla="*/ 372506 w 608062"/>
                <a:gd name="connsiteY51" fmla="*/ 138109 h 603263"/>
                <a:gd name="connsiteX52" fmla="*/ 411874 w 608062"/>
                <a:gd name="connsiteY52" fmla="*/ 77763 h 603263"/>
                <a:gd name="connsiteX53" fmla="*/ 537126 w 608062"/>
                <a:gd name="connsiteY53" fmla="*/ 77763 h 603263"/>
                <a:gd name="connsiteX54" fmla="*/ 608062 w 608062"/>
                <a:gd name="connsiteY54" fmla="*/ 148584 h 603263"/>
                <a:gd name="connsiteX55" fmla="*/ 608062 w 608062"/>
                <a:gd name="connsiteY55" fmla="*/ 532350 h 603263"/>
                <a:gd name="connsiteX56" fmla="*/ 537126 w 608062"/>
                <a:gd name="connsiteY56" fmla="*/ 603263 h 603263"/>
                <a:gd name="connsiteX57" fmla="*/ 71029 w 608062"/>
                <a:gd name="connsiteY57" fmla="*/ 603263 h 603263"/>
                <a:gd name="connsiteX58" fmla="*/ 0 w 608062"/>
                <a:gd name="connsiteY58" fmla="*/ 532350 h 603263"/>
                <a:gd name="connsiteX59" fmla="*/ 0 w 608062"/>
                <a:gd name="connsiteY59" fmla="*/ 148584 h 603263"/>
                <a:gd name="connsiteX60" fmla="*/ 71029 w 608062"/>
                <a:gd name="connsiteY60" fmla="*/ 77763 h 603263"/>
                <a:gd name="connsiteX61" fmla="*/ 319948 w 608062"/>
                <a:gd name="connsiteY61" fmla="*/ 0 h 603263"/>
                <a:gd name="connsiteX62" fmla="*/ 380206 w 608062"/>
                <a:gd name="connsiteY62" fmla="*/ 60161 h 603263"/>
                <a:gd name="connsiteX63" fmla="*/ 319948 w 608062"/>
                <a:gd name="connsiteY63" fmla="*/ 120414 h 603263"/>
                <a:gd name="connsiteX64" fmla="*/ 307600 w 608062"/>
                <a:gd name="connsiteY64" fmla="*/ 119116 h 603263"/>
                <a:gd name="connsiteX65" fmla="*/ 294973 w 608062"/>
                <a:gd name="connsiteY65" fmla="*/ 138119 h 603263"/>
                <a:gd name="connsiteX66" fmla="*/ 274361 w 608062"/>
                <a:gd name="connsiteY66" fmla="*/ 169265 h 603263"/>
                <a:gd name="connsiteX67" fmla="*/ 256534 w 608062"/>
                <a:gd name="connsiteY67" fmla="*/ 178813 h 603263"/>
                <a:gd name="connsiteX68" fmla="*/ 244835 w 608062"/>
                <a:gd name="connsiteY68" fmla="*/ 175291 h 603263"/>
                <a:gd name="connsiteX69" fmla="*/ 238707 w 608062"/>
                <a:gd name="connsiteY69" fmla="*/ 145813 h 603263"/>
                <a:gd name="connsiteX70" fmla="*/ 271668 w 608062"/>
                <a:gd name="connsiteY70" fmla="*/ 95942 h 603263"/>
                <a:gd name="connsiteX71" fmla="*/ 259598 w 608062"/>
                <a:gd name="connsiteY71" fmla="*/ 60161 h 603263"/>
                <a:gd name="connsiteX72" fmla="*/ 319948 w 608062"/>
                <a:gd name="connsiteY72" fmla="*/ 0 h 603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608062" h="603263">
                  <a:moveTo>
                    <a:pt x="269315" y="421557"/>
                  </a:moveTo>
                  <a:lnTo>
                    <a:pt x="477217" y="421557"/>
                  </a:lnTo>
                  <a:cubicBezTo>
                    <a:pt x="488360" y="421557"/>
                    <a:pt x="497274" y="430547"/>
                    <a:pt x="497274" y="441668"/>
                  </a:cubicBezTo>
                  <a:cubicBezTo>
                    <a:pt x="497274" y="452697"/>
                    <a:pt x="488360" y="461779"/>
                    <a:pt x="477217" y="461779"/>
                  </a:cubicBezTo>
                  <a:lnTo>
                    <a:pt x="269315" y="461779"/>
                  </a:lnTo>
                  <a:cubicBezTo>
                    <a:pt x="258266" y="461779"/>
                    <a:pt x="249166" y="452697"/>
                    <a:pt x="249166" y="441668"/>
                  </a:cubicBezTo>
                  <a:cubicBezTo>
                    <a:pt x="249166" y="430547"/>
                    <a:pt x="258266" y="421557"/>
                    <a:pt x="269315" y="421557"/>
                  </a:cubicBezTo>
                  <a:close/>
                  <a:moveTo>
                    <a:pt x="223683" y="359251"/>
                  </a:moveTo>
                  <a:cubicBezTo>
                    <a:pt x="228812" y="358556"/>
                    <a:pt x="234197" y="359807"/>
                    <a:pt x="238606" y="363189"/>
                  </a:cubicBezTo>
                  <a:cubicBezTo>
                    <a:pt x="247425" y="369953"/>
                    <a:pt x="249096" y="382555"/>
                    <a:pt x="242319" y="391450"/>
                  </a:cubicBezTo>
                  <a:lnTo>
                    <a:pt x="171024" y="484387"/>
                  </a:lnTo>
                  <a:cubicBezTo>
                    <a:pt x="167126" y="489483"/>
                    <a:pt x="161091" y="492263"/>
                    <a:pt x="155057" y="492263"/>
                  </a:cubicBezTo>
                  <a:cubicBezTo>
                    <a:pt x="151066" y="492263"/>
                    <a:pt x="147074" y="491059"/>
                    <a:pt x="143639" y="488650"/>
                  </a:cubicBezTo>
                  <a:lnTo>
                    <a:pt x="100472" y="458906"/>
                  </a:lnTo>
                  <a:cubicBezTo>
                    <a:pt x="91282" y="452513"/>
                    <a:pt x="89054" y="440004"/>
                    <a:pt x="95367" y="430923"/>
                  </a:cubicBezTo>
                  <a:cubicBezTo>
                    <a:pt x="101679" y="421750"/>
                    <a:pt x="114304" y="419433"/>
                    <a:pt x="123402" y="425827"/>
                  </a:cubicBezTo>
                  <a:lnTo>
                    <a:pt x="150694" y="444729"/>
                  </a:lnTo>
                  <a:lnTo>
                    <a:pt x="210292" y="366988"/>
                  </a:lnTo>
                  <a:cubicBezTo>
                    <a:pt x="213681" y="362587"/>
                    <a:pt x="218554" y="359946"/>
                    <a:pt x="223683" y="359251"/>
                  </a:cubicBezTo>
                  <a:close/>
                  <a:moveTo>
                    <a:pt x="269315" y="274640"/>
                  </a:moveTo>
                  <a:lnTo>
                    <a:pt x="477217" y="274640"/>
                  </a:lnTo>
                  <a:cubicBezTo>
                    <a:pt x="488360" y="274640"/>
                    <a:pt x="497274" y="283718"/>
                    <a:pt x="497274" y="294833"/>
                  </a:cubicBezTo>
                  <a:cubicBezTo>
                    <a:pt x="497274" y="305856"/>
                    <a:pt x="488360" y="314933"/>
                    <a:pt x="477217" y="314933"/>
                  </a:cubicBezTo>
                  <a:lnTo>
                    <a:pt x="269315" y="314933"/>
                  </a:lnTo>
                  <a:cubicBezTo>
                    <a:pt x="258266" y="314933"/>
                    <a:pt x="249166" y="305856"/>
                    <a:pt x="249166" y="294833"/>
                  </a:cubicBezTo>
                  <a:cubicBezTo>
                    <a:pt x="249166" y="283718"/>
                    <a:pt x="258266" y="274640"/>
                    <a:pt x="269315" y="274640"/>
                  </a:cubicBezTo>
                  <a:close/>
                  <a:moveTo>
                    <a:pt x="223683" y="212407"/>
                  </a:moveTo>
                  <a:cubicBezTo>
                    <a:pt x="228812" y="211712"/>
                    <a:pt x="234197" y="212963"/>
                    <a:pt x="238606" y="216347"/>
                  </a:cubicBezTo>
                  <a:cubicBezTo>
                    <a:pt x="247425" y="223115"/>
                    <a:pt x="249096" y="235723"/>
                    <a:pt x="242319" y="244623"/>
                  </a:cubicBezTo>
                  <a:lnTo>
                    <a:pt x="171024" y="337608"/>
                  </a:lnTo>
                  <a:cubicBezTo>
                    <a:pt x="167126" y="342707"/>
                    <a:pt x="161091" y="345488"/>
                    <a:pt x="155057" y="345488"/>
                  </a:cubicBezTo>
                  <a:cubicBezTo>
                    <a:pt x="151066" y="345488"/>
                    <a:pt x="147074" y="344283"/>
                    <a:pt x="143639" y="341873"/>
                  </a:cubicBezTo>
                  <a:lnTo>
                    <a:pt x="100472" y="312114"/>
                  </a:lnTo>
                  <a:cubicBezTo>
                    <a:pt x="91282" y="305717"/>
                    <a:pt x="89054" y="293201"/>
                    <a:pt x="95367" y="284116"/>
                  </a:cubicBezTo>
                  <a:cubicBezTo>
                    <a:pt x="101679" y="274938"/>
                    <a:pt x="114304" y="272620"/>
                    <a:pt x="123402" y="279017"/>
                  </a:cubicBezTo>
                  <a:lnTo>
                    <a:pt x="150694" y="297929"/>
                  </a:lnTo>
                  <a:lnTo>
                    <a:pt x="210292" y="220148"/>
                  </a:lnTo>
                  <a:cubicBezTo>
                    <a:pt x="213681" y="215744"/>
                    <a:pt x="218554" y="213102"/>
                    <a:pt x="223683" y="212407"/>
                  </a:cubicBezTo>
                  <a:close/>
                  <a:moveTo>
                    <a:pt x="71029" y="77763"/>
                  </a:moveTo>
                  <a:lnTo>
                    <a:pt x="228128" y="77763"/>
                  </a:lnTo>
                  <a:cubicBezTo>
                    <a:pt x="228592" y="80544"/>
                    <a:pt x="229056" y="83325"/>
                    <a:pt x="229799" y="86106"/>
                  </a:cubicBezTo>
                  <a:lnTo>
                    <a:pt x="205009" y="123648"/>
                  </a:lnTo>
                  <a:cubicBezTo>
                    <a:pt x="201945" y="128190"/>
                    <a:pt x="199902" y="133011"/>
                    <a:pt x="198138" y="138109"/>
                  </a:cubicBezTo>
                  <a:lnTo>
                    <a:pt x="71029" y="138109"/>
                  </a:lnTo>
                  <a:cubicBezTo>
                    <a:pt x="65179" y="138109"/>
                    <a:pt x="60444" y="142837"/>
                    <a:pt x="60444" y="148584"/>
                  </a:cubicBezTo>
                  <a:lnTo>
                    <a:pt x="60444" y="532350"/>
                  </a:lnTo>
                  <a:cubicBezTo>
                    <a:pt x="60444" y="538190"/>
                    <a:pt x="65179" y="542917"/>
                    <a:pt x="71029" y="542917"/>
                  </a:cubicBezTo>
                  <a:lnTo>
                    <a:pt x="537033" y="542917"/>
                  </a:lnTo>
                  <a:cubicBezTo>
                    <a:pt x="542883" y="542917"/>
                    <a:pt x="547618" y="538190"/>
                    <a:pt x="547618" y="532350"/>
                  </a:cubicBezTo>
                  <a:lnTo>
                    <a:pt x="547618" y="148584"/>
                  </a:lnTo>
                  <a:cubicBezTo>
                    <a:pt x="547618" y="142837"/>
                    <a:pt x="542883" y="138109"/>
                    <a:pt x="537033" y="138109"/>
                  </a:cubicBezTo>
                  <a:lnTo>
                    <a:pt x="372506" y="138109"/>
                  </a:lnTo>
                  <a:cubicBezTo>
                    <a:pt x="392747" y="124205"/>
                    <a:pt x="407417" y="102791"/>
                    <a:pt x="411874" y="77763"/>
                  </a:cubicBezTo>
                  <a:lnTo>
                    <a:pt x="537126" y="77763"/>
                  </a:lnTo>
                  <a:cubicBezTo>
                    <a:pt x="576215" y="77763"/>
                    <a:pt x="608062" y="109558"/>
                    <a:pt x="608062" y="148584"/>
                  </a:cubicBezTo>
                  <a:lnTo>
                    <a:pt x="608062" y="532350"/>
                  </a:lnTo>
                  <a:cubicBezTo>
                    <a:pt x="608062" y="571468"/>
                    <a:pt x="576215" y="603263"/>
                    <a:pt x="537126" y="603263"/>
                  </a:cubicBezTo>
                  <a:lnTo>
                    <a:pt x="71029" y="603263"/>
                  </a:lnTo>
                  <a:cubicBezTo>
                    <a:pt x="31847" y="603263"/>
                    <a:pt x="0" y="571468"/>
                    <a:pt x="0" y="532350"/>
                  </a:cubicBezTo>
                  <a:lnTo>
                    <a:pt x="0" y="148584"/>
                  </a:lnTo>
                  <a:cubicBezTo>
                    <a:pt x="0" y="109558"/>
                    <a:pt x="31847" y="77763"/>
                    <a:pt x="71029" y="77763"/>
                  </a:cubicBezTo>
                  <a:close/>
                  <a:moveTo>
                    <a:pt x="319948" y="0"/>
                  </a:moveTo>
                  <a:cubicBezTo>
                    <a:pt x="353188" y="0"/>
                    <a:pt x="380206" y="26975"/>
                    <a:pt x="380206" y="60161"/>
                  </a:cubicBezTo>
                  <a:cubicBezTo>
                    <a:pt x="380206" y="93439"/>
                    <a:pt x="353188" y="120414"/>
                    <a:pt x="319948" y="120414"/>
                  </a:cubicBezTo>
                  <a:cubicBezTo>
                    <a:pt x="315677" y="120414"/>
                    <a:pt x="311499" y="119950"/>
                    <a:pt x="307600" y="119116"/>
                  </a:cubicBezTo>
                  <a:lnTo>
                    <a:pt x="294973" y="138119"/>
                  </a:lnTo>
                  <a:lnTo>
                    <a:pt x="274361" y="169265"/>
                  </a:lnTo>
                  <a:cubicBezTo>
                    <a:pt x="270275" y="175476"/>
                    <a:pt x="263498" y="178813"/>
                    <a:pt x="256534" y="178813"/>
                  </a:cubicBezTo>
                  <a:cubicBezTo>
                    <a:pt x="252449" y="178813"/>
                    <a:pt x="248456" y="177701"/>
                    <a:pt x="244835" y="175291"/>
                  </a:cubicBezTo>
                  <a:cubicBezTo>
                    <a:pt x="234994" y="168802"/>
                    <a:pt x="232301" y="155639"/>
                    <a:pt x="238707" y="145813"/>
                  </a:cubicBezTo>
                  <a:lnTo>
                    <a:pt x="271668" y="95942"/>
                  </a:lnTo>
                  <a:cubicBezTo>
                    <a:pt x="264240" y="85931"/>
                    <a:pt x="259598" y="73602"/>
                    <a:pt x="259598" y="60161"/>
                  </a:cubicBezTo>
                  <a:cubicBezTo>
                    <a:pt x="259598" y="26975"/>
                    <a:pt x="286616" y="0"/>
                    <a:pt x="319948" y="0"/>
                  </a:cubicBezTo>
                  <a:close/>
                </a:path>
              </a:pathLst>
            </a:custGeom>
            <a:solidFill>
              <a:schemeClr val="tx1">
                <a:lumMod val="50000"/>
                <a:lumOff val="50000"/>
              </a:schemeClr>
            </a:solidFill>
            <a:ln>
              <a:noFill/>
            </a:ln>
            <a:effec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71450" fontAlgn="base" hangingPunct="0">
                <a:spcBef>
                  <a:spcPct val="0"/>
                </a:spcBef>
                <a:spcAft>
                  <a:spcPct val="0"/>
                </a:spcAft>
              </a:pPr>
              <a:endParaRPr lang="en-US" sz="1125" dirty="0">
                <a:solidFill>
                  <a:srgbClr val="FFFFFF"/>
                </a:solidFill>
                <a:effectLst>
                  <a:outerShdw blurRad="38100" dist="38100" dir="2700000" algn="tl">
                    <a:srgbClr val="000000"/>
                  </a:outerShdw>
                </a:effectLst>
              </a:endParaRPr>
            </a:p>
          </p:txBody>
        </p:sp>
        <p:sp>
          <p:nvSpPr>
            <p:cNvPr id="45" name="iślíḓe"/>
            <p:cNvSpPr/>
            <p:nvPr/>
          </p:nvSpPr>
          <p:spPr bwMode="auto">
            <a:xfrm>
              <a:off x="7294906" y="4805992"/>
              <a:ext cx="4223993" cy="712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lnSpc>
                  <a:spcPct val="150000"/>
                </a:lnSpc>
                <a:spcBef>
                  <a:spcPct val="0"/>
                </a:spcBef>
                <a:buFont typeface="Arial" panose="020B0604020202020204" pitchFamily="34" charset="0"/>
                <a:buChar char="•"/>
              </a:pPr>
              <a:r>
                <a:rPr lang="zh-CN" altLang="en-US" sz="1600" dirty="0" smtClean="0"/>
                <a:t>表达式 </a:t>
              </a:r>
              <a:endParaRPr lang="en-US" altLang="zh-CN" sz="1600" dirty="0"/>
            </a:p>
            <a:p>
              <a:pPr marL="171450" indent="-171450">
                <a:lnSpc>
                  <a:spcPct val="150000"/>
                </a:lnSpc>
                <a:spcBef>
                  <a:spcPct val="0"/>
                </a:spcBef>
                <a:buFont typeface="Arial" panose="020B0604020202020204" pitchFamily="34" charset="0"/>
                <a:buChar char="•"/>
              </a:pPr>
              <a:r>
                <a:rPr lang="zh-CN" altLang="en-US" sz="1600" dirty="0"/>
                <a:t>图表</a:t>
              </a:r>
              <a:endParaRPr lang="en-US" altLang="zh-CN" sz="1600" dirty="0"/>
            </a:p>
          </p:txBody>
        </p:sp>
        <p:sp>
          <p:nvSpPr>
            <p:cNvPr id="46" name="ïş1íḑè"/>
            <p:cNvSpPr txBox="1"/>
            <p:nvPr/>
          </p:nvSpPr>
          <p:spPr bwMode="auto">
            <a:xfrm>
              <a:off x="7294905" y="4356236"/>
              <a:ext cx="4223995"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hangingPunct="1">
                <a:lnSpc>
                  <a:spcPct val="100000"/>
                </a:lnSpc>
                <a:spcBef>
                  <a:spcPct val="0"/>
                </a:spcBef>
              </a:pPr>
              <a:r>
                <a:rPr lang="en-US" altLang="zh-CN" sz="2000" b="1" dirty="0" smtClean="0"/>
                <a:t>03.</a:t>
              </a:r>
              <a:r>
                <a:rPr lang="zh-CN" altLang="en-US" sz="2000" b="1" dirty="0" smtClean="0"/>
                <a:t>语法</a:t>
              </a:r>
              <a:endParaRPr lang="en-US" altLang="zh-CN" sz="2000" b="1" dirty="0"/>
            </a:p>
          </p:txBody>
        </p:sp>
        <p:cxnSp>
          <p:nvCxnSpPr>
            <p:cNvPr id="47" name="直接连接符 46"/>
            <p:cNvCxnSpPr/>
            <p:nvPr/>
          </p:nvCxnSpPr>
          <p:spPr>
            <a:xfrm>
              <a:off x="7391400" y="2722428"/>
              <a:ext cx="4127500" cy="0"/>
            </a:xfrm>
            <a:prstGeom prst="line">
              <a:avLst/>
            </a:prstGeom>
            <a:ln w="317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8" name="直接连接符 47"/>
            <p:cNvCxnSpPr/>
            <p:nvPr/>
          </p:nvCxnSpPr>
          <p:spPr>
            <a:xfrm>
              <a:off x="7391400" y="4344328"/>
              <a:ext cx="4127500" cy="0"/>
            </a:xfrm>
            <a:prstGeom prst="line">
              <a:avLst/>
            </a:prstGeom>
            <a:ln w="317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49" name="ïsḻïḋê"/>
            <p:cNvSpPr/>
            <p:nvPr/>
          </p:nvSpPr>
          <p:spPr>
            <a:xfrm>
              <a:off x="1" y="1130309"/>
              <a:ext cx="5586612" cy="5000620"/>
            </a:xfrm>
            <a:prstGeom prst="homePlate">
              <a:avLst>
                <a:gd name="adj" fmla="val 43143"/>
              </a:avLst>
            </a:prstGeom>
            <a:pattFill prst="pct5">
              <a:fgClr>
                <a:srgbClr val="E4E6EA"/>
              </a:fgClr>
              <a:bgClr>
                <a:srgbClr val="ADB5BF"/>
              </a:bgClr>
            </a:patt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id-ID"/>
            </a:p>
          </p:txBody>
        </p:sp>
        <p:sp>
          <p:nvSpPr>
            <p:cNvPr id="50" name="íSľiḑe"/>
            <p:cNvSpPr/>
            <p:nvPr/>
          </p:nvSpPr>
          <p:spPr>
            <a:xfrm>
              <a:off x="1" y="1130309"/>
              <a:ext cx="5419724" cy="5000620"/>
            </a:xfrm>
            <a:prstGeom prst="homePlate">
              <a:avLst>
                <a:gd name="adj" fmla="val 39714"/>
              </a:avLst>
            </a:prstGeom>
            <a:solidFill>
              <a:schemeClr val="bg1">
                <a:alpha val="28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id-ID" sz="1350"/>
            </a:p>
          </p:txBody>
        </p:sp>
        <p:sp>
          <p:nvSpPr>
            <p:cNvPr id="51" name="ís1îḍè"/>
            <p:cNvSpPr/>
            <p:nvPr/>
          </p:nvSpPr>
          <p:spPr>
            <a:xfrm>
              <a:off x="1" y="1130309"/>
              <a:ext cx="5419724" cy="5000620"/>
            </a:xfrm>
            <a:prstGeom prst="homePlate">
              <a:avLst>
                <a:gd name="adj" fmla="val 42762"/>
              </a:avLst>
            </a:prstGeom>
            <a:solidFill>
              <a:schemeClr val="accent1">
                <a:alpha val="7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id-ID" sz="1350" dirty="0"/>
            </a:p>
          </p:txBody>
        </p:sp>
        <p:sp>
          <p:nvSpPr>
            <p:cNvPr id="52" name="î$liḍe"/>
            <p:cNvSpPr txBox="1"/>
            <p:nvPr/>
          </p:nvSpPr>
          <p:spPr>
            <a:xfrm>
              <a:off x="188420" y="1868356"/>
              <a:ext cx="3654425" cy="967258"/>
            </a:xfrm>
            <a:prstGeom prst="rect">
              <a:avLst/>
            </a:prstGeom>
            <a:noFill/>
            <a:ln>
              <a:noFill/>
            </a:ln>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SzPct val="25000"/>
              </a:pPr>
              <a:endParaRPr lang="en-US" sz="4000" b="1" dirty="0">
                <a:solidFill>
                  <a:schemeClr val="bg1"/>
                </a:solidFill>
              </a:endParaRPr>
            </a:p>
          </p:txBody>
        </p:sp>
        <p:sp>
          <p:nvSpPr>
            <p:cNvPr id="53" name="îsľîḑé"/>
            <p:cNvSpPr txBox="1"/>
            <p:nvPr/>
          </p:nvSpPr>
          <p:spPr>
            <a:xfrm>
              <a:off x="980721" y="2977830"/>
              <a:ext cx="4439004" cy="1001963"/>
            </a:xfrm>
            <a:prstGeom prst="rect">
              <a:avLst/>
            </a:prstGeom>
            <a:noFill/>
            <a:ln>
              <a:noFill/>
            </a:ln>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buSzPct val="25000"/>
              </a:pPr>
              <a:r>
                <a:rPr lang="en-US" altLang="zh-CN" sz="5400" dirty="0" smtClean="0">
                  <a:solidFill>
                    <a:schemeClr val="bg1"/>
                  </a:solidFill>
                  <a:latin typeface="微软雅黑" panose="020B0503020204020204" pitchFamily="34" charset="-122"/>
                  <a:ea typeface="微软雅黑" panose="020B0503020204020204" pitchFamily="34" charset="-122"/>
                </a:rPr>
                <a:t>UML</a:t>
              </a:r>
              <a:endParaRPr lang="en-US" sz="5400" dirty="0">
                <a:solidFill>
                  <a:schemeClr val="bg1"/>
                </a:solidFill>
                <a:latin typeface="微软雅黑" panose="020B0503020204020204" pitchFamily="34" charset="-122"/>
                <a:ea typeface="微软雅黑" panose="020B0503020204020204" pitchFamily="34" charset="-122"/>
              </a:endParaRPr>
            </a:p>
          </p:txBody>
        </p:sp>
        <p:sp>
          <p:nvSpPr>
            <p:cNvPr id="27" name="î$ḷíḑê"/>
            <p:cNvSpPr/>
            <p:nvPr/>
          </p:nvSpPr>
          <p:spPr bwMode="auto">
            <a:xfrm>
              <a:off x="9032455" y="3184327"/>
              <a:ext cx="4223993" cy="15853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lnSpc>
                  <a:spcPct val="150000"/>
                </a:lnSpc>
                <a:spcBef>
                  <a:spcPct val="0"/>
                </a:spcBef>
                <a:buFont typeface="Arial" panose="020B0604020202020204" pitchFamily="34" charset="0"/>
                <a:buChar char="•"/>
              </a:pPr>
              <a:r>
                <a:rPr lang="zh-CN" altLang="en-US" sz="1600" dirty="0" smtClean="0"/>
                <a:t>模型</a:t>
              </a:r>
              <a:r>
                <a:rPr lang="zh-CN" altLang="en-US" sz="1600" dirty="0"/>
                <a:t>组织</a:t>
              </a:r>
              <a:endParaRPr lang="en-US" altLang="zh-CN" sz="1600" dirty="0"/>
            </a:p>
            <a:p>
              <a:pPr marL="171450" indent="-171450">
                <a:lnSpc>
                  <a:spcPct val="150000"/>
                </a:lnSpc>
                <a:spcBef>
                  <a:spcPct val="0"/>
                </a:spcBef>
                <a:buFont typeface="Arial" panose="020B0604020202020204" pitchFamily="34" charset="0"/>
                <a:buChar char="•"/>
              </a:pPr>
              <a:r>
                <a:rPr lang="zh-CN" altLang="en-US" sz="1600" dirty="0"/>
                <a:t>扩展机制</a:t>
              </a:r>
              <a:endParaRPr lang="en-US" altLang="zh-CN" sz="1600" dirty="0"/>
            </a:p>
            <a:p>
              <a:pPr>
                <a:lnSpc>
                  <a:spcPct val="150000"/>
                </a:lnSpc>
                <a:spcBef>
                  <a:spcPct val="0"/>
                </a:spcBef>
              </a:pPr>
              <a:endParaRPr lang="en-US" altLang="zh-CN" sz="900" dirty="0" smtClean="0"/>
            </a:p>
          </p:txBody>
        </p:sp>
      </p:grpSp>
    </p:spTree>
    <p:extLst>
      <p:ext uri="{BB962C8B-B14F-4D97-AF65-F5344CB8AC3E}">
        <p14:creationId xmlns:p14="http://schemas.microsoft.com/office/powerpoint/2010/main" val="20019515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accent5">
            <a:lumMod val="40000"/>
            <a:lumOff val="60000"/>
          </a:schemeClr>
        </a:solidFill>
        <a:effectLst/>
      </p:bgPr>
    </p:bg>
    <p:spTree>
      <p:nvGrpSpPr>
        <p:cNvPr id="1" name=""/>
        <p:cNvGrpSpPr/>
        <p:nvPr/>
      </p:nvGrpSpPr>
      <p:grpSpPr>
        <a:xfrm>
          <a:off x="0" y="0"/>
          <a:ext cx="0" cy="0"/>
          <a:chOff x="0" y="0"/>
          <a:chExt cx="0" cy="0"/>
        </a:xfrm>
      </p:grpSpPr>
      <p:grpSp>
        <p:nvGrpSpPr>
          <p:cNvPr id="44" name="879"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452378" y="997531"/>
            <a:ext cx="11185437" cy="5615707"/>
            <a:chOff x="917043" y="1404001"/>
            <a:chExt cx="10286231" cy="4479726"/>
          </a:xfrm>
        </p:grpSpPr>
        <p:sp>
          <p:nvSpPr>
            <p:cNvPr id="45" name="ïśḻïḓè"/>
            <p:cNvSpPr/>
            <p:nvPr/>
          </p:nvSpPr>
          <p:spPr bwMode="auto">
            <a:xfrm>
              <a:off x="917043" y="1979199"/>
              <a:ext cx="6241143" cy="3352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nvGrpSpPr>
            <p:cNvPr id="46" name="iśḷîdé"/>
            <p:cNvGrpSpPr/>
            <p:nvPr/>
          </p:nvGrpSpPr>
          <p:grpSpPr>
            <a:xfrm>
              <a:off x="988727" y="2411267"/>
              <a:ext cx="4900272" cy="2465193"/>
              <a:chOff x="842471" y="2418029"/>
              <a:chExt cx="4900272" cy="2465193"/>
            </a:xfrm>
          </p:grpSpPr>
          <p:grpSp>
            <p:nvGrpSpPr>
              <p:cNvPr id="62" name="íš1ïḋê"/>
              <p:cNvGrpSpPr/>
              <p:nvPr/>
            </p:nvGrpSpPr>
            <p:grpSpPr>
              <a:xfrm>
                <a:off x="2243572" y="2420896"/>
                <a:ext cx="3499171" cy="2462326"/>
                <a:chOff x="2850530" y="2613391"/>
                <a:chExt cx="3499170" cy="2462326"/>
              </a:xfrm>
            </p:grpSpPr>
            <p:sp>
              <p:nvSpPr>
                <p:cNvPr id="74" name="iṥliďè"/>
                <p:cNvSpPr/>
                <p:nvPr/>
              </p:nvSpPr>
              <p:spPr bwMode="auto">
                <a:xfrm>
                  <a:off x="2915064" y="3849574"/>
                  <a:ext cx="3434636" cy="598014"/>
                </a:xfrm>
                <a:custGeom>
                  <a:avLst/>
                  <a:gdLst>
                    <a:gd name="T0" fmla="*/ 489 w 1012"/>
                    <a:gd name="T1" fmla="*/ 8 h 176"/>
                    <a:gd name="T2" fmla="*/ 918 w 1012"/>
                    <a:gd name="T3" fmla="*/ 10 h 176"/>
                    <a:gd name="T4" fmla="*/ 929 w 1012"/>
                    <a:gd name="T5" fmla="*/ 15 h 176"/>
                    <a:gd name="T6" fmla="*/ 1009 w 1012"/>
                    <a:gd name="T7" fmla="*/ 86 h 176"/>
                    <a:gd name="T8" fmla="*/ 1009 w 1012"/>
                    <a:gd name="T9" fmla="*/ 97 h 176"/>
                    <a:gd name="T10" fmla="*/ 929 w 1012"/>
                    <a:gd name="T11" fmla="*/ 171 h 176"/>
                    <a:gd name="T12" fmla="*/ 917 w 1012"/>
                    <a:gd name="T13" fmla="*/ 176 h 176"/>
                    <a:gd name="T14" fmla="*/ 513 w 1012"/>
                    <a:gd name="T15" fmla="*/ 174 h 176"/>
                    <a:gd name="T16" fmla="*/ 477 w 1012"/>
                    <a:gd name="T17" fmla="*/ 160 h 176"/>
                    <a:gd name="T18" fmla="*/ 476 w 1012"/>
                    <a:gd name="T19" fmla="*/ 159 h 176"/>
                    <a:gd name="T20" fmla="*/ 351 w 1012"/>
                    <a:gd name="T21" fmla="*/ 48 h 176"/>
                    <a:gd name="T22" fmla="*/ 318 w 1012"/>
                    <a:gd name="T23" fmla="*/ 36 h 176"/>
                    <a:gd name="T24" fmla="*/ 314 w 1012"/>
                    <a:gd name="T25" fmla="*/ 36 h 176"/>
                    <a:gd name="T26" fmla="*/ 198 w 1012"/>
                    <a:gd name="T27" fmla="*/ 38 h 176"/>
                    <a:gd name="T28" fmla="*/ 0 w 1012"/>
                    <a:gd name="T29" fmla="*/ 37 h 176"/>
                    <a:gd name="T30" fmla="*/ 0 w 1012"/>
                    <a:gd name="T31" fmla="*/ 1 h 176"/>
                    <a:gd name="T32" fmla="*/ 366 w 1012"/>
                    <a:gd name="T33" fmla="*/ 0 h 176"/>
                    <a:gd name="T34" fmla="*/ 489 w 1012"/>
                    <a:gd name="T35" fmla="*/ 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12" h="176">
                      <a:moveTo>
                        <a:pt x="489" y="8"/>
                      </a:moveTo>
                      <a:cubicBezTo>
                        <a:pt x="918" y="10"/>
                        <a:pt x="918" y="10"/>
                        <a:pt x="918" y="10"/>
                      </a:cubicBezTo>
                      <a:cubicBezTo>
                        <a:pt x="922" y="10"/>
                        <a:pt x="926" y="12"/>
                        <a:pt x="929" y="15"/>
                      </a:cubicBezTo>
                      <a:cubicBezTo>
                        <a:pt x="1009" y="86"/>
                        <a:pt x="1009" y="86"/>
                        <a:pt x="1009" y="86"/>
                      </a:cubicBezTo>
                      <a:cubicBezTo>
                        <a:pt x="1012" y="89"/>
                        <a:pt x="1012" y="94"/>
                        <a:pt x="1009" y="97"/>
                      </a:cubicBezTo>
                      <a:cubicBezTo>
                        <a:pt x="929" y="171"/>
                        <a:pt x="929" y="171"/>
                        <a:pt x="929" y="171"/>
                      </a:cubicBezTo>
                      <a:cubicBezTo>
                        <a:pt x="926" y="174"/>
                        <a:pt x="922" y="176"/>
                        <a:pt x="917" y="176"/>
                      </a:cubicBezTo>
                      <a:cubicBezTo>
                        <a:pt x="917" y="176"/>
                        <a:pt x="531" y="174"/>
                        <a:pt x="513" y="174"/>
                      </a:cubicBezTo>
                      <a:cubicBezTo>
                        <a:pt x="496" y="174"/>
                        <a:pt x="485" y="167"/>
                        <a:pt x="477" y="160"/>
                      </a:cubicBezTo>
                      <a:cubicBezTo>
                        <a:pt x="477" y="160"/>
                        <a:pt x="476" y="160"/>
                        <a:pt x="476" y="159"/>
                      </a:cubicBezTo>
                      <a:cubicBezTo>
                        <a:pt x="476" y="159"/>
                        <a:pt x="382" y="74"/>
                        <a:pt x="351" y="48"/>
                      </a:cubicBezTo>
                      <a:cubicBezTo>
                        <a:pt x="346" y="43"/>
                        <a:pt x="339" y="36"/>
                        <a:pt x="318" y="36"/>
                      </a:cubicBezTo>
                      <a:cubicBezTo>
                        <a:pt x="317" y="36"/>
                        <a:pt x="315" y="36"/>
                        <a:pt x="314" y="36"/>
                      </a:cubicBezTo>
                      <a:cubicBezTo>
                        <a:pt x="308" y="36"/>
                        <a:pt x="264" y="38"/>
                        <a:pt x="198" y="38"/>
                      </a:cubicBezTo>
                      <a:cubicBezTo>
                        <a:pt x="139" y="38"/>
                        <a:pt x="11" y="37"/>
                        <a:pt x="0" y="37"/>
                      </a:cubicBezTo>
                      <a:cubicBezTo>
                        <a:pt x="0" y="1"/>
                        <a:pt x="0" y="1"/>
                        <a:pt x="0" y="1"/>
                      </a:cubicBezTo>
                      <a:cubicBezTo>
                        <a:pt x="366" y="0"/>
                        <a:pt x="366" y="0"/>
                        <a:pt x="366" y="0"/>
                      </a:cubicBezTo>
                      <a:cubicBezTo>
                        <a:pt x="366" y="0"/>
                        <a:pt x="479" y="8"/>
                        <a:pt x="489" y="8"/>
                      </a:cubicBezTo>
                      <a:close/>
                    </a:path>
                  </a:pathLst>
                </a:custGeom>
                <a:solidFill>
                  <a:srgbClr val="DCDE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75" name="íS1ïḍé"/>
                <p:cNvSpPr/>
                <p:nvPr/>
              </p:nvSpPr>
              <p:spPr bwMode="auto">
                <a:xfrm>
                  <a:off x="2850530" y="3995850"/>
                  <a:ext cx="3499170" cy="1079867"/>
                </a:xfrm>
                <a:custGeom>
                  <a:avLst/>
                  <a:gdLst>
                    <a:gd name="T0" fmla="*/ 338 w 1031"/>
                    <a:gd name="T1" fmla="*/ 0 h 318"/>
                    <a:gd name="T2" fmla="*/ 371 w 1031"/>
                    <a:gd name="T3" fmla="*/ 14 h 318"/>
                    <a:gd name="T4" fmla="*/ 494 w 1031"/>
                    <a:gd name="T5" fmla="*/ 134 h 318"/>
                    <a:gd name="T6" fmla="*/ 533 w 1031"/>
                    <a:gd name="T7" fmla="*/ 149 h 318"/>
                    <a:gd name="T8" fmla="*/ 937 w 1031"/>
                    <a:gd name="T9" fmla="*/ 152 h 318"/>
                    <a:gd name="T10" fmla="*/ 948 w 1031"/>
                    <a:gd name="T11" fmla="*/ 157 h 318"/>
                    <a:gd name="T12" fmla="*/ 1028 w 1031"/>
                    <a:gd name="T13" fmla="*/ 230 h 318"/>
                    <a:gd name="T14" fmla="*/ 1028 w 1031"/>
                    <a:gd name="T15" fmla="*/ 241 h 318"/>
                    <a:gd name="T16" fmla="*/ 947 w 1031"/>
                    <a:gd name="T17" fmla="*/ 313 h 318"/>
                    <a:gd name="T18" fmla="*/ 936 w 1031"/>
                    <a:gd name="T19" fmla="*/ 318 h 318"/>
                    <a:gd name="T20" fmla="*/ 548 w 1031"/>
                    <a:gd name="T21" fmla="*/ 315 h 318"/>
                    <a:gd name="T22" fmla="*/ 478 w 1031"/>
                    <a:gd name="T23" fmla="*/ 256 h 318"/>
                    <a:gd name="T24" fmla="*/ 359 w 1031"/>
                    <a:gd name="T25" fmla="*/ 48 h 318"/>
                    <a:gd name="T26" fmla="*/ 331 w 1031"/>
                    <a:gd name="T27" fmla="*/ 34 h 318"/>
                    <a:gd name="T28" fmla="*/ 43 w 1031"/>
                    <a:gd name="T29" fmla="*/ 35 h 318"/>
                    <a:gd name="T30" fmla="*/ 0 w 1031"/>
                    <a:gd name="T31" fmla="*/ 6 h 318"/>
                    <a:gd name="T32" fmla="*/ 20 w 1031"/>
                    <a:gd name="T33" fmla="*/ 2 h 318"/>
                    <a:gd name="T34" fmla="*/ 338 w 1031"/>
                    <a:gd name="T35"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31" h="318">
                      <a:moveTo>
                        <a:pt x="338" y="0"/>
                      </a:moveTo>
                      <a:cubicBezTo>
                        <a:pt x="356" y="0"/>
                        <a:pt x="366" y="9"/>
                        <a:pt x="371" y="14"/>
                      </a:cubicBezTo>
                      <a:cubicBezTo>
                        <a:pt x="401" y="43"/>
                        <a:pt x="494" y="134"/>
                        <a:pt x="494" y="134"/>
                      </a:cubicBezTo>
                      <a:cubicBezTo>
                        <a:pt x="503" y="141"/>
                        <a:pt x="515" y="149"/>
                        <a:pt x="533" y="149"/>
                      </a:cubicBezTo>
                      <a:cubicBezTo>
                        <a:pt x="557" y="149"/>
                        <a:pt x="937" y="152"/>
                        <a:pt x="937" y="152"/>
                      </a:cubicBezTo>
                      <a:cubicBezTo>
                        <a:pt x="941" y="152"/>
                        <a:pt x="945" y="154"/>
                        <a:pt x="948" y="157"/>
                      </a:cubicBezTo>
                      <a:cubicBezTo>
                        <a:pt x="1028" y="230"/>
                        <a:pt x="1028" y="230"/>
                        <a:pt x="1028" y="230"/>
                      </a:cubicBezTo>
                      <a:cubicBezTo>
                        <a:pt x="1031" y="233"/>
                        <a:pt x="1031" y="238"/>
                        <a:pt x="1028" y="241"/>
                      </a:cubicBezTo>
                      <a:cubicBezTo>
                        <a:pt x="947" y="313"/>
                        <a:pt x="947" y="313"/>
                        <a:pt x="947" y="313"/>
                      </a:cubicBezTo>
                      <a:cubicBezTo>
                        <a:pt x="944" y="316"/>
                        <a:pt x="940" y="318"/>
                        <a:pt x="936" y="318"/>
                      </a:cubicBezTo>
                      <a:cubicBezTo>
                        <a:pt x="936" y="318"/>
                        <a:pt x="565" y="315"/>
                        <a:pt x="548" y="315"/>
                      </a:cubicBezTo>
                      <a:cubicBezTo>
                        <a:pt x="514" y="315"/>
                        <a:pt x="492" y="283"/>
                        <a:pt x="478" y="256"/>
                      </a:cubicBezTo>
                      <a:cubicBezTo>
                        <a:pt x="462" y="223"/>
                        <a:pt x="384" y="90"/>
                        <a:pt x="359" y="48"/>
                      </a:cubicBezTo>
                      <a:cubicBezTo>
                        <a:pt x="351" y="34"/>
                        <a:pt x="336" y="34"/>
                        <a:pt x="331" y="34"/>
                      </a:cubicBezTo>
                      <a:cubicBezTo>
                        <a:pt x="327" y="34"/>
                        <a:pt x="65" y="35"/>
                        <a:pt x="43" y="35"/>
                      </a:cubicBezTo>
                      <a:cubicBezTo>
                        <a:pt x="0" y="6"/>
                        <a:pt x="0" y="6"/>
                        <a:pt x="0" y="6"/>
                      </a:cubicBezTo>
                      <a:cubicBezTo>
                        <a:pt x="20" y="2"/>
                        <a:pt x="20" y="2"/>
                        <a:pt x="20" y="2"/>
                      </a:cubicBezTo>
                      <a:cubicBezTo>
                        <a:pt x="45" y="2"/>
                        <a:pt x="337" y="0"/>
                        <a:pt x="338" y="0"/>
                      </a:cubicBezTo>
                      <a:close/>
                    </a:path>
                  </a:pathLst>
                </a:custGeom>
                <a:solidFill>
                  <a:srgbClr val="DCDE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76" name="ïṩlîḍé"/>
                <p:cNvSpPr/>
                <p:nvPr/>
              </p:nvSpPr>
              <p:spPr bwMode="auto">
                <a:xfrm>
                  <a:off x="2915064" y="3238653"/>
                  <a:ext cx="3434636" cy="598014"/>
                </a:xfrm>
                <a:custGeom>
                  <a:avLst/>
                  <a:gdLst>
                    <a:gd name="T0" fmla="*/ 489 w 1012"/>
                    <a:gd name="T1" fmla="*/ 168 h 176"/>
                    <a:gd name="T2" fmla="*/ 918 w 1012"/>
                    <a:gd name="T3" fmla="*/ 166 h 176"/>
                    <a:gd name="T4" fmla="*/ 929 w 1012"/>
                    <a:gd name="T5" fmla="*/ 161 h 176"/>
                    <a:gd name="T6" fmla="*/ 1009 w 1012"/>
                    <a:gd name="T7" fmla="*/ 90 h 176"/>
                    <a:gd name="T8" fmla="*/ 1009 w 1012"/>
                    <a:gd name="T9" fmla="*/ 79 h 176"/>
                    <a:gd name="T10" fmla="*/ 929 w 1012"/>
                    <a:gd name="T11" fmla="*/ 5 h 176"/>
                    <a:gd name="T12" fmla="*/ 917 w 1012"/>
                    <a:gd name="T13" fmla="*/ 0 h 176"/>
                    <a:gd name="T14" fmla="*/ 513 w 1012"/>
                    <a:gd name="T15" fmla="*/ 2 h 176"/>
                    <a:gd name="T16" fmla="*/ 477 w 1012"/>
                    <a:gd name="T17" fmla="*/ 16 h 176"/>
                    <a:gd name="T18" fmla="*/ 476 w 1012"/>
                    <a:gd name="T19" fmla="*/ 17 h 176"/>
                    <a:gd name="T20" fmla="*/ 351 w 1012"/>
                    <a:gd name="T21" fmla="*/ 128 h 176"/>
                    <a:gd name="T22" fmla="*/ 318 w 1012"/>
                    <a:gd name="T23" fmla="*/ 140 h 176"/>
                    <a:gd name="T24" fmla="*/ 314 w 1012"/>
                    <a:gd name="T25" fmla="*/ 140 h 176"/>
                    <a:gd name="T26" fmla="*/ 198 w 1012"/>
                    <a:gd name="T27" fmla="*/ 138 h 176"/>
                    <a:gd name="T28" fmla="*/ 0 w 1012"/>
                    <a:gd name="T29" fmla="*/ 139 h 176"/>
                    <a:gd name="T30" fmla="*/ 0 w 1012"/>
                    <a:gd name="T31" fmla="*/ 175 h 176"/>
                    <a:gd name="T32" fmla="*/ 366 w 1012"/>
                    <a:gd name="T33" fmla="*/ 176 h 176"/>
                    <a:gd name="T34" fmla="*/ 489 w 1012"/>
                    <a:gd name="T35" fmla="*/ 16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12" h="176">
                      <a:moveTo>
                        <a:pt x="489" y="168"/>
                      </a:moveTo>
                      <a:cubicBezTo>
                        <a:pt x="918" y="166"/>
                        <a:pt x="918" y="166"/>
                        <a:pt x="918" y="166"/>
                      </a:cubicBezTo>
                      <a:cubicBezTo>
                        <a:pt x="922" y="166"/>
                        <a:pt x="926" y="164"/>
                        <a:pt x="929" y="161"/>
                      </a:cubicBezTo>
                      <a:cubicBezTo>
                        <a:pt x="1009" y="90"/>
                        <a:pt x="1009" y="90"/>
                        <a:pt x="1009" y="90"/>
                      </a:cubicBezTo>
                      <a:cubicBezTo>
                        <a:pt x="1012" y="87"/>
                        <a:pt x="1012" y="82"/>
                        <a:pt x="1009" y="79"/>
                      </a:cubicBezTo>
                      <a:cubicBezTo>
                        <a:pt x="929" y="5"/>
                        <a:pt x="929" y="5"/>
                        <a:pt x="929" y="5"/>
                      </a:cubicBezTo>
                      <a:cubicBezTo>
                        <a:pt x="926" y="2"/>
                        <a:pt x="922" y="0"/>
                        <a:pt x="917" y="0"/>
                      </a:cubicBezTo>
                      <a:cubicBezTo>
                        <a:pt x="917" y="0"/>
                        <a:pt x="531" y="2"/>
                        <a:pt x="513" y="2"/>
                      </a:cubicBezTo>
                      <a:cubicBezTo>
                        <a:pt x="496" y="2"/>
                        <a:pt x="485" y="9"/>
                        <a:pt x="477" y="16"/>
                      </a:cubicBezTo>
                      <a:cubicBezTo>
                        <a:pt x="477" y="16"/>
                        <a:pt x="476" y="16"/>
                        <a:pt x="476" y="17"/>
                      </a:cubicBezTo>
                      <a:cubicBezTo>
                        <a:pt x="476" y="17"/>
                        <a:pt x="382" y="102"/>
                        <a:pt x="351" y="128"/>
                      </a:cubicBezTo>
                      <a:cubicBezTo>
                        <a:pt x="346" y="133"/>
                        <a:pt x="339" y="140"/>
                        <a:pt x="318" y="140"/>
                      </a:cubicBezTo>
                      <a:cubicBezTo>
                        <a:pt x="317" y="140"/>
                        <a:pt x="315" y="140"/>
                        <a:pt x="314" y="140"/>
                      </a:cubicBezTo>
                      <a:cubicBezTo>
                        <a:pt x="308" y="140"/>
                        <a:pt x="264" y="138"/>
                        <a:pt x="198" y="138"/>
                      </a:cubicBezTo>
                      <a:cubicBezTo>
                        <a:pt x="139" y="138"/>
                        <a:pt x="11" y="139"/>
                        <a:pt x="0" y="139"/>
                      </a:cubicBezTo>
                      <a:cubicBezTo>
                        <a:pt x="0" y="175"/>
                        <a:pt x="0" y="175"/>
                        <a:pt x="0" y="175"/>
                      </a:cubicBezTo>
                      <a:cubicBezTo>
                        <a:pt x="366" y="176"/>
                        <a:pt x="366" y="176"/>
                        <a:pt x="366" y="176"/>
                      </a:cubicBezTo>
                      <a:cubicBezTo>
                        <a:pt x="366" y="176"/>
                        <a:pt x="479" y="168"/>
                        <a:pt x="489" y="168"/>
                      </a:cubicBezTo>
                      <a:close/>
                    </a:path>
                  </a:pathLst>
                </a:custGeom>
                <a:solidFill>
                  <a:srgbClr val="DCDE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77" name="îŝľidé"/>
                <p:cNvSpPr/>
                <p:nvPr/>
              </p:nvSpPr>
              <p:spPr bwMode="auto">
                <a:xfrm>
                  <a:off x="2850530" y="2613391"/>
                  <a:ext cx="3499170" cy="1079867"/>
                </a:xfrm>
                <a:custGeom>
                  <a:avLst/>
                  <a:gdLst>
                    <a:gd name="T0" fmla="*/ 338 w 1031"/>
                    <a:gd name="T1" fmla="*/ 318 h 318"/>
                    <a:gd name="T2" fmla="*/ 371 w 1031"/>
                    <a:gd name="T3" fmla="*/ 304 h 318"/>
                    <a:gd name="T4" fmla="*/ 494 w 1031"/>
                    <a:gd name="T5" fmla="*/ 184 h 318"/>
                    <a:gd name="T6" fmla="*/ 533 w 1031"/>
                    <a:gd name="T7" fmla="*/ 169 h 318"/>
                    <a:gd name="T8" fmla="*/ 937 w 1031"/>
                    <a:gd name="T9" fmla="*/ 166 h 318"/>
                    <a:gd name="T10" fmla="*/ 948 w 1031"/>
                    <a:gd name="T11" fmla="*/ 161 h 318"/>
                    <a:gd name="T12" fmla="*/ 1028 w 1031"/>
                    <a:gd name="T13" fmla="*/ 88 h 318"/>
                    <a:gd name="T14" fmla="*/ 1028 w 1031"/>
                    <a:gd name="T15" fmla="*/ 77 h 318"/>
                    <a:gd name="T16" fmla="*/ 947 w 1031"/>
                    <a:gd name="T17" fmla="*/ 5 h 318"/>
                    <a:gd name="T18" fmla="*/ 936 w 1031"/>
                    <a:gd name="T19" fmla="*/ 0 h 318"/>
                    <a:gd name="T20" fmla="*/ 548 w 1031"/>
                    <a:gd name="T21" fmla="*/ 3 h 318"/>
                    <a:gd name="T22" fmla="*/ 478 w 1031"/>
                    <a:gd name="T23" fmla="*/ 62 h 318"/>
                    <a:gd name="T24" fmla="*/ 359 w 1031"/>
                    <a:gd name="T25" fmla="*/ 270 h 318"/>
                    <a:gd name="T26" fmla="*/ 331 w 1031"/>
                    <a:gd name="T27" fmla="*/ 284 h 318"/>
                    <a:gd name="T28" fmla="*/ 43 w 1031"/>
                    <a:gd name="T29" fmla="*/ 283 h 318"/>
                    <a:gd name="T30" fmla="*/ 0 w 1031"/>
                    <a:gd name="T31" fmla="*/ 312 h 318"/>
                    <a:gd name="T32" fmla="*/ 20 w 1031"/>
                    <a:gd name="T33" fmla="*/ 316 h 318"/>
                    <a:gd name="T34" fmla="*/ 338 w 1031"/>
                    <a:gd name="T35"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31" h="318">
                      <a:moveTo>
                        <a:pt x="338" y="318"/>
                      </a:moveTo>
                      <a:cubicBezTo>
                        <a:pt x="356" y="318"/>
                        <a:pt x="366" y="309"/>
                        <a:pt x="371" y="304"/>
                      </a:cubicBezTo>
                      <a:cubicBezTo>
                        <a:pt x="401" y="275"/>
                        <a:pt x="494" y="184"/>
                        <a:pt x="494" y="184"/>
                      </a:cubicBezTo>
                      <a:cubicBezTo>
                        <a:pt x="503" y="177"/>
                        <a:pt x="515" y="169"/>
                        <a:pt x="533" y="169"/>
                      </a:cubicBezTo>
                      <a:cubicBezTo>
                        <a:pt x="557" y="169"/>
                        <a:pt x="937" y="166"/>
                        <a:pt x="937" y="166"/>
                      </a:cubicBezTo>
                      <a:cubicBezTo>
                        <a:pt x="941" y="166"/>
                        <a:pt x="945" y="164"/>
                        <a:pt x="948" y="161"/>
                      </a:cubicBezTo>
                      <a:cubicBezTo>
                        <a:pt x="1028" y="88"/>
                        <a:pt x="1028" y="88"/>
                        <a:pt x="1028" y="88"/>
                      </a:cubicBezTo>
                      <a:cubicBezTo>
                        <a:pt x="1031" y="85"/>
                        <a:pt x="1031" y="80"/>
                        <a:pt x="1028" y="77"/>
                      </a:cubicBezTo>
                      <a:cubicBezTo>
                        <a:pt x="947" y="5"/>
                        <a:pt x="947" y="5"/>
                        <a:pt x="947" y="5"/>
                      </a:cubicBezTo>
                      <a:cubicBezTo>
                        <a:pt x="944" y="2"/>
                        <a:pt x="940" y="0"/>
                        <a:pt x="936" y="0"/>
                      </a:cubicBezTo>
                      <a:cubicBezTo>
                        <a:pt x="936" y="0"/>
                        <a:pt x="565" y="3"/>
                        <a:pt x="548" y="3"/>
                      </a:cubicBezTo>
                      <a:cubicBezTo>
                        <a:pt x="514" y="3"/>
                        <a:pt x="492" y="35"/>
                        <a:pt x="478" y="62"/>
                      </a:cubicBezTo>
                      <a:cubicBezTo>
                        <a:pt x="462" y="95"/>
                        <a:pt x="384" y="228"/>
                        <a:pt x="359" y="270"/>
                      </a:cubicBezTo>
                      <a:cubicBezTo>
                        <a:pt x="351" y="284"/>
                        <a:pt x="336" y="284"/>
                        <a:pt x="331" y="284"/>
                      </a:cubicBezTo>
                      <a:cubicBezTo>
                        <a:pt x="327" y="284"/>
                        <a:pt x="65" y="283"/>
                        <a:pt x="43" y="283"/>
                      </a:cubicBezTo>
                      <a:cubicBezTo>
                        <a:pt x="0" y="312"/>
                        <a:pt x="0" y="312"/>
                        <a:pt x="0" y="312"/>
                      </a:cubicBezTo>
                      <a:cubicBezTo>
                        <a:pt x="20" y="316"/>
                        <a:pt x="20" y="316"/>
                        <a:pt x="20" y="316"/>
                      </a:cubicBezTo>
                      <a:cubicBezTo>
                        <a:pt x="45" y="316"/>
                        <a:pt x="337" y="318"/>
                        <a:pt x="338" y="318"/>
                      </a:cubicBezTo>
                      <a:close/>
                    </a:path>
                  </a:pathLst>
                </a:custGeom>
                <a:solidFill>
                  <a:srgbClr val="DCDE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sp>
            <p:nvSpPr>
              <p:cNvPr id="63" name="î$ḷïḍê"/>
              <p:cNvSpPr/>
              <p:nvPr/>
            </p:nvSpPr>
            <p:spPr bwMode="auto">
              <a:xfrm>
                <a:off x="2243572" y="2418029"/>
                <a:ext cx="3499171" cy="1079867"/>
              </a:xfrm>
              <a:custGeom>
                <a:avLst/>
                <a:gdLst>
                  <a:gd name="T0" fmla="*/ 338 w 1031"/>
                  <a:gd name="T1" fmla="*/ 318 h 318"/>
                  <a:gd name="T2" fmla="*/ 371 w 1031"/>
                  <a:gd name="T3" fmla="*/ 304 h 318"/>
                  <a:gd name="T4" fmla="*/ 494 w 1031"/>
                  <a:gd name="T5" fmla="*/ 184 h 318"/>
                  <a:gd name="T6" fmla="*/ 533 w 1031"/>
                  <a:gd name="T7" fmla="*/ 169 h 318"/>
                  <a:gd name="T8" fmla="*/ 937 w 1031"/>
                  <a:gd name="T9" fmla="*/ 166 h 318"/>
                  <a:gd name="T10" fmla="*/ 948 w 1031"/>
                  <a:gd name="T11" fmla="*/ 161 h 318"/>
                  <a:gd name="T12" fmla="*/ 1028 w 1031"/>
                  <a:gd name="T13" fmla="*/ 88 h 318"/>
                  <a:gd name="T14" fmla="*/ 1028 w 1031"/>
                  <a:gd name="T15" fmla="*/ 77 h 318"/>
                  <a:gd name="T16" fmla="*/ 947 w 1031"/>
                  <a:gd name="T17" fmla="*/ 5 h 318"/>
                  <a:gd name="T18" fmla="*/ 936 w 1031"/>
                  <a:gd name="T19" fmla="*/ 0 h 318"/>
                  <a:gd name="T20" fmla="*/ 548 w 1031"/>
                  <a:gd name="T21" fmla="*/ 3 h 318"/>
                  <a:gd name="T22" fmla="*/ 478 w 1031"/>
                  <a:gd name="T23" fmla="*/ 62 h 318"/>
                  <a:gd name="T24" fmla="*/ 359 w 1031"/>
                  <a:gd name="T25" fmla="*/ 271 h 318"/>
                  <a:gd name="T26" fmla="*/ 331 w 1031"/>
                  <a:gd name="T27" fmla="*/ 285 h 318"/>
                  <a:gd name="T28" fmla="*/ 43 w 1031"/>
                  <a:gd name="T29" fmla="*/ 283 h 318"/>
                  <a:gd name="T30" fmla="*/ 0 w 1031"/>
                  <a:gd name="T31" fmla="*/ 312 h 318"/>
                  <a:gd name="T32" fmla="*/ 20 w 1031"/>
                  <a:gd name="T33" fmla="*/ 317 h 318"/>
                  <a:gd name="T34" fmla="*/ 338 w 1031"/>
                  <a:gd name="T35"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31" h="318">
                    <a:moveTo>
                      <a:pt x="338" y="318"/>
                    </a:moveTo>
                    <a:cubicBezTo>
                      <a:pt x="356" y="318"/>
                      <a:pt x="366" y="309"/>
                      <a:pt x="371" y="304"/>
                    </a:cubicBezTo>
                    <a:cubicBezTo>
                      <a:pt x="401" y="275"/>
                      <a:pt x="494" y="184"/>
                      <a:pt x="494" y="184"/>
                    </a:cubicBezTo>
                    <a:cubicBezTo>
                      <a:pt x="503" y="177"/>
                      <a:pt x="515" y="169"/>
                      <a:pt x="533" y="169"/>
                    </a:cubicBezTo>
                    <a:cubicBezTo>
                      <a:pt x="557" y="169"/>
                      <a:pt x="937" y="166"/>
                      <a:pt x="937" y="166"/>
                    </a:cubicBezTo>
                    <a:cubicBezTo>
                      <a:pt x="941" y="166"/>
                      <a:pt x="945" y="164"/>
                      <a:pt x="948" y="161"/>
                    </a:cubicBezTo>
                    <a:cubicBezTo>
                      <a:pt x="1028" y="88"/>
                      <a:pt x="1028" y="88"/>
                      <a:pt x="1028" y="88"/>
                    </a:cubicBezTo>
                    <a:cubicBezTo>
                      <a:pt x="1031" y="85"/>
                      <a:pt x="1031" y="80"/>
                      <a:pt x="1028" y="77"/>
                    </a:cubicBezTo>
                    <a:cubicBezTo>
                      <a:pt x="947" y="5"/>
                      <a:pt x="947" y="5"/>
                      <a:pt x="947" y="5"/>
                    </a:cubicBezTo>
                    <a:cubicBezTo>
                      <a:pt x="944" y="2"/>
                      <a:pt x="940" y="0"/>
                      <a:pt x="936" y="0"/>
                    </a:cubicBezTo>
                    <a:cubicBezTo>
                      <a:pt x="936" y="0"/>
                      <a:pt x="565" y="3"/>
                      <a:pt x="548" y="3"/>
                    </a:cubicBezTo>
                    <a:cubicBezTo>
                      <a:pt x="514" y="3"/>
                      <a:pt x="492" y="35"/>
                      <a:pt x="478" y="62"/>
                    </a:cubicBezTo>
                    <a:cubicBezTo>
                      <a:pt x="462" y="95"/>
                      <a:pt x="384" y="228"/>
                      <a:pt x="359" y="271"/>
                    </a:cubicBezTo>
                    <a:cubicBezTo>
                      <a:pt x="351" y="284"/>
                      <a:pt x="336" y="285"/>
                      <a:pt x="331" y="285"/>
                    </a:cubicBezTo>
                    <a:cubicBezTo>
                      <a:pt x="327" y="285"/>
                      <a:pt x="65" y="283"/>
                      <a:pt x="43" y="283"/>
                    </a:cubicBezTo>
                    <a:cubicBezTo>
                      <a:pt x="0" y="312"/>
                      <a:pt x="0" y="312"/>
                      <a:pt x="0" y="312"/>
                    </a:cubicBezTo>
                    <a:cubicBezTo>
                      <a:pt x="20" y="317"/>
                      <a:pt x="20" y="317"/>
                      <a:pt x="20" y="317"/>
                    </a:cubicBezTo>
                    <a:cubicBezTo>
                      <a:pt x="45" y="316"/>
                      <a:pt x="337" y="318"/>
                      <a:pt x="338" y="318"/>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64" name="ïŝḻíḋé"/>
              <p:cNvSpPr/>
              <p:nvPr/>
            </p:nvSpPr>
            <p:spPr bwMode="auto">
              <a:xfrm>
                <a:off x="2308107" y="3041857"/>
                <a:ext cx="3434636" cy="598015"/>
              </a:xfrm>
              <a:custGeom>
                <a:avLst/>
                <a:gdLst>
                  <a:gd name="T0" fmla="*/ 489 w 1012"/>
                  <a:gd name="T1" fmla="*/ 168 h 176"/>
                  <a:gd name="T2" fmla="*/ 918 w 1012"/>
                  <a:gd name="T3" fmla="*/ 166 h 176"/>
                  <a:gd name="T4" fmla="*/ 929 w 1012"/>
                  <a:gd name="T5" fmla="*/ 161 h 176"/>
                  <a:gd name="T6" fmla="*/ 1009 w 1012"/>
                  <a:gd name="T7" fmla="*/ 90 h 176"/>
                  <a:gd name="T8" fmla="*/ 1009 w 1012"/>
                  <a:gd name="T9" fmla="*/ 79 h 176"/>
                  <a:gd name="T10" fmla="*/ 929 w 1012"/>
                  <a:gd name="T11" fmla="*/ 5 h 176"/>
                  <a:gd name="T12" fmla="*/ 917 w 1012"/>
                  <a:gd name="T13" fmla="*/ 0 h 176"/>
                  <a:gd name="T14" fmla="*/ 513 w 1012"/>
                  <a:gd name="T15" fmla="*/ 2 h 176"/>
                  <a:gd name="T16" fmla="*/ 477 w 1012"/>
                  <a:gd name="T17" fmla="*/ 16 h 176"/>
                  <a:gd name="T18" fmla="*/ 476 w 1012"/>
                  <a:gd name="T19" fmla="*/ 17 h 176"/>
                  <a:gd name="T20" fmla="*/ 351 w 1012"/>
                  <a:gd name="T21" fmla="*/ 128 h 176"/>
                  <a:gd name="T22" fmla="*/ 318 w 1012"/>
                  <a:gd name="T23" fmla="*/ 140 h 176"/>
                  <a:gd name="T24" fmla="*/ 314 w 1012"/>
                  <a:gd name="T25" fmla="*/ 140 h 176"/>
                  <a:gd name="T26" fmla="*/ 198 w 1012"/>
                  <a:gd name="T27" fmla="*/ 138 h 176"/>
                  <a:gd name="T28" fmla="*/ 0 w 1012"/>
                  <a:gd name="T29" fmla="*/ 139 h 176"/>
                  <a:gd name="T30" fmla="*/ 0 w 1012"/>
                  <a:gd name="T31" fmla="*/ 175 h 176"/>
                  <a:gd name="T32" fmla="*/ 366 w 1012"/>
                  <a:gd name="T33" fmla="*/ 176 h 176"/>
                  <a:gd name="T34" fmla="*/ 489 w 1012"/>
                  <a:gd name="T35" fmla="*/ 16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12" h="176">
                    <a:moveTo>
                      <a:pt x="489" y="168"/>
                    </a:moveTo>
                    <a:cubicBezTo>
                      <a:pt x="918" y="166"/>
                      <a:pt x="918" y="166"/>
                      <a:pt x="918" y="166"/>
                    </a:cubicBezTo>
                    <a:cubicBezTo>
                      <a:pt x="922" y="166"/>
                      <a:pt x="926" y="164"/>
                      <a:pt x="929" y="161"/>
                    </a:cubicBezTo>
                    <a:cubicBezTo>
                      <a:pt x="1009" y="90"/>
                      <a:pt x="1009" y="90"/>
                      <a:pt x="1009" y="90"/>
                    </a:cubicBezTo>
                    <a:cubicBezTo>
                      <a:pt x="1012" y="87"/>
                      <a:pt x="1012" y="82"/>
                      <a:pt x="1009" y="79"/>
                    </a:cubicBezTo>
                    <a:cubicBezTo>
                      <a:pt x="929" y="5"/>
                      <a:pt x="929" y="5"/>
                      <a:pt x="929" y="5"/>
                    </a:cubicBezTo>
                    <a:cubicBezTo>
                      <a:pt x="926" y="2"/>
                      <a:pt x="922" y="0"/>
                      <a:pt x="917" y="0"/>
                    </a:cubicBezTo>
                    <a:cubicBezTo>
                      <a:pt x="917" y="0"/>
                      <a:pt x="531" y="2"/>
                      <a:pt x="513" y="2"/>
                    </a:cubicBezTo>
                    <a:cubicBezTo>
                      <a:pt x="496" y="2"/>
                      <a:pt x="485" y="9"/>
                      <a:pt x="477" y="16"/>
                    </a:cubicBezTo>
                    <a:cubicBezTo>
                      <a:pt x="477" y="16"/>
                      <a:pt x="476" y="16"/>
                      <a:pt x="476" y="17"/>
                    </a:cubicBezTo>
                    <a:cubicBezTo>
                      <a:pt x="476" y="17"/>
                      <a:pt x="382" y="102"/>
                      <a:pt x="351" y="128"/>
                    </a:cubicBezTo>
                    <a:cubicBezTo>
                      <a:pt x="346" y="133"/>
                      <a:pt x="339" y="140"/>
                      <a:pt x="318" y="140"/>
                    </a:cubicBezTo>
                    <a:cubicBezTo>
                      <a:pt x="317" y="140"/>
                      <a:pt x="315" y="140"/>
                      <a:pt x="314" y="140"/>
                    </a:cubicBezTo>
                    <a:cubicBezTo>
                      <a:pt x="308" y="140"/>
                      <a:pt x="264" y="138"/>
                      <a:pt x="198" y="138"/>
                    </a:cubicBezTo>
                    <a:cubicBezTo>
                      <a:pt x="139" y="138"/>
                      <a:pt x="11" y="139"/>
                      <a:pt x="0" y="139"/>
                    </a:cubicBezTo>
                    <a:cubicBezTo>
                      <a:pt x="0" y="175"/>
                      <a:pt x="0" y="175"/>
                      <a:pt x="0" y="175"/>
                    </a:cubicBezTo>
                    <a:cubicBezTo>
                      <a:pt x="366" y="176"/>
                      <a:pt x="366" y="176"/>
                      <a:pt x="366" y="176"/>
                    </a:cubicBezTo>
                    <a:cubicBezTo>
                      <a:pt x="366" y="176"/>
                      <a:pt x="479" y="168"/>
                      <a:pt x="489" y="16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nvGrpSpPr>
              <p:cNvPr id="65" name="ïṣļîḓe"/>
              <p:cNvGrpSpPr/>
              <p:nvPr/>
            </p:nvGrpSpPr>
            <p:grpSpPr>
              <a:xfrm>
                <a:off x="2308107" y="3654210"/>
                <a:ext cx="3434636" cy="598015"/>
                <a:chOff x="2915064" y="3846705"/>
                <a:chExt cx="3434636" cy="598014"/>
              </a:xfrm>
            </p:grpSpPr>
            <p:sp>
              <p:nvSpPr>
                <p:cNvPr id="72" name="îśḻíḋe"/>
                <p:cNvSpPr/>
                <p:nvPr/>
              </p:nvSpPr>
              <p:spPr bwMode="auto">
                <a:xfrm>
                  <a:off x="2915064" y="3846705"/>
                  <a:ext cx="3434636" cy="598014"/>
                </a:xfrm>
                <a:custGeom>
                  <a:avLst/>
                  <a:gdLst>
                    <a:gd name="T0" fmla="*/ 489 w 1012"/>
                    <a:gd name="T1" fmla="*/ 8 h 176"/>
                    <a:gd name="T2" fmla="*/ 918 w 1012"/>
                    <a:gd name="T3" fmla="*/ 10 h 176"/>
                    <a:gd name="T4" fmla="*/ 929 w 1012"/>
                    <a:gd name="T5" fmla="*/ 15 h 176"/>
                    <a:gd name="T6" fmla="*/ 1009 w 1012"/>
                    <a:gd name="T7" fmla="*/ 86 h 176"/>
                    <a:gd name="T8" fmla="*/ 1009 w 1012"/>
                    <a:gd name="T9" fmla="*/ 97 h 176"/>
                    <a:gd name="T10" fmla="*/ 929 w 1012"/>
                    <a:gd name="T11" fmla="*/ 171 h 176"/>
                    <a:gd name="T12" fmla="*/ 917 w 1012"/>
                    <a:gd name="T13" fmla="*/ 176 h 176"/>
                    <a:gd name="T14" fmla="*/ 513 w 1012"/>
                    <a:gd name="T15" fmla="*/ 174 h 176"/>
                    <a:gd name="T16" fmla="*/ 477 w 1012"/>
                    <a:gd name="T17" fmla="*/ 161 h 176"/>
                    <a:gd name="T18" fmla="*/ 476 w 1012"/>
                    <a:gd name="T19" fmla="*/ 159 h 176"/>
                    <a:gd name="T20" fmla="*/ 351 w 1012"/>
                    <a:gd name="T21" fmla="*/ 48 h 176"/>
                    <a:gd name="T22" fmla="*/ 318 w 1012"/>
                    <a:gd name="T23" fmla="*/ 36 h 176"/>
                    <a:gd name="T24" fmla="*/ 314 w 1012"/>
                    <a:gd name="T25" fmla="*/ 36 h 176"/>
                    <a:gd name="T26" fmla="*/ 198 w 1012"/>
                    <a:gd name="T27" fmla="*/ 38 h 176"/>
                    <a:gd name="T28" fmla="*/ 0 w 1012"/>
                    <a:gd name="T29" fmla="*/ 38 h 176"/>
                    <a:gd name="T30" fmla="*/ 0 w 1012"/>
                    <a:gd name="T31" fmla="*/ 1 h 176"/>
                    <a:gd name="T32" fmla="*/ 366 w 1012"/>
                    <a:gd name="T33" fmla="*/ 0 h 176"/>
                    <a:gd name="T34" fmla="*/ 489 w 1012"/>
                    <a:gd name="T35" fmla="*/ 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12" h="176">
                      <a:moveTo>
                        <a:pt x="489" y="8"/>
                      </a:moveTo>
                      <a:cubicBezTo>
                        <a:pt x="918" y="10"/>
                        <a:pt x="918" y="10"/>
                        <a:pt x="918" y="10"/>
                      </a:cubicBezTo>
                      <a:cubicBezTo>
                        <a:pt x="922" y="10"/>
                        <a:pt x="926" y="12"/>
                        <a:pt x="929" y="15"/>
                      </a:cubicBezTo>
                      <a:cubicBezTo>
                        <a:pt x="1009" y="86"/>
                        <a:pt x="1009" y="86"/>
                        <a:pt x="1009" y="86"/>
                      </a:cubicBezTo>
                      <a:cubicBezTo>
                        <a:pt x="1012" y="89"/>
                        <a:pt x="1012" y="94"/>
                        <a:pt x="1009" y="97"/>
                      </a:cubicBezTo>
                      <a:cubicBezTo>
                        <a:pt x="929" y="171"/>
                        <a:pt x="929" y="171"/>
                        <a:pt x="929" y="171"/>
                      </a:cubicBezTo>
                      <a:cubicBezTo>
                        <a:pt x="926" y="174"/>
                        <a:pt x="922" y="176"/>
                        <a:pt x="917" y="176"/>
                      </a:cubicBezTo>
                      <a:cubicBezTo>
                        <a:pt x="917" y="176"/>
                        <a:pt x="531" y="174"/>
                        <a:pt x="513" y="174"/>
                      </a:cubicBezTo>
                      <a:cubicBezTo>
                        <a:pt x="496" y="174"/>
                        <a:pt x="485" y="168"/>
                        <a:pt x="477" y="161"/>
                      </a:cubicBezTo>
                      <a:cubicBezTo>
                        <a:pt x="477" y="160"/>
                        <a:pt x="476" y="160"/>
                        <a:pt x="476" y="159"/>
                      </a:cubicBezTo>
                      <a:cubicBezTo>
                        <a:pt x="476" y="159"/>
                        <a:pt x="382" y="75"/>
                        <a:pt x="351" y="48"/>
                      </a:cubicBezTo>
                      <a:cubicBezTo>
                        <a:pt x="346" y="44"/>
                        <a:pt x="339" y="36"/>
                        <a:pt x="318" y="36"/>
                      </a:cubicBezTo>
                      <a:cubicBezTo>
                        <a:pt x="317" y="36"/>
                        <a:pt x="315" y="36"/>
                        <a:pt x="314" y="36"/>
                      </a:cubicBezTo>
                      <a:cubicBezTo>
                        <a:pt x="308" y="36"/>
                        <a:pt x="264" y="38"/>
                        <a:pt x="198" y="38"/>
                      </a:cubicBezTo>
                      <a:cubicBezTo>
                        <a:pt x="139" y="38"/>
                        <a:pt x="11" y="38"/>
                        <a:pt x="0" y="38"/>
                      </a:cubicBezTo>
                      <a:cubicBezTo>
                        <a:pt x="0" y="1"/>
                        <a:pt x="0" y="1"/>
                        <a:pt x="0" y="1"/>
                      </a:cubicBezTo>
                      <a:cubicBezTo>
                        <a:pt x="366" y="0"/>
                        <a:pt x="366" y="0"/>
                        <a:pt x="366" y="0"/>
                      </a:cubicBezTo>
                      <a:cubicBezTo>
                        <a:pt x="366" y="0"/>
                        <a:pt x="479" y="8"/>
                        <a:pt x="489" y="8"/>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73" name="ïşľîḍé"/>
                <p:cNvSpPr/>
                <p:nvPr/>
              </p:nvSpPr>
              <p:spPr bwMode="auto">
                <a:xfrm>
                  <a:off x="5484228" y="4015417"/>
                  <a:ext cx="349917" cy="296442"/>
                </a:xfrm>
                <a:custGeom>
                  <a:avLst/>
                  <a:gdLst>
                    <a:gd name="connsiteX0" fmla="*/ 286884 w 598888"/>
                    <a:gd name="connsiteY0" fmla="*/ 392767 h 507365"/>
                    <a:gd name="connsiteX1" fmla="*/ 304096 w 598888"/>
                    <a:gd name="connsiteY1" fmla="*/ 392767 h 507365"/>
                    <a:gd name="connsiteX2" fmla="*/ 304096 w 598888"/>
                    <a:gd name="connsiteY2" fmla="*/ 448275 h 507365"/>
                    <a:gd name="connsiteX3" fmla="*/ 342824 w 598888"/>
                    <a:gd name="connsiteY3" fmla="*/ 468330 h 507365"/>
                    <a:gd name="connsiteX4" fmla="*/ 342824 w 598888"/>
                    <a:gd name="connsiteY4" fmla="*/ 469046 h 507365"/>
                    <a:gd name="connsiteX5" fmla="*/ 449325 w 598888"/>
                    <a:gd name="connsiteY5" fmla="*/ 490533 h 507365"/>
                    <a:gd name="connsiteX6" fmla="*/ 446098 w 598888"/>
                    <a:gd name="connsiteY6" fmla="*/ 507365 h 507365"/>
                    <a:gd name="connsiteX7" fmla="*/ 327404 w 598888"/>
                    <a:gd name="connsiteY7" fmla="*/ 483013 h 507365"/>
                    <a:gd name="connsiteX8" fmla="*/ 295490 w 598888"/>
                    <a:gd name="connsiteY8" fmla="*/ 488385 h 507365"/>
                    <a:gd name="connsiteX9" fmla="*/ 263934 w 598888"/>
                    <a:gd name="connsiteY9" fmla="*/ 483371 h 507365"/>
                    <a:gd name="connsiteX10" fmla="*/ 145240 w 598888"/>
                    <a:gd name="connsiteY10" fmla="*/ 507365 h 507365"/>
                    <a:gd name="connsiteX11" fmla="*/ 142013 w 598888"/>
                    <a:gd name="connsiteY11" fmla="*/ 490533 h 507365"/>
                    <a:gd name="connsiteX12" fmla="*/ 248156 w 598888"/>
                    <a:gd name="connsiteY12" fmla="*/ 469046 h 507365"/>
                    <a:gd name="connsiteX13" fmla="*/ 248156 w 598888"/>
                    <a:gd name="connsiteY13" fmla="*/ 468330 h 507365"/>
                    <a:gd name="connsiteX14" fmla="*/ 286884 w 598888"/>
                    <a:gd name="connsiteY14" fmla="*/ 448275 h 507365"/>
                    <a:gd name="connsiteX15" fmla="*/ 562256 w 598888"/>
                    <a:gd name="connsiteY15" fmla="*/ 272855 h 507365"/>
                    <a:gd name="connsiteX16" fmla="*/ 562256 w 598888"/>
                    <a:gd name="connsiteY16" fmla="*/ 298632 h 507365"/>
                    <a:gd name="connsiteX17" fmla="*/ 569067 w 598888"/>
                    <a:gd name="connsiteY17" fmla="*/ 283954 h 507365"/>
                    <a:gd name="connsiteX18" fmla="*/ 562256 w 598888"/>
                    <a:gd name="connsiteY18" fmla="*/ 272855 h 507365"/>
                    <a:gd name="connsiteX19" fmla="*/ 483382 w 598888"/>
                    <a:gd name="connsiteY19" fmla="*/ 272855 h 507365"/>
                    <a:gd name="connsiteX20" fmla="*/ 476570 w 598888"/>
                    <a:gd name="connsiteY20" fmla="*/ 283954 h 507365"/>
                    <a:gd name="connsiteX21" fmla="*/ 483382 w 598888"/>
                    <a:gd name="connsiteY21" fmla="*/ 298632 h 507365"/>
                    <a:gd name="connsiteX22" fmla="*/ 115860 w 598888"/>
                    <a:gd name="connsiteY22" fmla="*/ 272855 h 507365"/>
                    <a:gd name="connsiteX23" fmla="*/ 115860 w 598888"/>
                    <a:gd name="connsiteY23" fmla="*/ 298632 h 507365"/>
                    <a:gd name="connsiteX24" fmla="*/ 122672 w 598888"/>
                    <a:gd name="connsiteY24" fmla="*/ 283954 h 507365"/>
                    <a:gd name="connsiteX25" fmla="*/ 115860 w 598888"/>
                    <a:gd name="connsiteY25" fmla="*/ 272855 h 507365"/>
                    <a:gd name="connsiteX26" fmla="*/ 36989 w 598888"/>
                    <a:gd name="connsiteY26" fmla="*/ 272855 h 507365"/>
                    <a:gd name="connsiteX27" fmla="*/ 30178 w 598888"/>
                    <a:gd name="connsiteY27" fmla="*/ 283954 h 507365"/>
                    <a:gd name="connsiteX28" fmla="*/ 36989 w 598888"/>
                    <a:gd name="connsiteY28" fmla="*/ 298632 h 507365"/>
                    <a:gd name="connsiteX29" fmla="*/ 522819 w 598888"/>
                    <a:gd name="connsiteY29" fmla="*/ 222376 h 507365"/>
                    <a:gd name="connsiteX30" fmla="*/ 513497 w 598888"/>
                    <a:gd name="connsiteY30" fmla="*/ 284312 h 507365"/>
                    <a:gd name="connsiteX31" fmla="*/ 522819 w 598888"/>
                    <a:gd name="connsiteY31" fmla="*/ 296842 h 507365"/>
                    <a:gd name="connsiteX32" fmla="*/ 532140 w 598888"/>
                    <a:gd name="connsiteY32" fmla="*/ 284312 h 507365"/>
                    <a:gd name="connsiteX33" fmla="*/ 76066 w 598888"/>
                    <a:gd name="connsiteY33" fmla="*/ 222376 h 507365"/>
                    <a:gd name="connsiteX34" fmla="*/ 67104 w 598888"/>
                    <a:gd name="connsiteY34" fmla="*/ 284312 h 507365"/>
                    <a:gd name="connsiteX35" fmla="*/ 76066 w 598888"/>
                    <a:gd name="connsiteY35" fmla="*/ 296842 h 507365"/>
                    <a:gd name="connsiteX36" fmla="*/ 76425 w 598888"/>
                    <a:gd name="connsiteY36" fmla="*/ 296842 h 507365"/>
                    <a:gd name="connsiteX37" fmla="*/ 85746 w 598888"/>
                    <a:gd name="connsiteY37" fmla="*/ 284312 h 507365"/>
                    <a:gd name="connsiteX38" fmla="*/ 76425 w 598888"/>
                    <a:gd name="connsiteY38" fmla="*/ 222376 h 507365"/>
                    <a:gd name="connsiteX39" fmla="*/ 513497 w 598888"/>
                    <a:gd name="connsiteY39" fmla="*/ 210920 h 507365"/>
                    <a:gd name="connsiteX40" fmla="*/ 522819 w 598888"/>
                    <a:gd name="connsiteY40" fmla="*/ 220944 h 507365"/>
                    <a:gd name="connsiteX41" fmla="*/ 532499 w 598888"/>
                    <a:gd name="connsiteY41" fmla="*/ 211278 h 507365"/>
                    <a:gd name="connsiteX42" fmla="*/ 546481 w 598888"/>
                    <a:gd name="connsiteY42" fmla="*/ 217364 h 507365"/>
                    <a:gd name="connsiteX43" fmla="*/ 548273 w 598888"/>
                    <a:gd name="connsiteY43" fmla="*/ 218438 h 507365"/>
                    <a:gd name="connsiteX44" fmla="*/ 598824 w 598888"/>
                    <a:gd name="connsiteY44" fmla="*/ 285744 h 507365"/>
                    <a:gd name="connsiteX45" fmla="*/ 575162 w 598888"/>
                    <a:gd name="connsiteY45" fmla="*/ 335149 h 507365"/>
                    <a:gd name="connsiteX46" fmla="*/ 562614 w 598888"/>
                    <a:gd name="connsiteY46" fmla="*/ 341951 h 507365"/>
                    <a:gd name="connsiteX47" fmla="*/ 559387 w 598888"/>
                    <a:gd name="connsiteY47" fmla="*/ 341593 h 507365"/>
                    <a:gd name="connsiteX48" fmla="*/ 558670 w 598888"/>
                    <a:gd name="connsiteY48" fmla="*/ 343383 h 507365"/>
                    <a:gd name="connsiteX49" fmla="*/ 558670 w 598888"/>
                    <a:gd name="connsiteY49" fmla="*/ 485871 h 507365"/>
                    <a:gd name="connsiteX50" fmla="*/ 540744 w 598888"/>
                    <a:gd name="connsiteY50" fmla="*/ 503413 h 507365"/>
                    <a:gd name="connsiteX51" fmla="*/ 523177 w 598888"/>
                    <a:gd name="connsiteY51" fmla="*/ 485871 h 507365"/>
                    <a:gd name="connsiteX52" fmla="*/ 523177 w 598888"/>
                    <a:gd name="connsiteY52" fmla="*/ 363074 h 507365"/>
                    <a:gd name="connsiteX53" fmla="*/ 522819 w 598888"/>
                    <a:gd name="connsiteY53" fmla="*/ 363432 h 507365"/>
                    <a:gd name="connsiteX54" fmla="*/ 520667 w 598888"/>
                    <a:gd name="connsiteY54" fmla="*/ 363074 h 507365"/>
                    <a:gd name="connsiteX55" fmla="*/ 520667 w 598888"/>
                    <a:gd name="connsiteY55" fmla="*/ 485871 h 507365"/>
                    <a:gd name="connsiteX56" fmla="*/ 503100 w 598888"/>
                    <a:gd name="connsiteY56" fmla="*/ 503413 h 507365"/>
                    <a:gd name="connsiteX57" fmla="*/ 485533 w 598888"/>
                    <a:gd name="connsiteY57" fmla="*/ 485871 h 507365"/>
                    <a:gd name="connsiteX58" fmla="*/ 485533 w 598888"/>
                    <a:gd name="connsiteY58" fmla="*/ 343025 h 507365"/>
                    <a:gd name="connsiteX59" fmla="*/ 485533 w 598888"/>
                    <a:gd name="connsiteY59" fmla="*/ 341951 h 507365"/>
                    <a:gd name="connsiteX60" fmla="*/ 483023 w 598888"/>
                    <a:gd name="connsiteY60" fmla="*/ 341951 h 507365"/>
                    <a:gd name="connsiteX61" fmla="*/ 470475 w 598888"/>
                    <a:gd name="connsiteY61" fmla="*/ 335149 h 507365"/>
                    <a:gd name="connsiteX62" fmla="*/ 446454 w 598888"/>
                    <a:gd name="connsiteY62" fmla="*/ 285744 h 507365"/>
                    <a:gd name="connsiteX63" fmla="*/ 497364 w 598888"/>
                    <a:gd name="connsiteY63" fmla="*/ 218438 h 507365"/>
                    <a:gd name="connsiteX64" fmla="*/ 499156 w 598888"/>
                    <a:gd name="connsiteY64" fmla="*/ 217364 h 507365"/>
                    <a:gd name="connsiteX65" fmla="*/ 513497 w 598888"/>
                    <a:gd name="connsiteY65" fmla="*/ 210920 h 507365"/>
                    <a:gd name="connsiteX66" fmla="*/ 67104 w 598888"/>
                    <a:gd name="connsiteY66" fmla="*/ 210920 h 507365"/>
                    <a:gd name="connsiteX67" fmla="*/ 76425 w 598888"/>
                    <a:gd name="connsiteY67" fmla="*/ 220944 h 507365"/>
                    <a:gd name="connsiteX68" fmla="*/ 85746 w 598888"/>
                    <a:gd name="connsiteY68" fmla="*/ 211278 h 507365"/>
                    <a:gd name="connsiteX69" fmla="*/ 100086 w 598888"/>
                    <a:gd name="connsiteY69" fmla="*/ 217364 h 507365"/>
                    <a:gd name="connsiteX70" fmla="*/ 101879 w 598888"/>
                    <a:gd name="connsiteY70" fmla="*/ 218438 h 507365"/>
                    <a:gd name="connsiteX71" fmla="*/ 152428 w 598888"/>
                    <a:gd name="connsiteY71" fmla="*/ 285744 h 507365"/>
                    <a:gd name="connsiteX72" fmla="*/ 128766 w 598888"/>
                    <a:gd name="connsiteY72" fmla="*/ 335149 h 507365"/>
                    <a:gd name="connsiteX73" fmla="*/ 116219 w 598888"/>
                    <a:gd name="connsiteY73" fmla="*/ 341951 h 507365"/>
                    <a:gd name="connsiteX74" fmla="*/ 112992 w 598888"/>
                    <a:gd name="connsiteY74" fmla="*/ 341593 h 507365"/>
                    <a:gd name="connsiteX75" fmla="*/ 111917 w 598888"/>
                    <a:gd name="connsiteY75" fmla="*/ 343383 h 507365"/>
                    <a:gd name="connsiteX76" fmla="*/ 111917 w 598888"/>
                    <a:gd name="connsiteY76" fmla="*/ 485871 h 507365"/>
                    <a:gd name="connsiteX77" fmla="*/ 94350 w 598888"/>
                    <a:gd name="connsiteY77" fmla="*/ 503413 h 507365"/>
                    <a:gd name="connsiteX78" fmla="*/ 76783 w 598888"/>
                    <a:gd name="connsiteY78" fmla="*/ 485871 h 507365"/>
                    <a:gd name="connsiteX79" fmla="*/ 76783 w 598888"/>
                    <a:gd name="connsiteY79" fmla="*/ 363074 h 507365"/>
                    <a:gd name="connsiteX80" fmla="*/ 76425 w 598888"/>
                    <a:gd name="connsiteY80" fmla="*/ 363432 h 507365"/>
                    <a:gd name="connsiteX81" fmla="*/ 74274 w 598888"/>
                    <a:gd name="connsiteY81" fmla="*/ 363074 h 507365"/>
                    <a:gd name="connsiteX82" fmla="*/ 74274 w 598888"/>
                    <a:gd name="connsiteY82" fmla="*/ 485871 h 507365"/>
                    <a:gd name="connsiteX83" fmla="*/ 56707 w 598888"/>
                    <a:gd name="connsiteY83" fmla="*/ 503413 h 507365"/>
                    <a:gd name="connsiteX84" fmla="*/ 38782 w 598888"/>
                    <a:gd name="connsiteY84" fmla="*/ 485871 h 507365"/>
                    <a:gd name="connsiteX85" fmla="*/ 38782 w 598888"/>
                    <a:gd name="connsiteY85" fmla="*/ 343025 h 507365"/>
                    <a:gd name="connsiteX86" fmla="*/ 39140 w 598888"/>
                    <a:gd name="connsiteY86" fmla="*/ 341951 h 507365"/>
                    <a:gd name="connsiteX87" fmla="*/ 36272 w 598888"/>
                    <a:gd name="connsiteY87" fmla="*/ 341951 h 507365"/>
                    <a:gd name="connsiteX88" fmla="*/ 23725 w 598888"/>
                    <a:gd name="connsiteY88" fmla="*/ 335149 h 507365"/>
                    <a:gd name="connsiteX89" fmla="*/ 64 w 598888"/>
                    <a:gd name="connsiteY89" fmla="*/ 285744 h 507365"/>
                    <a:gd name="connsiteX90" fmla="*/ 50613 w 598888"/>
                    <a:gd name="connsiteY90" fmla="*/ 218438 h 507365"/>
                    <a:gd name="connsiteX91" fmla="*/ 52764 w 598888"/>
                    <a:gd name="connsiteY91" fmla="*/ 217364 h 507365"/>
                    <a:gd name="connsiteX92" fmla="*/ 67104 w 598888"/>
                    <a:gd name="connsiteY92" fmla="*/ 210920 h 507365"/>
                    <a:gd name="connsiteX93" fmla="*/ 332425 w 598888"/>
                    <a:gd name="connsiteY93" fmla="*/ 140753 h 507365"/>
                    <a:gd name="connsiteX94" fmla="*/ 332425 w 598888"/>
                    <a:gd name="connsiteY94" fmla="*/ 166888 h 507365"/>
                    <a:gd name="connsiteX95" fmla="*/ 339236 w 598888"/>
                    <a:gd name="connsiteY95" fmla="*/ 152209 h 507365"/>
                    <a:gd name="connsiteX96" fmla="*/ 332425 w 598888"/>
                    <a:gd name="connsiteY96" fmla="*/ 140753 h 507365"/>
                    <a:gd name="connsiteX97" fmla="*/ 253551 w 598888"/>
                    <a:gd name="connsiteY97" fmla="*/ 140753 h 507365"/>
                    <a:gd name="connsiteX98" fmla="*/ 246739 w 598888"/>
                    <a:gd name="connsiteY98" fmla="*/ 152209 h 507365"/>
                    <a:gd name="connsiteX99" fmla="*/ 253551 w 598888"/>
                    <a:gd name="connsiteY99" fmla="*/ 166888 h 507365"/>
                    <a:gd name="connsiteX100" fmla="*/ 522819 w 598888"/>
                    <a:gd name="connsiteY100" fmla="*/ 132169 h 507365"/>
                    <a:gd name="connsiteX101" fmla="*/ 561172 w 598888"/>
                    <a:gd name="connsiteY101" fmla="*/ 170451 h 507365"/>
                    <a:gd name="connsiteX102" fmla="*/ 522819 w 598888"/>
                    <a:gd name="connsiteY102" fmla="*/ 208733 h 507365"/>
                    <a:gd name="connsiteX103" fmla="*/ 484466 w 598888"/>
                    <a:gd name="connsiteY103" fmla="*/ 170451 h 507365"/>
                    <a:gd name="connsiteX104" fmla="*/ 522819 w 598888"/>
                    <a:gd name="connsiteY104" fmla="*/ 132169 h 507365"/>
                    <a:gd name="connsiteX105" fmla="*/ 76246 w 598888"/>
                    <a:gd name="connsiteY105" fmla="*/ 132169 h 507365"/>
                    <a:gd name="connsiteX106" fmla="*/ 114775 w 598888"/>
                    <a:gd name="connsiteY106" fmla="*/ 170451 h 507365"/>
                    <a:gd name="connsiteX107" fmla="*/ 76246 w 598888"/>
                    <a:gd name="connsiteY107" fmla="*/ 208733 h 507365"/>
                    <a:gd name="connsiteX108" fmla="*/ 37717 w 598888"/>
                    <a:gd name="connsiteY108" fmla="*/ 170451 h 507365"/>
                    <a:gd name="connsiteX109" fmla="*/ 76246 w 598888"/>
                    <a:gd name="connsiteY109" fmla="*/ 132169 h 507365"/>
                    <a:gd name="connsiteX110" fmla="*/ 292988 w 598888"/>
                    <a:gd name="connsiteY110" fmla="*/ 90272 h 507365"/>
                    <a:gd name="connsiteX111" fmla="*/ 283666 w 598888"/>
                    <a:gd name="connsiteY111" fmla="*/ 152209 h 507365"/>
                    <a:gd name="connsiteX112" fmla="*/ 292988 w 598888"/>
                    <a:gd name="connsiteY112" fmla="*/ 164740 h 507365"/>
                    <a:gd name="connsiteX113" fmla="*/ 302309 w 598888"/>
                    <a:gd name="connsiteY113" fmla="*/ 152209 h 507365"/>
                    <a:gd name="connsiteX114" fmla="*/ 283666 w 598888"/>
                    <a:gd name="connsiteY114" fmla="*/ 79174 h 507365"/>
                    <a:gd name="connsiteX115" fmla="*/ 292988 w 598888"/>
                    <a:gd name="connsiteY115" fmla="*/ 88840 h 507365"/>
                    <a:gd name="connsiteX116" fmla="*/ 302668 w 598888"/>
                    <a:gd name="connsiteY116" fmla="*/ 79174 h 507365"/>
                    <a:gd name="connsiteX117" fmla="*/ 316650 w 598888"/>
                    <a:gd name="connsiteY117" fmla="*/ 85260 h 507365"/>
                    <a:gd name="connsiteX118" fmla="*/ 318442 w 598888"/>
                    <a:gd name="connsiteY118" fmla="*/ 86334 h 507365"/>
                    <a:gd name="connsiteX119" fmla="*/ 368993 w 598888"/>
                    <a:gd name="connsiteY119" fmla="*/ 153641 h 507365"/>
                    <a:gd name="connsiteX120" fmla="*/ 345331 w 598888"/>
                    <a:gd name="connsiteY120" fmla="*/ 203406 h 507365"/>
                    <a:gd name="connsiteX121" fmla="*/ 332783 w 598888"/>
                    <a:gd name="connsiteY121" fmla="*/ 210208 h 507365"/>
                    <a:gd name="connsiteX122" fmla="*/ 329556 w 598888"/>
                    <a:gd name="connsiteY122" fmla="*/ 209492 h 507365"/>
                    <a:gd name="connsiteX123" fmla="*/ 328839 w 598888"/>
                    <a:gd name="connsiteY123" fmla="*/ 211282 h 507365"/>
                    <a:gd name="connsiteX124" fmla="*/ 328839 w 598888"/>
                    <a:gd name="connsiteY124" fmla="*/ 353772 h 507365"/>
                    <a:gd name="connsiteX125" fmla="*/ 310913 w 598888"/>
                    <a:gd name="connsiteY125" fmla="*/ 371315 h 507365"/>
                    <a:gd name="connsiteX126" fmla="*/ 293346 w 598888"/>
                    <a:gd name="connsiteY126" fmla="*/ 353772 h 507365"/>
                    <a:gd name="connsiteX127" fmla="*/ 293346 w 598888"/>
                    <a:gd name="connsiteY127" fmla="*/ 231331 h 507365"/>
                    <a:gd name="connsiteX128" fmla="*/ 292988 w 598888"/>
                    <a:gd name="connsiteY128" fmla="*/ 231331 h 507365"/>
                    <a:gd name="connsiteX129" fmla="*/ 290836 w 598888"/>
                    <a:gd name="connsiteY129" fmla="*/ 231331 h 507365"/>
                    <a:gd name="connsiteX130" fmla="*/ 290836 w 598888"/>
                    <a:gd name="connsiteY130" fmla="*/ 353772 h 507365"/>
                    <a:gd name="connsiteX131" fmla="*/ 273269 w 598888"/>
                    <a:gd name="connsiteY131" fmla="*/ 371315 h 507365"/>
                    <a:gd name="connsiteX132" fmla="*/ 255702 w 598888"/>
                    <a:gd name="connsiteY132" fmla="*/ 353772 h 507365"/>
                    <a:gd name="connsiteX133" fmla="*/ 255702 w 598888"/>
                    <a:gd name="connsiteY133" fmla="*/ 210924 h 507365"/>
                    <a:gd name="connsiteX134" fmla="*/ 255702 w 598888"/>
                    <a:gd name="connsiteY134" fmla="*/ 209850 h 507365"/>
                    <a:gd name="connsiteX135" fmla="*/ 253192 w 598888"/>
                    <a:gd name="connsiteY135" fmla="*/ 210208 h 507365"/>
                    <a:gd name="connsiteX136" fmla="*/ 240285 w 598888"/>
                    <a:gd name="connsiteY136" fmla="*/ 203406 h 507365"/>
                    <a:gd name="connsiteX137" fmla="*/ 216623 w 598888"/>
                    <a:gd name="connsiteY137" fmla="*/ 153641 h 507365"/>
                    <a:gd name="connsiteX138" fmla="*/ 267174 w 598888"/>
                    <a:gd name="connsiteY138" fmla="*/ 86334 h 507365"/>
                    <a:gd name="connsiteX139" fmla="*/ 269325 w 598888"/>
                    <a:gd name="connsiteY139" fmla="*/ 85260 h 507365"/>
                    <a:gd name="connsiteX140" fmla="*/ 283666 w 598888"/>
                    <a:gd name="connsiteY140" fmla="*/ 79174 h 507365"/>
                    <a:gd name="connsiteX141" fmla="*/ 292988 w 598888"/>
                    <a:gd name="connsiteY141" fmla="*/ 0 h 507365"/>
                    <a:gd name="connsiteX142" fmla="*/ 331341 w 598888"/>
                    <a:gd name="connsiteY142" fmla="*/ 38494 h 507365"/>
                    <a:gd name="connsiteX143" fmla="*/ 292988 w 598888"/>
                    <a:gd name="connsiteY143" fmla="*/ 76988 h 507365"/>
                    <a:gd name="connsiteX144" fmla="*/ 254635 w 598888"/>
                    <a:gd name="connsiteY144" fmla="*/ 38494 h 507365"/>
                    <a:gd name="connsiteX145" fmla="*/ 292988 w 598888"/>
                    <a:gd name="connsiteY145" fmla="*/ 0 h 507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598888" h="507365">
                      <a:moveTo>
                        <a:pt x="286884" y="392767"/>
                      </a:moveTo>
                      <a:lnTo>
                        <a:pt x="304096" y="392767"/>
                      </a:lnTo>
                      <a:lnTo>
                        <a:pt x="304096" y="448275"/>
                      </a:lnTo>
                      <a:cubicBezTo>
                        <a:pt x="325970" y="450066"/>
                        <a:pt x="342824" y="458303"/>
                        <a:pt x="342824" y="468330"/>
                      </a:cubicBezTo>
                      <a:cubicBezTo>
                        <a:pt x="342824" y="468688"/>
                        <a:pt x="342824" y="468688"/>
                        <a:pt x="342824" y="469046"/>
                      </a:cubicBezTo>
                      <a:lnTo>
                        <a:pt x="449325" y="490533"/>
                      </a:lnTo>
                      <a:lnTo>
                        <a:pt x="446098" y="507365"/>
                      </a:lnTo>
                      <a:lnTo>
                        <a:pt x="327404" y="483013"/>
                      </a:lnTo>
                      <a:cubicBezTo>
                        <a:pt x="318798" y="486594"/>
                        <a:pt x="307682" y="488385"/>
                        <a:pt x="295490" y="488385"/>
                      </a:cubicBezTo>
                      <a:cubicBezTo>
                        <a:pt x="283298" y="488385"/>
                        <a:pt x="272181" y="486594"/>
                        <a:pt x="263934" y="483371"/>
                      </a:cubicBezTo>
                      <a:lnTo>
                        <a:pt x="145240" y="507365"/>
                      </a:lnTo>
                      <a:lnTo>
                        <a:pt x="142013" y="490533"/>
                      </a:lnTo>
                      <a:lnTo>
                        <a:pt x="248156" y="469046"/>
                      </a:lnTo>
                      <a:cubicBezTo>
                        <a:pt x="248156" y="468688"/>
                        <a:pt x="248156" y="468688"/>
                        <a:pt x="248156" y="468330"/>
                      </a:cubicBezTo>
                      <a:cubicBezTo>
                        <a:pt x="248156" y="458303"/>
                        <a:pt x="265010" y="450066"/>
                        <a:pt x="286884" y="448275"/>
                      </a:cubicBezTo>
                      <a:close/>
                      <a:moveTo>
                        <a:pt x="562256" y="272855"/>
                      </a:moveTo>
                      <a:lnTo>
                        <a:pt x="562256" y="298632"/>
                      </a:lnTo>
                      <a:cubicBezTo>
                        <a:pt x="565482" y="292188"/>
                        <a:pt x="568350" y="286818"/>
                        <a:pt x="569067" y="283954"/>
                      </a:cubicBezTo>
                      <a:cubicBezTo>
                        <a:pt x="567992" y="281448"/>
                        <a:pt x="565482" y="277510"/>
                        <a:pt x="562256" y="272855"/>
                      </a:cubicBezTo>
                      <a:close/>
                      <a:moveTo>
                        <a:pt x="483382" y="272855"/>
                      </a:moveTo>
                      <a:cubicBezTo>
                        <a:pt x="480155" y="277510"/>
                        <a:pt x="477645" y="281448"/>
                        <a:pt x="476570" y="283954"/>
                      </a:cubicBezTo>
                      <a:cubicBezTo>
                        <a:pt x="477287" y="286818"/>
                        <a:pt x="479796" y="292188"/>
                        <a:pt x="483382" y="298632"/>
                      </a:cubicBezTo>
                      <a:close/>
                      <a:moveTo>
                        <a:pt x="115860" y="272855"/>
                      </a:moveTo>
                      <a:lnTo>
                        <a:pt x="115860" y="298632"/>
                      </a:lnTo>
                      <a:cubicBezTo>
                        <a:pt x="119087" y="292188"/>
                        <a:pt x="121596" y="286818"/>
                        <a:pt x="122672" y="283954"/>
                      </a:cubicBezTo>
                      <a:cubicBezTo>
                        <a:pt x="121596" y="281448"/>
                        <a:pt x="119087" y="277510"/>
                        <a:pt x="115860" y="272855"/>
                      </a:cubicBezTo>
                      <a:close/>
                      <a:moveTo>
                        <a:pt x="36989" y="272855"/>
                      </a:moveTo>
                      <a:cubicBezTo>
                        <a:pt x="33404" y="277510"/>
                        <a:pt x="30895" y="281448"/>
                        <a:pt x="30178" y="283954"/>
                      </a:cubicBezTo>
                      <a:cubicBezTo>
                        <a:pt x="30895" y="286818"/>
                        <a:pt x="33404" y="292188"/>
                        <a:pt x="36989" y="298632"/>
                      </a:cubicBezTo>
                      <a:close/>
                      <a:moveTo>
                        <a:pt x="522819" y="222376"/>
                      </a:moveTo>
                      <a:lnTo>
                        <a:pt x="513497" y="284312"/>
                      </a:lnTo>
                      <a:lnTo>
                        <a:pt x="522819" y="296842"/>
                      </a:lnTo>
                      <a:lnTo>
                        <a:pt x="532140" y="284312"/>
                      </a:lnTo>
                      <a:close/>
                      <a:moveTo>
                        <a:pt x="76066" y="222376"/>
                      </a:moveTo>
                      <a:lnTo>
                        <a:pt x="67104" y="284312"/>
                      </a:lnTo>
                      <a:lnTo>
                        <a:pt x="76066" y="296842"/>
                      </a:lnTo>
                      <a:lnTo>
                        <a:pt x="76425" y="296842"/>
                      </a:lnTo>
                      <a:lnTo>
                        <a:pt x="85746" y="284312"/>
                      </a:lnTo>
                      <a:lnTo>
                        <a:pt x="76425" y="222376"/>
                      </a:lnTo>
                      <a:close/>
                      <a:moveTo>
                        <a:pt x="513497" y="210920"/>
                      </a:moveTo>
                      <a:lnTo>
                        <a:pt x="522819" y="220944"/>
                      </a:lnTo>
                      <a:lnTo>
                        <a:pt x="532499" y="211278"/>
                      </a:lnTo>
                      <a:cubicBezTo>
                        <a:pt x="537518" y="212352"/>
                        <a:pt x="542179" y="214500"/>
                        <a:pt x="546481" y="217364"/>
                      </a:cubicBezTo>
                      <a:cubicBezTo>
                        <a:pt x="547198" y="217722"/>
                        <a:pt x="547915" y="218080"/>
                        <a:pt x="548273" y="218438"/>
                      </a:cubicBezTo>
                      <a:cubicBezTo>
                        <a:pt x="564407" y="228104"/>
                        <a:pt x="600617" y="264621"/>
                        <a:pt x="598824" y="285744"/>
                      </a:cubicBezTo>
                      <a:cubicBezTo>
                        <a:pt x="598107" y="298274"/>
                        <a:pt x="583767" y="322261"/>
                        <a:pt x="575162" y="335149"/>
                      </a:cubicBezTo>
                      <a:cubicBezTo>
                        <a:pt x="572294" y="339803"/>
                        <a:pt x="567633" y="341951"/>
                        <a:pt x="562614" y="341951"/>
                      </a:cubicBezTo>
                      <a:cubicBezTo>
                        <a:pt x="561539" y="341951"/>
                        <a:pt x="560463" y="341951"/>
                        <a:pt x="559387" y="341593"/>
                      </a:cubicBezTo>
                      <a:cubicBezTo>
                        <a:pt x="559029" y="342309"/>
                        <a:pt x="558670" y="342667"/>
                        <a:pt x="558670" y="343383"/>
                      </a:cubicBezTo>
                      <a:lnTo>
                        <a:pt x="558670" y="485871"/>
                      </a:lnTo>
                      <a:cubicBezTo>
                        <a:pt x="558670" y="495537"/>
                        <a:pt x="550783" y="503413"/>
                        <a:pt x="540744" y="503413"/>
                      </a:cubicBezTo>
                      <a:cubicBezTo>
                        <a:pt x="531064" y="503413"/>
                        <a:pt x="523177" y="495537"/>
                        <a:pt x="523177" y="485871"/>
                      </a:cubicBezTo>
                      <a:lnTo>
                        <a:pt x="523177" y="363074"/>
                      </a:lnTo>
                      <a:cubicBezTo>
                        <a:pt x="523177" y="363074"/>
                        <a:pt x="522819" y="363432"/>
                        <a:pt x="522819" y="363432"/>
                      </a:cubicBezTo>
                      <a:cubicBezTo>
                        <a:pt x="522102" y="363432"/>
                        <a:pt x="521384" y="363074"/>
                        <a:pt x="520667" y="363074"/>
                      </a:cubicBezTo>
                      <a:lnTo>
                        <a:pt x="520667" y="485871"/>
                      </a:lnTo>
                      <a:cubicBezTo>
                        <a:pt x="520667" y="495537"/>
                        <a:pt x="512780" y="503413"/>
                        <a:pt x="503100" y="503413"/>
                      </a:cubicBezTo>
                      <a:cubicBezTo>
                        <a:pt x="493420" y="503413"/>
                        <a:pt x="485533" y="495537"/>
                        <a:pt x="485533" y="485871"/>
                      </a:cubicBezTo>
                      <a:lnTo>
                        <a:pt x="485533" y="343025"/>
                      </a:lnTo>
                      <a:cubicBezTo>
                        <a:pt x="485533" y="342667"/>
                        <a:pt x="485533" y="342309"/>
                        <a:pt x="485533" y="341951"/>
                      </a:cubicBezTo>
                      <a:cubicBezTo>
                        <a:pt x="484457" y="341951"/>
                        <a:pt x="483740" y="341951"/>
                        <a:pt x="483023" y="341951"/>
                      </a:cubicBezTo>
                      <a:cubicBezTo>
                        <a:pt x="478004" y="341951"/>
                        <a:pt x="473343" y="339803"/>
                        <a:pt x="470475" y="335149"/>
                      </a:cubicBezTo>
                      <a:cubicBezTo>
                        <a:pt x="461870" y="322261"/>
                        <a:pt x="447530" y="298274"/>
                        <a:pt x="446454" y="285744"/>
                      </a:cubicBezTo>
                      <a:cubicBezTo>
                        <a:pt x="445020" y="264621"/>
                        <a:pt x="481230" y="228104"/>
                        <a:pt x="497364" y="218438"/>
                      </a:cubicBezTo>
                      <a:cubicBezTo>
                        <a:pt x="497722" y="217722"/>
                        <a:pt x="498439" y="217722"/>
                        <a:pt x="499156" y="217364"/>
                      </a:cubicBezTo>
                      <a:cubicBezTo>
                        <a:pt x="503459" y="214500"/>
                        <a:pt x="508478" y="212352"/>
                        <a:pt x="513497" y="210920"/>
                      </a:cubicBezTo>
                      <a:close/>
                      <a:moveTo>
                        <a:pt x="67104" y="210920"/>
                      </a:moveTo>
                      <a:lnTo>
                        <a:pt x="76425" y="220944"/>
                      </a:lnTo>
                      <a:lnTo>
                        <a:pt x="85746" y="211278"/>
                      </a:lnTo>
                      <a:cubicBezTo>
                        <a:pt x="90765" y="212352"/>
                        <a:pt x="95784" y="214500"/>
                        <a:pt x="100086" y="217364"/>
                      </a:cubicBezTo>
                      <a:cubicBezTo>
                        <a:pt x="100803" y="217722"/>
                        <a:pt x="101520" y="218080"/>
                        <a:pt x="101879" y="218438"/>
                      </a:cubicBezTo>
                      <a:cubicBezTo>
                        <a:pt x="117653" y="228104"/>
                        <a:pt x="154220" y="264621"/>
                        <a:pt x="152428" y="285744"/>
                      </a:cubicBezTo>
                      <a:cubicBezTo>
                        <a:pt x="151352" y="298274"/>
                        <a:pt x="137370" y="322261"/>
                        <a:pt x="128766" y="335149"/>
                      </a:cubicBezTo>
                      <a:cubicBezTo>
                        <a:pt x="125898" y="339803"/>
                        <a:pt x="121238" y="341951"/>
                        <a:pt x="116219" y="341951"/>
                      </a:cubicBezTo>
                      <a:cubicBezTo>
                        <a:pt x="115143" y="341951"/>
                        <a:pt x="114068" y="341951"/>
                        <a:pt x="112992" y="341593"/>
                      </a:cubicBezTo>
                      <a:cubicBezTo>
                        <a:pt x="112634" y="342309"/>
                        <a:pt x="112275" y="342667"/>
                        <a:pt x="111917" y="343383"/>
                      </a:cubicBezTo>
                      <a:lnTo>
                        <a:pt x="111917" y="485871"/>
                      </a:lnTo>
                      <a:cubicBezTo>
                        <a:pt x="111917" y="495537"/>
                        <a:pt x="104030" y="503413"/>
                        <a:pt x="94350" y="503413"/>
                      </a:cubicBezTo>
                      <a:cubicBezTo>
                        <a:pt x="84670" y="503413"/>
                        <a:pt x="76783" y="495537"/>
                        <a:pt x="76783" y="485871"/>
                      </a:cubicBezTo>
                      <a:lnTo>
                        <a:pt x="76783" y="363074"/>
                      </a:lnTo>
                      <a:cubicBezTo>
                        <a:pt x="76783" y="363074"/>
                        <a:pt x="76425" y="363432"/>
                        <a:pt x="76425" y="363432"/>
                      </a:cubicBezTo>
                      <a:cubicBezTo>
                        <a:pt x="75708" y="363432"/>
                        <a:pt x="74991" y="363074"/>
                        <a:pt x="74274" y="363074"/>
                      </a:cubicBezTo>
                      <a:lnTo>
                        <a:pt x="74274" y="485871"/>
                      </a:lnTo>
                      <a:cubicBezTo>
                        <a:pt x="74274" y="495537"/>
                        <a:pt x="66387" y="503413"/>
                        <a:pt x="56707" y="503413"/>
                      </a:cubicBezTo>
                      <a:cubicBezTo>
                        <a:pt x="46669" y="503413"/>
                        <a:pt x="38782" y="495537"/>
                        <a:pt x="38782" y="485871"/>
                      </a:cubicBezTo>
                      <a:lnTo>
                        <a:pt x="38782" y="343025"/>
                      </a:lnTo>
                      <a:cubicBezTo>
                        <a:pt x="38782" y="342667"/>
                        <a:pt x="38782" y="342309"/>
                        <a:pt x="39140" y="341951"/>
                      </a:cubicBezTo>
                      <a:cubicBezTo>
                        <a:pt x="38065" y="341951"/>
                        <a:pt x="37348" y="341951"/>
                        <a:pt x="36272" y="341951"/>
                      </a:cubicBezTo>
                      <a:cubicBezTo>
                        <a:pt x="31612" y="341951"/>
                        <a:pt x="26593" y="339803"/>
                        <a:pt x="23725" y="335149"/>
                      </a:cubicBezTo>
                      <a:cubicBezTo>
                        <a:pt x="15479" y="322261"/>
                        <a:pt x="1139" y="298274"/>
                        <a:pt x="64" y="285744"/>
                      </a:cubicBezTo>
                      <a:cubicBezTo>
                        <a:pt x="-1729" y="264621"/>
                        <a:pt x="34838" y="228104"/>
                        <a:pt x="50613" y="218438"/>
                      </a:cubicBezTo>
                      <a:cubicBezTo>
                        <a:pt x="51330" y="217722"/>
                        <a:pt x="52047" y="217722"/>
                        <a:pt x="52764" y="217364"/>
                      </a:cubicBezTo>
                      <a:cubicBezTo>
                        <a:pt x="57066" y="214500"/>
                        <a:pt x="62085" y="212352"/>
                        <a:pt x="67104" y="210920"/>
                      </a:cubicBezTo>
                      <a:close/>
                      <a:moveTo>
                        <a:pt x="332425" y="140753"/>
                      </a:moveTo>
                      <a:lnTo>
                        <a:pt x="332425" y="166888"/>
                      </a:lnTo>
                      <a:cubicBezTo>
                        <a:pt x="335651" y="160444"/>
                        <a:pt x="338161" y="155073"/>
                        <a:pt x="339236" y="152209"/>
                      </a:cubicBezTo>
                      <a:cubicBezTo>
                        <a:pt x="338161" y="149345"/>
                        <a:pt x="335651" y="145407"/>
                        <a:pt x="332425" y="140753"/>
                      </a:cubicBezTo>
                      <a:close/>
                      <a:moveTo>
                        <a:pt x="253551" y="140753"/>
                      </a:moveTo>
                      <a:cubicBezTo>
                        <a:pt x="249965" y="145407"/>
                        <a:pt x="247456" y="149703"/>
                        <a:pt x="246739" y="152209"/>
                      </a:cubicBezTo>
                      <a:cubicBezTo>
                        <a:pt x="247456" y="154715"/>
                        <a:pt x="249965" y="160444"/>
                        <a:pt x="253551" y="166888"/>
                      </a:cubicBezTo>
                      <a:close/>
                      <a:moveTo>
                        <a:pt x="522819" y="132169"/>
                      </a:moveTo>
                      <a:cubicBezTo>
                        <a:pt x="544001" y="132169"/>
                        <a:pt x="561172" y="149308"/>
                        <a:pt x="561172" y="170451"/>
                      </a:cubicBezTo>
                      <a:cubicBezTo>
                        <a:pt x="561172" y="191594"/>
                        <a:pt x="544001" y="208733"/>
                        <a:pt x="522819" y="208733"/>
                      </a:cubicBezTo>
                      <a:cubicBezTo>
                        <a:pt x="501637" y="208733"/>
                        <a:pt x="484466" y="191594"/>
                        <a:pt x="484466" y="170451"/>
                      </a:cubicBezTo>
                      <a:cubicBezTo>
                        <a:pt x="484466" y="149308"/>
                        <a:pt x="501637" y="132169"/>
                        <a:pt x="522819" y="132169"/>
                      </a:cubicBezTo>
                      <a:close/>
                      <a:moveTo>
                        <a:pt x="76246" y="132169"/>
                      </a:moveTo>
                      <a:cubicBezTo>
                        <a:pt x="97525" y="132169"/>
                        <a:pt x="114775" y="149308"/>
                        <a:pt x="114775" y="170451"/>
                      </a:cubicBezTo>
                      <a:cubicBezTo>
                        <a:pt x="114775" y="191594"/>
                        <a:pt x="97525" y="208733"/>
                        <a:pt x="76246" y="208733"/>
                      </a:cubicBezTo>
                      <a:cubicBezTo>
                        <a:pt x="54967" y="208733"/>
                        <a:pt x="37717" y="191594"/>
                        <a:pt x="37717" y="170451"/>
                      </a:cubicBezTo>
                      <a:cubicBezTo>
                        <a:pt x="37717" y="149308"/>
                        <a:pt x="54967" y="132169"/>
                        <a:pt x="76246" y="132169"/>
                      </a:cubicBezTo>
                      <a:close/>
                      <a:moveTo>
                        <a:pt x="292988" y="90272"/>
                      </a:moveTo>
                      <a:lnTo>
                        <a:pt x="283666" y="152209"/>
                      </a:lnTo>
                      <a:lnTo>
                        <a:pt x="292988" y="164740"/>
                      </a:lnTo>
                      <a:lnTo>
                        <a:pt x="302309" y="152209"/>
                      </a:lnTo>
                      <a:close/>
                      <a:moveTo>
                        <a:pt x="283666" y="79174"/>
                      </a:moveTo>
                      <a:lnTo>
                        <a:pt x="292988" y="88840"/>
                      </a:lnTo>
                      <a:lnTo>
                        <a:pt x="302668" y="79174"/>
                      </a:lnTo>
                      <a:cubicBezTo>
                        <a:pt x="307687" y="80248"/>
                        <a:pt x="312348" y="82396"/>
                        <a:pt x="316650" y="85260"/>
                      </a:cubicBezTo>
                      <a:cubicBezTo>
                        <a:pt x="317367" y="85618"/>
                        <a:pt x="318084" y="85976"/>
                        <a:pt x="318442" y="86334"/>
                      </a:cubicBezTo>
                      <a:cubicBezTo>
                        <a:pt x="334217" y="96001"/>
                        <a:pt x="370786" y="132518"/>
                        <a:pt x="368993" y="153641"/>
                      </a:cubicBezTo>
                      <a:cubicBezTo>
                        <a:pt x="367918" y="166530"/>
                        <a:pt x="353936" y="190159"/>
                        <a:pt x="345331" y="203406"/>
                      </a:cubicBezTo>
                      <a:cubicBezTo>
                        <a:pt x="342463" y="207702"/>
                        <a:pt x="337802" y="210208"/>
                        <a:pt x="332783" y="210208"/>
                      </a:cubicBezTo>
                      <a:cubicBezTo>
                        <a:pt x="331708" y="210208"/>
                        <a:pt x="330632" y="209850"/>
                        <a:pt x="329556" y="209492"/>
                      </a:cubicBezTo>
                      <a:cubicBezTo>
                        <a:pt x="329198" y="210208"/>
                        <a:pt x="328839" y="210566"/>
                        <a:pt x="328839" y="211282"/>
                      </a:cubicBezTo>
                      <a:lnTo>
                        <a:pt x="328839" y="353772"/>
                      </a:lnTo>
                      <a:cubicBezTo>
                        <a:pt x="328839" y="363439"/>
                        <a:pt x="320593" y="371315"/>
                        <a:pt x="310913" y="371315"/>
                      </a:cubicBezTo>
                      <a:cubicBezTo>
                        <a:pt x="301233" y="371315"/>
                        <a:pt x="293346" y="363439"/>
                        <a:pt x="293346" y="353772"/>
                      </a:cubicBezTo>
                      <a:lnTo>
                        <a:pt x="293346" y="231331"/>
                      </a:lnTo>
                      <a:cubicBezTo>
                        <a:pt x="293346" y="231331"/>
                        <a:pt x="292988" y="231331"/>
                        <a:pt x="292988" y="231331"/>
                      </a:cubicBezTo>
                      <a:cubicBezTo>
                        <a:pt x="292271" y="231331"/>
                        <a:pt x="291553" y="231331"/>
                        <a:pt x="290836" y="231331"/>
                      </a:cubicBezTo>
                      <a:lnTo>
                        <a:pt x="290836" y="353772"/>
                      </a:lnTo>
                      <a:cubicBezTo>
                        <a:pt x="290836" y="363439"/>
                        <a:pt x="282949" y="371315"/>
                        <a:pt x="273269" y="371315"/>
                      </a:cubicBezTo>
                      <a:cubicBezTo>
                        <a:pt x="263589" y="371315"/>
                        <a:pt x="255702" y="363439"/>
                        <a:pt x="255702" y="353772"/>
                      </a:cubicBezTo>
                      <a:lnTo>
                        <a:pt x="255702" y="210924"/>
                      </a:lnTo>
                      <a:cubicBezTo>
                        <a:pt x="255702" y="210566"/>
                        <a:pt x="255702" y="210208"/>
                        <a:pt x="255702" y="209850"/>
                      </a:cubicBezTo>
                      <a:cubicBezTo>
                        <a:pt x="254626" y="209850"/>
                        <a:pt x="253909" y="210208"/>
                        <a:pt x="253192" y="210208"/>
                      </a:cubicBezTo>
                      <a:cubicBezTo>
                        <a:pt x="248173" y="210208"/>
                        <a:pt x="243154" y="207702"/>
                        <a:pt x="240285" y="203406"/>
                      </a:cubicBezTo>
                      <a:cubicBezTo>
                        <a:pt x="232039" y="190159"/>
                        <a:pt x="217699" y="166530"/>
                        <a:pt x="216623" y="153641"/>
                      </a:cubicBezTo>
                      <a:cubicBezTo>
                        <a:pt x="215189" y="132518"/>
                        <a:pt x="251399" y="96001"/>
                        <a:pt x="267174" y="86334"/>
                      </a:cubicBezTo>
                      <a:cubicBezTo>
                        <a:pt x="267891" y="85976"/>
                        <a:pt x="268608" y="85618"/>
                        <a:pt x="269325" y="85260"/>
                      </a:cubicBezTo>
                      <a:cubicBezTo>
                        <a:pt x="273628" y="82396"/>
                        <a:pt x="278647" y="80248"/>
                        <a:pt x="283666" y="79174"/>
                      </a:cubicBezTo>
                      <a:close/>
                      <a:moveTo>
                        <a:pt x="292988" y="0"/>
                      </a:moveTo>
                      <a:cubicBezTo>
                        <a:pt x="314170" y="0"/>
                        <a:pt x="331341" y="17234"/>
                        <a:pt x="331341" y="38494"/>
                      </a:cubicBezTo>
                      <a:cubicBezTo>
                        <a:pt x="331341" y="59754"/>
                        <a:pt x="314170" y="76988"/>
                        <a:pt x="292988" y="76988"/>
                      </a:cubicBezTo>
                      <a:cubicBezTo>
                        <a:pt x="271806" y="76988"/>
                        <a:pt x="254635" y="59754"/>
                        <a:pt x="254635" y="38494"/>
                      </a:cubicBezTo>
                      <a:cubicBezTo>
                        <a:pt x="254635" y="17234"/>
                        <a:pt x="271806" y="0"/>
                        <a:pt x="29298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grpSp>
            <p:nvGrpSpPr>
              <p:cNvPr id="66" name="íṣḻiḓé"/>
              <p:cNvGrpSpPr/>
              <p:nvPr/>
            </p:nvGrpSpPr>
            <p:grpSpPr>
              <a:xfrm>
                <a:off x="2243572" y="3800488"/>
                <a:ext cx="3499171" cy="1079867"/>
                <a:chOff x="2850530" y="3992982"/>
                <a:chExt cx="3499170" cy="1079867"/>
              </a:xfrm>
            </p:grpSpPr>
            <p:sp>
              <p:nvSpPr>
                <p:cNvPr id="70" name="îṥļíďè"/>
                <p:cNvSpPr/>
                <p:nvPr/>
              </p:nvSpPr>
              <p:spPr bwMode="auto">
                <a:xfrm>
                  <a:off x="2850530" y="3992982"/>
                  <a:ext cx="3499170" cy="1079867"/>
                </a:xfrm>
                <a:custGeom>
                  <a:avLst/>
                  <a:gdLst>
                    <a:gd name="T0" fmla="*/ 338 w 1031"/>
                    <a:gd name="T1" fmla="*/ 0 h 318"/>
                    <a:gd name="T2" fmla="*/ 371 w 1031"/>
                    <a:gd name="T3" fmla="*/ 14 h 318"/>
                    <a:gd name="T4" fmla="*/ 494 w 1031"/>
                    <a:gd name="T5" fmla="*/ 134 h 318"/>
                    <a:gd name="T6" fmla="*/ 533 w 1031"/>
                    <a:gd name="T7" fmla="*/ 149 h 318"/>
                    <a:gd name="T8" fmla="*/ 937 w 1031"/>
                    <a:gd name="T9" fmla="*/ 152 h 318"/>
                    <a:gd name="T10" fmla="*/ 948 w 1031"/>
                    <a:gd name="T11" fmla="*/ 157 h 318"/>
                    <a:gd name="T12" fmla="*/ 1028 w 1031"/>
                    <a:gd name="T13" fmla="*/ 230 h 318"/>
                    <a:gd name="T14" fmla="*/ 1028 w 1031"/>
                    <a:gd name="T15" fmla="*/ 241 h 318"/>
                    <a:gd name="T16" fmla="*/ 947 w 1031"/>
                    <a:gd name="T17" fmla="*/ 313 h 318"/>
                    <a:gd name="T18" fmla="*/ 936 w 1031"/>
                    <a:gd name="T19" fmla="*/ 318 h 318"/>
                    <a:gd name="T20" fmla="*/ 548 w 1031"/>
                    <a:gd name="T21" fmla="*/ 315 h 318"/>
                    <a:gd name="T22" fmla="*/ 478 w 1031"/>
                    <a:gd name="T23" fmla="*/ 256 h 318"/>
                    <a:gd name="T24" fmla="*/ 359 w 1031"/>
                    <a:gd name="T25" fmla="*/ 48 h 318"/>
                    <a:gd name="T26" fmla="*/ 331 w 1031"/>
                    <a:gd name="T27" fmla="*/ 34 h 318"/>
                    <a:gd name="T28" fmla="*/ 43 w 1031"/>
                    <a:gd name="T29" fmla="*/ 35 h 318"/>
                    <a:gd name="T30" fmla="*/ 0 w 1031"/>
                    <a:gd name="T31" fmla="*/ 6 h 318"/>
                    <a:gd name="T32" fmla="*/ 20 w 1031"/>
                    <a:gd name="T33" fmla="*/ 2 h 318"/>
                    <a:gd name="T34" fmla="*/ 338 w 1031"/>
                    <a:gd name="T35"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31" h="318">
                      <a:moveTo>
                        <a:pt x="338" y="0"/>
                      </a:moveTo>
                      <a:cubicBezTo>
                        <a:pt x="356" y="0"/>
                        <a:pt x="366" y="9"/>
                        <a:pt x="371" y="14"/>
                      </a:cubicBezTo>
                      <a:cubicBezTo>
                        <a:pt x="401" y="43"/>
                        <a:pt x="494" y="134"/>
                        <a:pt x="494" y="134"/>
                      </a:cubicBezTo>
                      <a:cubicBezTo>
                        <a:pt x="503" y="141"/>
                        <a:pt x="515" y="149"/>
                        <a:pt x="533" y="149"/>
                      </a:cubicBezTo>
                      <a:cubicBezTo>
                        <a:pt x="557" y="149"/>
                        <a:pt x="937" y="152"/>
                        <a:pt x="937" y="152"/>
                      </a:cubicBezTo>
                      <a:cubicBezTo>
                        <a:pt x="941" y="152"/>
                        <a:pt x="945" y="154"/>
                        <a:pt x="948" y="157"/>
                      </a:cubicBezTo>
                      <a:cubicBezTo>
                        <a:pt x="1028" y="230"/>
                        <a:pt x="1028" y="230"/>
                        <a:pt x="1028" y="230"/>
                      </a:cubicBezTo>
                      <a:cubicBezTo>
                        <a:pt x="1031" y="233"/>
                        <a:pt x="1031" y="238"/>
                        <a:pt x="1028" y="241"/>
                      </a:cubicBezTo>
                      <a:cubicBezTo>
                        <a:pt x="947" y="313"/>
                        <a:pt x="947" y="313"/>
                        <a:pt x="947" y="313"/>
                      </a:cubicBezTo>
                      <a:cubicBezTo>
                        <a:pt x="944" y="317"/>
                        <a:pt x="940" y="318"/>
                        <a:pt x="936" y="318"/>
                      </a:cubicBezTo>
                      <a:cubicBezTo>
                        <a:pt x="936" y="318"/>
                        <a:pt x="565" y="315"/>
                        <a:pt x="548" y="315"/>
                      </a:cubicBezTo>
                      <a:cubicBezTo>
                        <a:pt x="514" y="315"/>
                        <a:pt x="492" y="284"/>
                        <a:pt x="478" y="256"/>
                      </a:cubicBezTo>
                      <a:cubicBezTo>
                        <a:pt x="462" y="223"/>
                        <a:pt x="384" y="91"/>
                        <a:pt x="359" y="48"/>
                      </a:cubicBezTo>
                      <a:cubicBezTo>
                        <a:pt x="351" y="34"/>
                        <a:pt x="336" y="34"/>
                        <a:pt x="331" y="34"/>
                      </a:cubicBezTo>
                      <a:cubicBezTo>
                        <a:pt x="327" y="34"/>
                        <a:pt x="65" y="35"/>
                        <a:pt x="43" y="35"/>
                      </a:cubicBezTo>
                      <a:cubicBezTo>
                        <a:pt x="0" y="6"/>
                        <a:pt x="0" y="6"/>
                        <a:pt x="0" y="6"/>
                      </a:cubicBezTo>
                      <a:cubicBezTo>
                        <a:pt x="20" y="2"/>
                        <a:pt x="20" y="2"/>
                        <a:pt x="20" y="2"/>
                      </a:cubicBezTo>
                      <a:cubicBezTo>
                        <a:pt x="45" y="2"/>
                        <a:pt x="337" y="0"/>
                        <a:pt x="338"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71" name="îŝľïḑé"/>
                <p:cNvSpPr/>
                <p:nvPr/>
              </p:nvSpPr>
              <p:spPr bwMode="auto">
                <a:xfrm>
                  <a:off x="5484229" y="4624381"/>
                  <a:ext cx="349916" cy="337642"/>
                </a:xfrm>
                <a:custGeom>
                  <a:avLst/>
                  <a:gdLst>
                    <a:gd name="T0" fmla="*/ 3667 w 5067"/>
                    <a:gd name="T1" fmla="*/ 0 h 4897"/>
                    <a:gd name="T2" fmla="*/ 2521 w 5067"/>
                    <a:gd name="T3" fmla="*/ 2204 h 4897"/>
                    <a:gd name="T4" fmla="*/ 2000 w 5067"/>
                    <a:gd name="T5" fmla="*/ 2982 h 4897"/>
                    <a:gd name="T6" fmla="*/ 0 w 5067"/>
                    <a:gd name="T7" fmla="*/ 2182 h 4897"/>
                    <a:gd name="T8" fmla="*/ 2000 w 5067"/>
                    <a:gd name="T9" fmla="*/ 4315 h 4897"/>
                    <a:gd name="T10" fmla="*/ 2521 w 5067"/>
                    <a:gd name="T11" fmla="*/ 3515 h 4897"/>
                    <a:gd name="T12" fmla="*/ 4812 w 5067"/>
                    <a:gd name="T13" fmla="*/ 4897 h 4897"/>
                    <a:gd name="T14" fmla="*/ 5067 w 5067"/>
                    <a:gd name="T15" fmla="*/ 1400 h 4897"/>
                    <a:gd name="T16" fmla="*/ 533 w 5067"/>
                    <a:gd name="T17" fmla="*/ 3782 h 4897"/>
                    <a:gd name="T18" fmla="*/ 1467 w 5067"/>
                    <a:gd name="T19" fmla="*/ 2715 h 4897"/>
                    <a:gd name="T20" fmla="*/ 1467 w 5067"/>
                    <a:gd name="T21" fmla="*/ 3515 h 4897"/>
                    <a:gd name="T22" fmla="*/ 3667 w 5067"/>
                    <a:gd name="T23" fmla="*/ 533 h 4897"/>
                    <a:gd name="T24" fmla="*/ 3969 w 5067"/>
                    <a:gd name="T25" fmla="*/ 2212 h 4897"/>
                    <a:gd name="T26" fmla="*/ 3932 w 5067"/>
                    <a:gd name="T27" fmla="*/ 2225 h 4897"/>
                    <a:gd name="T28" fmla="*/ 3891 w 5067"/>
                    <a:gd name="T29" fmla="*/ 2237 h 4897"/>
                    <a:gd name="T30" fmla="*/ 3849 w 5067"/>
                    <a:gd name="T31" fmla="*/ 2247 h 4897"/>
                    <a:gd name="T32" fmla="*/ 3805 w 5067"/>
                    <a:gd name="T33" fmla="*/ 2255 h 4897"/>
                    <a:gd name="T34" fmla="*/ 3759 w 5067"/>
                    <a:gd name="T35" fmla="*/ 2262 h 4897"/>
                    <a:gd name="T36" fmla="*/ 3713 w 5067"/>
                    <a:gd name="T37" fmla="*/ 2265 h 4897"/>
                    <a:gd name="T38" fmla="*/ 3667 w 5067"/>
                    <a:gd name="T39" fmla="*/ 2267 h 4897"/>
                    <a:gd name="T40" fmla="*/ 3620 w 5067"/>
                    <a:gd name="T41" fmla="*/ 2265 h 4897"/>
                    <a:gd name="T42" fmla="*/ 3574 w 5067"/>
                    <a:gd name="T43" fmla="*/ 2262 h 4897"/>
                    <a:gd name="T44" fmla="*/ 3529 w 5067"/>
                    <a:gd name="T45" fmla="*/ 2255 h 4897"/>
                    <a:gd name="T46" fmla="*/ 3485 w 5067"/>
                    <a:gd name="T47" fmla="*/ 2247 h 4897"/>
                    <a:gd name="T48" fmla="*/ 3442 w 5067"/>
                    <a:gd name="T49" fmla="*/ 2237 h 4897"/>
                    <a:gd name="T50" fmla="*/ 3402 w 5067"/>
                    <a:gd name="T51" fmla="*/ 2225 h 4897"/>
                    <a:gd name="T52" fmla="*/ 3364 w 5067"/>
                    <a:gd name="T53" fmla="*/ 2212 h 4897"/>
                    <a:gd name="T54" fmla="*/ 3667 w 5067"/>
                    <a:gd name="T55" fmla="*/ 533 h 4897"/>
                    <a:gd name="T56" fmla="*/ 3055 w 5067"/>
                    <a:gd name="T57" fmla="*/ 4363 h 4897"/>
                    <a:gd name="T58" fmla="*/ 3333 w 5067"/>
                    <a:gd name="T59" fmla="*/ 3515 h 4897"/>
                    <a:gd name="T60" fmla="*/ 3055 w 5067"/>
                    <a:gd name="T61" fmla="*/ 2982 h 4897"/>
                    <a:gd name="T62" fmla="*/ 3417 w 5067"/>
                    <a:gd name="T63" fmla="*/ 2777 h 4897"/>
                    <a:gd name="T64" fmla="*/ 3446 w 5067"/>
                    <a:gd name="T65" fmla="*/ 2782 h 4897"/>
                    <a:gd name="T66" fmla="*/ 3480 w 5067"/>
                    <a:gd name="T67" fmla="*/ 2787 h 4897"/>
                    <a:gd name="T68" fmla="*/ 3516 w 5067"/>
                    <a:gd name="T69" fmla="*/ 2792 h 4897"/>
                    <a:gd name="T70" fmla="*/ 3553 w 5067"/>
                    <a:gd name="T71" fmla="*/ 2795 h 4897"/>
                    <a:gd name="T72" fmla="*/ 3591 w 5067"/>
                    <a:gd name="T73" fmla="*/ 2798 h 4897"/>
                    <a:gd name="T74" fmla="*/ 3629 w 5067"/>
                    <a:gd name="T75" fmla="*/ 2799 h 4897"/>
                    <a:gd name="T76" fmla="*/ 3667 w 5067"/>
                    <a:gd name="T77" fmla="*/ 2800 h 4897"/>
                    <a:gd name="T78" fmla="*/ 3704 w 5067"/>
                    <a:gd name="T79" fmla="*/ 2799 h 4897"/>
                    <a:gd name="T80" fmla="*/ 3742 w 5067"/>
                    <a:gd name="T81" fmla="*/ 2798 h 4897"/>
                    <a:gd name="T82" fmla="*/ 3780 w 5067"/>
                    <a:gd name="T83" fmla="*/ 2795 h 4897"/>
                    <a:gd name="T84" fmla="*/ 3817 w 5067"/>
                    <a:gd name="T85" fmla="*/ 2792 h 4897"/>
                    <a:gd name="T86" fmla="*/ 3853 w 5067"/>
                    <a:gd name="T87" fmla="*/ 2787 h 4897"/>
                    <a:gd name="T88" fmla="*/ 3887 w 5067"/>
                    <a:gd name="T89" fmla="*/ 2782 h 4897"/>
                    <a:gd name="T90" fmla="*/ 3917 w 5067"/>
                    <a:gd name="T91" fmla="*/ 2777 h 4897"/>
                    <a:gd name="T92" fmla="*/ 4279 w 5067"/>
                    <a:gd name="T93" fmla="*/ 4363 h 4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67" h="4897">
                      <a:moveTo>
                        <a:pt x="5067" y="1400"/>
                      </a:moveTo>
                      <a:cubicBezTo>
                        <a:pt x="5067" y="628"/>
                        <a:pt x="4439" y="0"/>
                        <a:pt x="3667" y="0"/>
                      </a:cubicBezTo>
                      <a:cubicBezTo>
                        <a:pt x="2895" y="0"/>
                        <a:pt x="2267" y="628"/>
                        <a:pt x="2267" y="1400"/>
                      </a:cubicBezTo>
                      <a:cubicBezTo>
                        <a:pt x="2267" y="1699"/>
                        <a:pt x="2361" y="1976"/>
                        <a:pt x="2521" y="2204"/>
                      </a:cubicBezTo>
                      <a:lnTo>
                        <a:pt x="2521" y="2982"/>
                      </a:lnTo>
                      <a:lnTo>
                        <a:pt x="2000" y="2982"/>
                      </a:lnTo>
                      <a:lnTo>
                        <a:pt x="2000" y="2182"/>
                      </a:lnTo>
                      <a:lnTo>
                        <a:pt x="0" y="2182"/>
                      </a:lnTo>
                      <a:lnTo>
                        <a:pt x="0" y="4315"/>
                      </a:lnTo>
                      <a:lnTo>
                        <a:pt x="2000" y="4315"/>
                      </a:lnTo>
                      <a:lnTo>
                        <a:pt x="2000" y="3515"/>
                      </a:lnTo>
                      <a:lnTo>
                        <a:pt x="2521" y="3515"/>
                      </a:lnTo>
                      <a:lnTo>
                        <a:pt x="2521" y="4897"/>
                      </a:lnTo>
                      <a:lnTo>
                        <a:pt x="4812" y="4897"/>
                      </a:lnTo>
                      <a:lnTo>
                        <a:pt x="4812" y="2204"/>
                      </a:lnTo>
                      <a:cubicBezTo>
                        <a:pt x="4972" y="1976"/>
                        <a:pt x="5067" y="1699"/>
                        <a:pt x="5067" y="1400"/>
                      </a:cubicBezTo>
                      <a:close/>
                      <a:moveTo>
                        <a:pt x="1467" y="3782"/>
                      </a:moveTo>
                      <a:lnTo>
                        <a:pt x="533" y="3782"/>
                      </a:lnTo>
                      <a:lnTo>
                        <a:pt x="533" y="2715"/>
                      </a:lnTo>
                      <a:lnTo>
                        <a:pt x="1467" y="2715"/>
                      </a:lnTo>
                      <a:lnTo>
                        <a:pt x="1467" y="2982"/>
                      </a:lnTo>
                      <a:lnTo>
                        <a:pt x="1467" y="3515"/>
                      </a:lnTo>
                      <a:lnTo>
                        <a:pt x="1467" y="3782"/>
                      </a:lnTo>
                      <a:close/>
                      <a:moveTo>
                        <a:pt x="3667" y="533"/>
                      </a:moveTo>
                      <a:cubicBezTo>
                        <a:pt x="4145" y="533"/>
                        <a:pt x="4533" y="922"/>
                        <a:pt x="4533" y="1400"/>
                      </a:cubicBezTo>
                      <a:cubicBezTo>
                        <a:pt x="4533" y="1771"/>
                        <a:pt x="4298" y="2089"/>
                        <a:pt x="3969" y="2212"/>
                      </a:cubicBezTo>
                      <a:cubicBezTo>
                        <a:pt x="3967" y="2213"/>
                        <a:pt x="3964" y="2214"/>
                        <a:pt x="3962" y="2215"/>
                      </a:cubicBezTo>
                      <a:cubicBezTo>
                        <a:pt x="3952" y="2218"/>
                        <a:pt x="3942" y="2222"/>
                        <a:pt x="3932" y="2225"/>
                      </a:cubicBezTo>
                      <a:cubicBezTo>
                        <a:pt x="3927" y="2226"/>
                        <a:pt x="3923" y="2228"/>
                        <a:pt x="3918" y="2229"/>
                      </a:cubicBezTo>
                      <a:cubicBezTo>
                        <a:pt x="3909" y="2232"/>
                        <a:pt x="3900" y="2234"/>
                        <a:pt x="3891" y="2237"/>
                      </a:cubicBezTo>
                      <a:cubicBezTo>
                        <a:pt x="3885" y="2238"/>
                        <a:pt x="3879" y="2240"/>
                        <a:pt x="3873" y="2241"/>
                      </a:cubicBezTo>
                      <a:cubicBezTo>
                        <a:pt x="3865" y="2243"/>
                        <a:pt x="3857" y="2245"/>
                        <a:pt x="3849" y="2247"/>
                      </a:cubicBezTo>
                      <a:cubicBezTo>
                        <a:pt x="3841" y="2249"/>
                        <a:pt x="3834" y="2250"/>
                        <a:pt x="3827" y="2251"/>
                      </a:cubicBezTo>
                      <a:cubicBezTo>
                        <a:pt x="3820" y="2253"/>
                        <a:pt x="3812" y="2254"/>
                        <a:pt x="3805" y="2255"/>
                      </a:cubicBezTo>
                      <a:cubicBezTo>
                        <a:pt x="3796" y="2257"/>
                        <a:pt x="3788" y="2258"/>
                        <a:pt x="3780" y="2259"/>
                      </a:cubicBezTo>
                      <a:cubicBezTo>
                        <a:pt x="3773" y="2260"/>
                        <a:pt x="3766" y="2261"/>
                        <a:pt x="3759" y="2262"/>
                      </a:cubicBezTo>
                      <a:cubicBezTo>
                        <a:pt x="3750" y="2263"/>
                        <a:pt x="3740" y="2263"/>
                        <a:pt x="3731" y="2264"/>
                      </a:cubicBezTo>
                      <a:cubicBezTo>
                        <a:pt x="3725" y="2264"/>
                        <a:pt x="3719" y="2265"/>
                        <a:pt x="3713" y="2265"/>
                      </a:cubicBezTo>
                      <a:cubicBezTo>
                        <a:pt x="3700" y="2266"/>
                        <a:pt x="3686" y="2266"/>
                        <a:pt x="3672" y="2266"/>
                      </a:cubicBezTo>
                      <a:cubicBezTo>
                        <a:pt x="3670" y="2266"/>
                        <a:pt x="3668" y="2267"/>
                        <a:pt x="3667" y="2267"/>
                      </a:cubicBezTo>
                      <a:cubicBezTo>
                        <a:pt x="3665" y="2267"/>
                        <a:pt x="3663" y="2266"/>
                        <a:pt x="3661" y="2266"/>
                      </a:cubicBezTo>
                      <a:cubicBezTo>
                        <a:pt x="3648" y="2266"/>
                        <a:pt x="3634" y="2266"/>
                        <a:pt x="3620" y="2265"/>
                      </a:cubicBezTo>
                      <a:cubicBezTo>
                        <a:pt x="3614" y="2265"/>
                        <a:pt x="3608" y="2264"/>
                        <a:pt x="3603" y="2264"/>
                      </a:cubicBezTo>
                      <a:cubicBezTo>
                        <a:pt x="3593" y="2263"/>
                        <a:pt x="3584" y="2263"/>
                        <a:pt x="3574" y="2262"/>
                      </a:cubicBezTo>
                      <a:cubicBezTo>
                        <a:pt x="3567" y="2261"/>
                        <a:pt x="3560" y="2260"/>
                        <a:pt x="3554" y="2259"/>
                      </a:cubicBezTo>
                      <a:cubicBezTo>
                        <a:pt x="3545" y="2258"/>
                        <a:pt x="3537" y="2257"/>
                        <a:pt x="3529" y="2255"/>
                      </a:cubicBezTo>
                      <a:cubicBezTo>
                        <a:pt x="3521" y="2254"/>
                        <a:pt x="3514" y="2253"/>
                        <a:pt x="3506" y="2251"/>
                      </a:cubicBezTo>
                      <a:cubicBezTo>
                        <a:pt x="3499" y="2250"/>
                        <a:pt x="3492" y="2249"/>
                        <a:pt x="3485" y="2247"/>
                      </a:cubicBezTo>
                      <a:cubicBezTo>
                        <a:pt x="3477" y="2245"/>
                        <a:pt x="3468" y="2243"/>
                        <a:pt x="3460" y="2241"/>
                      </a:cubicBezTo>
                      <a:cubicBezTo>
                        <a:pt x="3454" y="2240"/>
                        <a:pt x="3448" y="2238"/>
                        <a:pt x="3442" y="2237"/>
                      </a:cubicBezTo>
                      <a:cubicBezTo>
                        <a:pt x="3433" y="2234"/>
                        <a:pt x="3424" y="2232"/>
                        <a:pt x="3415" y="2229"/>
                      </a:cubicBezTo>
                      <a:cubicBezTo>
                        <a:pt x="3411" y="2228"/>
                        <a:pt x="3406" y="2226"/>
                        <a:pt x="3402" y="2225"/>
                      </a:cubicBezTo>
                      <a:cubicBezTo>
                        <a:pt x="3391" y="2222"/>
                        <a:pt x="3381" y="2218"/>
                        <a:pt x="3371" y="2215"/>
                      </a:cubicBezTo>
                      <a:cubicBezTo>
                        <a:pt x="3369" y="2214"/>
                        <a:pt x="3367" y="2213"/>
                        <a:pt x="3364" y="2212"/>
                      </a:cubicBezTo>
                      <a:cubicBezTo>
                        <a:pt x="3035" y="2089"/>
                        <a:pt x="2800" y="1771"/>
                        <a:pt x="2800" y="1400"/>
                      </a:cubicBezTo>
                      <a:cubicBezTo>
                        <a:pt x="2800" y="922"/>
                        <a:pt x="3189" y="533"/>
                        <a:pt x="3667" y="533"/>
                      </a:cubicBezTo>
                      <a:close/>
                      <a:moveTo>
                        <a:pt x="4279" y="4363"/>
                      </a:moveTo>
                      <a:lnTo>
                        <a:pt x="3055" y="4363"/>
                      </a:lnTo>
                      <a:lnTo>
                        <a:pt x="3055" y="3515"/>
                      </a:lnTo>
                      <a:lnTo>
                        <a:pt x="3333" y="3515"/>
                      </a:lnTo>
                      <a:lnTo>
                        <a:pt x="3333" y="2982"/>
                      </a:lnTo>
                      <a:lnTo>
                        <a:pt x="3055" y="2982"/>
                      </a:lnTo>
                      <a:lnTo>
                        <a:pt x="3055" y="2659"/>
                      </a:lnTo>
                      <a:cubicBezTo>
                        <a:pt x="3169" y="2715"/>
                        <a:pt x="3291" y="2755"/>
                        <a:pt x="3417" y="2777"/>
                      </a:cubicBezTo>
                      <a:cubicBezTo>
                        <a:pt x="3418" y="2778"/>
                        <a:pt x="3419" y="2778"/>
                        <a:pt x="3420" y="2778"/>
                      </a:cubicBezTo>
                      <a:cubicBezTo>
                        <a:pt x="3429" y="2780"/>
                        <a:pt x="3437" y="2781"/>
                        <a:pt x="3446" y="2782"/>
                      </a:cubicBezTo>
                      <a:cubicBezTo>
                        <a:pt x="3450" y="2783"/>
                        <a:pt x="3454" y="2784"/>
                        <a:pt x="3458" y="2784"/>
                      </a:cubicBezTo>
                      <a:cubicBezTo>
                        <a:pt x="3465" y="2785"/>
                        <a:pt x="3473" y="2786"/>
                        <a:pt x="3480" y="2787"/>
                      </a:cubicBezTo>
                      <a:cubicBezTo>
                        <a:pt x="3485" y="2788"/>
                        <a:pt x="3491" y="2789"/>
                        <a:pt x="3496" y="2789"/>
                      </a:cubicBezTo>
                      <a:cubicBezTo>
                        <a:pt x="3503" y="2790"/>
                        <a:pt x="3509" y="2791"/>
                        <a:pt x="3516" y="2792"/>
                      </a:cubicBezTo>
                      <a:cubicBezTo>
                        <a:pt x="3522" y="2792"/>
                        <a:pt x="3528" y="2793"/>
                        <a:pt x="3534" y="2794"/>
                      </a:cubicBezTo>
                      <a:cubicBezTo>
                        <a:pt x="3541" y="2794"/>
                        <a:pt x="3547" y="2795"/>
                        <a:pt x="3553" y="2795"/>
                      </a:cubicBezTo>
                      <a:cubicBezTo>
                        <a:pt x="3560" y="2796"/>
                        <a:pt x="3566" y="2796"/>
                        <a:pt x="3573" y="2797"/>
                      </a:cubicBezTo>
                      <a:cubicBezTo>
                        <a:pt x="3579" y="2797"/>
                        <a:pt x="3585" y="2797"/>
                        <a:pt x="3591" y="2798"/>
                      </a:cubicBezTo>
                      <a:cubicBezTo>
                        <a:pt x="3598" y="2798"/>
                        <a:pt x="3605" y="2798"/>
                        <a:pt x="3613" y="2799"/>
                      </a:cubicBezTo>
                      <a:cubicBezTo>
                        <a:pt x="3618" y="2799"/>
                        <a:pt x="3623" y="2799"/>
                        <a:pt x="3629" y="2799"/>
                      </a:cubicBezTo>
                      <a:cubicBezTo>
                        <a:pt x="3639" y="2800"/>
                        <a:pt x="3648" y="2800"/>
                        <a:pt x="3658" y="2800"/>
                      </a:cubicBezTo>
                      <a:cubicBezTo>
                        <a:pt x="3661" y="2800"/>
                        <a:pt x="3664" y="2800"/>
                        <a:pt x="3667" y="2800"/>
                      </a:cubicBezTo>
                      <a:cubicBezTo>
                        <a:pt x="3670" y="2800"/>
                        <a:pt x="3672" y="2800"/>
                        <a:pt x="3675" y="2800"/>
                      </a:cubicBezTo>
                      <a:cubicBezTo>
                        <a:pt x="3685" y="2800"/>
                        <a:pt x="3695" y="2800"/>
                        <a:pt x="3704" y="2799"/>
                      </a:cubicBezTo>
                      <a:cubicBezTo>
                        <a:pt x="3710" y="2799"/>
                        <a:pt x="3715" y="2799"/>
                        <a:pt x="3721" y="2799"/>
                      </a:cubicBezTo>
                      <a:cubicBezTo>
                        <a:pt x="3728" y="2798"/>
                        <a:pt x="3735" y="2798"/>
                        <a:pt x="3742" y="2798"/>
                      </a:cubicBezTo>
                      <a:cubicBezTo>
                        <a:pt x="3748" y="2797"/>
                        <a:pt x="3754" y="2797"/>
                        <a:pt x="3760" y="2797"/>
                      </a:cubicBezTo>
                      <a:cubicBezTo>
                        <a:pt x="3767" y="2796"/>
                        <a:pt x="3773" y="2796"/>
                        <a:pt x="3780" y="2795"/>
                      </a:cubicBezTo>
                      <a:cubicBezTo>
                        <a:pt x="3786" y="2795"/>
                        <a:pt x="3793" y="2794"/>
                        <a:pt x="3799" y="2794"/>
                      </a:cubicBezTo>
                      <a:cubicBezTo>
                        <a:pt x="3805" y="2793"/>
                        <a:pt x="3811" y="2792"/>
                        <a:pt x="3817" y="2792"/>
                      </a:cubicBezTo>
                      <a:cubicBezTo>
                        <a:pt x="3824" y="2791"/>
                        <a:pt x="3831" y="2790"/>
                        <a:pt x="3838" y="2789"/>
                      </a:cubicBezTo>
                      <a:cubicBezTo>
                        <a:pt x="3843" y="2789"/>
                        <a:pt x="3848" y="2788"/>
                        <a:pt x="3853" y="2787"/>
                      </a:cubicBezTo>
                      <a:cubicBezTo>
                        <a:pt x="3861" y="2786"/>
                        <a:pt x="3868" y="2785"/>
                        <a:pt x="3876" y="2784"/>
                      </a:cubicBezTo>
                      <a:cubicBezTo>
                        <a:pt x="3880" y="2784"/>
                        <a:pt x="3883" y="2783"/>
                        <a:pt x="3887" y="2782"/>
                      </a:cubicBezTo>
                      <a:cubicBezTo>
                        <a:pt x="3896" y="2781"/>
                        <a:pt x="3905" y="2780"/>
                        <a:pt x="3914" y="2778"/>
                      </a:cubicBezTo>
                      <a:cubicBezTo>
                        <a:pt x="3915" y="2778"/>
                        <a:pt x="3916" y="2778"/>
                        <a:pt x="3917" y="2777"/>
                      </a:cubicBezTo>
                      <a:cubicBezTo>
                        <a:pt x="4043" y="2755"/>
                        <a:pt x="4165" y="2715"/>
                        <a:pt x="4279" y="2659"/>
                      </a:cubicBezTo>
                      <a:lnTo>
                        <a:pt x="4279" y="436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grpSp>
            <p:nvGrpSpPr>
              <p:cNvPr id="67" name="íṧlîḓè"/>
              <p:cNvGrpSpPr/>
              <p:nvPr/>
            </p:nvGrpSpPr>
            <p:grpSpPr>
              <a:xfrm>
                <a:off x="842471" y="2810969"/>
                <a:ext cx="1676447" cy="1675012"/>
                <a:chOff x="1449428" y="3003463"/>
                <a:chExt cx="1676447" cy="1675012"/>
              </a:xfrm>
            </p:grpSpPr>
            <p:sp>
              <p:nvSpPr>
                <p:cNvPr id="68" name="îśļîďé"/>
                <p:cNvSpPr/>
                <p:nvPr/>
              </p:nvSpPr>
              <p:spPr bwMode="auto">
                <a:xfrm>
                  <a:off x="1449428" y="3003463"/>
                  <a:ext cx="1676447" cy="1675012"/>
                </a:xfrm>
                <a:custGeom>
                  <a:avLst/>
                  <a:gdLst>
                    <a:gd name="T0" fmla="*/ 406 w 494"/>
                    <a:gd name="T1" fmla="*/ 88 h 493"/>
                    <a:gd name="T2" fmla="*/ 406 w 494"/>
                    <a:gd name="T3" fmla="*/ 406 h 493"/>
                    <a:gd name="T4" fmla="*/ 88 w 494"/>
                    <a:gd name="T5" fmla="*/ 406 h 493"/>
                    <a:gd name="T6" fmla="*/ 88 w 494"/>
                    <a:gd name="T7" fmla="*/ 88 h 493"/>
                    <a:gd name="T8" fmla="*/ 406 w 494"/>
                    <a:gd name="T9" fmla="*/ 88 h 493"/>
                  </a:gdLst>
                  <a:ahLst/>
                  <a:cxnLst>
                    <a:cxn ang="0">
                      <a:pos x="T0" y="T1"/>
                    </a:cxn>
                    <a:cxn ang="0">
                      <a:pos x="T2" y="T3"/>
                    </a:cxn>
                    <a:cxn ang="0">
                      <a:pos x="T4" y="T5"/>
                    </a:cxn>
                    <a:cxn ang="0">
                      <a:pos x="T6" y="T7"/>
                    </a:cxn>
                    <a:cxn ang="0">
                      <a:pos x="T8" y="T9"/>
                    </a:cxn>
                  </a:cxnLst>
                  <a:rect l="0" t="0" r="r" b="b"/>
                  <a:pathLst>
                    <a:path w="494" h="493">
                      <a:moveTo>
                        <a:pt x="406" y="88"/>
                      </a:moveTo>
                      <a:cubicBezTo>
                        <a:pt x="494" y="175"/>
                        <a:pt x="494" y="318"/>
                        <a:pt x="406" y="406"/>
                      </a:cubicBezTo>
                      <a:cubicBezTo>
                        <a:pt x="318" y="493"/>
                        <a:pt x="176" y="493"/>
                        <a:pt x="88" y="406"/>
                      </a:cubicBezTo>
                      <a:cubicBezTo>
                        <a:pt x="0" y="318"/>
                        <a:pt x="0" y="175"/>
                        <a:pt x="88" y="88"/>
                      </a:cubicBezTo>
                      <a:cubicBezTo>
                        <a:pt x="176" y="0"/>
                        <a:pt x="318" y="0"/>
                        <a:pt x="406" y="8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69" name="ïś1iḋe"/>
                <p:cNvSpPr/>
                <p:nvPr/>
              </p:nvSpPr>
              <p:spPr bwMode="auto">
                <a:xfrm>
                  <a:off x="1931280" y="3449464"/>
                  <a:ext cx="722779" cy="750027"/>
                </a:xfrm>
                <a:custGeom>
                  <a:avLst/>
                  <a:gdLst>
                    <a:gd name="T0" fmla="*/ 184 w 213"/>
                    <a:gd name="T1" fmla="*/ 148 h 221"/>
                    <a:gd name="T2" fmla="*/ 143 w 213"/>
                    <a:gd name="T3" fmla="*/ 98 h 221"/>
                    <a:gd name="T4" fmla="*/ 134 w 213"/>
                    <a:gd name="T5" fmla="*/ 31 h 221"/>
                    <a:gd name="T6" fmla="*/ 174 w 213"/>
                    <a:gd name="T7" fmla="*/ 86 h 221"/>
                    <a:gd name="T8" fmla="*/ 184 w 213"/>
                    <a:gd name="T9" fmla="*/ 148 h 221"/>
                    <a:gd name="T10" fmla="*/ 191 w 213"/>
                    <a:gd name="T11" fmla="*/ 77 h 221"/>
                    <a:gd name="T12" fmla="*/ 126 w 213"/>
                    <a:gd name="T13" fmla="*/ 6 h 221"/>
                    <a:gd name="T14" fmla="*/ 14 w 213"/>
                    <a:gd name="T15" fmla="*/ 120 h 221"/>
                    <a:gd name="T16" fmla="*/ 5 w 213"/>
                    <a:gd name="T17" fmla="*/ 153 h 221"/>
                    <a:gd name="T18" fmla="*/ 36 w 213"/>
                    <a:gd name="T19" fmla="*/ 170 h 221"/>
                    <a:gd name="T20" fmla="*/ 45 w 213"/>
                    <a:gd name="T21" fmla="*/ 167 h 221"/>
                    <a:gd name="T22" fmla="*/ 64 w 213"/>
                    <a:gd name="T23" fmla="*/ 178 h 221"/>
                    <a:gd name="T24" fmla="*/ 77 w 213"/>
                    <a:gd name="T25" fmla="*/ 209 h 221"/>
                    <a:gd name="T26" fmla="*/ 90 w 213"/>
                    <a:gd name="T27" fmla="*/ 219 h 221"/>
                    <a:gd name="T28" fmla="*/ 115 w 213"/>
                    <a:gd name="T29" fmla="*/ 210 h 221"/>
                    <a:gd name="T30" fmla="*/ 120 w 213"/>
                    <a:gd name="T31" fmla="*/ 199 h 221"/>
                    <a:gd name="T32" fmla="*/ 108 w 213"/>
                    <a:gd name="T33" fmla="*/ 189 h 221"/>
                    <a:gd name="T34" fmla="*/ 97 w 213"/>
                    <a:gd name="T35" fmla="*/ 163 h 221"/>
                    <a:gd name="T36" fmla="*/ 109 w 213"/>
                    <a:gd name="T37" fmla="*/ 150 h 221"/>
                    <a:gd name="T38" fmla="*/ 198 w 213"/>
                    <a:gd name="T39" fmla="*/ 172 h 221"/>
                    <a:gd name="T40" fmla="*/ 191 w 213"/>
                    <a:gd name="T41" fmla="*/ 7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3" h="221">
                      <a:moveTo>
                        <a:pt x="184" y="148"/>
                      </a:moveTo>
                      <a:cubicBezTo>
                        <a:pt x="181" y="150"/>
                        <a:pt x="158" y="132"/>
                        <a:pt x="143" y="98"/>
                      </a:cubicBezTo>
                      <a:cubicBezTo>
                        <a:pt x="129" y="64"/>
                        <a:pt x="131" y="32"/>
                        <a:pt x="134" y="31"/>
                      </a:cubicBezTo>
                      <a:cubicBezTo>
                        <a:pt x="137" y="30"/>
                        <a:pt x="160" y="52"/>
                        <a:pt x="174" y="86"/>
                      </a:cubicBezTo>
                      <a:cubicBezTo>
                        <a:pt x="189" y="120"/>
                        <a:pt x="188" y="147"/>
                        <a:pt x="184" y="148"/>
                      </a:cubicBezTo>
                      <a:close/>
                      <a:moveTo>
                        <a:pt x="191" y="77"/>
                      </a:moveTo>
                      <a:cubicBezTo>
                        <a:pt x="172" y="34"/>
                        <a:pt x="142" y="0"/>
                        <a:pt x="126" y="6"/>
                      </a:cubicBezTo>
                      <a:cubicBezTo>
                        <a:pt x="100" y="17"/>
                        <a:pt x="142" y="68"/>
                        <a:pt x="14" y="120"/>
                      </a:cubicBezTo>
                      <a:cubicBezTo>
                        <a:pt x="3" y="124"/>
                        <a:pt x="0" y="142"/>
                        <a:pt x="5" y="153"/>
                      </a:cubicBezTo>
                      <a:cubicBezTo>
                        <a:pt x="9" y="164"/>
                        <a:pt x="25" y="174"/>
                        <a:pt x="36" y="170"/>
                      </a:cubicBezTo>
                      <a:cubicBezTo>
                        <a:pt x="38" y="169"/>
                        <a:pt x="45" y="167"/>
                        <a:pt x="45" y="167"/>
                      </a:cubicBezTo>
                      <a:cubicBezTo>
                        <a:pt x="52" y="177"/>
                        <a:pt x="61" y="171"/>
                        <a:pt x="64" y="178"/>
                      </a:cubicBezTo>
                      <a:cubicBezTo>
                        <a:pt x="67" y="186"/>
                        <a:pt x="75" y="204"/>
                        <a:pt x="77" y="209"/>
                      </a:cubicBezTo>
                      <a:cubicBezTo>
                        <a:pt x="80" y="215"/>
                        <a:pt x="86" y="221"/>
                        <a:pt x="90" y="219"/>
                      </a:cubicBezTo>
                      <a:cubicBezTo>
                        <a:pt x="94" y="218"/>
                        <a:pt x="109" y="212"/>
                        <a:pt x="115" y="210"/>
                      </a:cubicBezTo>
                      <a:cubicBezTo>
                        <a:pt x="120" y="208"/>
                        <a:pt x="121" y="203"/>
                        <a:pt x="120" y="199"/>
                      </a:cubicBezTo>
                      <a:cubicBezTo>
                        <a:pt x="118" y="195"/>
                        <a:pt x="110" y="194"/>
                        <a:pt x="108" y="189"/>
                      </a:cubicBezTo>
                      <a:cubicBezTo>
                        <a:pt x="106" y="184"/>
                        <a:pt x="99" y="168"/>
                        <a:pt x="97" y="163"/>
                      </a:cubicBezTo>
                      <a:cubicBezTo>
                        <a:pt x="94" y="156"/>
                        <a:pt x="100" y="151"/>
                        <a:pt x="109" y="150"/>
                      </a:cubicBezTo>
                      <a:cubicBezTo>
                        <a:pt x="167" y="144"/>
                        <a:pt x="178" y="180"/>
                        <a:pt x="198" y="172"/>
                      </a:cubicBezTo>
                      <a:cubicBezTo>
                        <a:pt x="213" y="166"/>
                        <a:pt x="210" y="121"/>
                        <a:pt x="191"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grpSp>
        <p:sp>
          <p:nvSpPr>
            <p:cNvPr id="47" name="ïṣḻïḋe">
              <a:extLst>
                <a:ext uri="{FF2B5EF4-FFF2-40B4-BE49-F238E27FC236}">
                  <a16:creationId xmlns:a16="http://schemas.microsoft.com/office/drawing/2014/main" id="{EB3504BB-EE46-4C63-849C-CE4E04D8743B}"/>
                </a:ext>
              </a:extLst>
            </p:cNvPr>
            <p:cNvSpPr/>
            <p:nvPr/>
          </p:nvSpPr>
          <p:spPr bwMode="auto">
            <a:xfrm>
              <a:off x="7357334" y="1795559"/>
              <a:ext cx="3845940" cy="572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fontScale="925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lnSpc>
                  <a:spcPct val="150000"/>
                </a:lnSpc>
                <a:spcBef>
                  <a:spcPct val="0"/>
                </a:spcBef>
                <a:buFont typeface="Arial" panose="020B0604020202020204" pitchFamily="34" charset="0"/>
                <a:buChar char="•"/>
              </a:pPr>
              <a:r>
                <a:rPr lang="zh-CN" altLang="en-US" sz="1600" dirty="0" smtClean="0"/>
                <a:t>类图用来描述类以及面向对象元素之间的关系。</a:t>
              </a:r>
              <a:endParaRPr lang="en-US" altLang="zh-CN" sz="1600" dirty="0" smtClean="0"/>
            </a:p>
          </p:txBody>
        </p:sp>
        <p:sp>
          <p:nvSpPr>
            <p:cNvPr id="48" name="ïṡliḑé">
              <a:extLst>
                <a:ext uri="{FF2B5EF4-FFF2-40B4-BE49-F238E27FC236}">
                  <a16:creationId xmlns:a16="http://schemas.microsoft.com/office/drawing/2014/main" id="{3DB7C031-5764-4AFE-BD6A-3AB6FE5B993D}"/>
                </a:ext>
              </a:extLst>
            </p:cNvPr>
            <p:cNvSpPr txBox="1"/>
            <p:nvPr/>
          </p:nvSpPr>
          <p:spPr bwMode="auto">
            <a:xfrm>
              <a:off x="7357334" y="1404001"/>
              <a:ext cx="3845940" cy="391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ct val="0"/>
                </a:spcBef>
              </a:pPr>
              <a:r>
                <a:rPr lang="zh-CN" altLang="en-US" sz="2400" b="1" dirty="0" smtClean="0">
                  <a:solidFill>
                    <a:schemeClr val="bg1"/>
                  </a:solidFill>
                </a:rPr>
                <a:t>类</a:t>
              </a:r>
              <a:r>
                <a:rPr lang="zh-CN" altLang="en-US" sz="2400" b="1" dirty="0">
                  <a:solidFill>
                    <a:schemeClr val="bg1"/>
                  </a:solidFill>
                </a:rPr>
                <a:t>图</a:t>
              </a:r>
              <a:endParaRPr lang="en-US" altLang="zh-CN" sz="2400" b="1" dirty="0">
                <a:solidFill>
                  <a:schemeClr val="bg1"/>
                </a:solidFill>
              </a:endParaRPr>
            </a:p>
          </p:txBody>
        </p:sp>
        <p:sp>
          <p:nvSpPr>
            <p:cNvPr id="49" name="išļîḑè">
              <a:extLst>
                <a:ext uri="{FF2B5EF4-FFF2-40B4-BE49-F238E27FC236}">
                  <a16:creationId xmlns:a16="http://schemas.microsoft.com/office/drawing/2014/main" id="{EB3504BB-EE46-4C63-849C-CE4E04D8743B}"/>
                </a:ext>
              </a:extLst>
            </p:cNvPr>
            <p:cNvSpPr/>
            <p:nvPr/>
          </p:nvSpPr>
          <p:spPr bwMode="auto">
            <a:xfrm>
              <a:off x="7357334" y="2967602"/>
              <a:ext cx="3845940" cy="572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lnSpc>
                  <a:spcPct val="150000"/>
                </a:lnSpc>
                <a:spcBef>
                  <a:spcPct val="0"/>
                </a:spcBef>
                <a:buFont typeface="Arial" panose="020B0604020202020204" pitchFamily="34" charset="0"/>
                <a:buChar char="•"/>
              </a:pPr>
              <a:r>
                <a:rPr lang="zh-CN" altLang="en-US" sz="1600" dirty="0" smtClean="0"/>
                <a:t>显示消息和对象状态的准确时间限制</a:t>
              </a:r>
              <a:r>
                <a:rPr lang="en-US" altLang="zh-CN" sz="1600" dirty="0" smtClean="0"/>
                <a:t>.</a:t>
              </a:r>
              <a:endParaRPr lang="zh-CN" altLang="en-US" sz="1600" dirty="0"/>
            </a:p>
          </p:txBody>
        </p:sp>
        <p:sp>
          <p:nvSpPr>
            <p:cNvPr id="50" name="iṥḷiḑe">
              <a:extLst>
                <a:ext uri="{FF2B5EF4-FFF2-40B4-BE49-F238E27FC236}">
                  <a16:creationId xmlns:a16="http://schemas.microsoft.com/office/drawing/2014/main" id="{3DB7C031-5764-4AFE-BD6A-3AB6FE5B993D}"/>
                </a:ext>
              </a:extLst>
            </p:cNvPr>
            <p:cNvSpPr txBox="1"/>
            <p:nvPr/>
          </p:nvSpPr>
          <p:spPr bwMode="auto">
            <a:xfrm>
              <a:off x="7357334" y="2576043"/>
              <a:ext cx="3845940" cy="391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hangingPunct="1">
                <a:lnSpc>
                  <a:spcPct val="100000"/>
                </a:lnSpc>
                <a:spcBef>
                  <a:spcPct val="0"/>
                </a:spcBef>
                <a:buFontTx/>
                <a:buNone/>
              </a:pPr>
              <a:endParaRPr lang="en-US" altLang="zh-CN" sz="1800" b="1" dirty="0"/>
            </a:p>
          </p:txBody>
        </p:sp>
        <p:sp>
          <p:nvSpPr>
            <p:cNvPr id="51" name="îś1ïḓe">
              <a:extLst>
                <a:ext uri="{FF2B5EF4-FFF2-40B4-BE49-F238E27FC236}">
                  <a16:creationId xmlns:a16="http://schemas.microsoft.com/office/drawing/2014/main" id="{EB3504BB-EE46-4C63-849C-CE4E04D8743B}"/>
                </a:ext>
              </a:extLst>
            </p:cNvPr>
            <p:cNvSpPr/>
            <p:nvPr/>
          </p:nvSpPr>
          <p:spPr bwMode="auto">
            <a:xfrm>
              <a:off x="7357334" y="4139645"/>
              <a:ext cx="3845940" cy="572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lnSpc>
                  <a:spcPct val="150000"/>
                </a:lnSpc>
                <a:spcBef>
                  <a:spcPct val="0"/>
                </a:spcBef>
                <a:buFont typeface="Arial" panose="020B0604020202020204" pitchFamily="34" charset="0"/>
                <a:buChar char="•"/>
              </a:pPr>
              <a:r>
                <a:rPr lang="zh-CN" altLang="en-US" sz="1600" dirty="0" smtClean="0"/>
                <a:t>对系统的使用方式分类</a:t>
              </a:r>
              <a:endParaRPr lang="zh-CN" altLang="en-US" sz="1600" dirty="0"/>
            </a:p>
          </p:txBody>
        </p:sp>
        <p:sp>
          <p:nvSpPr>
            <p:cNvPr id="52" name="îṩlíḋe">
              <a:extLst>
                <a:ext uri="{FF2B5EF4-FFF2-40B4-BE49-F238E27FC236}">
                  <a16:creationId xmlns:a16="http://schemas.microsoft.com/office/drawing/2014/main" id="{3DB7C031-5764-4AFE-BD6A-3AB6FE5B993D}"/>
                </a:ext>
              </a:extLst>
            </p:cNvPr>
            <p:cNvSpPr txBox="1"/>
            <p:nvPr/>
          </p:nvSpPr>
          <p:spPr bwMode="auto">
            <a:xfrm>
              <a:off x="7357334" y="3748086"/>
              <a:ext cx="3845940" cy="391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hangingPunct="1">
                <a:lnSpc>
                  <a:spcPct val="100000"/>
                </a:lnSpc>
                <a:spcBef>
                  <a:spcPct val="0"/>
                </a:spcBef>
                <a:buFontTx/>
                <a:buNone/>
              </a:pPr>
              <a:r>
                <a:rPr lang="zh-CN" altLang="en-US" sz="2400" b="1" dirty="0" smtClean="0">
                  <a:solidFill>
                    <a:schemeClr val="bg1"/>
                  </a:solidFill>
                </a:rPr>
                <a:t>用例图</a:t>
              </a:r>
              <a:endParaRPr lang="en-US" altLang="zh-CN" sz="2400" b="1" dirty="0">
                <a:solidFill>
                  <a:schemeClr val="bg1"/>
                </a:solidFill>
              </a:endParaRPr>
            </a:p>
          </p:txBody>
        </p:sp>
        <p:sp>
          <p:nvSpPr>
            <p:cNvPr id="53" name="íşļíďe">
              <a:extLst>
                <a:ext uri="{FF2B5EF4-FFF2-40B4-BE49-F238E27FC236}">
                  <a16:creationId xmlns:a16="http://schemas.microsoft.com/office/drawing/2014/main" id="{EB3504BB-EE46-4C63-849C-CE4E04D8743B}"/>
                </a:ext>
              </a:extLst>
            </p:cNvPr>
            <p:cNvSpPr/>
            <p:nvPr/>
          </p:nvSpPr>
          <p:spPr bwMode="auto">
            <a:xfrm>
              <a:off x="7357334" y="5311689"/>
              <a:ext cx="3845940" cy="572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lnSpc>
                  <a:spcPct val="150000"/>
                </a:lnSpc>
                <a:spcBef>
                  <a:spcPct val="0"/>
                </a:spcBef>
                <a:buFont typeface="Arial" panose="020B0604020202020204" pitchFamily="34" charset="0"/>
                <a:buChar char="•"/>
              </a:pPr>
              <a:r>
                <a:rPr lang="en-US" altLang="zh-CN" sz="1600" dirty="0" smtClean="0"/>
                <a:t>Others</a:t>
              </a:r>
              <a:endParaRPr lang="zh-CN" altLang="en-US" sz="1600" dirty="0"/>
            </a:p>
          </p:txBody>
        </p:sp>
        <p:sp>
          <p:nvSpPr>
            <p:cNvPr id="54" name="íṥļïḍe">
              <a:extLst>
                <a:ext uri="{FF2B5EF4-FFF2-40B4-BE49-F238E27FC236}">
                  <a16:creationId xmlns:a16="http://schemas.microsoft.com/office/drawing/2014/main" id="{3DB7C031-5764-4AFE-BD6A-3AB6FE5B993D}"/>
                </a:ext>
              </a:extLst>
            </p:cNvPr>
            <p:cNvSpPr txBox="1"/>
            <p:nvPr/>
          </p:nvSpPr>
          <p:spPr bwMode="auto">
            <a:xfrm>
              <a:off x="7357334" y="4920130"/>
              <a:ext cx="3845940" cy="391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hangingPunct="1">
                <a:lnSpc>
                  <a:spcPct val="100000"/>
                </a:lnSpc>
                <a:spcBef>
                  <a:spcPct val="0"/>
                </a:spcBef>
                <a:buFontTx/>
                <a:buNone/>
              </a:pPr>
              <a:r>
                <a:rPr lang="zh-CN" altLang="en-US" sz="2400" b="1" dirty="0" smtClean="0">
                  <a:solidFill>
                    <a:schemeClr val="bg1"/>
                  </a:solidFill>
                </a:rPr>
                <a:t>其他</a:t>
              </a:r>
              <a:endParaRPr lang="en-US" altLang="zh-CN" sz="2400" b="1" dirty="0">
                <a:solidFill>
                  <a:schemeClr val="bg1"/>
                </a:solidFill>
              </a:endParaRPr>
            </a:p>
          </p:txBody>
        </p:sp>
        <p:cxnSp>
          <p:nvCxnSpPr>
            <p:cNvPr id="55" name="直接连接符 54"/>
            <p:cNvCxnSpPr/>
            <p:nvPr/>
          </p:nvCxnSpPr>
          <p:spPr>
            <a:xfrm>
              <a:off x="7457256" y="2471820"/>
              <a:ext cx="3645000"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56" name="直接连接符 55"/>
            <p:cNvCxnSpPr/>
            <p:nvPr/>
          </p:nvCxnSpPr>
          <p:spPr>
            <a:xfrm>
              <a:off x="7457804" y="3643863"/>
              <a:ext cx="3645000"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57" name="直接连接符 56"/>
            <p:cNvCxnSpPr/>
            <p:nvPr/>
          </p:nvCxnSpPr>
          <p:spPr>
            <a:xfrm>
              <a:off x="7458352" y="4815906"/>
              <a:ext cx="3645000"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58" name="直接箭头连接符 57"/>
            <p:cNvCxnSpPr>
              <a:stCxn id="77" idx="6"/>
              <a:endCxn id="48" idx="1"/>
            </p:cNvCxnSpPr>
            <p:nvPr/>
          </p:nvCxnSpPr>
          <p:spPr>
            <a:xfrm flipV="1">
              <a:off x="5878818" y="1599780"/>
              <a:ext cx="1478516" cy="1113185"/>
            </a:xfrm>
            <a:prstGeom prst="straightConnector1">
              <a:avLst/>
            </a:prstGeom>
            <a:ln w="38100" cap="rnd">
              <a:solidFill>
                <a:schemeClr val="bg1">
                  <a:lumMod val="75000"/>
                </a:schemeClr>
              </a:solidFill>
              <a:roun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9" name="直接箭头连接符 58"/>
            <p:cNvCxnSpPr>
              <a:stCxn id="64" idx="3"/>
              <a:endCxn id="270" idx="1"/>
            </p:cNvCxnSpPr>
            <p:nvPr/>
          </p:nvCxnSpPr>
          <p:spPr>
            <a:xfrm flipV="1">
              <a:off x="5878818" y="2777129"/>
              <a:ext cx="1482967" cy="563768"/>
            </a:xfrm>
            <a:prstGeom prst="straightConnector1">
              <a:avLst/>
            </a:prstGeom>
            <a:ln w="38100" cap="rnd">
              <a:solidFill>
                <a:schemeClr val="bg1">
                  <a:lumMod val="75000"/>
                </a:schemeClr>
              </a:solidFill>
              <a:roun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0" name="直接箭头连接符 59"/>
            <p:cNvCxnSpPr>
              <a:stCxn id="72" idx="4"/>
              <a:endCxn id="52" idx="1"/>
            </p:cNvCxnSpPr>
            <p:nvPr/>
          </p:nvCxnSpPr>
          <p:spPr>
            <a:xfrm flipV="1">
              <a:off x="5878818" y="3943865"/>
              <a:ext cx="1478516" cy="33171"/>
            </a:xfrm>
            <a:prstGeom prst="straightConnector1">
              <a:avLst/>
            </a:prstGeom>
            <a:ln w="38100" cap="rnd">
              <a:solidFill>
                <a:schemeClr val="bg1">
                  <a:lumMod val="75000"/>
                </a:schemeClr>
              </a:solidFill>
              <a:roun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1" name="直接箭头连接符 60"/>
            <p:cNvCxnSpPr>
              <a:stCxn id="75" idx="6"/>
              <a:endCxn id="54" idx="1"/>
            </p:cNvCxnSpPr>
            <p:nvPr/>
          </p:nvCxnSpPr>
          <p:spPr>
            <a:xfrm>
              <a:off x="5878818" y="4577629"/>
              <a:ext cx="1478516" cy="538280"/>
            </a:xfrm>
            <a:prstGeom prst="straightConnector1">
              <a:avLst/>
            </a:prstGeom>
            <a:ln w="38100" cap="rnd">
              <a:solidFill>
                <a:schemeClr val="bg1">
                  <a:lumMod val="75000"/>
                </a:schemeClr>
              </a:solidFill>
              <a:round/>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270" name="矩形 269"/>
          <p:cNvSpPr/>
          <p:nvPr/>
        </p:nvSpPr>
        <p:spPr>
          <a:xfrm>
            <a:off x="7460509" y="2488028"/>
            <a:ext cx="1107996" cy="461665"/>
          </a:xfrm>
          <a:prstGeom prst="rect">
            <a:avLst/>
          </a:prstGeom>
        </p:spPr>
        <p:txBody>
          <a:bodyPr wrap="none">
            <a:spAutoFit/>
          </a:bodyPr>
          <a:lstStyle/>
          <a:p>
            <a:r>
              <a:rPr lang="zh-CN" altLang="en-US" sz="2400" b="1" dirty="0">
                <a:solidFill>
                  <a:schemeClr val="bg1"/>
                </a:solidFill>
              </a:rPr>
              <a:t>时序图</a:t>
            </a:r>
            <a:endParaRPr lang="zh-CN" altLang="en-US" sz="2400" dirty="0">
              <a:solidFill>
                <a:schemeClr val="bg1"/>
              </a:solidFill>
            </a:endParaRPr>
          </a:p>
        </p:txBody>
      </p:sp>
      <p:sp>
        <p:nvSpPr>
          <p:cNvPr id="42" name="iṩḷídé"/>
          <p:cNvSpPr/>
          <p:nvPr/>
        </p:nvSpPr>
        <p:spPr bwMode="auto">
          <a:xfrm>
            <a:off x="4913167" y="2406603"/>
            <a:ext cx="385184" cy="413349"/>
          </a:xfrm>
          <a:custGeom>
            <a:avLst/>
            <a:gdLst>
              <a:gd name="T0" fmla="*/ 4181 w 4456"/>
              <a:gd name="T1" fmla="*/ 3243 h 4154"/>
              <a:gd name="T2" fmla="*/ 4181 w 4456"/>
              <a:gd name="T3" fmla="*/ 2572 h 4154"/>
              <a:gd name="T4" fmla="*/ 3914 w 4456"/>
              <a:gd name="T5" fmla="*/ 2305 h 4154"/>
              <a:gd name="T6" fmla="*/ 2430 w 4456"/>
              <a:gd name="T7" fmla="*/ 2305 h 4154"/>
              <a:gd name="T8" fmla="*/ 2430 w 4456"/>
              <a:gd name="T9" fmla="*/ 1835 h 4154"/>
              <a:gd name="T10" fmla="*/ 3134 w 4456"/>
              <a:gd name="T11" fmla="*/ 1835 h 4154"/>
              <a:gd name="T12" fmla="*/ 3334 w 4456"/>
              <a:gd name="T13" fmla="*/ 1635 h 4154"/>
              <a:gd name="T14" fmla="*/ 3334 w 4456"/>
              <a:gd name="T15" fmla="*/ 200 h 4154"/>
              <a:gd name="T16" fmla="*/ 3134 w 4456"/>
              <a:gd name="T17" fmla="*/ 0 h 4154"/>
              <a:gd name="T18" fmla="*/ 1321 w 4456"/>
              <a:gd name="T19" fmla="*/ 0 h 4154"/>
              <a:gd name="T20" fmla="*/ 1121 w 4456"/>
              <a:gd name="T21" fmla="*/ 200 h 4154"/>
              <a:gd name="T22" fmla="*/ 1121 w 4456"/>
              <a:gd name="T23" fmla="*/ 1635 h 4154"/>
              <a:gd name="T24" fmla="*/ 1321 w 4456"/>
              <a:gd name="T25" fmla="*/ 1835 h 4154"/>
              <a:gd name="T26" fmla="*/ 2030 w 4456"/>
              <a:gd name="T27" fmla="*/ 1835 h 4154"/>
              <a:gd name="T28" fmla="*/ 2030 w 4456"/>
              <a:gd name="T29" fmla="*/ 2305 h 4154"/>
              <a:gd name="T30" fmla="*/ 545 w 4456"/>
              <a:gd name="T31" fmla="*/ 2305 h 4154"/>
              <a:gd name="T32" fmla="*/ 278 w 4456"/>
              <a:gd name="T33" fmla="*/ 2572 h 4154"/>
              <a:gd name="T34" fmla="*/ 278 w 4456"/>
              <a:gd name="T35" fmla="*/ 3242 h 4154"/>
              <a:gd name="T36" fmla="*/ 0 w 4456"/>
              <a:gd name="T37" fmla="*/ 3676 h 4154"/>
              <a:gd name="T38" fmla="*/ 478 w 4456"/>
              <a:gd name="T39" fmla="*/ 4154 h 4154"/>
              <a:gd name="T40" fmla="*/ 956 w 4456"/>
              <a:gd name="T41" fmla="*/ 3676 h 4154"/>
              <a:gd name="T42" fmla="*/ 678 w 4456"/>
              <a:gd name="T43" fmla="*/ 3242 h 4154"/>
              <a:gd name="T44" fmla="*/ 678 w 4456"/>
              <a:gd name="T45" fmla="*/ 2705 h 4154"/>
              <a:gd name="T46" fmla="*/ 2030 w 4456"/>
              <a:gd name="T47" fmla="*/ 2705 h 4154"/>
              <a:gd name="T48" fmla="*/ 2030 w 4456"/>
              <a:gd name="T49" fmla="*/ 3242 h 4154"/>
              <a:gd name="T50" fmla="*/ 1751 w 4456"/>
              <a:gd name="T51" fmla="*/ 3676 h 4154"/>
              <a:gd name="T52" fmla="*/ 2230 w 4456"/>
              <a:gd name="T53" fmla="*/ 4154 h 4154"/>
              <a:gd name="T54" fmla="*/ 2708 w 4456"/>
              <a:gd name="T55" fmla="*/ 3676 h 4154"/>
              <a:gd name="T56" fmla="*/ 2430 w 4456"/>
              <a:gd name="T57" fmla="*/ 3242 h 4154"/>
              <a:gd name="T58" fmla="*/ 2430 w 4456"/>
              <a:gd name="T59" fmla="*/ 2705 h 4154"/>
              <a:gd name="T60" fmla="*/ 3781 w 4456"/>
              <a:gd name="T61" fmla="*/ 2705 h 4154"/>
              <a:gd name="T62" fmla="*/ 3781 w 4456"/>
              <a:gd name="T63" fmla="*/ 3240 h 4154"/>
              <a:gd name="T64" fmla="*/ 3499 w 4456"/>
              <a:gd name="T65" fmla="*/ 3676 h 4154"/>
              <a:gd name="T66" fmla="*/ 3977 w 4456"/>
              <a:gd name="T67" fmla="*/ 4154 h 4154"/>
              <a:gd name="T68" fmla="*/ 4456 w 4456"/>
              <a:gd name="T69" fmla="*/ 3676 h 4154"/>
              <a:gd name="T70" fmla="*/ 4181 w 4456"/>
              <a:gd name="T71" fmla="*/ 3243 h 4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56" h="4154">
                <a:moveTo>
                  <a:pt x="4181" y="3243"/>
                </a:moveTo>
                <a:lnTo>
                  <a:pt x="4181" y="2572"/>
                </a:lnTo>
                <a:cubicBezTo>
                  <a:pt x="4181" y="2425"/>
                  <a:pt x="4061" y="2305"/>
                  <a:pt x="3914" y="2305"/>
                </a:cubicBezTo>
                <a:lnTo>
                  <a:pt x="2430" y="2305"/>
                </a:lnTo>
                <a:lnTo>
                  <a:pt x="2430" y="1835"/>
                </a:lnTo>
                <a:lnTo>
                  <a:pt x="3134" y="1835"/>
                </a:lnTo>
                <a:cubicBezTo>
                  <a:pt x="3245" y="1835"/>
                  <a:pt x="3334" y="1745"/>
                  <a:pt x="3334" y="1635"/>
                </a:cubicBezTo>
                <a:lnTo>
                  <a:pt x="3334" y="200"/>
                </a:lnTo>
                <a:cubicBezTo>
                  <a:pt x="3334" y="89"/>
                  <a:pt x="3245" y="0"/>
                  <a:pt x="3134" y="0"/>
                </a:cubicBezTo>
                <a:lnTo>
                  <a:pt x="1321" y="0"/>
                </a:lnTo>
                <a:cubicBezTo>
                  <a:pt x="1211" y="0"/>
                  <a:pt x="1121" y="89"/>
                  <a:pt x="1121" y="200"/>
                </a:cubicBezTo>
                <a:lnTo>
                  <a:pt x="1121" y="1635"/>
                </a:lnTo>
                <a:cubicBezTo>
                  <a:pt x="1121" y="1745"/>
                  <a:pt x="1211" y="1835"/>
                  <a:pt x="1321" y="1835"/>
                </a:cubicBezTo>
                <a:lnTo>
                  <a:pt x="2030" y="1835"/>
                </a:lnTo>
                <a:lnTo>
                  <a:pt x="2030" y="2305"/>
                </a:lnTo>
                <a:lnTo>
                  <a:pt x="545" y="2305"/>
                </a:lnTo>
                <a:cubicBezTo>
                  <a:pt x="398" y="2305"/>
                  <a:pt x="278" y="2425"/>
                  <a:pt x="278" y="2572"/>
                </a:cubicBezTo>
                <a:lnTo>
                  <a:pt x="278" y="3242"/>
                </a:lnTo>
                <a:cubicBezTo>
                  <a:pt x="114" y="3317"/>
                  <a:pt x="0" y="3483"/>
                  <a:pt x="0" y="3676"/>
                </a:cubicBezTo>
                <a:cubicBezTo>
                  <a:pt x="0" y="3939"/>
                  <a:pt x="214" y="4154"/>
                  <a:pt x="478" y="4154"/>
                </a:cubicBezTo>
                <a:cubicBezTo>
                  <a:pt x="742" y="4154"/>
                  <a:pt x="956" y="3939"/>
                  <a:pt x="956" y="3676"/>
                </a:cubicBezTo>
                <a:cubicBezTo>
                  <a:pt x="956" y="3483"/>
                  <a:pt x="842" y="3317"/>
                  <a:pt x="678" y="3242"/>
                </a:cubicBezTo>
                <a:lnTo>
                  <a:pt x="678" y="2705"/>
                </a:lnTo>
                <a:lnTo>
                  <a:pt x="2030" y="2705"/>
                </a:lnTo>
                <a:lnTo>
                  <a:pt x="2030" y="3242"/>
                </a:lnTo>
                <a:cubicBezTo>
                  <a:pt x="1866" y="3317"/>
                  <a:pt x="1751" y="3483"/>
                  <a:pt x="1751" y="3676"/>
                </a:cubicBezTo>
                <a:cubicBezTo>
                  <a:pt x="1751" y="3939"/>
                  <a:pt x="1966" y="4154"/>
                  <a:pt x="2230" y="4154"/>
                </a:cubicBezTo>
                <a:cubicBezTo>
                  <a:pt x="2493" y="4154"/>
                  <a:pt x="2708" y="3939"/>
                  <a:pt x="2708" y="3676"/>
                </a:cubicBezTo>
                <a:cubicBezTo>
                  <a:pt x="2708" y="3483"/>
                  <a:pt x="2594" y="3317"/>
                  <a:pt x="2430" y="3242"/>
                </a:cubicBezTo>
                <a:lnTo>
                  <a:pt x="2430" y="2705"/>
                </a:lnTo>
                <a:lnTo>
                  <a:pt x="3781" y="2705"/>
                </a:lnTo>
                <a:lnTo>
                  <a:pt x="3781" y="3240"/>
                </a:lnTo>
                <a:cubicBezTo>
                  <a:pt x="3615" y="3315"/>
                  <a:pt x="3499" y="3482"/>
                  <a:pt x="3499" y="3676"/>
                </a:cubicBezTo>
                <a:cubicBezTo>
                  <a:pt x="3499" y="3939"/>
                  <a:pt x="3714" y="4154"/>
                  <a:pt x="3977" y="4154"/>
                </a:cubicBezTo>
                <a:cubicBezTo>
                  <a:pt x="4241" y="4154"/>
                  <a:pt x="4456" y="3939"/>
                  <a:pt x="4456" y="3676"/>
                </a:cubicBezTo>
                <a:cubicBezTo>
                  <a:pt x="4456" y="3485"/>
                  <a:pt x="4343" y="3320"/>
                  <a:pt x="4181" y="324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43" name="i$ḻiďè"/>
          <p:cNvSpPr/>
          <p:nvPr/>
        </p:nvSpPr>
        <p:spPr bwMode="auto">
          <a:xfrm>
            <a:off x="4895858" y="3198051"/>
            <a:ext cx="380506" cy="435804"/>
          </a:xfrm>
          <a:custGeom>
            <a:avLst/>
            <a:gdLst>
              <a:gd name="T0" fmla="*/ 4111 w 4722"/>
              <a:gd name="T1" fmla="*/ 3475 h 4698"/>
              <a:gd name="T2" fmla="*/ 3978 w 4722"/>
              <a:gd name="T3" fmla="*/ 3490 h 4698"/>
              <a:gd name="T4" fmla="*/ 2561 w 4722"/>
              <a:gd name="T5" fmla="*/ 2381 h 4698"/>
              <a:gd name="T6" fmla="*/ 2561 w 4722"/>
              <a:gd name="T7" fmla="*/ 1919 h 4698"/>
              <a:gd name="T8" fmla="*/ 3331 w 4722"/>
              <a:gd name="T9" fmla="*/ 970 h 4698"/>
              <a:gd name="T10" fmla="*/ 2361 w 4722"/>
              <a:gd name="T11" fmla="*/ 0 h 4698"/>
              <a:gd name="T12" fmla="*/ 1392 w 4722"/>
              <a:gd name="T13" fmla="*/ 970 h 4698"/>
              <a:gd name="T14" fmla="*/ 2161 w 4722"/>
              <a:gd name="T15" fmla="*/ 1919 h 4698"/>
              <a:gd name="T16" fmla="*/ 2161 w 4722"/>
              <a:gd name="T17" fmla="*/ 2381 h 4698"/>
              <a:gd name="T18" fmla="*/ 745 w 4722"/>
              <a:gd name="T19" fmla="*/ 3490 h 4698"/>
              <a:gd name="T20" fmla="*/ 611 w 4722"/>
              <a:gd name="T21" fmla="*/ 3475 h 4698"/>
              <a:gd name="T22" fmla="*/ 0 w 4722"/>
              <a:gd name="T23" fmla="*/ 4086 h 4698"/>
              <a:gd name="T24" fmla="*/ 611 w 4722"/>
              <a:gd name="T25" fmla="*/ 4698 h 4698"/>
              <a:gd name="T26" fmla="*/ 1223 w 4722"/>
              <a:gd name="T27" fmla="*/ 4086 h 4698"/>
              <a:gd name="T28" fmla="*/ 1100 w 4722"/>
              <a:gd name="T29" fmla="*/ 3719 h 4698"/>
              <a:gd name="T30" fmla="*/ 2161 w 4722"/>
              <a:gd name="T31" fmla="*/ 2889 h 4698"/>
              <a:gd name="T32" fmla="*/ 2161 w 4722"/>
              <a:gd name="T33" fmla="*/ 3509 h 4698"/>
              <a:gd name="T34" fmla="*/ 1751 w 4722"/>
              <a:gd name="T35" fmla="*/ 4086 h 4698"/>
              <a:gd name="T36" fmla="*/ 2363 w 4722"/>
              <a:gd name="T37" fmla="*/ 4698 h 4698"/>
              <a:gd name="T38" fmla="*/ 2974 w 4722"/>
              <a:gd name="T39" fmla="*/ 4086 h 4698"/>
              <a:gd name="T40" fmla="*/ 2561 w 4722"/>
              <a:gd name="T41" fmla="*/ 3508 h 4698"/>
              <a:gd name="T42" fmla="*/ 2561 w 4722"/>
              <a:gd name="T43" fmla="*/ 2889 h 4698"/>
              <a:gd name="T44" fmla="*/ 3622 w 4722"/>
              <a:gd name="T45" fmla="*/ 3719 h 4698"/>
              <a:gd name="T46" fmla="*/ 3499 w 4722"/>
              <a:gd name="T47" fmla="*/ 4086 h 4698"/>
              <a:gd name="T48" fmla="*/ 4111 w 4722"/>
              <a:gd name="T49" fmla="*/ 4698 h 4698"/>
              <a:gd name="T50" fmla="*/ 4722 w 4722"/>
              <a:gd name="T51" fmla="*/ 4086 h 4698"/>
              <a:gd name="T52" fmla="*/ 4111 w 4722"/>
              <a:gd name="T53" fmla="*/ 3475 h 4698"/>
              <a:gd name="T54" fmla="*/ 611 w 4722"/>
              <a:gd name="T55" fmla="*/ 4298 h 4698"/>
              <a:gd name="T56" fmla="*/ 400 w 4722"/>
              <a:gd name="T57" fmla="*/ 4086 h 4698"/>
              <a:gd name="T58" fmla="*/ 611 w 4722"/>
              <a:gd name="T59" fmla="*/ 3875 h 4698"/>
              <a:gd name="T60" fmla="*/ 823 w 4722"/>
              <a:gd name="T61" fmla="*/ 4086 h 4698"/>
              <a:gd name="T62" fmla="*/ 611 w 4722"/>
              <a:gd name="T63" fmla="*/ 4298 h 4698"/>
              <a:gd name="T64" fmla="*/ 2363 w 4722"/>
              <a:gd name="T65" fmla="*/ 4298 h 4698"/>
              <a:gd name="T66" fmla="*/ 2152 w 4722"/>
              <a:gd name="T67" fmla="*/ 4086 h 4698"/>
              <a:gd name="T68" fmla="*/ 2363 w 4722"/>
              <a:gd name="T69" fmla="*/ 3875 h 4698"/>
              <a:gd name="T70" fmla="*/ 2574 w 4722"/>
              <a:gd name="T71" fmla="*/ 4086 h 4698"/>
              <a:gd name="T72" fmla="*/ 2363 w 4722"/>
              <a:gd name="T73" fmla="*/ 4298 h 4698"/>
              <a:gd name="T74" fmla="*/ 4111 w 4722"/>
              <a:gd name="T75" fmla="*/ 4298 h 4698"/>
              <a:gd name="T76" fmla="*/ 3899 w 4722"/>
              <a:gd name="T77" fmla="*/ 4086 h 4698"/>
              <a:gd name="T78" fmla="*/ 4111 w 4722"/>
              <a:gd name="T79" fmla="*/ 3875 h 4698"/>
              <a:gd name="T80" fmla="*/ 4322 w 4722"/>
              <a:gd name="T81" fmla="*/ 4086 h 4698"/>
              <a:gd name="T82" fmla="*/ 4111 w 4722"/>
              <a:gd name="T83" fmla="*/ 4298 h 4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722" h="4698">
                <a:moveTo>
                  <a:pt x="4111" y="3475"/>
                </a:moveTo>
                <a:cubicBezTo>
                  <a:pt x="4065" y="3475"/>
                  <a:pt x="4021" y="3480"/>
                  <a:pt x="3978" y="3490"/>
                </a:cubicBezTo>
                <a:lnTo>
                  <a:pt x="2561" y="2381"/>
                </a:lnTo>
                <a:lnTo>
                  <a:pt x="2561" y="1919"/>
                </a:lnTo>
                <a:cubicBezTo>
                  <a:pt x="3000" y="1826"/>
                  <a:pt x="3331" y="1436"/>
                  <a:pt x="3331" y="970"/>
                </a:cubicBezTo>
                <a:cubicBezTo>
                  <a:pt x="3331" y="435"/>
                  <a:pt x="2896" y="0"/>
                  <a:pt x="2361" y="0"/>
                </a:cubicBezTo>
                <a:cubicBezTo>
                  <a:pt x="1827" y="0"/>
                  <a:pt x="1392" y="435"/>
                  <a:pt x="1392" y="970"/>
                </a:cubicBezTo>
                <a:cubicBezTo>
                  <a:pt x="1392" y="1436"/>
                  <a:pt x="1722" y="1826"/>
                  <a:pt x="2161" y="1919"/>
                </a:cubicBezTo>
                <a:lnTo>
                  <a:pt x="2161" y="2381"/>
                </a:lnTo>
                <a:lnTo>
                  <a:pt x="745" y="3490"/>
                </a:lnTo>
                <a:cubicBezTo>
                  <a:pt x="702" y="3480"/>
                  <a:pt x="657" y="3475"/>
                  <a:pt x="611" y="3475"/>
                </a:cubicBezTo>
                <a:cubicBezTo>
                  <a:pt x="274" y="3475"/>
                  <a:pt x="0" y="3749"/>
                  <a:pt x="0" y="4086"/>
                </a:cubicBezTo>
                <a:cubicBezTo>
                  <a:pt x="0" y="4424"/>
                  <a:pt x="274" y="4698"/>
                  <a:pt x="611" y="4698"/>
                </a:cubicBezTo>
                <a:cubicBezTo>
                  <a:pt x="949" y="4698"/>
                  <a:pt x="1223" y="4424"/>
                  <a:pt x="1223" y="4086"/>
                </a:cubicBezTo>
                <a:cubicBezTo>
                  <a:pt x="1223" y="3949"/>
                  <a:pt x="1177" y="3822"/>
                  <a:pt x="1100" y="3719"/>
                </a:cubicBezTo>
                <a:lnTo>
                  <a:pt x="2161" y="2889"/>
                </a:lnTo>
                <a:lnTo>
                  <a:pt x="2161" y="3509"/>
                </a:lnTo>
                <a:cubicBezTo>
                  <a:pt x="1923" y="3593"/>
                  <a:pt x="1751" y="3820"/>
                  <a:pt x="1751" y="4086"/>
                </a:cubicBezTo>
                <a:cubicBezTo>
                  <a:pt x="1751" y="4424"/>
                  <a:pt x="2026" y="4698"/>
                  <a:pt x="2363" y="4698"/>
                </a:cubicBezTo>
                <a:cubicBezTo>
                  <a:pt x="2700" y="4698"/>
                  <a:pt x="2974" y="4424"/>
                  <a:pt x="2974" y="4086"/>
                </a:cubicBezTo>
                <a:cubicBezTo>
                  <a:pt x="2974" y="3819"/>
                  <a:pt x="2801" y="3591"/>
                  <a:pt x="2561" y="3508"/>
                </a:cubicBezTo>
                <a:lnTo>
                  <a:pt x="2561" y="2889"/>
                </a:lnTo>
                <a:lnTo>
                  <a:pt x="3622" y="3719"/>
                </a:lnTo>
                <a:cubicBezTo>
                  <a:pt x="3545" y="3822"/>
                  <a:pt x="3499" y="3949"/>
                  <a:pt x="3499" y="4086"/>
                </a:cubicBezTo>
                <a:cubicBezTo>
                  <a:pt x="3499" y="4424"/>
                  <a:pt x="3774" y="4698"/>
                  <a:pt x="4111" y="4698"/>
                </a:cubicBezTo>
                <a:cubicBezTo>
                  <a:pt x="4448" y="4698"/>
                  <a:pt x="4722" y="4424"/>
                  <a:pt x="4722" y="4086"/>
                </a:cubicBezTo>
                <a:cubicBezTo>
                  <a:pt x="4722" y="3749"/>
                  <a:pt x="4448" y="3475"/>
                  <a:pt x="4111" y="3475"/>
                </a:cubicBezTo>
                <a:close/>
                <a:moveTo>
                  <a:pt x="611" y="4298"/>
                </a:moveTo>
                <a:cubicBezTo>
                  <a:pt x="495" y="4298"/>
                  <a:pt x="400" y="4203"/>
                  <a:pt x="400" y="4086"/>
                </a:cubicBezTo>
                <a:cubicBezTo>
                  <a:pt x="400" y="3970"/>
                  <a:pt x="495" y="3875"/>
                  <a:pt x="611" y="3875"/>
                </a:cubicBezTo>
                <a:cubicBezTo>
                  <a:pt x="728" y="3875"/>
                  <a:pt x="823" y="3970"/>
                  <a:pt x="823" y="4086"/>
                </a:cubicBezTo>
                <a:cubicBezTo>
                  <a:pt x="823" y="4203"/>
                  <a:pt x="728" y="4298"/>
                  <a:pt x="611" y="4298"/>
                </a:cubicBezTo>
                <a:close/>
                <a:moveTo>
                  <a:pt x="2363" y="4298"/>
                </a:moveTo>
                <a:cubicBezTo>
                  <a:pt x="2246" y="4298"/>
                  <a:pt x="2152" y="4203"/>
                  <a:pt x="2152" y="4086"/>
                </a:cubicBezTo>
                <a:cubicBezTo>
                  <a:pt x="2152" y="3970"/>
                  <a:pt x="2246" y="3875"/>
                  <a:pt x="2363" y="3875"/>
                </a:cubicBezTo>
                <a:cubicBezTo>
                  <a:pt x="2480" y="3875"/>
                  <a:pt x="2574" y="3970"/>
                  <a:pt x="2574" y="4086"/>
                </a:cubicBezTo>
                <a:cubicBezTo>
                  <a:pt x="2574" y="4203"/>
                  <a:pt x="2480" y="4298"/>
                  <a:pt x="2363" y="4298"/>
                </a:cubicBezTo>
                <a:close/>
                <a:moveTo>
                  <a:pt x="4111" y="4298"/>
                </a:moveTo>
                <a:cubicBezTo>
                  <a:pt x="3994" y="4298"/>
                  <a:pt x="3899" y="4203"/>
                  <a:pt x="3899" y="4086"/>
                </a:cubicBezTo>
                <a:cubicBezTo>
                  <a:pt x="3899" y="3970"/>
                  <a:pt x="3994" y="3875"/>
                  <a:pt x="4111" y="3875"/>
                </a:cubicBezTo>
                <a:cubicBezTo>
                  <a:pt x="4227" y="3875"/>
                  <a:pt x="4322" y="3970"/>
                  <a:pt x="4322" y="4086"/>
                </a:cubicBezTo>
                <a:cubicBezTo>
                  <a:pt x="4322" y="4203"/>
                  <a:pt x="4227" y="4298"/>
                  <a:pt x="4111" y="429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nvGrpSpPr>
          <p:cNvPr id="86" name="组合 85">
            <a:extLst>
              <a:ext uri="{FF2B5EF4-FFF2-40B4-BE49-F238E27FC236}">
                <a16:creationId xmlns:a16="http://schemas.microsoft.com/office/drawing/2014/main" id="{0853A8D8-448C-4E50-AD38-219140CD6184}"/>
              </a:ext>
            </a:extLst>
          </p:cNvPr>
          <p:cNvGrpSpPr/>
          <p:nvPr/>
        </p:nvGrpSpPr>
        <p:grpSpPr>
          <a:xfrm>
            <a:off x="669925" y="210537"/>
            <a:ext cx="468000" cy="468000"/>
            <a:chOff x="669925" y="48611"/>
            <a:chExt cx="468000" cy="468000"/>
          </a:xfrm>
        </p:grpSpPr>
        <p:sp>
          <p:nvSpPr>
            <p:cNvPr id="87" name="椭圆 86">
              <a:extLst>
                <a:ext uri="{FF2B5EF4-FFF2-40B4-BE49-F238E27FC236}">
                  <a16:creationId xmlns:a16="http://schemas.microsoft.com/office/drawing/2014/main" id="{18765B3C-06BD-445D-B72B-512E55DEF34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88" name="椭圆 87">
              <a:extLst>
                <a:ext uri="{FF2B5EF4-FFF2-40B4-BE49-F238E27FC236}">
                  <a16:creationId xmlns:a16="http://schemas.microsoft.com/office/drawing/2014/main" id="{A6AA7771-0E3D-4241-9DE3-825324394A29}"/>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grpSp>
      <p:sp>
        <p:nvSpPr>
          <p:cNvPr id="89" name="标题 1">
            <a:extLst>
              <a:ext uri="{FF2B5EF4-FFF2-40B4-BE49-F238E27FC236}">
                <a16:creationId xmlns:a16="http://schemas.microsoft.com/office/drawing/2014/main" id="{62930304-3D14-4FEB-B45D-709CE5948953}"/>
              </a:ext>
            </a:extLst>
          </p:cNvPr>
          <p:cNvSpPr txBox="1">
            <a:spLocks/>
          </p:cNvSpPr>
          <p:nvPr/>
        </p:nvSpPr>
        <p:spPr>
          <a:xfrm>
            <a:off x="1149782" y="198392"/>
            <a:ext cx="7347103" cy="57784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en-US" altLang="zh-CN" sz="3200" b="0" dirty="0" smtClean="0">
                <a:latin typeface="Arial" panose="020B0604020202020204" pitchFamily="34" charset="0"/>
                <a:ea typeface="Microsoft YaHei" panose="020B0503020204020204" pitchFamily="34" charset="-122"/>
                <a:cs typeface="+mn-ea"/>
                <a:sym typeface="Arial" panose="020B0604020202020204" pitchFamily="34" charset="0"/>
              </a:rPr>
              <a:t>UML</a:t>
            </a:r>
            <a:r>
              <a:rPr lang="zh-CN" altLang="en-US" sz="3200" b="0" dirty="0" smtClean="0">
                <a:latin typeface="Arial" panose="020B0604020202020204" pitchFamily="34" charset="0"/>
                <a:ea typeface="Microsoft YaHei" panose="020B0503020204020204" pitchFamily="34" charset="-122"/>
                <a:cs typeface="+mn-ea"/>
                <a:sym typeface="Arial" panose="020B0604020202020204" pitchFamily="34" charset="0"/>
              </a:rPr>
              <a:t>的分类</a:t>
            </a:r>
            <a:endParaRPr lang="zh-CN" altLang="en-US" sz="3200" b="0" dirty="0">
              <a:latin typeface="Arial" panose="020B0604020202020204" pitchFamily="34" charset="0"/>
              <a:ea typeface="Microsoft YaHei" panose="020B0503020204020204" pitchFamily="34" charset="-122"/>
              <a:cs typeface="+mn-ea"/>
              <a:sym typeface="Arial" panose="020B0604020202020204" pitchFamily="34" charset="0"/>
            </a:endParaRPr>
          </a:p>
        </p:txBody>
      </p:sp>
    </p:spTree>
    <p:extLst>
      <p:ext uri="{BB962C8B-B14F-4D97-AF65-F5344CB8AC3E}">
        <p14:creationId xmlns:p14="http://schemas.microsoft.com/office/powerpoint/2010/main" val="220765559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accent5">
            <a:lumMod val="40000"/>
            <a:lumOff val="60000"/>
          </a:schemeClr>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498764" y="365126"/>
            <a:ext cx="10855036" cy="788796"/>
          </a:xfrm>
        </p:spPr>
        <p:txBody>
          <a:bodyPr/>
          <a:lstStyle/>
          <a:p>
            <a:r>
              <a:rPr lang="zh-CN" altLang="en-US" dirty="0" smtClean="0"/>
              <a:t>区分给定图类型</a:t>
            </a:r>
            <a:endParaRPr lang="zh-CN" altLang="en-US" dirty="0"/>
          </a:p>
        </p:txBody>
      </p:sp>
      <p:grpSp>
        <p:nvGrpSpPr>
          <p:cNvPr id="3" name="173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1376220" y="6262264"/>
            <a:ext cx="9236360" cy="443344"/>
            <a:chOff x="1840351" y="5090794"/>
            <a:chExt cx="8273336" cy="295011"/>
          </a:xfrm>
        </p:grpSpPr>
        <p:sp>
          <p:nvSpPr>
            <p:cNvPr id="56" name="íṩ1íḓe">
              <a:extLst>
                <a:ext uri="{FF2B5EF4-FFF2-40B4-BE49-F238E27FC236}">
                  <a16:creationId xmlns:a16="http://schemas.microsoft.com/office/drawing/2014/main" id="{1C6C1BFF-E7C2-4827-81AF-69050E469E9F}"/>
                </a:ext>
              </a:extLst>
            </p:cNvPr>
            <p:cNvSpPr/>
            <p:nvPr/>
          </p:nvSpPr>
          <p:spPr>
            <a:xfrm>
              <a:off x="5430979" y="5090794"/>
              <a:ext cx="1381648" cy="295011"/>
            </a:xfrm>
            <a:prstGeom prst="roundRect">
              <a:avLst>
                <a:gd name="adj" fmla="val 50000"/>
              </a:avLst>
            </a:prstGeom>
            <a:solidFill>
              <a:schemeClr val="tx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92500" lnSpcReduction="20000"/>
            </a:bodyPr>
            <a:lstStyle/>
            <a:p>
              <a:pPr algn="ctr"/>
              <a:r>
                <a:rPr lang="zh-CN" altLang="en-US" b="1" dirty="0" smtClean="0">
                  <a:solidFill>
                    <a:schemeClr val="tx1">
                      <a:lumMod val="95000"/>
                      <a:lumOff val="5000"/>
                    </a:schemeClr>
                  </a:solidFill>
                </a:rPr>
                <a:t>时序图</a:t>
              </a:r>
              <a:endParaRPr b="1" dirty="0">
                <a:solidFill>
                  <a:schemeClr val="tx1">
                    <a:lumMod val="95000"/>
                    <a:lumOff val="5000"/>
                  </a:schemeClr>
                </a:solidFill>
              </a:endParaRPr>
            </a:p>
          </p:txBody>
        </p:sp>
        <p:sp>
          <p:nvSpPr>
            <p:cNvPr id="44" name="iṩḷïdê">
              <a:extLst>
                <a:ext uri="{FF2B5EF4-FFF2-40B4-BE49-F238E27FC236}">
                  <a16:creationId xmlns:a16="http://schemas.microsoft.com/office/drawing/2014/main" id="{C55DB733-344D-4620-BEE3-A5B9C912E202}"/>
                </a:ext>
              </a:extLst>
            </p:cNvPr>
            <p:cNvSpPr/>
            <p:nvPr/>
          </p:nvSpPr>
          <p:spPr>
            <a:xfrm>
              <a:off x="1840351" y="5090794"/>
              <a:ext cx="1464381" cy="270848"/>
            </a:xfrm>
            <a:prstGeom prst="roundRect">
              <a:avLst>
                <a:gd name="adj" fmla="val 50000"/>
              </a:avLst>
            </a:prstGeom>
            <a:solidFill>
              <a:schemeClr val="tx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85000" lnSpcReduction="20000"/>
            </a:bodyPr>
            <a:lstStyle/>
            <a:p>
              <a:pPr algn="ctr"/>
              <a:r>
                <a:rPr lang="zh-CN" altLang="en-US" b="1" dirty="0">
                  <a:solidFill>
                    <a:schemeClr val="tx1">
                      <a:lumMod val="95000"/>
                      <a:lumOff val="5000"/>
                    </a:schemeClr>
                  </a:solidFill>
                </a:rPr>
                <a:t>类图</a:t>
              </a:r>
              <a:endParaRPr b="1" dirty="0">
                <a:solidFill>
                  <a:schemeClr val="tx1">
                    <a:lumMod val="95000"/>
                    <a:lumOff val="5000"/>
                  </a:schemeClr>
                </a:solidFill>
              </a:endParaRPr>
            </a:p>
          </p:txBody>
        </p:sp>
        <p:sp>
          <p:nvSpPr>
            <p:cNvPr id="32" name="ï$ḻíḓè">
              <a:extLst>
                <a:ext uri="{FF2B5EF4-FFF2-40B4-BE49-F238E27FC236}">
                  <a16:creationId xmlns:a16="http://schemas.microsoft.com/office/drawing/2014/main" id="{476EEA0D-D4F5-477B-9EBE-5434844A80BD}"/>
                </a:ext>
              </a:extLst>
            </p:cNvPr>
            <p:cNvSpPr/>
            <p:nvPr/>
          </p:nvSpPr>
          <p:spPr>
            <a:xfrm>
              <a:off x="8847868" y="5090794"/>
              <a:ext cx="1265819" cy="276308"/>
            </a:xfrm>
            <a:prstGeom prst="roundRect">
              <a:avLst>
                <a:gd name="adj" fmla="val 50000"/>
              </a:avLst>
            </a:prstGeom>
            <a:solidFill>
              <a:schemeClr val="tx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85000" lnSpcReduction="20000"/>
            </a:bodyPr>
            <a:lstStyle/>
            <a:p>
              <a:pPr algn="ctr"/>
              <a:r>
                <a:rPr lang="zh-CN" altLang="en-US" b="1" dirty="0" smtClean="0">
                  <a:solidFill>
                    <a:schemeClr val="tx1">
                      <a:lumMod val="95000"/>
                      <a:lumOff val="5000"/>
                    </a:schemeClr>
                  </a:solidFill>
                </a:rPr>
                <a:t>用例图</a:t>
              </a:r>
              <a:endParaRPr b="1" dirty="0">
                <a:solidFill>
                  <a:schemeClr val="tx1">
                    <a:lumMod val="95000"/>
                    <a:lumOff val="5000"/>
                  </a:schemeClr>
                </a:solidFill>
              </a:endParaRPr>
            </a:p>
          </p:txBody>
        </p:sp>
      </p:grpSp>
      <p:pic>
        <p:nvPicPr>
          <p:cNvPr id="59" name="图片 58"/>
          <p:cNvPicPr>
            <a:picLocks noChangeAspect="1"/>
          </p:cNvPicPr>
          <p:nvPr/>
        </p:nvPicPr>
        <p:blipFill rotWithShape="1">
          <a:blip r:embed="rId4"/>
          <a:srcRect l="3340" t="1019" r="5227" b="1642"/>
          <a:stretch/>
        </p:blipFill>
        <p:spPr>
          <a:xfrm>
            <a:off x="637081" y="1004342"/>
            <a:ext cx="3215391" cy="5059180"/>
          </a:xfrm>
          <a:prstGeom prst="rect">
            <a:avLst/>
          </a:prstGeom>
        </p:spPr>
      </p:pic>
      <p:pic>
        <p:nvPicPr>
          <p:cNvPr id="7170" name="Picture 2" descr="https://raw.githubusercontent.com/wangkuiwu/android_applets/master/os/pic/binder/getService.jpg"/>
          <p:cNvPicPr>
            <a:picLocks noChangeAspect="1" noChangeArrowheads="1"/>
          </p:cNvPicPr>
          <p:nvPr/>
        </p:nvPicPr>
        <p:blipFill rotWithShape="1">
          <a:blip r:embed="rId5">
            <a:extLst>
              <a:ext uri="{28A0092B-C50C-407E-A947-70E740481C1C}">
                <a14:useLocalDpi xmlns:a14="http://schemas.microsoft.com/office/drawing/2010/main" val="0"/>
              </a:ext>
            </a:extLst>
          </a:blip>
          <a:srcRect l="3952" t="911" r="2137" b="1502"/>
          <a:stretch/>
        </p:blipFill>
        <p:spPr bwMode="auto">
          <a:xfrm>
            <a:off x="4354643" y="1019331"/>
            <a:ext cx="3447737" cy="5051685"/>
          </a:xfrm>
          <a:prstGeom prst="rect">
            <a:avLst/>
          </a:prstGeom>
          <a:noFill/>
          <a:extLst>
            <a:ext uri="{909E8E84-426E-40DD-AFC4-6F175D3DCCD1}">
              <a14:hiddenFill xmlns:a14="http://schemas.microsoft.com/office/drawing/2010/main">
                <a:solidFill>
                  <a:srgbClr val="FFFFFF"/>
                </a:solidFill>
              </a14:hiddenFill>
            </a:ext>
          </a:extLst>
        </p:spPr>
      </p:pic>
      <p:pic>
        <p:nvPicPr>
          <p:cNvPr id="7172" name="Picture 4" descr="http://images.cnblogs.com/cnblogs_com/TerryFeng/WindowsLiveWriter/UML_C16B/image_8.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05611" y="1028699"/>
            <a:ext cx="3700394" cy="50348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83727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accent5">
            <a:lumMod val="40000"/>
            <a:lumOff val="60000"/>
          </a:schemeClr>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面向对象元素之间的关系</a:t>
            </a:r>
            <a:endParaRPr lang="zh-CN" altLang="en-US" dirty="0"/>
          </a:p>
        </p:txBody>
      </p:sp>
      <p:sp>
        <p:nvSpPr>
          <p:cNvPr id="3" name="矩形 2"/>
          <p:cNvSpPr/>
          <p:nvPr/>
        </p:nvSpPr>
        <p:spPr>
          <a:xfrm>
            <a:off x="671409" y="5753845"/>
            <a:ext cx="2584875" cy="369332"/>
          </a:xfrm>
          <a:prstGeom prst="rect">
            <a:avLst/>
          </a:prstGeom>
        </p:spPr>
        <p:txBody>
          <a:bodyPr wrap="none">
            <a:spAutoFit/>
          </a:bodyPr>
          <a:lstStyle/>
          <a:p>
            <a:r>
              <a:rPr lang="zh-CN" altLang="en-US" dirty="0"/>
              <a:t>泛化</a:t>
            </a:r>
            <a:r>
              <a:rPr lang="en-US" altLang="zh-CN" dirty="0"/>
              <a:t>(Generalization)  </a:t>
            </a:r>
            <a:r>
              <a:rPr lang="en-US" altLang="zh-CN" b="1" dirty="0">
                <a:solidFill>
                  <a:srgbClr val="FF0000"/>
                </a:solidFill>
              </a:rPr>
              <a:t>is-a</a:t>
            </a:r>
            <a:endParaRPr lang="zh-CN" altLang="en-US" dirty="0"/>
          </a:p>
        </p:txBody>
      </p:sp>
      <p:sp>
        <p:nvSpPr>
          <p:cNvPr id="5" name="矩形 4"/>
          <p:cNvSpPr/>
          <p:nvPr/>
        </p:nvSpPr>
        <p:spPr>
          <a:xfrm>
            <a:off x="4727574" y="5753845"/>
            <a:ext cx="1809726" cy="369332"/>
          </a:xfrm>
          <a:prstGeom prst="rect">
            <a:avLst/>
          </a:prstGeom>
        </p:spPr>
        <p:txBody>
          <a:bodyPr wrap="none">
            <a:spAutoFit/>
          </a:bodyPr>
          <a:lstStyle/>
          <a:p>
            <a:r>
              <a:rPr lang="zh-CN" altLang="en-US" dirty="0"/>
              <a:t>实现</a:t>
            </a:r>
            <a:r>
              <a:rPr lang="en-US" altLang="zh-CN" dirty="0"/>
              <a:t>(Realization)</a:t>
            </a:r>
            <a:endParaRPr lang="zh-CN" altLang="en-US" dirty="0"/>
          </a:p>
        </p:txBody>
      </p:sp>
      <p:pic>
        <p:nvPicPr>
          <p:cNvPr id="1030" name="Picture 6" descr="https://yuml.me/de841417.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13847" y="1339875"/>
            <a:ext cx="1933575" cy="4056594"/>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s://yuml.me/b3437ac6.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56458" y="1339875"/>
            <a:ext cx="1676400" cy="4056594"/>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https://yuml.me/f8ce52c3.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27574" y="1339875"/>
            <a:ext cx="2109429" cy="4056594"/>
          </a:xfrm>
          <a:prstGeom prst="rect">
            <a:avLst/>
          </a:prstGeom>
          <a:noFill/>
          <a:extLst>
            <a:ext uri="{909E8E84-426E-40DD-AFC4-6F175D3DCCD1}">
              <a14:hiddenFill xmlns:a14="http://schemas.microsoft.com/office/drawing/2010/main">
                <a:solidFill>
                  <a:srgbClr val="FFFFFF"/>
                </a:solidFill>
              </a14:hiddenFill>
            </a:ext>
          </a:extLst>
        </p:spPr>
      </p:pic>
      <p:sp>
        <p:nvSpPr>
          <p:cNvPr id="8" name="矩形 7"/>
          <p:cNvSpPr/>
          <p:nvPr/>
        </p:nvSpPr>
        <p:spPr>
          <a:xfrm>
            <a:off x="8211764" y="5753845"/>
            <a:ext cx="2591479" cy="369332"/>
          </a:xfrm>
          <a:prstGeom prst="rect">
            <a:avLst/>
          </a:prstGeom>
        </p:spPr>
        <p:txBody>
          <a:bodyPr wrap="none">
            <a:spAutoFit/>
          </a:bodyPr>
          <a:lstStyle/>
          <a:p>
            <a:r>
              <a:rPr lang="zh-CN" altLang="en-US" dirty="0"/>
              <a:t>聚合</a:t>
            </a:r>
            <a:r>
              <a:rPr lang="en-US" altLang="zh-CN" dirty="0"/>
              <a:t>(Aggregation)   </a:t>
            </a:r>
            <a:r>
              <a:rPr lang="en-US" altLang="zh-CN" b="1" dirty="0">
                <a:solidFill>
                  <a:srgbClr val="FF0000"/>
                </a:solidFill>
              </a:rPr>
              <a:t>has-a</a:t>
            </a:r>
            <a:endParaRPr lang="zh-CN" altLang="en-US" dirty="0"/>
          </a:p>
        </p:txBody>
      </p:sp>
      <p:sp>
        <p:nvSpPr>
          <p:cNvPr id="4" name="文本框 3"/>
          <p:cNvSpPr txBox="1"/>
          <p:nvPr/>
        </p:nvSpPr>
        <p:spPr>
          <a:xfrm>
            <a:off x="9390755" y="2716040"/>
            <a:ext cx="2824976" cy="923330"/>
          </a:xfrm>
          <a:prstGeom prst="rect">
            <a:avLst/>
          </a:prstGeom>
          <a:noFill/>
        </p:spPr>
        <p:txBody>
          <a:bodyPr wrap="square" rtlCol="0">
            <a:spAutoFit/>
          </a:bodyPr>
          <a:lstStyle/>
          <a:p>
            <a:r>
              <a:rPr lang="en-US" altLang="zh-CN" b="1" dirty="0" smtClean="0">
                <a:solidFill>
                  <a:srgbClr val="008CD7"/>
                </a:solidFill>
              </a:rPr>
              <a:t>new Company</a:t>
            </a:r>
            <a:r>
              <a:rPr lang="zh-CN" altLang="en-US" b="1" dirty="0" smtClean="0">
                <a:solidFill>
                  <a:srgbClr val="008CD7"/>
                </a:solidFill>
              </a:rPr>
              <a:t>；</a:t>
            </a:r>
            <a:endParaRPr lang="en-US" altLang="zh-CN" b="1" dirty="0" smtClean="0">
              <a:solidFill>
                <a:srgbClr val="008CD7"/>
              </a:solidFill>
            </a:endParaRPr>
          </a:p>
          <a:p>
            <a:endParaRPr lang="en-US" altLang="zh-CN" b="1" dirty="0" smtClean="0">
              <a:solidFill>
                <a:srgbClr val="008CD7"/>
              </a:solidFill>
            </a:endParaRPr>
          </a:p>
          <a:p>
            <a:r>
              <a:rPr lang="en-US" altLang="zh-CN" b="1" dirty="0" err="1" smtClean="0">
                <a:solidFill>
                  <a:srgbClr val="008CD7"/>
                </a:solidFill>
              </a:rPr>
              <a:t>Company.addEmployee</a:t>
            </a:r>
            <a:r>
              <a:rPr lang="zh-CN" altLang="en-US" b="1" dirty="0" smtClean="0">
                <a:solidFill>
                  <a:srgbClr val="008CD7"/>
                </a:solidFill>
              </a:rPr>
              <a:t>；</a:t>
            </a:r>
            <a:endParaRPr lang="zh-CN" altLang="en-US" b="1" dirty="0">
              <a:solidFill>
                <a:srgbClr val="008CD7"/>
              </a:solidFill>
            </a:endParaRPr>
          </a:p>
        </p:txBody>
      </p:sp>
    </p:spTree>
    <p:extLst>
      <p:ext uri="{BB962C8B-B14F-4D97-AF65-F5344CB8AC3E}">
        <p14:creationId xmlns:p14="http://schemas.microsoft.com/office/powerpoint/2010/main" val="328997332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accent5">
            <a:lumMod val="40000"/>
            <a:lumOff val="60000"/>
          </a:schemeClr>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面向对象元素之间的关系</a:t>
            </a:r>
          </a:p>
        </p:txBody>
      </p:sp>
      <p:pic>
        <p:nvPicPr>
          <p:cNvPr id="2050" name="Picture 2" descr="https://yuml.me/ae1dc91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2048" y="1697112"/>
            <a:ext cx="2181225" cy="3990976"/>
          </a:xfrm>
          <a:prstGeom prst="rect">
            <a:avLst/>
          </a:prstGeom>
          <a:noFill/>
          <a:extLst>
            <a:ext uri="{909E8E84-426E-40DD-AFC4-6F175D3DCCD1}">
              <a14:hiddenFill xmlns:a14="http://schemas.microsoft.com/office/drawing/2010/main">
                <a:solidFill>
                  <a:srgbClr val="FFFFFF"/>
                </a:solidFill>
              </a14:hiddenFill>
            </a:ext>
          </a:extLst>
        </p:spPr>
      </p:pic>
      <p:sp>
        <p:nvSpPr>
          <p:cNvPr id="10" name="矩形 9"/>
          <p:cNvSpPr/>
          <p:nvPr/>
        </p:nvSpPr>
        <p:spPr>
          <a:xfrm>
            <a:off x="789858" y="5904407"/>
            <a:ext cx="1965603" cy="369332"/>
          </a:xfrm>
          <a:prstGeom prst="rect">
            <a:avLst/>
          </a:prstGeom>
        </p:spPr>
        <p:txBody>
          <a:bodyPr wrap="none">
            <a:spAutoFit/>
          </a:bodyPr>
          <a:lstStyle/>
          <a:p>
            <a:r>
              <a:rPr lang="zh-CN" altLang="en-US" dirty="0"/>
              <a:t>依赖</a:t>
            </a:r>
            <a:r>
              <a:rPr lang="en-US" altLang="zh-CN" dirty="0"/>
              <a:t>(Dependency)</a:t>
            </a:r>
            <a:endParaRPr lang="zh-CN" altLang="en-US" dirty="0"/>
          </a:p>
        </p:txBody>
      </p:sp>
      <p:pic>
        <p:nvPicPr>
          <p:cNvPr id="1026" name="Picture 2" descr="https://yuml.me/ed22d956.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25975" y="1697112"/>
            <a:ext cx="1933575" cy="3990976"/>
          </a:xfrm>
          <a:prstGeom prst="rect">
            <a:avLst/>
          </a:prstGeom>
          <a:noFill/>
          <a:extLst>
            <a:ext uri="{909E8E84-426E-40DD-AFC4-6F175D3DCCD1}">
              <a14:hiddenFill xmlns:a14="http://schemas.microsoft.com/office/drawing/2010/main">
                <a:solidFill>
                  <a:srgbClr val="FFFFFF"/>
                </a:solidFill>
              </a14:hiddenFill>
            </a:ext>
          </a:extLst>
        </p:spPr>
      </p:pic>
      <p:sp>
        <p:nvSpPr>
          <p:cNvPr id="3" name="矩形 2"/>
          <p:cNvSpPr/>
          <p:nvPr/>
        </p:nvSpPr>
        <p:spPr>
          <a:xfrm>
            <a:off x="4665521" y="5904407"/>
            <a:ext cx="1854482" cy="369332"/>
          </a:xfrm>
          <a:prstGeom prst="rect">
            <a:avLst/>
          </a:prstGeom>
        </p:spPr>
        <p:txBody>
          <a:bodyPr wrap="none">
            <a:spAutoFit/>
          </a:bodyPr>
          <a:lstStyle/>
          <a:p>
            <a:r>
              <a:rPr lang="zh-CN" altLang="en-US" dirty="0"/>
              <a:t>关联</a:t>
            </a:r>
            <a:r>
              <a:rPr lang="en-US" altLang="zh-CN" dirty="0"/>
              <a:t>(Association)</a:t>
            </a:r>
            <a:endParaRPr lang="zh-CN" altLang="en-US" dirty="0"/>
          </a:p>
        </p:txBody>
      </p:sp>
      <p:pic>
        <p:nvPicPr>
          <p:cNvPr id="1028" name="Picture 4" descr="https://yuml.me/91b81e33.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33715" y="1697112"/>
            <a:ext cx="2143125" cy="3990976"/>
          </a:xfrm>
          <a:prstGeom prst="rect">
            <a:avLst/>
          </a:prstGeom>
          <a:noFill/>
          <a:extLst>
            <a:ext uri="{909E8E84-426E-40DD-AFC4-6F175D3DCCD1}">
              <a14:hiddenFill xmlns:a14="http://schemas.microsoft.com/office/drawing/2010/main">
                <a:solidFill>
                  <a:srgbClr val="FFFFFF"/>
                </a:solidFill>
              </a14:hiddenFill>
            </a:ext>
          </a:extLst>
        </p:spPr>
      </p:pic>
      <p:sp>
        <p:nvSpPr>
          <p:cNvPr id="7" name="矩形 6"/>
          <p:cNvSpPr/>
          <p:nvPr/>
        </p:nvSpPr>
        <p:spPr>
          <a:xfrm>
            <a:off x="7792197" y="5904407"/>
            <a:ext cx="3069366" cy="369332"/>
          </a:xfrm>
          <a:prstGeom prst="rect">
            <a:avLst/>
          </a:prstGeom>
        </p:spPr>
        <p:txBody>
          <a:bodyPr wrap="none">
            <a:spAutoFit/>
          </a:bodyPr>
          <a:lstStyle/>
          <a:p>
            <a:r>
              <a:rPr lang="zh-CN" altLang="en-US" dirty="0"/>
              <a:t>组合</a:t>
            </a:r>
            <a:r>
              <a:rPr lang="en-US" altLang="zh-CN" dirty="0"/>
              <a:t>(Composition)  </a:t>
            </a:r>
            <a:r>
              <a:rPr lang="en-US" altLang="zh-CN" b="1" dirty="0">
                <a:solidFill>
                  <a:srgbClr val="FF0000"/>
                </a:solidFill>
              </a:rPr>
              <a:t>contains-a</a:t>
            </a:r>
            <a:endParaRPr lang="zh-CN" altLang="en-US" dirty="0"/>
          </a:p>
        </p:txBody>
      </p:sp>
      <p:sp>
        <p:nvSpPr>
          <p:cNvPr id="4" name="文本框 3"/>
          <p:cNvSpPr txBox="1"/>
          <p:nvPr/>
        </p:nvSpPr>
        <p:spPr>
          <a:xfrm>
            <a:off x="9493405" y="2990209"/>
            <a:ext cx="2698595" cy="923330"/>
          </a:xfrm>
          <a:prstGeom prst="rect">
            <a:avLst/>
          </a:prstGeom>
          <a:noFill/>
        </p:spPr>
        <p:txBody>
          <a:bodyPr wrap="square" rtlCol="0">
            <a:spAutoFit/>
          </a:bodyPr>
          <a:lstStyle/>
          <a:p>
            <a:r>
              <a:rPr lang="zh-CN" altLang="en-US" b="1" dirty="0">
                <a:solidFill>
                  <a:srgbClr val="008CD7"/>
                </a:solidFill>
              </a:rPr>
              <a:t>先</a:t>
            </a:r>
            <a:r>
              <a:rPr lang="zh-CN" altLang="en-US" b="1" dirty="0" smtClean="0">
                <a:solidFill>
                  <a:srgbClr val="008CD7"/>
                </a:solidFill>
              </a:rPr>
              <a:t>有公司再划分部门； </a:t>
            </a:r>
            <a:endParaRPr lang="en-US" altLang="zh-CN" b="1" dirty="0" smtClean="0">
              <a:solidFill>
                <a:srgbClr val="008CD7"/>
              </a:solidFill>
            </a:endParaRPr>
          </a:p>
          <a:p>
            <a:r>
              <a:rPr lang="en-US" altLang="zh-CN" b="1" dirty="0" smtClean="0">
                <a:solidFill>
                  <a:srgbClr val="008CD7"/>
                </a:solidFill>
              </a:rPr>
              <a:t>new Company </a:t>
            </a:r>
            <a:r>
              <a:rPr lang="zh-CN" altLang="en-US" b="1" dirty="0" smtClean="0">
                <a:solidFill>
                  <a:srgbClr val="008CD7"/>
                </a:solidFill>
              </a:rPr>
              <a:t>；</a:t>
            </a:r>
            <a:endParaRPr lang="en-US" altLang="zh-CN" b="1" dirty="0" smtClean="0">
              <a:solidFill>
                <a:srgbClr val="008CD7"/>
              </a:solidFill>
            </a:endParaRPr>
          </a:p>
          <a:p>
            <a:r>
              <a:rPr lang="zh-CN" altLang="en-US" b="1" dirty="0" smtClean="0">
                <a:solidFill>
                  <a:srgbClr val="008CD7"/>
                </a:solidFill>
              </a:rPr>
              <a:t>内部</a:t>
            </a:r>
            <a:r>
              <a:rPr lang="en-US" altLang="zh-CN" b="1" dirty="0" smtClean="0">
                <a:solidFill>
                  <a:srgbClr val="008CD7"/>
                </a:solidFill>
              </a:rPr>
              <a:t>new Department</a:t>
            </a:r>
            <a:r>
              <a:rPr lang="zh-CN" altLang="en-US" b="1" dirty="0" smtClean="0">
                <a:solidFill>
                  <a:srgbClr val="008CD7"/>
                </a:solidFill>
              </a:rPr>
              <a:t>；</a:t>
            </a:r>
            <a:endParaRPr lang="zh-CN" altLang="en-US" b="1" dirty="0">
              <a:solidFill>
                <a:srgbClr val="008CD7"/>
              </a:solidFill>
            </a:endParaRPr>
          </a:p>
        </p:txBody>
      </p:sp>
    </p:spTree>
    <p:extLst>
      <p:ext uri="{BB962C8B-B14F-4D97-AF65-F5344CB8AC3E}">
        <p14:creationId xmlns:p14="http://schemas.microsoft.com/office/powerpoint/2010/main" val="52543443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1" name="云形 10"/>
          <p:cNvSpPr/>
          <p:nvPr/>
        </p:nvSpPr>
        <p:spPr>
          <a:xfrm>
            <a:off x="1129990" y="2074127"/>
            <a:ext cx="1893868" cy="975846"/>
          </a:xfrm>
          <a:prstGeom prst="cloud">
            <a:avLst/>
          </a:prstGeom>
          <a:solidFill>
            <a:srgbClr val="CC33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t>需求</a:t>
            </a:r>
            <a:endParaRPr lang="zh-CN" altLang="en-US" dirty="0"/>
          </a:p>
        </p:txBody>
      </p:sp>
      <p:sp>
        <p:nvSpPr>
          <p:cNvPr id="12" name="圆角矩形 11"/>
          <p:cNvSpPr/>
          <p:nvPr/>
        </p:nvSpPr>
        <p:spPr>
          <a:xfrm>
            <a:off x="3959962" y="3780150"/>
            <a:ext cx="1709936" cy="1008112"/>
          </a:xfrm>
          <a:prstGeom prst="roundRect">
            <a:avLst/>
          </a:prstGeom>
          <a:solidFill>
            <a:srgbClr val="CC33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t>架构设计</a:t>
            </a:r>
            <a:endParaRPr lang="zh-CN" altLang="en-US" dirty="0"/>
          </a:p>
        </p:txBody>
      </p:sp>
      <p:sp>
        <p:nvSpPr>
          <p:cNvPr id="13" name="圆角矩形 12"/>
          <p:cNvSpPr/>
          <p:nvPr/>
        </p:nvSpPr>
        <p:spPr>
          <a:xfrm>
            <a:off x="7272330" y="3803940"/>
            <a:ext cx="1709936" cy="100811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t>系统开发</a:t>
            </a:r>
            <a:endParaRPr lang="zh-CN" altLang="en-US" dirty="0"/>
          </a:p>
        </p:txBody>
      </p:sp>
      <p:sp>
        <p:nvSpPr>
          <p:cNvPr id="14" name="流程图: 多文档 13"/>
          <p:cNvSpPr/>
          <p:nvPr/>
        </p:nvSpPr>
        <p:spPr>
          <a:xfrm>
            <a:off x="9288554" y="1891146"/>
            <a:ext cx="1368152" cy="1240932"/>
          </a:xfrm>
          <a:prstGeom prst="flowChartMultidocumen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t>软件系统</a:t>
            </a:r>
            <a:endParaRPr lang="zh-CN" altLang="en-US" dirty="0"/>
          </a:p>
        </p:txBody>
      </p:sp>
      <p:sp>
        <p:nvSpPr>
          <p:cNvPr id="15" name="流程图: 内部贮存 14"/>
          <p:cNvSpPr/>
          <p:nvPr/>
        </p:nvSpPr>
        <p:spPr>
          <a:xfrm>
            <a:off x="5760162" y="1781913"/>
            <a:ext cx="936104" cy="936104"/>
          </a:xfrm>
          <a:prstGeom prst="flowChartInternalStorag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t>软件架构</a:t>
            </a:r>
            <a:endParaRPr lang="zh-CN" altLang="en-US" dirty="0"/>
          </a:p>
        </p:txBody>
      </p:sp>
      <p:cxnSp>
        <p:nvCxnSpPr>
          <p:cNvPr id="16" name="曲线连接符 15"/>
          <p:cNvCxnSpPr/>
          <p:nvPr/>
        </p:nvCxnSpPr>
        <p:spPr>
          <a:xfrm rot="16200000" flipH="1">
            <a:off x="2951850" y="2916054"/>
            <a:ext cx="1008112" cy="864096"/>
          </a:xfrm>
          <a:prstGeom prst="curvedConnector3">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17" name="曲线连接符 16"/>
          <p:cNvCxnSpPr/>
          <p:nvPr/>
        </p:nvCxnSpPr>
        <p:spPr>
          <a:xfrm rot="5400000" flipH="1" flipV="1">
            <a:off x="4413838" y="2452082"/>
            <a:ext cx="1378249" cy="1133872"/>
          </a:xfrm>
          <a:prstGeom prst="curvedConnector3">
            <a:avLst>
              <a:gd name="adj1" fmla="val 100848"/>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18" name="曲线连接符 17"/>
          <p:cNvCxnSpPr/>
          <p:nvPr/>
        </p:nvCxnSpPr>
        <p:spPr>
          <a:xfrm rot="16200000" flipH="1">
            <a:off x="6480242" y="2916054"/>
            <a:ext cx="1008112" cy="720080"/>
          </a:xfrm>
          <a:prstGeom prst="curvedConnector3">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19" name="曲线连接符 18"/>
          <p:cNvCxnSpPr/>
          <p:nvPr/>
        </p:nvCxnSpPr>
        <p:spPr>
          <a:xfrm rot="5400000" flipH="1" flipV="1">
            <a:off x="8280442" y="2844046"/>
            <a:ext cx="1152128" cy="720080"/>
          </a:xfrm>
          <a:prstGeom prst="curvedConnector3">
            <a:avLst>
              <a:gd name="adj1" fmla="val 98662"/>
            </a:avLst>
          </a:prstGeom>
          <a:ln w="38100">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10724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16"/>
                                        </p:tgtEl>
                                        <p:attrNameLst>
                                          <p:attrName>style.visibility</p:attrName>
                                        </p:attrNameLst>
                                      </p:cBhvr>
                                      <p:to>
                                        <p:strVal val="visible"/>
                                      </p:to>
                                    </p:set>
                                    <p:anim calcmode="lin" valueType="num">
                                      <p:cBhvr additive="base">
                                        <p:cTn id="11" dur="500" fill="hold"/>
                                        <p:tgtEl>
                                          <p:spTgt spid="16"/>
                                        </p:tgtEl>
                                        <p:attrNameLst>
                                          <p:attrName>ppt_x</p:attrName>
                                        </p:attrNameLst>
                                      </p:cBhvr>
                                      <p:tavLst>
                                        <p:tav tm="0">
                                          <p:val>
                                            <p:strVal val="#ppt_x"/>
                                          </p:val>
                                        </p:tav>
                                        <p:tav tm="100000">
                                          <p:val>
                                            <p:strVal val="#ppt_x"/>
                                          </p:val>
                                        </p:tav>
                                      </p:tavLst>
                                    </p:anim>
                                    <p:anim calcmode="lin" valueType="num">
                                      <p:cBhvr additive="base">
                                        <p:cTn id="12" dur="500" fill="hold"/>
                                        <p:tgtEl>
                                          <p:spTgt spid="16"/>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17"/>
                                        </p:tgtEl>
                                        <p:attrNameLst>
                                          <p:attrName>style.visibility</p:attrName>
                                        </p:attrNameLst>
                                      </p:cBhvr>
                                      <p:to>
                                        <p:strVal val="visible"/>
                                      </p:to>
                                    </p:set>
                                    <p:anim calcmode="lin" valueType="num">
                                      <p:cBhvr additive="base">
                                        <p:cTn id="15" dur="500" fill="hold"/>
                                        <p:tgtEl>
                                          <p:spTgt spid="17"/>
                                        </p:tgtEl>
                                        <p:attrNameLst>
                                          <p:attrName>ppt_x</p:attrName>
                                        </p:attrNameLst>
                                      </p:cBhvr>
                                      <p:tavLst>
                                        <p:tav tm="0">
                                          <p:val>
                                            <p:strVal val="#ppt_x"/>
                                          </p:val>
                                        </p:tav>
                                        <p:tav tm="100000">
                                          <p:val>
                                            <p:strVal val="#ppt_x"/>
                                          </p:val>
                                        </p:tav>
                                      </p:tavLst>
                                    </p:anim>
                                    <p:anim calcmode="lin" valueType="num">
                                      <p:cBhvr additive="base">
                                        <p:cTn id="16" dur="500" fill="hold"/>
                                        <p:tgtEl>
                                          <p:spTgt spid="17"/>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500" fill="hold"/>
                                        <p:tgtEl>
                                          <p:spTgt spid="12"/>
                                        </p:tgtEl>
                                        <p:attrNameLst>
                                          <p:attrName>ppt_x</p:attrName>
                                        </p:attrNameLst>
                                      </p:cBhvr>
                                      <p:tavLst>
                                        <p:tav tm="0">
                                          <p:val>
                                            <p:strVal val="#ppt_x"/>
                                          </p:val>
                                        </p:tav>
                                        <p:tav tm="100000">
                                          <p:val>
                                            <p:strVal val="#ppt_x"/>
                                          </p:val>
                                        </p:tav>
                                      </p:tavLst>
                                    </p:anim>
                                    <p:anim calcmode="lin" valueType="num">
                                      <p:cBhvr additive="base">
                                        <p:cTn id="20" dur="500" fill="hold"/>
                                        <p:tgtEl>
                                          <p:spTgt spid="12"/>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18"/>
                                        </p:tgtEl>
                                        <p:attrNameLst>
                                          <p:attrName>style.visibility</p:attrName>
                                        </p:attrNameLst>
                                      </p:cBhvr>
                                      <p:to>
                                        <p:strVal val="visible"/>
                                      </p:to>
                                    </p:set>
                                    <p:anim calcmode="lin" valueType="num">
                                      <p:cBhvr additive="base">
                                        <p:cTn id="23" dur="500" fill="hold"/>
                                        <p:tgtEl>
                                          <p:spTgt spid="18"/>
                                        </p:tgtEl>
                                        <p:attrNameLst>
                                          <p:attrName>ppt_x</p:attrName>
                                        </p:attrNameLst>
                                      </p:cBhvr>
                                      <p:tavLst>
                                        <p:tav tm="0">
                                          <p:val>
                                            <p:strVal val="#ppt_x"/>
                                          </p:val>
                                        </p:tav>
                                        <p:tav tm="100000">
                                          <p:val>
                                            <p:strVal val="#ppt_x"/>
                                          </p:val>
                                        </p:tav>
                                      </p:tavLst>
                                    </p:anim>
                                    <p:anim calcmode="lin" valueType="num">
                                      <p:cBhvr additive="base">
                                        <p:cTn id="24" dur="500" fill="hold"/>
                                        <p:tgtEl>
                                          <p:spTgt spid="18"/>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19"/>
                                        </p:tgtEl>
                                        <p:attrNameLst>
                                          <p:attrName>style.visibility</p:attrName>
                                        </p:attrNameLst>
                                      </p:cBhvr>
                                      <p:to>
                                        <p:strVal val="visible"/>
                                      </p:to>
                                    </p:set>
                                    <p:anim calcmode="lin" valueType="num">
                                      <p:cBhvr additive="base">
                                        <p:cTn id="27" dur="500" fill="hold"/>
                                        <p:tgtEl>
                                          <p:spTgt spid="19"/>
                                        </p:tgtEl>
                                        <p:attrNameLst>
                                          <p:attrName>ppt_x</p:attrName>
                                        </p:attrNameLst>
                                      </p:cBhvr>
                                      <p:tavLst>
                                        <p:tav tm="0">
                                          <p:val>
                                            <p:strVal val="#ppt_x"/>
                                          </p:val>
                                        </p:tav>
                                        <p:tav tm="100000">
                                          <p:val>
                                            <p:strVal val="#ppt_x"/>
                                          </p:val>
                                        </p:tav>
                                      </p:tavLst>
                                    </p:anim>
                                    <p:anim calcmode="lin" valueType="num">
                                      <p:cBhvr additive="base">
                                        <p:cTn id="28" dur="500" fill="hold"/>
                                        <p:tgtEl>
                                          <p:spTgt spid="19"/>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4"/>
                                        </p:tgtEl>
                                        <p:attrNameLst>
                                          <p:attrName>style.visibility</p:attrName>
                                        </p:attrNameLst>
                                      </p:cBhvr>
                                      <p:to>
                                        <p:strVal val="visible"/>
                                      </p:to>
                                    </p:set>
                                    <p:anim calcmode="lin" valueType="num">
                                      <p:cBhvr additive="base">
                                        <p:cTn id="31" dur="500" fill="hold"/>
                                        <p:tgtEl>
                                          <p:spTgt spid="14"/>
                                        </p:tgtEl>
                                        <p:attrNameLst>
                                          <p:attrName>ppt_x</p:attrName>
                                        </p:attrNameLst>
                                      </p:cBhvr>
                                      <p:tavLst>
                                        <p:tav tm="0">
                                          <p:val>
                                            <p:strVal val="#ppt_x"/>
                                          </p:val>
                                        </p:tav>
                                        <p:tav tm="100000">
                                          <p:val>
                                            <p:strVal val="#ppt_x"/>
                                          </p:val>
                                        </p:tav>
                                      </p:tavLst>
                                    </p:anim>
                                    <p:anim calcmode="lin" valueType="num">
                                      <p:cBhvr additive="base">
                                        <p:cTn id="32" dur="500" fill="hold"/>
                                        <p:tgtEl>
                                          <p:spTgt spid="14"/>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 calcmode="lin" valueType="num">
                                      <p:cBhvr additive="base">
                                        <p:cTn id="35" dur="500" fill="hold"/>
                                        <p:tgtEl>
                                          <p:spTgt spid="13"/>
                                        </p:tgtEl>
                                        <p:attrNameLst>
                                          <p:attrName>ppt_x</p:attrName>
                                        </p:attrNameLst>
                                      </p:cBhvr>
                                      <p:tavLst>
                                        <p:tav tm="0">
                                          <p:val>
                                            <p:strVal val="#ppt_x"/>
                                          </p:val>
                                        </p:tav>
                                        <p:tav tm="100000">
                                          <p:val>
                                            <p:strVal val="#ppt_x"/>
                                          </p:val>
                                        </p:tav>
                                      </p:tavLst>
                                    </p:anim>
                                    <p:anim calcmode="lin" valueType="num">
                                      <p:cBhvr additive="base">
                                        <p:cTn id="36" dur="500" fill="hold"/>
                                        <p:tgtEl>
                                          <p:spTgt spid="13"/>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15"/>
                                        </p:tgtEl>
                                        <p:attrNameLst>
                                          <p:attrName>style.visibility</p:attrName>
                                        </p:attrNameLst>
                                      </p:cBhvr>
                                      <p:to>
                                        <p:strVal val="visible"/>
                                      </p:to>
                                    </p:set>
                                    <p:anim calcmode="lin" valueType="num">
                                      <p:cBhvr additive="base">
                                        <p:cTn id="39" dur="500" fill="hold"/>
                                        <p:tgtEl>
                                          <p:spTgt spid="15"/>
                                        </p:tgtEl>
                                        <p:attrNameLst>
                                          <p:attrName>ppt_x</p:attrName>
                                        </p:attrNameLst>
                                      </p:cBhvr>
                                      <p:tavLst>
                                        <p:tav tm="0">
                                          <p:val>
                                            <p:strVal val="#ppt_x"/>
                                          </p:val>
                                        </p:tav>
                                        <p:tav tm="100000">
                                          <p:val>
                                            <p:strVal val="#ppt_x"/>
                                          </p:val>
                                        </p:tav>
                                      </p:tavLst>
                                    </p:anim>
                                    <p:anim calcmode="lin" valueType="num">
                                      <p:cBhvr additive="base">
                                        <p:cTn id="40"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Lst>
  </p:timing>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84" name="201725"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1149781" y="985756"/>
            <a:ext cx="10288239" cy="5612651"/>
            <a:chOff x="1992232" y="1258472"/>
            <a:chExt cx="9233956" cy="5612651"/>
          </a:xfrm>
        </p:grpSpPr>
        <p:grpSp>
          <p:nvGrpSpPr>
            <p:cNvPr id="85" name="isḷïḍé">
              <a:extLst>
                <a:ext uri="{FF2B5EF4-FFF2-40B4-BE49-F238E27FC236}">
                  <a16:creationId xmlns:a16="http://schemas.microsoft.com/office/drawing/2014/main" id="{8ECC7E40-C6AB-466B-A9E2-5011A3DFF97A}"/>
                </a:ext>
              </a:extLst>
            </p:cNvPr>
            <p:cNvGrpSpPr/>
            <p:nvPr/>
          </p:nvGrpSpPr>
          <p:grpSpPr>
            <a:xfrm>
              <a:off x="6606078" y="1258472"/>
              <a:ext cx="4620110" cy="5612651"/>
              <a:chOff x="6606078" y="1258472"/>
              <a:chExt cx="4620110" cy="5612651"/>
            </a:xfrm>
          </p:grpSpPr>
          <p:sp>
            <p:nvSpPr>
              <p:cNvPr id="101" name="ïṣḻíḓè">
                <a:extLst>
                  <a:ext uri="{FF2B5EF4-FFF2-40B4-BE49-F238E27FC236}">
                    <a16:creationId xmlns:a16="http://schemas.microsoft.com/office/drawing/2014/main" id="{A6B1C95C-0F56-42F3-B72C-7A47E2DBDECA}"/>
                  </a:ext>
                </a:extLst>
              </p:cNvPr>
              <p:cNvSpPr/>
              <p:nvPr/>
            </p:nvSpPr>
            <p:spPr>
              <a:xfrm flipH="1">
                <a:off x="6606078" y="1258472"/>
                <a:ext cx="4620110" cy="5612651"/>
              </a:xfrm>
              <a:custGeom>
                <a:avLst/>
                <a:gdLst/>
                <a:ahLst/>
                <a:cxnLst>
                  <a:cxn ang="0">
                    <a:pos x="wd2" y="hd2"/>
                  </a:cxn>
                  <a:cxn ang="5400000">
                    <a:pos x="wd2" y="hd2"/>
                  </a:cxn>
                  <a:cxn ang="10800000">
                    <a:pos x="wd2" y="hd2"/>
                  </a:cxn>
                  <a:cxn ang="16200000">
                    <a:pos x="wd2" y="hd2"/>
                  </a:cxn>
                </a:cxnLst>
                <a:rect l="0" t="0" r="r" b="b"/>
                <a:pathLst>
                  <a:path w="21589" h="21575" extrusionOk="0">
                    <a:moveTo>
                      <a:pt x="0" y="21575"/>
                    </a:moveTo>
                    <a:cubicBezTo>
                      <a:pt x="364" y="20930"/>
                      <a:pt x="784" y="20308"/>
                      <a:pt x="1258" y="19714"/>
                    </a:cubicBezTo>
                    <a:cubicBezTo>
                      <a:pt x="1746" y="19103"/>
                      <a:pt x="2289" y="18523"/>
                      <a:pt x="2882" y="17980"/>
                    </a:cubicBezTo>
                    <a:cubicBezTo>
                      <a:pt x="3717" y="17303"/>
                      <a:pt x="4249" y="16408"/>
                      <a:pt x="4389" y="15444"/>
                    </a:cubicBezTo>
                    <a:cubicBezTo>
                      <a:pt x="4539" y="14416"/>
                      <a:pt x="4234" y="13377"/>
                      <a:pt x="3531" y="12522"/>
                    </a:cubicBezTo>
                    <a:cubicBezTo>
                      <a:pt x="3219" y="12164"/>
                      <a:pt x="2920" y="11801"/>
                      <a:pt x="2633" y="11433"/>
                    </a:cubicBezTo>
                    <a:cubicBezTo>
                      <a:pt x="2226" y="10910"/>
                      <a:pt x="1837" y="10370"/>
                      <a:pt x="1599" y="9774"/>
                    </a:cubicBezTo>
                    <a:cubicBezTo>
                      <a:pt x="1402" y="9281"/>
                      <a:pt x="1314" y="8767"/>
                      <a:pt x="1298" y="8253"/>
                    </a:cubicBezTo>
                    <a:cubicBezTo>
                      <a:pt x="1281" y="7740"/>
                      <a:pt x="1336" y="7224"/>
                      <a:pt x="1464" y="6715"/>
                    </a:cubicBezTo>
                    <a:cubicBezTo>
                      <a:pt x="1652" y="5760"/>
                      <a:pt x="2014" y="4844"/>
                      <a:pt x="2530" y="3994"/>
                    </a:cubicBezTo>
                    <a:cubicBezTo>
                      <a:pt x="3012" y="3202"/>
                      <a:pt x="3632" y="2460"/>
                      <a:pt x="4433" y="1849"/>
                    </a:cubicBezTo>
                    <a:cubicBezTo>
                      <a:pt x="5254" y="1223"/>
                      <a:pt x="6222" y="765"/>
                      <a:pt x="7250" y="459"/>
                    </a:cubicBezTo>
                    <a:cubicBezTo>
                      <a:pt x="8292" y="148"/>
                      <a:pt x="9403" y="-9"/>
                      <a:pt x="10532" y="4"/>
                    </a:cubicBezTo>
                    <a:cubicBezTo>
                      <a:pt x="11702" y="-25"/>
                      <a:pt x="12869" y="111"/>
                      <a:pt x="13984" y="408"/>
                    </a:cubicBezTo>
                    <a:cubicBezTo>
                      <a:pt x="14958" y="666"/>
                      <a:pt x="15880" y="1044"/>
                      <a:pt x="16720" y="1528"/>
                    </a:cubicBezTo>
                    <a:cubicBezTo>
                      <a:pt x="17100" y="1784"/>
                      <a:pt x="17436" y="2082"/>
                      <a:pt x="17717" y="2416"/>
                    </a:cubicBezTo>
                    <a:cubicBezTo>
                      <a:pt x="18128" y="2903"/>
                      <a:pt x="18413" y="3450"/>
                      <a:pt x="18695" y="3992"/>
                    </a:cubicBezTo>
                    <a:cubicBezTo>
                      <a:pt x="18999" y="4578"/>
                      <a:pt x="19304" y="5165"/>
                      <a:pt x="19610" y="5754"/>
                    </a:cubicBezTo>
                    <a:cubicBezTo>
                      <a:pt x="19691" y="5882"/>
                      <a:pt x="19766" y="6012"/>
                      <a:pt x="19835" y="6142"/>
                    </a:cubicBezTo>
                    <a:cubicBezTo>
                      <a:pt x="19908" y="6280"/>
                      <a:pt x="19976" y="6421"/>
                      <a:pt x="20001" y="6572"/>
                    </a:cubicBezTo>
                    <a:cubicBezTo>
                      <a:pt x="20017" y="6673"/>
                      <a:pt x="20014" y="6775"/>
                      <a:pt x="19982" y="6872"/>
                    </a:cubicBezTo>
                    <a:cubicBezTo>
                      <a:pt x="19961" y="6934"/>
                      <a:pt x="19929" y="6993"/>
                      <a:pt x="19900" y="7053"/>
                    </a:cubicBezTo>
                    <a:cubicBezTo>
                      <a:pt x="19867" y="7119"/>
                      <a:pt x="19837" y="7186"/>
                      <a:pt x="19810" y="7254"/>
                    </a:cubicBezTo>
                    <a:cubicBezTo>
                      <a:pt x="19764" y="7330"/>
                      <a:pt x="19734" y="7412"/>
                      <a:pt x="19723" y="7497"/>
                    </a:cubicBezTo>
                    <a:cubicBezTo>
                      <a:pt x="19703" y="7648"/>
                      <a:pt x="19743" y="7800"/>
                      <a:pt x="19835" y="7931"/>
                    </a:cubicBezTo>
                    <a:lnTo>
                      <a:pt x="21399" y="10537"/>
                    </a:lnTo>
                    <a:cubicBezTo>
                      <a:pt x="21476" y="10632"/>
                      <a:pt x="21530" y="10736"/>
                      <a:pt x="21561" y="10843"/>
                    </a:cubicBezTo>
                    <a:cubicBezTo>
                      <a:pt x="21589" y="10937"/>
                      <a:pt x="21600" y="11037"/>
                      <a:pt x="21577" y="11136"/>
                    </a:cubicBezTo>
                    <a:cubicBezTo>
                      <a:pt x="21555" y="11231"/>
                      <a:pt x="21501" y="11318"/>
                      <a:pt x="21415" y="11380"/>
                    </a:cubicBezTo>
                    <a:cubicBezTo>
                      <a:pt x="21345" y="11430"/>
                      <a:pt x="21259" y="11459"/>
                      <a:pt x="21172" y="11485"/>
                    </a:cubicBezTo>
                    <a:cubicBezTo>
                      <a:pt x="21046" y="11523"/>
                      <a:pt x="20917" y="11556"/>
                      <a:pt x="20784" y="11582"/>
                    </a:cubicBezTo>
                    <a:cubicBezTo>
                      <a:pt x="20630" y="11622"/>
                      <a:pt x="20484" y="11669"/>
                      <a:pt x="20344" y="11723"/>
                    </a:cubicBezTo>
                    <a:cubicBezTo>
                      <a:pt x="20226" y="11768"/>
                      <a:pt x="20104" y="11821"/>
                      <a:pt x="20027" y="11916"/>
                    </a:cubicBezTo>
                    <a:cubicBezTo>
                      <a:pt x="19923" y="12042"/>
                      <a:pt x="19931" y="12209"/>
                      <a:pt x="20045" y="12329"/>
                    </a:cubicBezTo>
                    <a:cubicBezTo>
                      <a:pt x="20121" y="12429"/>
                      <a:pt x="20195" y="12527"/>
                      <a:pt x="20268" y="12624"/>
                    </a:cubicBezTo>
                    <a:cubicBezTo>
                      <a:pt x="20356" y="12741"/>
                      <a:pt x="20450" y="12868"/>
                      <a:pt x="20434" y="13012"/>
                    </a:cubicBezTo>
                    <a:cubicBezTo>
                      <a:pt x="20420" y="13142"/>
                      <a:pt x="20324" y="13247"/>
                      <a:pt x="20212" y="13326"/>
                    </a:cubicBezTo>
                    <a:cubicBezTo>
                      <a:pt x="20103" y="13402"/>
                      <a:pt x="19973" y="13461"/>
                      <a:pt x="19826" y="13493"/>
                    </a:cubicBezTo>
                    <a:cubicBezTo>
                      <a:pt x="19925" y="13524"/>
                      <a:pt x="20013" y="13572"/>
                      <a:pt x="20086" y="13633"/>
                    </a:cubicBezTo>
                    <a:cubicBezTo>
                      <a:pt x="20178" y="13710"/>
                      <a:pt x="20247" y="13809"/>
                      <a:pt x="20252" y="13921"/>
                    </a:cubicBezTo>
                    <a:cubicBezTo>
                      <a:pt x="20254" y="13987"/>
                      <a:pt x="20235" y="14049"/>
                      <a:pt x="20202" y="14104"/>
                    </a:cubicBezTo>
                    <a:cubicBezTo>
                      <a:pt x="20172" y="14154"/>
                      <a:pt x="20131" y="14199"/>
                      <a:pt x="20081" y="14236"/>
                    </a:cubicBezTo>
                    <a:cubicBezTo>
                      <a:pt x="20018" y="14282"/>
                      <a:pt x="19943" y="14317"/>
                      <a:pt x="19858" y="14335"/>
                    </a:cubicBezTo>
                    <a:cubicBezTo>
                      <a:pt x="19769" y="14362"/>
                      <a:pt x="19695" y="14414"/>
                      <a:pt x="19648" y="14482"/>
                    </a:cubicBezTo>
                    <a:cubicBezTo>
                      <a:pt x="19593" y="14564"/>
                      <a:pt x="19582" y="14655"/>
                      <a:pt x="19586" y="14742"/>
                    </a:cubicBezTo>
                    <a:cubicBezTo>
                      <a:pt x="19592" y="14861"/>
                      <a:pt x="19629" y="14981"/>
                      <a:pt x="19700" y="15092"/>
                    </a:cubicBezTo>
                    <a:cubicBezTo>
                      <a:pt x="19735" y="15165"/>
                      <a:pt x="19760" y="15240"/>
                      <a:pt x="19775" y="15316"/>
                    </a:cubicBezTo>
                    <a:cubicBezTo>
                      <a:pt x="19790" y="15398"/>
                      <a:pt x="19794" y="15482"/>
                      <a:pt x="19791" y="15565"/>
                    </a:cubicBezTo>
                    <a:cubicBezTo>
                      <a:pt x="19785" y="15731"/>
                      <a:pt x="19752" y="15900"/>
                      <a:pt x="19655" y="16050"/>
                    </a:cubicBezTo>
                    <a:cubicBezTo>
                      <a:pt x="19548" y="16217"/>
                      <a:pt x="19375" y="16341"/>
                      <a:pt x="19189" y="16437"/>
                    </a:cubicBezTo>
                    <a:cubicBezTo>
                      <a:pt x="18985" y="16541"/>
                      <a:pt x="18758" y="16615"/>
                      <a:pt x="18515" y="16652"/>
                    </a:cubicBezTo>
                    <a:cubicBezTo>
                      <a:pt x="18131" y="16690"/>
                      <a:pt x="17745" y="16709"/>
                      <a:pt x="17358" y="16709"/>
                    </a:cubicBezTo>
                    <a:cubicBezTo>
                      <a:pt x="16902" y="16709"/>
                      <a:pt x="16446" y="16683"/>
                      <a:pt x="15994" y="16630"/>
                    </a:cubicBezTo>
                    <a:cubicBezTo>
                      <a:pt x="15539" y="16549"/>
                      <a:pt x="15065" y="16673"/>
                      <a:pt x="14746" y="16956"/>
                    </a:cubicBezTo>
                    <a:cubicBezTo>
                      <a:pt x="14583" y="17101"/>
                      <a:pt x="14471" y="17281"/>
                      <a:pt x="14423" y="17477"/>
                    </a:cubicBezTo>
                    <a:cubicBezTo>
                      <a:pt x="14339" y="17913"/>
                      <a:pt x="14197" y="18340"/>
                      <a:pt x="14000" y="18750"/>
                    </a:cubicBezTo>
                    <a:cubicBezTo>
                      <a:pt x="13813" y="19138"/>
                      <a:pt x="13579" y="19509"/>
                      <a:pt x="13300" y="19856"/>
                    </a:cubicBezTo>
                    <a:cubicBezTo>
                      <a:pt x="13040" y="20107"/>
                      <a:pt x="12910" y="20435"/>
                      <a:pt x="12940" y="20766"/>
                    </a:cubicBezTo>
                    <a:cubicBezTo>
                      <a:pt x="12953" y="20918"/>
                      <a:pt x="13000" y="21065"/>
                      <a:pt x="13065" y="21205"/>
                    </a:cubicBezTo>
                    <a:cubicBezTo>
                      <a:pt x="13123" y="21333"/>
                      <a:pt x="13197" y="21456"/>
                      <a:pt x="13285" y="21574"/>
                    </a:cubicBezTo>
                    <a:lnTo>
                      <a:pt x="0" y="21575"/>
                    </a:lnTo>
                    <a:close/>
                  </a:path>
                </a:pathLst>
              </a:custGeom>
              <a:solidFill>
                <a:schemeClr val="bg2"/>
              </a:solidFill>
              <a:ln w="6350" cmpd="sng">
                <a:noFill/>
                <a:prstDash val="dash"/>
                <a:miter lim="400000"/>
              </a:ln>
            </p:spPr>
            <p:txBody>
              <a:bodyPr lIns="0" tIns="0" rIns="0" bIns="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sz="3200"/>
                </a:pPr>
                <a:endParaRPr/>
              </a:p>
            </p:txBody>
          </p:sp>
          <p:sp>
            <p:nvSpPr>
              <p:cNvPr id="102" name="iṧļïḑe">
                <a:extLst>
                  <a:ext uri="{FF2B5EF4-FFF2-40B4-BE49-F238E27FC236}">
                    <a16:creationId xmlns:a16="http://schemas.microsoft.com/office/drawing/2014/main" id="{DA06BEA2-95ED-4515-A253-8BA270990ED0}"/>
                  </a:ext>
                </a:extLst>
              </p:cNvPr>
              <p:cNvSpPr/>
              <p:nvPr/>
            </p:nvSpPr>
            <p:spPr>
              <a:xfrm>
                <a:off x="8041050" y="2337857"/>
                <a:ext cx="1803031" cy="1803031"/>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03" name="íṣlïḑé">
                <a:extLst>
                  <a:ext uri="{FF2B5EF4-FFF2-40B4-BE49-F238E27FC236}">
                    <a16:creationId xmlns:a16="http://schemas.microsoft.com/office/drawing/2014/main" id="{59D1204A-D0F5-4E47-826E-92132C6F81BA}"/>
                  </a:ext>
                </a:extLst>
              </p:cNvPr>
              <p:cNvSpPr/>
              <p:nvPr/>
            </p:nvSpPr>
            <p:spPr bwMode="auto">
              <a:xfrm>
                <a:off x="8559022" y="2857655"/>
                <a:ext cx="789664" cy="788275"/>
              </a:xfrm>
              <a:custGeom>
                <a:avLst/>
                <a:gdLst>
                  <a:gd name="connsiteX0" fmla="*/ 369587 w 602135"/>
                  <a:gd name="connsiteY0" fmla="*/ 480903 h 601076"/>
                  <a:gd name="connsiteX1" fmla="*/ 385923 w 602135"/>
                  <a:gd name="connsiteY1" fmla="*/ 497207 h 601076"/>
                  <a:gd name="connsiteX2" fmla="*/ 385923 w 602135"/>
                  <a:gd name="connsiteY2" fmla="*/ 584773 h 601076"/>
                  <a:gd name="connsiteX3" fmla="*/ 369587 w 602135"/>
                  <a:gd name="connsiteY3" fmla="*/ 601076 h 601076"/>
                  <a:gd name="connsiteX4" fmla="*/ 353251 w 602135"/>
                  <a:gd name="connsiteY4" fmla="*/ 584773 h 601076"/>
                  <a:gd name="connsiteX5" fmla="*/ 353251 w 602135"/>
                  <a:gd name="connsiteY5" fmla="*/ 497207 h 601076"/>
                  <a:gd name="connsiteX6" fmla="*/ 369587 w 602135"/>
                  <a:gd name="connsiteY6" fmla="*/ 480903 h 601076"/>
                  <a:gd name="connsiteX7" fmla="*/ 301068 w 602135"/>
                  <a:gd name="connsiteY7" fmla="*/ 480903 h 601076"/>
                  <a:gd name="connsiteX8" fmla="*/ 317404 w 602135"/>
                  <a:gd name="connsiteY8" fmla="*/ 497207 h 601076"/>
                  <a:gd name="connsiteX9" fmla="*/ 317404 w 602135"/>
                  <a:gd name="connsiteY9" fmla="*/ 584773 h 601076"/>
                  <a:gd name="connsiteX10" fmla="*/ 301068 w 602135"/>
                  <a:gd name="connsiteY10" fmla="*/ 601076 h 601076"/>
                  <a:gd name="connsiteX11" fmla="*/ 284732 w 602135"/>
                  <a:gd name="connsiteY11" fmla="*/ 584773 h 601076"/>
                  <a:gd name="connsiteX12" fmla="*/ 284732 w 602135"/>
                  <a:gd name="connsiteY12" fmla="*/ 497207 h 601076"/>
                  <a:gd name="connsiteX13" fmla="*/ 301068 w 602135"/>
                  <a:gd name="connsiteY13" fmla="*/ 480903 h 601076"/>
                  <a:gd name="connsiteX14" fmla="*/ 232593 w 602135"/>
                  <a:gd name="connsiteY14" fmla="*/ 480903 h 601076"/>
                  <a:gd name="connsiteX15" fmla="*/ 249167 w 602135"/>
                  <a:gd name="connsiteY15" fmla="*/ 497207 h 601076"/>
                  <a:gd name="connsiteX16" fmla="*/ 249167 w 602135"/>
                  <a:gd name="connsiteY16" fmla="*/ 584773 h 601076"/>
                  <a:gd name="connsiteX17" fmla="*/ 232593 w 602135"/>
                  <a:gd name="connsiteY17" fmla="*/ 601076 h 601076"/>
                  <a:gd name="connsiteX18" fmla="*/ 216283 w 602135"/>
                  <a:gd name="connsiteY18" fmla="*/ 584773 h 601076"/>
                  <a:gd name="connsiteX19" fmla="*/ 216283 w 602135"/>
                  <a:gd name="connsiteY19" fmla="*/ 497207 h 601076"/>
                  <a:gd name="connsiteX20" fmla="*/ 232593 w 602135"/>
                  <a:gd name="connsiteY20" fmla="*/ 480903 h 601076"/>
                  <a:gd name="connsiteX21" fmla="*/ 498082 w 602135"/>
                  <a:gd name="connsiteY21" fmla="*/ 352615 h 601076"/>
                  <a:gd name="connsiteX22" fmla="*/ 585803 w 602135"/>
                  <a:gd name="connsiteY22" fmla="*/ 352615 h 601076"/>
                  <a:gd name="connsiteX23" fmla="*/ 602135 w 602135"/>
                  <a:gd name="connsiteY23" fmla="*/ 368915 h 601076"/>
                  <a:gd name="connsiteX24" fmla="*/ 585803 w 602135"/>
                  <a:gd name="connsiteY24" fmla="*/ 385216 h 601076"/>
                  <a:gd name="connsiteX25" fmla="*/ 498082 w 602135"/>
                  <a:gd name="connsiteY25" fmla="*/ 385216 h 601076"/>
                  <a:gd name="connsiteX26" fmla="*/ 481750 w 602135"/>
                  <a:gd name="connsiteY26" fmla="*/ 368915 h 601076"/>
                  <a:gd name="connsiteX27" fmla="*/ 498082 w 602135"/>
                  <a:gd name="connsiteY27" fmla="*/ 352615 h 601076"/>
                  <a:gd name="connsiteX28" fmla="*/ 16332 w 602135"/>
                  <a:gd name="connsiteY28" fmla="*/ 352615 h 601076"/>
                  <a:gd name="connsiteX29" fmla="*/ 104053 w 602135"/>
                  <a:gd name="connsiteY29" fmla="*/ 352615 h 601076"/>
                  <a:gd name="connsiteX30" fmla="*/ 120385 w 602135"/>
                  <a:gd name="connsiteY30" fmla="*/ 368915 h 601076"/>
                  <a:gd name="connsiteX31" fmla="*/ 104053 w 602135"/>
                  <a:gd name="connsiteY31" fmla="*/ 385216 h 601076"/>
                  <a:gd name="connsiteX32" fmla="*/ 16332 w 602135"/>
                  <a:gd name="connsiteY32" fmla="*/ 385216 h 601076"/>
                  <a:gd name="connsiteX33" fmla="*/ 0 w 602135"/>
                  <a:gd name="connsiteY33" fmla="*/ 368915 h 601076"/>
                  <a:gd name="connsiteX34" fmla="*/ 16332 w 602135"/>
                  <a:gd name="connsiteY34" fmla="*/ 352615 h 601076"/>
                  <a:gd name="connsiteX35" fmla="*/ 498082 w 602135"/>
                  <a:gd name="connsiteY35" fmla="*/ 284237 h 601076"/>
                  <a:gd name="connsiteX36" fmla="*/ 585803 w 602135"/>
                  <a:gd name="connsiteY36" fmla="*/ 284237 h 601076"/>
                  <a:gd name="connsiteX37" fmla="*/ 602135 w 602135"/>
                  <a:gd name="connsiteY37" fmla="*/ 300537 h 601076"/>
                  <a:gd name="connsiteX38" fmla="*/ 585803 w 602135"/>
                  <a:gd name="connsiteY38" fmla="*/ 316838 h 601076"/>
                  <a:gd name="connsiteX39" fmla="*/ 498082 w 602135"/>
                  <a:gd name="connsiteY39" fmla="*/ 316838 h 601076"/>
                  <a:gd name="connsiteX40" fmla="*/ 481750 w 602135"/>
                  <a:gd name="connsiteY40" fmla="*/ 300537 h 601076"/>
                  <a:gd name="connsiteX41" fmla="*/ 498082 w 602135"/>
                  <a:gd name="connsiteY41" fmla="*/ 284237 h 601076"/>
                  <a:gd name="connsiteX42" fmla="*/ 16332 w 602135"/>
                  <a:gd name="connsiteY42" fmla="*/ 284237 h 601076"/>
                  <a:gd name="connsiteX43" fmla="*/ 104053 w 602135"/>
                  <a:gd name="connsiteY43" fmla="*/ 284237 h 601076"/>
                  <a:gd name="connsiteX44" fmla="*/ 120385 w 602135"/>
                  <a:gd name="connsiteY44" fmla="*/ 300537 h 601076"/>
                  <a:gd name="connsiteX45" fmla="*/ 104053 w 602135"/>
                  <a:gd name="connsiteY45" fmla="*/ 316838 h 601076"/>
                  <a:gd name="connsiteX46" fmla="*/ 16332 w 602135"/>
                  <a:gd name="connsiteY46" fmla="*/ 316838 h 601076"/>
                  <a:gd name="connsiteX47" fmla="*/ 0 w 602135"/>
                  <a:gd name="connsiteY47" fmla="*/ 300537 h 601076"/>
                  <a:gd name="connsiteX48" fmla="*/ 16332 w 602135"/>
                  <a:gd name="connsiteY48" fmla="*/ 284237 h 601076"/>
                  <a:gd name="connsiteX49" fmla="*/ 498082 w 602135"/>
                  <a:gd name="connsiteY49" fmla="*/ 215860 h 601076"/>
                  <a:gd name="connsiteX50" fmla="*/ 585803 w 602135"/>
                  <a:gd name="connsiteY50" fmla="*/ 215860 h 601076"/>
                  <a:gd name="connsiteX51" fmla="*/ 602135 w 602135"/>
                  <a:gd name="connsiteY51" fmla="*/ 232170 h 601076"/>
                  <a:gd name="connsiteX52" fmla="*/ 585803 w 602135"/>
                  <a:gd name="connsiteY52" fmla="*/ 248743 h 601076"/>
                  <a:gd name="connsiteX53" fmla="*/ 498082 w 602135"/>
                  <a:gd name="connsiteY53" fmla="*/ 248743 h 601076"/>
                  <a:gd name="connsiteX54" fmla="*/ 481750 w 602135"/>
                  <a:gd name="connsiteY54" fmla="*/ 232170 h 601076"/>
                  <a:gd name="connsiteX55" fmla="*/ 498082 w 602135"/>
                  <a:gd name="connsiteY55" fmla="*/ 215860 h 601076"/>
                  <a:gd name="connsiteX56" fmla="*/ 16332 w 602135"/>
                  <a:gd name="connsiteY56" fmla="*/ 215860 h 601076"/>
                  <a:gd name="connsiteX57" fmla="*/ 104053 w 602135"/>
                  <a:gd name="connsiteY57" fmla="*/ 215860 h 601076"/>
                  <a:gd name="connsiteX58" fmla="*/ 120385 w 602135"/>
                  <a:gd name="connsiteY58" fmla="*/ 232170 h 601076"/>
                  <a:gd name="connsiteX59" fmla="*/ 104053 w 602135"/>
                  <a:gd name="connsiteY59" fmla="*/ 248743 h 601076"/>
                  <a:gd name="connsiteX60" fmla="*/ 16332 w 602135"/>
                  <a:gd name="connsiteY60" fmla="*/ 248743 h 601076"/>
                  <a:gd name="connsiteX61" fmla="*/ 0 w 602135"/>
                  <a:gd name="connsiteY61" fmla="*/ 232170 h 601076"/>
                  <a:gd name="connsiteX62" fmla="*/ 16332 w 602135"/>
                  <a:gd name="connsiteY62" fmla="*/ 215860 h 601076"/>
                  <a:gd name="connsiteX63" fmla="*/ 158832 w 602135"/>
                  <a:gd name="connsiteY63" fmla="*/ 136756 h 601076"/>
                  <a:gd name="connsiteX64" fmla="*/ 443586 w 602135"/>
                  <a:gd name="connsiteY64" fmla="*/ 136756 h 601076"/>
                  <a:gd name="connsiteX65" fmla="*/ 465450 w 602135"/>
                  <a:gd name="connsiteY65" fmla="*/ 158577 h 601076"/>
                  <a:gd name="connsiteX66" fmla="*/ 465450 w 602135"/>
                  <a:gd name="connsiteY66" fmla="*/ 442781 h 601076"/>
                  <a:gd name="connsiteX67" fmla="*/ 443586 w 602135"/>
                  <a:gd name="connsiteY67" fmla="*/ 464603 h 601076"/>
                  <a:gd name="connsiteX68" fmla="*/ 158832 w 602135"/>
                  <a:gd name="connsiteY68" fmla="*/ 464603 h 601076"/>
                  <a:gd name="connsiteX69" fmla="*/ 136968 w 602135"/>
                  <a:gd name="connsiteY69" fmla="*/ 442781 h 601076"/>
                  <a:gd name="connsiteX70" fmla="*/ 136968 w 602135"/>
                  <a:gd name="connsiteY70" fmla="*/ 158577 h 601076"/>
                  <a:gd name="connsiteX71" fmla="*/ 158832 w 602135"/>
                  <a:gd name="connsiteY71" fmla="*/ 136756 h 601076"/>
                  <a:gd name="connsiteX72" fmla="*/ 369587 w 602135"/>
                  <a:gd name="connsiteY72" fmla="*/ 0 h 601076"/>
                  <a:gd name="connsiteX73" fmla="*/ 385923 w 602135"/>
                  <a:gd name="connsiteY73" fmla="*/ 16303 h 601076"/>
                  <a:gd name="connsiteX74" fmla="*/ 385923 w 602135"/>
                  <a:gd name="connsiteY74" fmla="*/ 103869 h 601076"/>
                  <a:gd name="connsiteX75" fmla="*/ 369587 w 602135"/>
                  <a:gd name="connsiteY75" fmla="*/ 120173 h 601076"/>
                  <a:gd name="connsiteX76" fmla="*/ 353251 w 602135"/>
                  <a:gd name="connsiteY76" fmla="*/ 103869 h 601076"/>
                  <a:gd name="connsiteX77" fmla="*/ 353251 w 602135"/>
                  <a:gd name="connsiteY77" fmla="*/ 16303 h 601076"/>
                  <a:gd name="connsiteX78" fmla="*/ 369587 w 602135"/>
                  <a:gd name="connsiteY78" fmla="*/ 0 h 601076"/>
                  <a:gd name="connsiteX79" fmla="*/ 301068 w 602135"/>
                  <a:gd name="connsiteY79" fmla="*/ 0 h 601076"/>
                  <a:gd name="connsiteX80" fmla="*/ 317404 w 602135"/>
                  <a:gd name="connsiteY80" fmla="*/ 16303 h 601076"/>
                  <a:gd name="connsiteX81" fmla="*/ 317404 w 602135"/>
                  <a:gd name="connsiteY81" fmla="*/ 103869 h 601076"/>
                  <a:gd name="connsiteX82" fmla="*/ 301068 w 602135"/>
                  <a:gd name="connsiteY82" fmla="*/ 120173 h 601076"/>
                  <a:gd name="connsiteX83" fmla="*/ 284732 w 602135"/>
                  <a:gd name="connsiteY83" fmla="*/ 103869 h 601076"/>
                  <a:gd name="connsiteX84" fmla="*/ 284732 w 602135"/>
                  <a:gd name="connsiteY84" fmla="*/ 16303 h 601076"/>
                  <a:gd name="connsiteX85" fmla="*/ 301068 w 602135"/>
                  <a:gd name="connsiteY85" fmla="*/ 0 h 601076"/>
                  <a:gd name="connsiteX86" fmla="*/ 232593 w 602135"/>
                  <a:gd name="connsiteY86" fmla="*/ 0 h 601076"/>
                  <a:gd name="connsiteX87" fmla="*/ 249167 w 602135"/>
                  <a:gd name="connsiteY87" fmla="*/ 16303 h 601076"/>
                  <a:gd name="connsiteX88" fmla="*/ 249167 w 602135"/>
                  <a:gd name="connsiteY88" fmla="*/ 103869 h 601076"/>
                  <a:gd name="connsiteX89" fmla="*/ 232593 w 602135"/>
                  <a:gd name="connsiteY89" fmla="*/ 120173 h 601076"/>
                  <a:gd name="connsiteX90" fmla="*/ 216283 w 602135"/>
                  <a:gd name="connsiteY90" fmla="*/ 103869 h 601076"/>
                  <a:gd name="connsiteX91" fmla="*/ 216283 w 602135"/>
                  <a:gd name="connsiteY91" fmla="*/ 16303 h 601076"/>
                  <a:gd name="connsiteX92" fmla="*/ 232593 w 602135"/>
                  <a:gd name="connsiteY92" fmla="*/ 0 h 601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602135" h="601076">
                    <a:moveTo>
                      <a:pt x="369587" y="480903"/>
                    </a:moveTo>
                    <a:cubicBezTo>
                      <a:pt x="378545" y="480903"/>
                      <a:pt x="385923" y="488266"/>
                      <a:pt x="385923" y="497207"/>
                    </a:cubicBezTo>
                    <a:lnTo>
                      <a:pt x="385923" y="584773"/>
                    </a:lnTo>
                    <a:cubicBezTo>
                      <a:pt x="385923" y="593713"/>
                      <a:pt x="378545" y="601076"/>
                      <a:pt x="369587" y="601076"/>
                    </a:cubicBezTo>
                    <a:cubicBezTo>
                      <a:pt x="360629" y="601076"/>
                      <a:pt x="353251" y="593713"/>
                      <a:pt x="353251" y="584773"/>
                    </a:cubicBezTo>
                    <a:lnTo>
                      <a:pt x="353251" y="497207"/>
                    </a:lnTo>
                    <a:cubicBezTo>
                      <a:pt x="353251" y="488266"/>
                      <a:pt x="360629" y="480903"/>
                      <a:pt x="369587" y="480903"/>
                    </a:cubicBezTo>
                    <a:close/>
                    <a:moveTo>
                      <a:pt x="301068" y="480903"/>
                    </a:moveTo>
                    <a:cubicBezTo>
                      <a:pt x="310290" y="480903"/>
                      <a:pt x="317404" y="488266"/>
                      <a:pt x="317404" y="497207"/>
                    </a:cubicBezTo>
                    <a:lnTo>
                      <a:pt x="317404" y="584773"/>
                    </a:lnTo>
                    <a:cubicBezTo>
                      <a:pt x="317404" y="593713"/>
                      <a:pt x="310290" y="601076"/>
                      <a:pt x="301068" y="601076"/>
                    </a:cubicBezTo>
                    <a:cubicBezTo>
                      <a:pt x="292110" y="601076"/>
                      <a:pt x="284732" y="593713"/>
                      <a:pt x="284732" y="584773"/>
                    </a:cubicBezTo>
                    <a:lnTo>
                      <a:pt x="284732" y="497207"/>
                    </a:lnTo>
                    <a:cubicBezTo>
                      <a:pt x="284732" y="488266"/>
                      <a:pt x="292110" y="480903"/>
                      <a:pt x="301068" y="480903"/>
                    </a:cubicBezTo>
                    <a:close/>
                    <a:moveTo>
                      <a:pt x="232593" y="480903"/>
                    </a:moveTo>
                    <a:cubicBezTo>
                      <a:pt x="241801" y="480903"/>
                      <a:pt x="249167" y="488266"/>
                      <a:pt x="249167" y="497207"/>
                    </a:cubicBezTo>
                    <a:lnTo>
                      <a:pt x="249167" y="584773"/>
                    </a:lnTo>
                    <a:cubicBezTo>
                      <a:pt x="249167" y="593713"/>
                      <a:pt x="241801" y="601076"/>
                      <a:pt x="232593" y="601076"/>
                    </a:cubicBezTo>
                    <a:cubicBezTo>
                      <a:pt x="223649" y="601076"/>
                      <a:pt x="216283" y="593713"/>
                      <a:pt x="216283" y="584773"/>
                    </a:cubicBezTo>
                    <a:lnTo>
                      <a:pt x="216283" y="497207"/>
                    </a:lnTo>
                    <a:cubicBezTo>
                      <a:pt x="216283" y="488266"/>
                      <a:pt x="223649" y="480903"/>
                      <a:pt x="232593" y="480903"/>
                    </a:cubicBezTo>
                    <a:close/>
                    <a:moveTo>
                      <a:pt x="498082" y="352615"/>
                    </a:moveTo>
                    <a:lnTo>
                      <a:pt x="585803" y="352615"/>
                    </a:lnTo>
                    <a:cubicBezTo>
                      <a:pt x="594759" y="352615"/>
                      <a:pt x="602135" y="359976"/>
                      <a:pt x="602135" y="368915"/>
                    </a:cubicBezTo>
                    <a:cubicBezTo>
                      <a:pt x="602135" y="377854"/>
                      <a:pt x="594759" y="385216"/>
                      <a:pt x="585803" y="385216"/>
                    </a:cubicBezTo>
                    <a:lnTo>
                      <a:pt x="498082" y="385216"/>
                    </a:lnTo>
                    <a:cubicBezTo>
                      <a:pt x="489126" y="385216"/>
                      <a:pt x="481750" y="377854"/>
                      <a:pt x="481750" y="368915"/>
                    </a:cubicBezTo>
                    <a:cubicBezTo>
                      <a:pt x="481750" y="359976"/>
                      <a:pt x="489126" y="352615"/>
                      <a:pt x="498082" y="352615"/>
                    </a:cubicBezTo>
                    <a:close/>
                    <a:moveTo>
                      <a:pt x="16332" y="352615"/>
                    </a:moveTo>
                    <a:lnTo>
                      <a:pt x="104053" y="352615"/>
                    </a:lnTo>
                    <a:cubicBezTo>
                      <a:pt x="113009" y="352615"/>
                      <a:pt x="120385" y="359976"/>
                      <a:pt x="120385" y="368915"/>
                    </a:cubicBezTo>
                    <a:cubicBezTo>
                      <a:pt x="120385" y="377854"/>
                      <a:pt x="113009" y="385216"/>
                      <a:pt x="104053" y="385216"/>
                    </a:cubicBezTo>
                    <a:lnTo>
                      <a:pt x="16332" y="385216"/>
                    </a:lnTo>
                    <a:cubicBezTo>
                      <a:pt x="7376" y="385216"/>
                      <a:pt x="0" y="377854"/>
                      <a:pt x="0" y="368915"/>
                    </a:cubicBezTo>
                    <a:cubicBezTo>
                      <a:pt x="0" y="359976"/>
                      <a:pt x="7376" y="352615"/>
                      <a:pt x="16332" y="352615"/>
                    </a:cubicBezTo>
                    <a:close/>
                    <a:moveTo>
                      <a:pt x="498082" y="284237"/>
                    </a:moveTo>
                    <a:lnTo>
                      <a:pt x="585803" y="284237"/>
                    </a:lnTo>
                    <a:cubicBezTo>
                      <a:pt x="594759" y="284237"/>
                      <a:pt x="602135" y="291598"/>
                      <a:pt x="602135" y="300537"/>
                    </a:cubicBezTo>
                    <a:cubicBezTo>
                      <a:pt x="602135" y="309739"/>
                      <a:pt x="594759" y="316838"/>
                      <a:pt x="585803" y="316838"/>
                    </a:cubicBezTo>
                    <a:lnTo>
                      <a:pt x="498082" y="316838"/>
                    </a:lnTo>
                    <a:cubicBezTo>
                      <a:pt x="489126" y="316838"/>
                      <a:pt x="481750" y="309739"/>
                      <a:pt x="481750" y="300537"/>
                    </a:cubicBezTo>
                    <a:cubicBezTo>
                      <a:pt x="481750" y="291598"/>
                      <a:pt x="489126" y="284237"/>
                      <a:pt x="498082" y="284237"/>
                    </a:cubicBezTo>
                    <a:close/>
                    <a:moveTo>
                      <a:pt x="16332" y="284237"/>
                    </a:moveTo>
                    <a:lnTo>
                      <a:pt x="104053" y="284237"/>
                    </a:lnTo>
                    <a:cubicBezTo>
                      <a:pt x="113009" y="284237"/>
                      <a:pt x="120385" y="291598"/>
                      <a:pt x="120385" y="300537"/>
                    </a:cubicBezTo>
                    <a:cubicBezTo>
                      <a:pt x="120385" y="309739"/>
                      <a:pt x="113009" y="316838"/>
                      <a:pt x="104053" y="316838"/>
                    </a:cubicBezTo>
                    <a:lnTo>
                      <a:pt x="16332" y="316838"/>
                    </a:lnTo>
                    <a:cubicBezTo>
                      <a:pt x="7376" y="316838"/>
                      <a:pt x="0" y="309739"/>
                      <a:pt x="0" y="300537"/>
                    </a:cubicBezTo>
                    <a:cubicBezTo>
                      <a:pt x="0" y="291598"/>
                      <a:pt x="7376" y="284237"/>
                      <a:pt x="16332" y="284237"/>
                    </a:cubicBezTo>
                    <a:close/>
                    <a:moveTo>
                      <a:pt x="498082" y="215860"/>
                    </a:moveTo>
                    <a:lnTo>
                      <a:pt x="585803" y="215860"/>
                    </a:lnTo>
                    <a:cubicBezTo>
                      <a:pt x="594759" y="215860"/>
                      <a:pt x="602135" y="223226"/>
                      <a:pt x="602135" y="232170"/>
                    </a:cubicBezTo>
                    <a:cubicBezTo>
                      <a:pt x="602135" y="241377"/>
                      <a:pt x="594759" y="248743"/>
                      <a:pt x="585803" y="248743"/>
                    </a:cubicBezTo>
                    <a:lnTo>
                      <a:pt x="498082" y="248743"/>
                    </a:lnTo>
                    <a:cubicBezTo>
                      <a:pt x="489126" y="248743"/>
                      <a:pt x="481750" y="241377"/>
                      <a:pt x="481750" y="232170"/>
                    </a:cubicBezTo>
                    <a:cubicBezTo>
                      <a:pt x="481750" y="223226"/>
                      <a:pt x="489126" y="215860"/>
                      <a:pt x="498082" y="215860"/>
                    </a:cubicBezTo>
                    <a:close/>
                    <a:moveTo>
                      <a:pt x="16332" y="215860"/>
                    </a:moveTo>
                    <a:lnTo>
                      <a:pt x="104053" y="215860"/>
                    </a:lnTo>
                    <a:cubicBezTo>
                      <a:pt x="113009" y="215860"/>
                      <a:pt x="120385" y="223226"/>
                      <a:pt x="120385" y="232170"/>
                    </a:cubicBezTo>
                    <a:cubicBezTo>
                      <a:pt x="120385" y="241377"/>
                      <a:pt x="113009" y="248743"/>
                      <a:pt x="104053" y="248743"/>
                    </a:cubicBezTo>
                    <a:lnTo>
                      <a:pt x="16332" y="248743"/>
                    </a:lnTo>
                    <a:cubicBezTo>
                      <a:pt x="7376" y="248743"/>
                      <a:pt x="0" y="241377"/>
                      <a:pt x="0" y="232170"/>
                    </a:cubicBezTo>
                    <a:cubicBezTo>
                      <a:pt x="0" y="223226"/>
                      <a:pt x="7376" y="215860"/>
                      <a:pt x="16332" y="215860"/>
                    </a:cubicBezTo>
                    <a:close/>
                    <a:moveTo>
                      <a:pt x="158832" y="136756"/>
                    </a:moveTo>
                    <a:lnTo>
                      <a:pt x="443586" y="136756"/>
                    </a:lnTo>
                    <a:cubicBezTo>
                      <a:pt x="455440" y="136756"/>
                      <a:pt x="465450" y="146483"/>
                      <a:pt x="465450" y="158577"/>
                    </a:cubicBezTo>
                    <a:lnTo>
                      <a:pt x="465450" y="442781"/>
                    </a:lnTo>
                    <a:cubicBezTo>
                      <a:pt x="465450" y="454612"/>
                      <a:pt x="455440" y="464603"/>
                      <a:pt x="443586" y="464603"/>
                    </a:cubicBezTo>
                    <a:lnTo>
                      <a:pt x="158832" y="464603"/>
                    </a:lnTo>
                    <a:cubicBezTo>
                      <a:pt x="146714" y="464603"/>
                      <a:pt x="136968" y="454612"/>
                      <a:pt x="136968" y="442781"/>
                    </a:cubicBezTo>
                    <a:lnTo>
                      <a:pt x="136968" y="158577"/>
                    </a:lnTo>
                    <a:cubicBezTo>
                      <a:pt x="136968" y="146483"/>
                      <a:pt x="146714" y="136756"/>
                      <a:pt x="158832" y="136756"/>
                    </a:cubicBezTo>
                    <a:close/>
                    <a:moveTo>
                      <a:pt x="369587" y="0"/>
                    </a:moveTo>
                    <a:cubicBezTo>
                      <a:pt x="378545" y="0"/>
                      <a:pt x="385923" y="7363"/>
                      <a:pt x="385923" y="16303"/>
                    </a:cubicBezTo>
                    <a:lnTo>
                      <a:pt x="385923" y="103869"/>
                    </a:lnTo>
                    <a:cubicBezTo>
                      <a:pt x="385923" y="112810"/>
                      <a:pt x="378545" y="120173"/>
                      <a:pt x="369587" y="120173"/>
                    </a:cubicBezTo>
                    <a:cubicBezTo>
                      <a:pt x="360629" y="120173"/>
                      <a:pt x="353251" y="112810"/>
                      <a:pt x="353251" y="103869"/>
                    </a:cubicBezTo>
                    <a:lnTo>
                      <a:pt x="353251" y="16303"/>
                    </a:lnTo>
                    <a:cubicBezTo>
                      <a:pt x="353251" y="7363"/>
                      <a:pt x="360629" y="0"/>
                      <a:pt x="369587" y="0"/>
                    </a:cubicBezTo>
                    <a:close/>
                    <a:moveTo>
                      <a:pt x="301068" y="0"/>
                    </a:moveTo>
                    <a:cubicBezTo>
                      <a:pt x="310290" y="0"/>
                      <a:pt x="317404" y="7363"/>
                      <a:pt x="317404" y="16303"/>
                    </a:cubicBezTo>
                    <a:lnTo>
                      <a:pt x="317404" y="103869"/>
                    </a:lnTo>
                    <a:cubicBezTo>
                      <a:pt x="317404" y="112810"/>
                      <a:pt x="310290" y="120173"/>
                      <a:pt x="301068" y="120173"/>
                    </a:cubicBezTo>
                    <a:cubicBezTo>
                      <a:pt x="292110" y="120173"/>
                      <a:pt x="284732" y="112810"/>
                      <a:pt x="284732" y="103869"/>
                    </a:cubicBezTo>
                    <a:lnTo>
                      <a:pt x="284732" y="16303"/>
                    </a:lnTo>
                    <a:cubicBezTo>
                      <a:pt x="284732" y="7363"/>
                      <a:pt x="292110" y="0"/>
                      <a:pt x="301068" y="0"/>
                    </a:cubicBezTo>
                    <a:close/>
                    <a:moveTo>
                      <a:pt x="232593" y="0"/>
                    </a:moveTo>
                    <a:cubicBezTo>
                      <a:pt x="241801" y="0"/>
                      <a:pt x="249167" y="7363"/>
                      <a:pt x="249167" y="16303"/>
                    </a:cubicBezTo>
                    <a:lnTo>
                      <a:pt x="249167" y="103869"/>
                    </a:lnTo>
                    <a:cubicBezTo>
                      <a:pt x="249167" y="112810"/>
                      <a:pt x="241801" y="120173"/>
                      <a:pt x="232593" y="120173"/>
                    </a:cubicBezTo>
                    <a:cubicBezTo>
                      <a:pt x="223649" y="120173"/>
                      <a:pt x="216283" y="112810"/>
                      <a:pt x="216283" y="103869"/>
                    </a:cubicBezTo>
                    <a:lnTo>
                      <a:pt x="216283" y="16303"/>
                    </a:lnTo>
                    <a:cubicBezTo>
                      <a:pt x="216283" y="7363"/>
                      <a:pt x="223649" y="0"/>
                      <a:pt x="232593" y="0"/>
                    </a:cubicBezTo>
                    <a:close/>
                  </a:path>
                </a:pathLst>
              </a:custGeom>
              <a:solidFill>
                <a:schemeClr val="tx2"/>
              </a:solidFill>
              <a:ln>
                <a:noFill/>
              </a:ln>
              <a:effectLst/>
            </p:spPr>
            <p:txBody>
              <a:bodyPr wrap="none"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nvGrpSpPr>
              <p:cNvPr id="104" name="íṡlïḍe">
                <a:extLst>
                  <a:ext uri="{FF2B5EF4-FFF2-40B4-BE49-F238E27FC236}">
                    <a16:creationId xmlns:a16="http://schemas.microsoft.com/office/drawing/2014/main" id="{989DF76C-2AAA-4079-80F1-C888DCB38F21}"/>
                  </a:ext>
                </a:extLst>
              </p:cNvPr>
              <p:cNvGrpSpPr/>
              <p:nvPr/>
            </p:nvGrpSpPr>
            <p:grpSpPr>
              <a:xfrm>
                <a:off x="7053995" y="1326155"/>
                <a:ext cx="3724276" cy="3851276"/>
                <a:chOff x="938213" y="1497013"/>
                <a:chExt cx="3724276" cy="3851276"/>
              </a:xfrm>
            </p:grpSpPr>
            <p:sp>
              <p:nvSpPr>
                <p:cNvPr id="105" name="ïsḷiḋê">
                  <a:extLst>
                    <a:ext uri="{FF2B5EF4-FFF2-40B4-BE49-F238E27FC236}">
                      <a16:creationId xmlns:a16="http://schemas.microsoft.com/office/drawing/2014/main" id="{EBD98BC6-EB34-4406-9177-649F07BF2344}"/>
                    </a:ext>
                  </a:extLst>
                </p:cNvPr>
                <p:cNvSpPr/>
                <p:nvPr/>
              </p:nvSpPr>
              <p:spPr bwMode="auto">
                <a:xfrm>
                  <a:off x="938213" y="1720851"/>
                  <a:ext cx="2155825" cy="3627438"/>
                </a:xfrm>
                <a:custGeom>
                  <a:avLst/>
                  <a:gdLst>
                    <a:gd name="T0" fmla="*/ 3482 w 3482"/>
                    <a:gd name="T1" fmla="*/ 5643 h 5867"/>
                    <a:gd name="T2" fmla="*/ 196 w 3482"/>
                    <a:gd name="T3" fmla="*/ 3167 h 5867"/>
                    <a:gd name="T4" fmla="*/ 2161 w 3482"/>
                    <a:gd name="T5" fmla="*/ 0 h 5867"/>
                    <a:gd name="T6" fmla="*/ 2509 w 3482"/>
                    <a:gd name="T7" fmla="*/ 1049 h 5867"/>
                    <a:gd name="T8" fmla="*/ 1365 w 3482"/>
                    <a:gd name="T9" fmla="*/ 3330 h 5867"/>
                    <a:gd name="T10" fmla="*/ 3328 w 3482"/>
                    <a:gd name="T11" fmla="*/ 4548 h 5867"/>
                    <a:gd name="T12" fmla="*/ 3482 w 3482"/>
                    <a:gd name="T13" fmla="*/ 5643 h 5867"/>
                  </a:gdLst>
                  <a:ahLst/>
                  <a:cxnLst>
                    <a:cxn ang="0">
                      <a:pos x="T0" y="T1"/>
                    </a:cxn>
                    <a:cxn ang="0">
                      <a:pos x="T2" y="T3"/>
                    </a:cxn>
                    <a:cxn ang="0">
                      <a:pos x="T4" y="T5"/>
                    </a:cxn>
                    <a:cxn ang="0">
                      <a:pos x="T6" y="T7"/>
                    </a:cxn>
                    <a:cxn ang="0">
                      <a:pos x="T8" y="T9"/>
                    </a:cxn>
                    <a:cxn ang="0">
                      <a:pos x="T10" y="T11"/>
                    </a:cxn>
                    <a:cxn ang="0">
                      <a:pos x="T12" y="T13"/>
                    </a:cxn>
                  </a:cxnLst>
                  <a:rect l="0" t="0" r="r" b="b"/>
                  <a:pathLst>
                    <a:path w="3482" h="5867">
                      <a:moveTo>
                        <a:pt x="3482" y="5643"/>
                      </a:moveTo>
                      <a:cubicBezTo>
                        <a:pt x="1891" y="5867"/>
                        <a:pt x="419" y="4758"/>
                        <a:pt x="196" y="3167"/>
                      </a:cubicBezTo>
                      <a:cubicBezTo>
                        <a:pt x="0" y="1775"/>
                        <a:pt x="827" y="442"/>
                        <a:pt x="2161" y="0"/>
                      </a:cubicBezTo>
                      <a:lnTo>
                        <a:pt x="2509" y="1049"/>
                      </a:lnTo>
                      <a:cubicBezTo>
                        <a:pt x="1564" y="1363"/>
                        <a:pt x="1051" y="2384"/>
                        <a:pt x="1365" y="3330"/>
                      </a:cubicBezTo>
                      <a:cubicBezTo>
                        <a:pt x="1639" y="4157"/>
                        <a:pt x="2465" y="4670"/>
                        <a:pt x="3328" y="4548"/>
                      </a:cubicBezTo>
                      <a:lnTo>
                        <a:pt x="3482" y="5643"/>
                      </a:lnTo>
                      <a:close/>
                    </a:path>
                  </a:pathLst>
                </a:custGeom>
                <a:solidFill>
                  <a:schemeClr val="accent1"/>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106" name="iṧḻîḑê">
                  <a:extLst>
                    <a:ext uri="{FF2B5EF4-FFF2-40B4-BE49-F238E27FC236}">
                      <a16:creationId xmlns:a16="http://schemas.microsoft.com/office/drawing/2014/main" id="{8C5DFDF6-2890-41FA-9881-769D7C8D18FE}"/>
                    </a:ext>
                  </a:extLst>
                </p:cNvPr>
                <p:cNvSpPr/>
                <p:nvPr/>
              </p:nvSpPr>
              <p:spPr bwMode="auto">
                <a:xfrm>
                  <a:off x="2276476" y="1497013"/>
                  <a:ext cx="1903413" cy="1182688"/>
                </a:xfrm>
                <a:custGeom>
                  <a:avLst/>
                  <a:gdLst>
                    <a:gd name="T0" fmla="*/ 0 w 3074"/>
                    <a:gd name="T1" fmla="*/ 363 h 1914"/>
                    <a:gd name="T2" fmla="*/ 3074 w 3074"/>
                    <a:gd name="T3" fmla="*/ 1173 h 1914"/>
                    <a:gd name="T4" fmla="*/ 2254 w 3074"/>
                    <a:gd name="T5" fmla="*/ 1914 h 1914"/>
                    <a:gd name="T6" fmla="*/ 348 w 3074"/>
                    <a:gd name="T7" fmla="*/ 1412 h 1914"/>
                    <a:gd name="T8" fmla="*/ 0 w 3074"/>
                    <a:gd name="T9" fmla="*/ 363 h 1914"/>
                  </a:gdLst>
                  <a:ahLst/>
                  <a:cxnLst>
                    <a:cxn ang="0">
                      <a:pos x="T0" y="T1"/>
                    </a:cxn>
                    <a:cxn ang="0">
                      <a:pos x="T2" y="T3"/>
                    </a:cxn>
                    <a:cxn ang="0">
                      <a:pos x="T4" y="T5"/>
                    </a:cxn>
                    <a:cxn ang="0">
                      <a:pos x="T6" y="T7"/>
                    </a:cxn>
                    <a:cxn ang="0">
                      <a:pos x="T8" y="T9"/>
                    </a:cxn>
                  </a:cxnLst>
                  <a:rect l="0" t="0" r="r" b="b"/>
                  <a:pathLst>
                    <a:path w="3074" h="1914">
                      <a:moveTo>
                        <a:pt x="0" y="363"/>
                      </a:moveTo>
                      <a:cubicBezTo>
                        <a:pt x="1095" y="0"/>
                        <a:pt x="2300" y="318"/>
                        <a:pt x="3074" y="1173"/>
                      </a:cubicBezTo>
                      <a:lnTo>
                        <a:pt x="2254" y="1914"/>
                      </a:lnTo>
                      <a:cubicBezTo>
                        <a:pt x="1774" y="1384"/>
                        <a:pt x="1027" y="1187"/>
                        <a:pt x="348" y="1412"/>
                      </a:cubicBezTo>
                      <a:lnTo>
                        <a:pt x="0" y="363"/>
                      </a:lnTo>
                      <a:close/>
                    </a:path>
                  </a:pathLst>
                </a:custGeom>
                <a:solidFill>
                  <a:schemeClr val="tx2">
                    <a:lumMod val="40000"/>
                    <a:lumOff val="60000"/>
                  </a:schemeClr>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107" name="íṣļiďé">
                  <a:extLst>
                    <a:ext uri="{FF2B5EF4-FFF2-40B4-BE49-F238E27FC236}">
                      <a16:creationId xmlns:a16="http://schemas.microsoft.com/office/drawing/2014/main" id="{23137FCA-1ABD-4C34-BDD2-0EA5E645E4D8}"/>
                    </a:ext>
                  </a:extLst>
                </p:cNvPr>
                <p:cNvSpPr/>
                <p:nvPr/>
              </p:nvSpPr>
              <p:spPr bwMode="auto">
                <a:xfrm>
                  <a:off x="3671888" y="2220913"/>
                  <a:ext cx="950913" cy="1031875"/>
                </a:xfrm>
                <a:custGeom>
                  <a:avLst/>
                  <a:gdLst>
                    <a:gd name="T0" fmla="*/ 820 w 1536"/>
                    <a:gd name="T1" fmla="*/ 0 h 1669"/>
                    <a:gd name="T2" fmla="*/ 1536 w 1536"/>
                    <a:gd name="T3" fmla="*/ 1495 h 1669"/>
                    <a:gd name="T4" fmla="*/ 444 w 1536"/>
                    <a:gd name="T5" fmla="*/ 1669 h 1669"/>
                    <a:gd name="T6" fmla="*/ 0 w 1536"/>
                    <a:gd name="T7" fmla="*/ 741 h 1669"/>
                    <a:gd name="T8" fmla="*/ 820 w 1536"/>
                    <a:gd name="T9" fmla="*/ 0 h 1669"/>
                  </a:gdLst>
                  <a:ahLst/>
                  <a:cxnLst>
                    <a:cxn ang="0">
                      <a:pos x="T0" y="T1"/>
                    </a:cxn>
                    <a:cxn ang="0">
                      <a:pos x="T2" y="T3"/>
                    </a:cxn>
                    <a:cxn ang="0">
                      <a:pos x="T4" y="T5"/>
                    </a:cxn>
                    <a:cxn ang="0">
                      <a:pos x="T6" y="T7"/>
                    </a:cxn>
                    <a:cxn ang="0">
                      <a:pos x="T8" y="T9"/>
                    </a:cxn>
                  </a:cxnLst>
                  <a:rect l="0" t="0" r="r" b="b"/>
                  <a:pathLst>
                    <a:path w="1536" h="1669">
                      <a:moveTo>
                        <a:pt x="820" y="0"/>
                      </a:moveTo>
                      <a:cubicBezTo>
                        <a:pt x="1198" y="418"/>
                        <a:pt x="1447" y="938"/>
                        <a:pt x="1536" y="1495"/>
                      </a:cubicBezTo>
                      <a:lnTo>
                        <a:pt x="444" y="1669"/>
                      </a:lnTo>
                      <a:cubicBezTo>
                        <a:pt x="389" y="1323"/>
                        <a:pt x="235" y="1001"/>
                        <a:pt x="0" y="741"/>
                      </a:cubicBezTo>
                      <a:lnTo>
                        <a:pt x="820" y="0"/>
                      </a:lnTo>
                      <a:close/>
                    </a:path>
                  </a:pathLst>
                </a:custGeom>
                <a:solidFill>
                  <a:schemeClr val="accent1">
                    <a:lumMod val="20000"/>
                    <a:lumOff val="80000"/>
                  </a:schemeClr>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108" name="î$ḷíďê">
                  <a:extLst>
                    <a:ext uri="{FF2B5EF4-FFF2-40B4-BE49-F238E27FC236}">
                      <a16:creationId xmlns:a16="http://schemas.microsoft.com/office/drawing/2014/main" id="{E1B21E81-0AA7-4074-BEAC-08CB9E661CC4}"/>
                    </a:ext>
                  </a:extLst>
                </p:cNvPr>
                <p:cNvSpPr/>
                <p:nvPr/>
              </p:nvSpPr>
              <p:spPr bwMode="auto">
                <a:xfrm>
                  <a:off x="3917951" y="3146426"/>
                  <a:ext cx="744538" cy="771525"/>
                </a:xfrm>
                <a:custGeom>
                  <a:avLst/>
                  <a:gdLst>
                    <a:gd name="T0" fmla="*/ 1138 w 1204"/>
                    <a:gd name="T1" fmla="*/ 0 h 1249"/>
                    <a:gd name="T2" fmla="*/ 1064 w 1204"/>
                    <a:gd name="T3" fmla="*/ 1249 h 1249"/>
                    <a:gd name="T4" fmla="*/ 0 w 1204"/>
                    <a:gd name="T5" fmla="*/ 948 h 1249"/>
                    <a:gd name="T6" fmla="*/ 46 w 1204"/>
                    <a:gd name="T7" fmla="*/ 174 h 1249"/>
                    <a:gd name="T8" fmla="*/ 1138 w 1204"/>
                    <a:gd name="T9" fmla="*/ 0 h 1249"/>
                  </a:gdLst>
                  <a:ahLst/>
                  <a:cxnLst>
                    <a:cxn ang="0">
                      <a:pos x="T0" y="T1"/>
                    </a:cxn>
                    <a:cxn ang="0">
                      <a:pos x="T2" y="T3"/>
                    </a:cxn>
                    <a:cxn ang="0">
                      <a:pos x="T4" y="T5"/>
                    </a:cxn>
                    <a:cxn ang="0">
                      <a:pos x="T6" y="T7"/>
                    </a:cxn>
                    <a:cxn ang="0">
                      <a:pos x="T8" y="T9"/>
                    </a:cxn>
                  </a:cxnLst>
                  <a:rect l="0" t="0" r="r" b="b"/>
                  <a:pathLst>
                    <a:path w="1204" h="1249">
                      <a:moveTo>
                        <a:pt x="1138" y="0"/>
                      </a:moveTo>
                      <a:cubicBezTo>
                        <a:pt x="1204" y="417"/>
                        <a:pt x="1179" y="843"/>
                        <a:pt x="1064" y="1249"/>
                      </a:cubicBezTo>
                      <a:lnTo>
                        <a:pt x="0" y="948"/>
                      </a:lnTo>
                      <a:cubicBezTo>
                        <a:pt x="71" y="696"/>
                        <a:pt x="87" y="432"/>
                        <a:pt x="46" y="174"/>
                      </a:cubicBezTo>
                      <a:lnTo>
                        <a:pt x="1138" y="0"/>
                      </a:lnTo>
                      <a:close/>
                    </a:path>
                  </a:pathLst>
                </a:custGeom>
                <a:solidFill>
                  <a:schemeClr val="tx2">
                    <a:lumMod val="40000"/>
                    <a:lumOff val="60000"/>
                  </a:schemeClr>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109" name="î$líďé">
                  <a:extLst>
                    <a:ext uri="{FF2B5EF4-FFF2-40B4-BE49-F238E27FC236}">
                      <a16:creationId xmlns:a16="http://schemas.microsoft.com/office/drawing/2014/main" id="{A1D49432-F1F0-48F8-BBAB-EA924C3648EE}"/>
                    </a:ext>
                  </a:extLst>
                </p:cNvPr>
                <p:cNvSpPr/>
                <p:nvPr/>
              </p:nvSpPr>
              <p:spPr bwMode="auto">
                <a:xfrm>
                  <a:off x="3448051" y="3732213"/>
                  <a:ext cx="1128713" cy="1208088"/>
                </a:xfrm>
                <a:custGeom>
                  <a:avLst/>
                  <a:gdLst>
                    <a:gd name="T0" fmla="*/ 1822 w 1822"/>
                    <a:gd name="T1" fmla="*/ 301 h 1954"/>
                    <a:gd name="T2" fmla="*/ 600 w 1822"/>
                    <a:gd name="T3" fmla="*/ 1954 h 1954"/>
                    <a:gd name="T4" fmla="*/ 0 w 1822"/>
                    <a:gd name="T5" fmla="*/ 1025 h 1954"/>
                    <a:gd name="T6" fmla="*/ 758 w 1822"/>
                    <a:gd name="T7" fmla="*/ 0 h 1954"/>
                    <a:gd name="T8" fmla="*/ 1822 w 1822"/>
                    <a:gd name="T9" fmla="*/ 301 h 1954"/>
                  </a:gdLst>
                  <a:ahLst/>
                  <a:cxnLst>
                    <a:cxn ang="0">
                      <a:pos x="T0" y="T1"/>
                    </a:cxn>
                    <a:cxn ang="0">
                      <a:pos x="T2" y="T3"/>
                    </a:cxn>
                    <a:cxn ang="0">
                      <a:pos x="T4" y="T5"/>
                    </a:cxn>
                    <a:cxn ang="0">
                      <a:pos x="T6" y="T7"/>
                    </a:cxn>
                    <a:cxn ang="0">
                      <a:pos x="T8" y="T9"/>
                    </a:cxn>
                  </a:cxnLst>
                  <a:rect l="0" t="0" r="r" b="b"/>
                  <a:pathLst>
                    <a:path w="1822" h="1954">
                      <a:moveTo>
                        <a:pt x="1822" y="301"/>
                      </a:moveTo>
                      <a:cubicBezTo>
                        <a:pt x="1629" y="982"/>
                        <a:pt x="1195" y="1570"/>
                        <a:pt x="600" y="1954"/>
                      </a:cubicBezTo>
                      <a:lnTo>
                        <a:pt x="0" y="1025"/>
                      </a:lnTo>
                      <a:cubicBezTo>
                        <a:pt x="369" y="787"/>
                        <a:pt x="639" y="422"/>
                        <a:pt x="758" y="0"/>
                      </a:cubicBezTo>
                      <a:lnTo>
                        <a:pt x="1822" y="301"/>
                      </a:lnTo>
                      <a:close/>
                    </a:path>
                  </a:pathLst>
                </a:custGeom>
                <a:solidFill>
                  <a:schemeClr val="accent1">
                    <a:lumMod val="20000"/>
                    <a:lumOff val="80000"/>
                  </a:schemeClr>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110" name="îṡḷïḋe">
                  <a:extLst>
                    <a:ext uri="{FF2B5EF4-FFF2-40B4-BE49-F238E27FC236}">
                      <a16:creationId xmlns:a16="http://schemas.microsoft.com/office/drawing/2014/main" id="{54F8B018-6BF6-41D8-8C83-C4889DF234AB}"/>
                    </a:ext>
                  </a:extLst>
                </p:cNvPr>
                <p:cNvSpPr/>
                <p:nvPr/>
              </p:nvSpPr>
              <p:spPr bwMode="auto">
                <a:xfrm>
                  <a:off x="2998788" y="4365626"/>
                  <a:ext cx="820738" cy="844550"/>
                </a:xfrm>
                <a:custGeom>
                  <a:avLst/>
                  <a:gdLst>
                    <a:gd name="T0" fmla="*/ 1327 w 1327"/>
                    <a:gd name="T1" fmla="*/ 929 h 1365"/>
                    <a:gd name="T2" fmla="*/ 154 w 1327"/>
                    <a:gd name="T3" fmla="*/ 1365 h 1365"/>
                    <a:gd name="T4" fmla="*/ 0 w 1327"/>
                    <a:gd name="T5" fmla="*/ 270 h 1365"/>
                    <a:gd name="T6" fmla="*/ 727 w 1327"/>
                    <a:gd name="T7" fmla="*/ 0 h 1365"/>
                    <a:gd name="T8" fmla="*/ 1327 w 1327"/>
                    <a:gd name="T9" fmla="*/ 929 h 1365"/>
                  </a:gdLst>
                  <a:ahLst/>
                  <a:cxnLst>
                    <a:cxn ang="0">
                      <a:pos x="T0" y="T1"/>
                    </a:cxn>
                    <a:cxn ang="0">
                      <a:pos x="T2" y="T3"/>
                    </a:cxn>
                    <a:cxn ang="0">
                      <a:pos x="T4" y="T5"/>
                    </a:cxn>
                    <a:cxn ang="0">
                      <a:pos x="T6" y="T7"/>
                    </a:cxn>
                    <a:cxn ang="0">
                      <a:pos x="T8" y="T9"/>
                    </a:cxn>
                  </a:cxnLst>
                  <a:rect l="0" t="0" r="r" b="b"/>
                  <a:pathLst>
                    <a:path w="1327" h="1365">
                      <a:moveTo>
                        <a:pt x="1327" y="929"/>
                      </a:moveTo>
                      <a:cubicBezTo>
                        <a:pt x="972" y="1158"/>
                        <a:pt x="572" y="1306"/>
                        <a:pt x="154" y="1365"/>
                      </a:cubicBezTo>
                      <a:lnTo>
                        <a:pt x="0" y="270"/>
                      </a:lnTo>
                      <a:cubicBezTo>
                        <a:pt x="259" y="234"/>
                        <a:pt x="507" y="142"/>
                        <a:pt x="727" y="0"/>
                      </a:cubicBezTo>
                      <a:lnTo>
                        <a:pt x="1327" y="929"/>
                      </a:lnTo>
                      <a:close/>
                    </a:path>
                  </a:pathLst>
                </a:custGeom>
                <a:solidFill>
                  <a:schemeClr val="tx2">
                    <a:lumMod val="40000"/>
                    <a:lumOff val="60000"/>
                  </a:schemeClr>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grpSp>
        <p:sp>
          <p:nvSpPr>
            <p:cNvPr id="100" name="ïṣlïḑe">
              <a:extLst>
                <a:ext uri="{FF2B5EF4-FFF2-40B4-BE49-F238E27FC236}">
                  <a16:creationId xmlns:a16="http://schemas.microsoft.com/office/drawing/2014/main" id="{DA290159-37B2-4E65-AA16-E9995B5012EE}"/>
                </a:ext>
              </a:extLst>
            </p:cNvPr>
            <p:cNvSpPr txBox="1"/>
            <p:nvPr/>
          </p:nvSpPr>
          <p:spPr bwMode="auto">
            <a:xfrm>
              <a:off x="1992233" y="1526000"/>
              <a:ext cx="4170933" cy="391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20000"/>
                </a:lnSpc>
              </a:pPr>
              <a:r>
                <a:rPr lang="en-US" altLang="zh-CN" b="1" dirty="0" smtClean="0">
                  <a:solidFill>
                    <a:schemeClr val="tx1">
                      <a:lumMod val="85000"/>
                      <a:lumOff val="15000"/>
                    </a:schemeClr>
                  </a:solidFill>
                  <a:latin typeface="Arial" panose="020B0604020202020204" pitchFamily="34" charset="0"/>
                  <a:ea typeface="Microsoft YaHei" panose="020B0503020204020204" pitchFamily="34" charset="-122"/>
                  <a:cs typeface="+mn-ea"/>
                  <a:sym typeface="Arial" panose="020B0604020202020204" pitchFamily="34" charset="0"/>
                </a:rPr>
                <a:t>UML</a:t>
              </a:r>
              <a:r>
                <a:rPr lang="zh-CN" altLang="en-US" b="1" dirty="0">
                  <a:solidFill>
                    <a:schemeClr val="tx1">
                      <a:lumMod val="85000"/>
                      <a:lumOff val="15000"/>
                    </a:schemeClr>
                  </a:solidFill>
                  <a:latin typeface="Arial" panose="020B0604020202020204" pitchFamily="34" charset="0"/>
                  <a:ea typeface="Microsoft YaHei" panose="020B0503020204020204" pitchFamily="34" charset="-122"/>
                  <a:cs typeface="+mn-ea"/>
                  <a:sym typeface="Arial" panose="020B0604020202020204" pitchFamily="34" charset="0"/>
                </a:rPr>
                <a:t>主要用于软件</a:t>
              </a:r>
              <a:r>
                <a:rPr lang="zh-CN" altLang="en-US" b="1" dirty="0" smtClean="0">
                  <a:solidFill>
                    <a:schemeClr val="tx1">
                      <a:lumMod val="85000"/>
                      <a:lumOff val="15000"/>
                    </a:schemeClr>
                  </a:solidFill>
                  <a:latin typeface="Arial" panose="020B0604020202020204" pitchFamily="34" charset="0"/>
                  <a:ea typeface="Microsoft YaHei" panose="020B0503020204020204" pitchFamily="34" charset="-122"/>
                  <a:cs typeface="+mn-ea"/>
                  <a:sym typeface="Arial" panose="020B0604020202020204" pitchFamily="34" charset="0"/>
                </a:rPr>
                <a:t>设计</a:t>
              </a:r>
              <a:endParaRPr lang="zh-CN" altLang="en-US" b="1" dirty="0">
                <a:solidFill>
                  <a:schemeClr val="tx1">
                    <a:lumMod val="85000"/>
                    <a:lumOff val="15000"/>
                  </a:schemeClr>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96" name="îşḷíḓê">
              <a:extLst>
                <a:ext uri="{FF2B5EF4-FFF2-40B4-BE49-F238E27FC236}">
                  <a16:creationId xmlns:a16="http://schemas.microsoft.com/office/drawing/2014/main" id="{965A6584-6C44-4877-8D27-83F06BCF9AAE}"/>
                </a:ext>
              </a:extLst>
            </p:cNvPr>
            <p:cNvSpPr txBox="1"/>
            <p:nvPr/>
          </p:nvSpPr>
          <p:spPr bwMode="auto">
            <a:xfrm>
              <a:off x="1992233" y="2193716"/>
              <a:ext cx="4170933" cy="572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20000"/>
                </a:lnSpc>
              </a:pPr>
              <a:r>
                <a:rPr lang="zh-CN" altLang="en-US" b="1" dirty="0" smtClean="0">
                  <a:solidFill>
                    <a:schemeClr val="tx1">
                      <a:lumMod val="85000"/>
                      <a:lumOff val="15000"/>
                    </a:schemeClr>
                  </a:solidFill>
                  <a:latin typeface="Arial" panose="020B0604020202020204" pitchFamily="34" charset="0"/>
                  <a:ea typeface="Microsoft YaHei" panose="020B0503020204020204" pitchFamily="34" charset="-122"/>
                  <a:cs typeface="+mn-ea"/>
                  <a:sym typeface="Arial" panose="020B0604020202020204" pitchFamily="34" charset="0"/>
                </a:rPr>
                <a:t>在需求分析中</a:t>
              </a:r>
              <a:r>
                <a:rPr lang="zh-CN" altLang="en-US" b="1" dirty="0">
                  <a:solidFill>
                    <a:schemeClr val="tx1">
                      <a:lumMod val="85000"/>
                      <a:lumOff val="15000"/>
                    </a:schemeClr>
                  </a:solidFill>
                  <a:latin typeface="Arial" panose="020B0604020202020204" pitchFamily="34" charset="0"/>
                  <a:ea typeface="Microsoft YaHei" panose="020B0503020204020204" pitchFamily="34" charset="-122"/>
                  <a:cs typeface="+mn-ea"/>
                  <a:sym typeface="Arial" panose="020B0604020202020204" pitchFamily="34" charset="0"/>
                </a:rPr>
                <a:t>应用</a:t>
              </a:r>
              <a:r>
                <a:rPr lang="en-US" altLang="zh-CN" b="1" dirty="0">
                  <a:solidFill>
                    <a:schemeClr val="tx1">
                      <a:lumMod val="85000"/>
                      <a:lumOff val="15000"/>
                    </a:schemeClr>
                  </a:solidFill>
                  <a:latin typeface="Arial" panose="020B0604020202020204" pitchFamily="34" charset="0"/>
                  <a:ea typeface="Microsoft YaHei" panose="020B0503020204020204" pitchFamily="34" charset="-122"/>
                  <a:cs typeface="+mn-ea"/>
                  <a:sym typeface="Arial" panose="020B0604020202020204" pitchFamily="34" charset="0"/>
                </a:rPr>
                <a:t>UML</a:t>
              </a:r>
              <a:r>
                <a:rPr lang="zh-CN" altLang="en-US" b="1" dirty="0">
                  <a:solidFill>
                    <a:schemeClr val="tx1">
                      <a:lumMod val="85000"/>
                      <a:lumOff val="15000"/>
                    </a:schemeClr>
                  </a:solidFill>
                  <a:latin typeface="Arial" panose="020B0604020202020204" pitchFamily="34" charset="0"/>
                  <a:ea typeface="Microsoft YaHei" panose="020B0503020204020204" pitchFamily="34" charset="-122"/>
                  <a:cs typeface="+mn-ea"/>
                  <a:sym typeface="Arial" panose="020B0604020202020204" pitchFamily="34" charset="0"/>
                </a:rPr>
                <a:t>实际意义不大。</a:t>
              </a:r>
            </a:p>
          </p:txBody>
        </p:sp>
        <p:sp>
          <p:nvSpPr>
            <p:cNvPr id="92" name="îşḷîḋè">
              <a:extLst>
                <a:ext uri="{FF2B5EF4-FFF2-40B4-BE49-F238E27FC236}">
                  <a16:creationId xmlns:a16="http://schemas.microsoft.com/office/drawing/2014/main" id="{1869B8DA-0602-47E8-B028-1589B53D6A67}"/>
                </a:ext>
              </a:extLst>
            </p:cNvPr>
            <p:cNvSpPr txBox="1"/>
            <p:nvPr/>
          </p:nvSpPr>
          <p:spPr bwMode="auto">
            <a:xfrm>
              <a:off x="1992232" y="3116939"/>
              <a:ext cx="4170933" cy="391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b="1" dirty="0" smtClean="0"/>
                <a:t>UML</a:t>
              </a:r>
              <a:r>
                <a:rPr lang="zh-CN" altLang="en-US" b="1" dirty="0"/>
                <a:t>用途不大</a:t>
              </a:r>
            </a:p>
          </p:txBody>
        </p:sp>
      </p:grpSp>
      <p:grpSp>
        <p:nvGrpSpPr>
          <p:cNvPr id="31" name="组合 30">
            <a:extLst>
              <a:ext uri="{FF2B5EF4-FFF2-40B4-BE49-F238E27FC236}">
                <a16:creationId xmlns:a16="http://schemas.microsoft.com/office/drawing/2014/main" id="{0853A8D8-448C-4E50-AD38-219140CD6184}"/>
              </a:ext>
            </a:extLst>
          </p:cNvPr>
          <p:cNvGrpSpPr/>
          <p:nvPr/>
        </p:nvGrpSpPr>
        <p:grpSpPr>
          <a:xfrm>
            <a:off x="669925" y="210537"/>
            <a:ext cx="468000" cy="468000"/>
            <a:chOff x="669925" y="48611"/>
            <a:chExt cx="468000" cy="468000"/>
          </a:xfrm>
        </p:grpSpPr>
        <p:sp>
          <p:nvSpPr>
            <p:cNvPr id="32" name="椭圆 31">
              <a:extLst>
                <a:ext uri="{FF2B5EF4-FFF2-40B4-BE49-F238E27FC236}">
                  <a16:creationId xmlns:a16="http://schemas.microsoft.com/office/drawing/2014/main" id="{18765B3C-06BD-445D-B72B-512E55DEF34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33" name="椭圆 32">
              <a:extLst>
                <a:ext uri="{FF2B5EF4-FFF2-40B4-BE49-F238E27FC236}">
                  <a16:creationId xmlns:a16="http://schemas.microsoft.com/office/drawing/2014/main" id="{A6AA7771-0E3D-4241-9DE3-825324394A29}"/>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grpSp>
      <p:sp>
        <p:nvSpPr>
          <p:cNvPr id="34" name="标题 1">
            <a:extLst>
              <a:ext uri="{FF2B5EF4-FFF2-40B4-BE49-F238E27FC236}">
                <a16:creationId xmlns:a16="http://schemas.microsoft.com/office/drawing/2014/main" id="{62930304-3D14-4FEB-B45D-709CE5948953}"/>
              </a:ext>
            </a:extLst>
          </p:cNvPr>
          <p:cNvSpPr txBox="1">
            <a:spLocks/>
          </p:cNvSpPr>
          <p:nvPr/>
        </p:nvSpPr>
        <p:spPr>
          <a:xfrm>
            <a:off x="1149782" y="198392"/>
            <a:ext cx="7347103" cy="57784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3200" b="0" dirty="0" smtClean="0">
                <a:latin typeface="Arial" panose="020B0604020202020204" pitchFamily="34" charset="0"/>
                <a:ea typeface="Microsoft YaHei" panose="020B0503020204020204" pitchFamily="34" charset="-122"/>
                <a:cs typeface="+mn-ea"/>
                <a:sym typeface="Arial" panose="020B0604020202020204" pitchFamily="34" charset="0"/>
              </a:rPr>
              <a:t>找出关于</a:t>
            </a:r>
            <a:r>
              <a:rPr lang="en-US" altLang="zh-CN" sz="3200" b="0" dirty="0" smtClean="0">
                <a:latin typeface="Arial" panose="020B0604020202020204" pitchFamily="34" charset="0"/>
                <a:ea typeface="Microsoft YaHei" panose="020B0503020204020204" pitchFamily="34" charset="-122"/>
                <a:cs typeface="+mn-ea"/>
                <a:sym typeface="Arial" panose="020B0604020202020204" pitchFamily="34" charset="0"/>
              </a:rPr>
              <a:t>UML</a:t>
            </a:r>
            <a:r>
              <a:rPr lang="zh-CN" altLang="en-US" sz="3200" b="0" dirty="0" smtClean="0">
                <a:latin typeface="Arial" panose="020B0604020202020204" pitchFamily="34" charset="0"/>
                <a:ea typeface="Microsoft YaHei" panose="020B0503020204020204" pitchFamily="34" charset="-122"/>
                <a:cs typeface="+mn-ea"/>
                <a:sym typeface="Arial" panose="020B0604020202020204" pitchFamily="34" charset="0"/>
              </a:rPr>
              <a:t>的错误说法</a:t>
            </a:r>
            <a:endParaRPr lang="zh-CN" altLang="en-US" sz="3200" b="0" dirty="0">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35" name="îşḷîḋè">
            <a:extLst>
              <a:ext uri="{FF2B5EF4-FFF2-40B4-BE49-F238E27FC236}">
                <a16:creationId xmlns:a16="http://schemas.microsoft.com/office/drawing/2014/main" id="{1869B8DA-0602-47E8-B028-1589B53D6A67}"/>
              </a:ext>
            </a:extLst>
          </p:cNvPr>
          <p:cNvSpPr txBox="1"/>
          <p:nvPr/>
        </p:nvSpPr>
        <p:spPr bwMode="auto">
          <a:xfrm>
            <a:off x="1160987" y="3507692"/>
            <a:ext cx="4647148" cy="391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b="1" dirty="0" smtClean="0"/>
              <a:t>设计是可以更改的</a:t>
            </a:r>
            <a:endParaRPr lang="zh-CN" altLang="en-US" b="1" dirty="0"/>
          </a:p>
        </p:txBody>
      </p:sp>
    </p:spTree>
    <p:extLst>
      <p:ext uri="{BB962C8B-B14F-4D97-AF65-F5344CB8AC3E}">
        <p14:creationId xmlns:p14="http://schemas.microsoft.com/office/powerpoint/2010/main" val="31709358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3" name="440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669925" y="776240"/>
            <a:ext cx="9296075" cy="6081759"/>
            <a:chOff x="702449" y="0"/>
            <a:chExt cx="9263551" cy="6858000"/>
          </a:xfrm>
        </p:grpSpPr>
        <p:grpSp>
          <p:nvGrpSpPr>
            <p:cNvPr id="64" name="ïşlíḍé"/>
            <p:cNvGrpSpPr/>
            <p:nvPr/>
          </p:nvGrpSpPr>
          <p:grpSpPr>
            <a:xfrm>
              <a:off x="4622143" y="0"/>
              <a:ext cx="642664" cy="6858000"/>
              <a:chOff x="4622143" y="0"/>
              <a:chExt cx="642664" cy="6858000"/>
            </a:xfrm>
          </p:grpSpPr>
          <p:sp>
            <p:nvSpPr>
              <p:cNvPr id="76" name="ïṩḻíḋè"/>
              <p:cNvSpPr/>
              <p:nvPr/>
            </p:nvSpPr>
            <p:spPr bwMode="auto">
              <a:xfrm>
                <a:off x="4907471" y="0"/>
                <a:ext cx="72008" cy="6858000"/>
              </a:xfrm>
              <a:prstGeom prst="rect">
                <a:avLst/>
              </a:prstGeom>
              <a:solidFill>
                <a:schemeClr val="tx2">
                  <a:lumMod val="20000"/>
                  <a:lumOff val="80000"/>
                </a:schemeClr>
              </a:solidFill>
              <a:ln w="19050">
                <a:noFill/>
                <a:round/>
                <a:headEnd/>
                <a:tailEnd/>
              </a:ln>
            </p:spPr>
            <p:txBody>
              <a:bodyPr anchor="ctr"/>
              <a:lstStyle/>
              <a:p>
                <a:pPr algn="ctr"/>
                <a:endParaRPr/>
              </a:p>
            </p:txBody>
          </p:sp>
          <p:sp>
            <p:nvSpPr>
              <p:cNvPr id="77" name="íşlïḋè"/>
              <p:cNvSpPr/>
              <p:nvPr/>
            </p:nvSpPr>
            <p:spPr bwMode="auto">
              <a:xfrm>
                <a:off x="4622143" y="1148197"/>
                <a:ext cx="642664" cy="642664"/>
              </a:xfrm>
              <a:prstGeom prst="ellipse">
                <a:avLst/>
              </a:prstGeom>
              <a:solidFill>
                <a:schemeClr val="bg1"/>
              </a:solidFill>
              <a:ln w="57150">
                <a:solidFill>
                  <a:schemeClr val="bg1"/>
                </a:solidFill>
                <a:round/>
                <a:headEnd/>
                <a:tailEnd/>
              </a:ln>
            </p:spPr>
            <p:txBody>
              <a:bodyPr rot="0" spcFirstLastPara="0" vert="horz" wrap="none" lIns="90000" tIns="46800" rIns="90000" bIns="46800" anchor="ctr" anchorCtr="1" forceAA="0" compatLnSpc="1">
                <a:prstTxWarp prst="textNoShape">
                  <a:avLst/>
                </a:prstTxWarp>
                <a:normAutofit fontScale="85000" lnSpcReduction="20000"/>
              </a:bodyPr>
              <a:lstStyle/>
              <a:p>
                <a:pPr algn="ctr"/>
                <a:r>
                  <a:rPr lang="en-US" altLang="zh-CN" sz="2800" dirty="0">
                    <a:solidFill>
                      <a:schemeClr val="tx2"/>
                    </a:solidFill>
                    <a:latin typeface="Impact" panose="020B0806030902050204" pitchFamily="34" charset="0"/>
                  </a:rPr>
                  <a:t>01</a:t>
                </a:r>
              </a:p>
            </p:txBody>
          </p:sp>
          <p:sp>
            <p:nvSpPr>
              <p:cNvPr id="78" name="íṥľidè"/>
              <p:cNvSpPr/>
              <p:nvPr/>
            </p:nvSpPr>
            <p:spPr bwMode="auto">
              <a:xfrm>
                <a:off x="4622143" y="2557843"/>
                <a:ext cx="642664" cy="642664"/>
              </a:xfrm>
              <a:prstGeom prst="ellipse">
                <a:avLst/>
              </a:prstGeom>
              <a:solidFill>
                <a:schemeClr val="bg1"/>
              </a:solidFill>
              <a:ln w="57150">
                <a:solidFill>
                  <a:schemeClr val="bg1"/>
                </a:solidFill>
                <a:round/>
                <a:headEnd/>
                <a:tailEnd/>
              </a:ln>
            </p:spPr>
            <p:txBody>
              <a:bodyPr rot="0" spcFirstLastPara="0" vert="horz" wrap="none" lIns="90000" tIns="46800" rIns="90000" bIns="46800" anchor="ctr" anchorCtr="1" forceAA="0" compatLnSpc="1">
                <a:prstTxWarp prst="textNoShape">
                  <a:avLst/>
                </a:prstTxWarp>
                <a:normAutofit fontScale="85000" lnSpcReduction="20000"/>
              </a:bodyPr>
              <a:lstStyle/>
              <a:p>
                <a:pPr algn="ctr"/>
                <a:r>
                  <a:rPr lang="en-US" altLang="zh-CN" sz="2800">
                    <a:solidFill>
                      <a:schemeClr val="tx2"/>
                    </a:solidFill>
                    <a:latin typeface="Impact" panose="020B0806030902050204" pitchFamily="34" charset="0"/>
                  </a:rPr>
                  <a:t>02</a:t>
                </a:r>
              </a:p>
            </p:txBody>
          </p:sp>
          <p:sp>
            <p:nvSpPr>
              <p:cNvPr id="79" name="ïṣ1íḍé"/>
              <p:cNvSpPr/>
              <p:nvPr/>
            </p:nvSpPr>
            <p:spPr bwMode="auto">
              <a:xfrm>
                <a:off x="4622143" y="3967489"/>
                <a:ext cx="642664" cy="642664"/>
              </a:xfrm>
              <a:prstGeom prst="ellipse">
                <a:avLst/>
              </a:prstGeom>
              <a:solidFill>
                <a:schemeClr val="bg1"/>
              </a:solidFill>
              <a:ln w="57150">
                <a:solidFill>
                  <a:schemeClr val="bg1"/>
                </a:solidFill>
                <a:round/>
                <a:headEnd/>
                <a:tailEnd/>
              </a:ln>
            </p:spPr>
            <p:txBody>
              <a:bodyPr rot="0" spcFirstLastPara="0" vert="horz" wrap="none" lIns="90000" tIns="46800" rIns="90000" bIns="46800" anchor="ctr" anchorCtr="1" forceAA="0" compatLnSpc="1">
                <a:prstTxWarp prst="textNoShape">
                  <a:avLst/>
                </a:prstTxWarp>
                <a:normAutofit fontScale="85000" lnSpcReduction="20000"/>
              </a:bodyPr>
              <a:lstStyle/>
              <a:p>
                <a:pPr algn="ctr"/>
                <a:r>
                  <a:rPr lang="en-US" altLang="zh-CN" sz="2800" dirty="0">
                    <a:solidFill>
                      <a:schemeClr val="tx2"/>
                    </a:solidFill>
                    <a:latin typeface="Impact" panose="020B0806030902050204" pitchFamily="34" charset="0"/>
                  </a:rPr>
                  <a:t>03</a:t>
                </a:r>
              </a:p>
            </p:txBody>
          </p:sp>
          <p:sp>
            <p:nvSpPr>
              <p:cNvPr id="80" name="íṣļidé"/>
              <p:cNvSpPr/>
              <p:nvPr/>
            </p:nvSpPr>
            <p:spPr bwMode="auto">
              <a:xfrm>
                <a:off x="4622143" y="5377136"/>
                <a:ext cx="642664" cy="642664"/>
              </a:xfrm>
              <a:prstGeom prst="ellipse">
                <a:avLst/>
              </a:prstGeom>
              <a:solidFill>
                <a:schemeClr val="bg1"/>
              </a:solidFill>
              <a:ln w="57150">
                <a:solidFill>
                  <a:schemeClr val="bg1"/>
                </a:solidFill>
                <a:round/>
                <a:headEnd/>
                <a:tailEnd/>
              </a:ln>
            </p:spPr>
            <p:txBody>
              <a:bodyPr rot="0" spcFirstLastPara="0" vert="horz" wrap="none" lIns="90000" tIns="46800" rIns="90000" bIns="46800" anchor="ctr" anchorCtr="1" forceAA="0" compatLnSpc="1">
                <a:prstTxWarp prst="textNoShape">
                  <a:avLst/>
                </a:prstTxWarp>
                <a:normAutofit fontScale="85000" lnSpcReduction="20000"/>
              </a:bodyPr>
              <a:lstStyle/>
              <a:p>
                <a:pPr algn="ctr"/>
                <a:r>
                  <a:rPr lang="en-US" altLang="zh-CN" sz="2800">
                    <a:solidFill>
                      <a:schemeClr val="tx2"/>
                    </a:solidFill>
                    <a:latin typeface="Impact" panose="020B0806030902050204" pitchFamily="34" charset="0"/>
                  </a:rPr>
                  <a:t>04</a:t>
                </a:r>
              </a:p>
            </p:txBody>
          </p:sp>
        </p:grpSp>
        <p:sp>
          <p:nvSpPr>
            <p:cNvPr id="65" name="îSḻíďê"/>
            <p:cNvSpPr txBox="1"/>
            <p:nvPr/>
          </p:nvSpPr>
          <p:spPr>
            <a:xfrm>
              <a:off x="702449" y="5429574"/>
              <a:ext cx="3728551" cy="381143"/>
            </a:xfrm>
            <a:prstGeom prst="rect">
              <a:avLst/>
            </a:prstGeom>
            <a:noFill/>
          </p:spPr>
          <p:txBody>
            <a:bodyPr wrap="none" lIns="90000" tIns="46800" rIns="90000" bIns="46800" anchor="b" anchorCtr="0">
              <a:normAutofit/>
            </a:bodyPr>
            <a:lstStyle/>
            <a:p>
              <a:pPr algn="r"/>
              <a:r>
                <a:rPr lang="zh-CN" altLang="en-US" sz="1600" b="1" dirty="0" smtClean="0"/>
                <a:t>焦点连续</a:t>
              </a:r>
              <a:endParaRPr lang="zh-CN" altLang="en-US" sz="1600" b="1" dirty="0"/>
            </a:p>
          </p:txBody>
        </p:sp>
        <p:sp>
          <p:nvSpPr>
            <p:cNvPr id="66" name="ïṥ1îďé"/>
            <p:cNvSpPr txBox="1"/>
            <p:nvPr/>
          </p:nvSpPr>
          <p:spPr>
            <a:xfrm>
              <a:off x="702449" y="4018544"/>
              <a:ext cx="3728551" cy="381143"/>
            </a:xfrm>
            <a:prstGeom prst="rect">
              <a:avLst/>
            </a:prstGeom>
            <a:noFill/>
          </p:spPr>
          <p:txBody>
            <a:bodyPr wrap="none" lIns="90000" tIns="46800" rIns="90000" bIns="46800" anchor="b" anchorCtr="0">
              <a:normAutofit/>
            </a:bodyPr>
            <a:lstStyle/>
            <a:p>
              <a:pPr algn="r"/>
              <a:r>
                <a:rPr lang="zh-CN" altLang="en-US" sz="1600" b="1" dirty="0" smtClean="0"/>
                <a:t>对象与操作者需要区别对待</a:t>
              </a:r>
              <a:endParaRPr lang="zh-CN" altLang="en-US" sz="1600" b="1" dirty="0"/>
            </a:p>
          </p:txBody>
        </p:sp>
        <p:sp>
          <p:nvSpPr>
            <p:cNvPr id="71" name="ïṣ1íďé"/>
            <p:cNvSpPr txBox="1"/>
            <p:nvPr/>
          </p:nvSpPr>
          <p:spPr>
            <a:xfrm>
              <a:off x="702449" y="2639734"/>
              <a:ext cx="3728551" cy="381143"/>
            </a:xfrm>
            <a:prstGeom prst="rect">
              <a:avLst/>
            </a:prstGeom>
            <a:noFill/>
          </p:spPr>
          <p:txBody>
            <a:bodyPr wrap="none" lIns="90000" tIns="46800" rIns="90000" bIns="46800" anchor="b" anchorCtr="0">
              <a:normAutofit/>
            </a:bodyPr>
            <a:lstStyle/>
            <a:p>
              <a:pPr algn="r"/>
              <a:r>
                <a:rPr lang="zh-CN" altLang="en-US" sz="1600" b="1" dirty="0" smtClean="0"/>
                <a:t>注意同步与异步信息的区别</a:t>
              </a:r>
              <a:endParaRPr lang="zh-CN" altLang="en-US" sz="1600" b="1" dirty="0"/>
            </a:p>
          </p:txBody>
        </p:sp>
        <p:sp>
          <p:nvSpPr>
            <p:cNvPr id="72" name="îsļîḓê"/>
            <p:cNvSpPr txBox="1"/>
            <p:nvPr/>
          </p:nvSpPr>
          <p:spPr>
            <a:xfrm>
              <a:off x="702449" y="1260925"/>
              <a:ext cx="3728551" cy="381143"/>
            </a:xfrm>
            <a:prstGeom prst="rect">
              <a:avLst/>
            </a:prstGeom>
            <a:noFill/>
          </p:spPr>
          <p:txBody>
            <a:bodyPr wrap="none" lIns="90000" tIns="46800" rIns="90000" bIns="46800" anchor="b" anchorCtr="0">
              <a:normAutofit/>
            </a:bodyPr>
            <a:lstStyle/>
            <a:p>
              <a:pPr algn="r"/>
              <a:r>
                <a:rPr lang="zh-CN" altLang="en-US" sz="1600" b="1" dirty="0" smtClean="0"/>
                <a:t>第一对象是操作者</a:t>
              </a:r>
              <a:endParaRPr lang="zh-CN" altLang="en-US" sz="1600" b="1" dirty="0"/>
            </a:p>
          </p:txBody>
        </p:sp>
        <p:grpSp>
          <p:nvGrpSpPr>
            <p:cNvPr id="73" name="ïṩlïdê"/>
            <p:cNvGrpSpPr/>
            <p:nvPr/>
          </p:nvGrpSpPr>
          <p:grpSpPr>
            <a:xfrm>
              <a:off x="6744072" y="2491451"/>
              <a:ext cx="3221928" cy="1233251"/>
              <a:chOff x="6744072" y="2491451"/>
              <a:chExt cx="3221928" cy="1233251"/>
            </a:xfrm>
          </p:grpSpPr>
          <p:sp>
            <p:nvSpPr>
              <p:cNvPr id="74" name="íṧļïḍê"/>
              <p:cNvSpPr/>
              <p:nvPr/>
            </p:nvSpPr>
            <p:spPr>
              <a:xfrm>
                <a:off x="6744072" y="3119331"/>
                <a:ext cx="3221928" cy="605371"/>
              </a:xfrm>
              <a:prstGeom prst="rect">
                <a:avLst/>
              </a:prstGeom>
            </p:spPr>
            <p:txBody>
              <a:bodyPr wrap="none" lIns="90000" tIns="46800" rIns="90000" bIns="46800" anchor="ctr" anchorCtr="0">
                <a:normAutofit fontScale="77500" lnSpcReduction="20000"/>
              </a:bodyPr>
              <a:lstStyle/>
              <a:p>
                <a:pPr>
                  <a:lnSpc>
                    <a:spcPct val="150000"/>
                  </a:lnSpc>
                </a:pPr>
                <a:r>
                  <a:rPr lang="en-US" altLang="zh-CN" sz="2800" b="1" spc="300" dirty="0">
                    <a:solidFill>
                      <a:schemeClr val="tx2"/>
                    </a:solidFill>
                  </a:rPr>
                  <a:t>CONTENTS</a:t>
                </a:r>
                <a:endParaRPr lang="zh-CN" altLang="en-US" sz="2800" b="1" spc="300" dirty="0">
                  <a:solidFill>
                    <a:schemeClr val="tx2"/>
                  </a:solidFill>
                </a:endParaRPr>
              </a:p>
            </p:txBody>
          </p:sp>
          <p:sp>
            <p:nvSpPr>
              <p:cNvPr id="75" name="îṡľiḍè"/>
              <p:cNvSpPr/>
              <p:nvPr/>
            </p:nvSpPr>
            <p:spPr bwMode="auto">
              <a:xfrm>
                <a:off x="6861000" y="2491451"/>
                <a:ext cx="674448" cy="641848"/>
              </a:xfrm>
              <a:custGeom>
                <a:avLst/>
                <a:gdLst>
                  <a:gd name="T0" fmla="*/ 0 w 3951"/>
                  <a:gd name="T1" fmla="*/ 1583116 h 3950"/>
                  <a:gd name="T2" fmla="*/ 108452 w 3951"/>
                  <a:gd name="T3" fmla="*/ 1477575 h 3950"/>
                  <a:gd name="T4" fmla="*/ 1692401 w 3951"/>
                  <a:gd name="T5" fmla="*/ 1477575 h 3950"/>
                  <a:gd name="T6" fmla="*/ 1800397 w 3951"/>
                  <a:gd name="T7" fmla="*/ 1583116 h 3950"/>
                  <a:gd name="T8" fmla="*/ 756431 w 3951"/>
                  <a:gd name="T9" fmla="*/ 771741 h 3950"/>
                  <a:gd name="T10" fmla="*/ 1044422 w 3951"/>
                  <a:gd name="T11" fmla="*/ 771741 h 3950"/>
                  <a:gd name="T12" fmla="*/ 1512406 w 3951"/>
                  <a:gd name="T13" fmla="*/ 771741 h 3950"/>
                  <a:gd name="T14" fmla="*/ 1512406 w 3951"/>
                  <a:gd name="T15" fmla="*/ 1547936 h 3950"/>
                  <a:gd name="T16" fmla="*/ 1044422 w 3951"/>
                  <a:gd name="T17" fmla="*/ 1547936 h 3950"/>
                  <a:gd name="T18" fmla="*/ 756431 w 3951"/>
                  <a:gd name="T19" fmla="*/ 1547936 h 3950"/>
                  <a:gd name="T20" fmla="*/ 288446 w 3951"/>
                  <a:gd name="T21" fmla="*/ 1547936 h 3950"/>
                  <a:gd name="T22" fmla="*/ 288446 w 3951"/>
                  <a:gd name="T23" fmla="*/ 771741 h 3950"/>
                  <a:gd name="T24" fmla="*/ 1296413 w 3951"/>
                  <a:gd name="T25" fmla="*/ 1512755 h 3950"/>
                  <a:gd name="T26" fmla="*/ 1296413 w 3951"/>
                  <a:gd name="T27" fmla="*/ 1301673 h 3950"/>
                  <a:gd name="T28" fmla="*/ 1512406 w 3951"/>
                  <a:gd name="T29" fmla="*/ 1266493 h 3950"/>
                  <a:gd name="T30" fmla="*/ 1296413 w 3951"/>
                  <a:gd name="T31" fmla="*/ 1266493 h 3950"/>
                  <a:gd name="T32" fmla="*/ 1512406 w 3951"/>
                  <a:gd name="T33" fmla="*/ 806922 h 3950"/>
                  <a:gd name="T34" fmla="*/ 1044422 w 3951"/>
                  <a:gd name="T35" fmla="*/ 1512755 h 3950"/>
                  <a:gd name="T36" fmla="*/ 1044422 w 3951"/>
                  <a:gd name="T37" fmla="*/ 1301673 h 3950"/>
                  <a:gd name="T38" fmla="*/ 1260415 w 3951"/>
                  <a:gd name="T39" fmla="*/ 1266493 h 3950"/>
                  <a:gd name="T40" fmla="*/ 1044422 w 3951"/>
                  <a:gd name="T41" fmla="*/ 1266493 h 3950"/>
                  <a:gd name="T42" fmla="*/ 1260415 w 3951"/>
                  <a:gd name="T43" fmla="*/ 806922 h 3950"/>
                  <a:gd name="T44" fmla="*/ 792430 w 3951"/>
                  <a:gd name="T45" fmla="*/ 1512755 h 3950"/>
                  <a:gd name="T46" fmla="*/ 792430 w 3951"/>
                  <a:gd name="T47" fmla="*/ 1301673 h 3950"/>
                  <a:gd name="T48" fmla="*/ 1008423 w 3951"/>
                  <a:gd name="T49" fmla="*/ 1266493 h 3950"/>
                  <a:gd name="T50" fmla="*/ 792430 w 3951"/>
                  <a:gd name="T51" fmla="*/ 1266493 h 3950"/>
                  <a:gd name="T52" fmla="*/ 1008423 w 3951"/>
                  <a:gd name="T53" fmla="*/ 806922 h 3950"/>
                  <a:gd name="T54" fmla="*/ 540438 w 3951"/>
                  <a:gd name="T55" fmla="*/ 1512755 h 3950"/>
                  <a:gd name="T56" fmla="*/ 540438 w 3951"/>
                  <a:gd name="T57" fmla="*/ 1301673 h 3950"/>
                  <a:gd name="T58" fmla="*/ 756431 w 3951"/>
                  <a:gd name="T59" fmla="*/ 1266493 h 3950"/>
                  <a:gd name="T60" fmla="*/ 540438 w 3951"/>
                  <a:gd name="T61" fmla="*/ 1266493 h 3950"/>
                  <a:gd name="T62" fmla="*/ 756431 w 3951"/>
                  <a:gd name="T63" fmla="*/ 806922 h 3950"/>
                  <a:gd name="T64" fmla="*/ 288446 w 3951"/>
                  <a:gd name="T65" fmla="*/ 1512755 h 3950"/>
                  <a:gd name="T66" fmla="*/ 288446 w 3951"/>
                  <a:gd name="T67" fmla="*/ 1301673 h 3950"/>
                  <a:gd name="T68" fmla="*/ 504439 w 3951"/>
                  <a:gd name="T69" fmla="*/ 1266493 h 3950"/>
                  <a:gd name="T70" fmla="*/ 288446 w 3951"/>
                  <a:gd name="T71" fmla="*/ 1266493 h 3950"/>
                  <a:gd name="T72" fmla="*/ 504439 w 3951"/>
                  <a:gd name="T73" fmla="*/ 806922 h 3950"/>
                  <a:gd name="T74" fmla="*/ 0 w 3951"/>
                  <a:gd name="T75" fmla="*/ 316623 h 3950"/>
                  <a:gd name="T76" fmla="*/ 252447 w 3951"/>
                  <a:gd name="T77" fmla="*/ 492525 h 3950"/>
                  <a:gd name="T78" fmla="*/ 1260415 w 3951"/>
                  <a:gd name="T79" fmla="*/ 140721 h 3950"/>
                  <a:gd name="T80" fmla="*/ 1548405 w 3951"/>
                  <a:gd name="T81" fmla="*/ 140721 h 3950"/>
                  <a:gd name="T82" fmla="*/ 1800397 w 3951"/>
                  <a:gd name="T83" fmla="*/ 703607 h 3950"/>
                  <a:gd name="T84" fmla="*/ 1296413 w 3951"/>
                  <a:gd name="T85" fmla="*/ 105541 h 3950"/>
                  <a:gd name="T86" fmla="*/ 1512406 w 3951"/>
                  <a:gd name="T87" fmla="*/ 457345 h 3950"/>
                  <a:gd name="T88" fmla="*/ 288446 w 3951"/>
                  <a:gd name="T89" fmla="*/ 105541 h 3950"/>
                  <a:gd name="T90" fmla="*/ 504439 w 3951"/>
                  <a:gd name="T91" fmla="*/ 457345 h 395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951" h="3950">
                    <a:moveTo>
                      <a:pt x="3556" y="3950"/>
                    </a:moveTo>
                    <a:cubicBezTo>
                      <a:pt x="396" y="3950"/>
                      <a:pt x="396" y="3950"/>
                      <a:pt x="396" y="3950"/>
                    </a:cubicBezTo>
                    <a:cubicBezTo>
                      <a:pt x="177" y="3950"/>
                      <a:pt x="0" y="3773"/>
                      <a:pt x="0" y="3555"/>
                    </a:cubicBezTo>
                    <a:cubicBezTo>
                      <a:pt x="0" y="1738"/>
                      <a:pt x="0" y="1738"/>
                      <a:pt x="0" y="1738"/>
                    </a:cubicBezTo>
                    <a:cubicBezTo>
                      <a:pt x="244" y="1738"/>
                      <a:pt x="244" y="1738"/>
                      <a:pt x="244" y="1738"/>
                    </a:cubicBezTo>
                    <a:cubicBezTo>
                      <a:pt x="243" y="2424"/>
                      <a:pt x="238" y="3318"/>
                      <a:pt x="238" y="3318"/>
                    </a:cubicBezTo>
                    <a:cubicBezTo>
                      <a:pt x="238" y="3536"/>
                      <a:pt x="494" y="3713"/>
                      <a:pt x="712" y="3713"/>
                    </a:cubicBezTo>
                    <a:cubicBezTo>
                      <a:pt x="3240" y="3713"/>
                      <a:pt x="3240" y="3713"/>
                      <a:pt x="3240" y="3713"/>
                    </a:cubicBezTo>
                    <a:cubicBezTo>
                      <a:pt x="3458" y="3713"/>
                      <a:pt x="3714" y="3536"/>
                      <a:pt x="3714" y="3318"/>
                    </a:cubicBezTo>
                    <a:cubicBezTo>
                      <a:pt x="3714" y="3318"/>
                      <a:pt x="3709" y="2404"/>
                      <a:pt x="3707" y="1738"/>
                    </a:cubicBezTo>
                    <a:cubicBezTo>
                      <a:pt x="3951" y="1738"/>
                      <a:pt x="3951" y="1738"/>
                      <a:pt x="3951" y="1738"/>
                    </a:cubicBezTo>
                    <a:cubicBezTo>
                      <a:pt x="3951" y="3555"/>
                      <a:pt x="3951" y="3555"/>
                      <a:pt x="3951" y="3555"/>
                    </a:cubicBezTo>
                    <a:cubicBezTo>
                      <a:pt x="3951" y="3773"/>
                      <a:pt x="3774" y="3950"/>
                      <a:pt x="3556" y="3950"/>
                    </a:cubicBezTo>
                    <a:close/>
                    <a:moveTo>
                      <a:pt x="1186" y="1733"/>
                    </a:moveTo>
                    <a:cubicBezTo>
                      <a:pt x="1660" y="1733"/>
                      <a:pt x="1660" y="1733"/>
                      <a:pt x="1660" y="1733"/>
                    </a:cubicBezTo>
                    <a:cubicBezTo>
                      <a:pt x="1739" y="1733"/>
                      <a:pt x="1739" y="1733"/>
                      <a:pt x="1739" y="1733"/>
                    </a:cubicBezTo>
                    <a:cubicBezTo>
                      <a:pt x="2213" y="1733"/>
                      <a:pt x="2213" y="1733"/>
                      <a:pt x="2213" y="1733"/>
                    </a:cubicBezTo>
                    <a:cubicBezTo>
                      <a:pt x="2292" y="1733"/>
                      <a:pt x="2292" y="1733"/>
                      <a:pt x="2292" y="1733"/>
                    </a:cubicBezTo>
                    <a:cubicBezTo>
                      <a:pt x="2766" y="1733"/>
                      <a:pt x="2766" y="1733"/>
                      <a:pt x="2766" y="1733"/>
                    </a:cubicBezTo>
                    <a:cubicBezTo>
                      <a:pt x="2845" y="1733"/>
                      <a:pt x="2845" y="1733"/>
                      <a:pt x="2845" y="1733"/>
                    </a:cubicBezTo>
                    <a:cubicBezTo>
                      <a:pt x="3319" y="1733"/>
                      <a:pt x="3319" y="1733"/>
                      <a:pt x="3319" y="1733"/>
                    </a:cubicBezTo>
                    <a:cubicBezTo>
                      <a:pt x="3398" y="1733"/>
                      <a:pt x="3398" y="1733"/>
                      <a:pt x="3398" y="1733"/>
                    </a:cubicBezTo>
                    <a:cubicBezTo>
                      <a:pt x="3398" y="3476"/>
                      <a:pt x="3398" y="3476"/>
                      <a:pt x="3398" y="3476"/>
                    </a:cubicBezTo>
                    <a:cubicBezTo>
                      <a:pt x="3319" y="3476"/>
                      <a:pt x="3319" y="3476"/>
                      <a:pt x="3319" y="3476"/>
                    </a:cubicBezTo>
                    <a:cubicBezTo>
                      <a:pt x="2845" y="3476"/>
                      <a:pt x="2845" y="3476"/>
                      <a:pt x="2845" y="3476"/>
                    </a:cubicBezTo>
                    <a:cubicBezTo>
                      <a:pt x="2766" y="3476"/>
                      <a:pt x="2766" y="3476"/>
                      <a:pt x="2766" y="3476"/>
                    </a:cubicBezTo>
                    <a:cubicBezTo>
                      <a:pt x="2292" y="3476"/>
                      <a:pt x="2292" y="3476"/>
                      <a:pt x="2292" y="3476"/>
                    </a:cubicBezTo>
                    <a:cubicBezTo>
                      <a:pt x="2213" y="3476"/>
                      <a:pt x="2213" y="3476"/>
                      <a:pt x="2213" y="3476"/>
                    </a:cubicBezTo>
                    <a:cubicBezTo>
                      <a:pt x="1739" y="3476"/>
                      <a:pt x="1739" y="3476"/>
                      <a:pt x="1739" y="3476"/>
                    </a:cubicBezTo>
                    <a:cubicBezTo>
                      <a:pt x="1660" y="3476"/>
                      <a:pt x="1660" y="3476"/>
                      <a:pt x="1660" y="3476"/>
                    </a:cubicBezTo>
                    <a:cubicBezTo>
                      <a:pt x="1186" y="3476"/>
                      <a:pt x="1186" y="3476"/>
                      <a:pt x="1186" y="3476"/>
                    </a:cubicBezTo>
                    <a:cubicBezTo>
                      <a:pt x="1107" y="3476"/>
                      <a:pt x="1107" y="3476"/>
                      <a:pt x="1107" y="3476"/>
                    </a:cubicBezTo>
                    <a:cubicBezTo>
                      <a:pt x="633" y="3476"/>
                      <a:pt x="633" y="3476"/>
                      <a:pt x="633" y="3476"/>
                    </a:cubicBezTo>
                    <a:cubicBezTo>
                      <a:pt x="554" y="3476"/>
                      <a:pt x="554" y="3476"/>
                      <a:pt x="554" y="3476"/>
                    </a:cubicBezTo>
                    <a:cubicBezTo>
                      <a:pt x="554" y="1733"/>
                      <a:pt x="554" y="1733"/>
                      <a:pt x="554" y="1733"/>
                    </a:cubicBezTo>
                    <a:cubicBezTo>
                      <a:pt x="633" y="1733"/>
                      <a:pt x="633" y="1733"/>
                      <a:pt x="633" y="1733"/>
                    </a:cubicBezTo>
                    <a:cubicBezTo>
                      <a:pt x="1107" y="1733"/>
                      <a:pt x="1107" y="1733"/>
                      <a:pt x="1107" y="1733"/>
                    </a:cubicBezTo>
                    <a:lnTo>
                      <a:pt x="1186" y="1733"/>
                    </a:lnTo>
                    <a:close/>
                    <a:moveTo>
                      <a:pt x="2845" y="3397"/>
                    </a:moveTo>
                    <a:cubicBezTo>
                      <a:pt x="3319" y="3397"/>
                      <a:pt x="3319" y="3397"/>
                      <a:pt x="3319" y="3397"/>
                    </a:cubicBezTo>
                    <a:cubicBezTo>
                      <a:pt x="3319" y="2923"/>
                      <a:pt x="3319" y="2923"/>
                      <a:pt x="3319" y="2923"/>
                    </a:cubicBezTo>
                    <a:cubicBezTo>
                      <a:pt x="2845" y="2923"/>
                      <a:pt x="2845" y="2923"/>
                      <a:pt x="2845" y="2923"/>
                    </a:cubicBezTo>
                    <a:lnTo>
                      <a:pt x="2845" y="3397"/>
                    </a:lnTo>
                    <a:close/>
                    <a:moveTo>
                      <a:pt x="2845" y="2844"/>
                    </a:moveTo>
                    <a:cubicBezTo>
                      <a:pt x="3319" y="2844"/>
                      <a:pt x="3319" y="2844"/>
                      <a:pt x="3319" y="2844"/>
                    </a:cubicBezTo>
                    <a:cubicBezTo>
                      <a:pt x="3319" y="2370"/>
                      <a:pt x="3319" y="2370"/>
                      <a:pt x="3319" y="2370"/>
                    </a:cubicBezTo>
                    <a:cubicBezTo>
                      <a:pt x="2845" y="2370"/>
                      <a:pt x="2845" y="2370"/>
                      <a:pt x="2845" y="2370"/>
                    </a:cubicBezTo>
                    <a:lnTo>
                      <a:pt x="2845" y="2844"/>
                    </a:lnTo>
                    <a:close/>
                    <a:moveTo>
                      <a:pt x="2845" y="2291"/>
                    </a:moveTo>
                    <a:cubicBezTo>
                      <a:pt x="3319" y="2291"/>
                      <a:pt x="3319" y="2291"/>
                      <a:pt x="3319" y="2291"/>
                    </a:cubicBezTo>
                    <a:cubicBezTo>
                      <a:pt x="3319" y="1812"/>
                      <a:pt x="3319" y="1812"/>
                      <a:pt x="3319" y="1812"/>
                    </a:cubicBezTo>
                    <a:cubicBezTo>
                      <a:pt x="2845" y="1812"/>
                      <a:pt x="2845" y="1812"/>
                      <a:pt x="2845" y="1812"/>
                    </a:cubicBezTo>
                    <a:lnTo>
                      <a:pt x="2845" y="2291"/>
                    </a:lnTo>
                    <a:close/>
                    <a:moveTo>
                      <a:pt x="2292" y="3397"/>
                    </a:moveTo>
                    <a:cubicBezTo>
                      <a:pt x="2766" y="3397"/>
                      <a:pt x="2766" y="3397"/>
                      <a:pt x="2766" y="3397"/>
                    </a:cubicBezTo>
                    <a:cubicBezTo>
                      <a:pt x="2766" y="2923"/>
                      <a:pt x="2766" y="2923"/>
                      <a:pt x="2766" y="2923"/>
                    </a:cubicBezTo>
                    <a:cubicBezTo>
                      <a:pt x="2292" y="2923"/>
                      <a:pt x="2292" y="2923"/>
                      <a:pt x="2292" y="2923"/>
                    </a:cubicBezTo>
                    <a:lnTo>
                      <a:pt x="2292" y="3397"/>
                    </a:lnTo>
                    <a:close/>
                    <a:moveTo>
                      <a:pt x="2292" y="2844"/>
                    </a:moveTo>
                    <a:cubicBezTo>
                      <a:pt x="2766" y="2844"/>
                      <a:pt x="2766" y="2844"/>
                      <a:pt x="2766" y="2844"/>
                    </a:cubicBezTo>
                    <a:cubicBezTo>
                      <a:pt x="2766" y="2370"/>
                      <a:pt x="2766" y="2370"/>
                      <a:pt x="2766" y="2370"/>
                    </a:cubicBezTo>
                    <a:cubicBezTo>
                      <a:pt x="2292" y="2370"/>
                      <a:pt x="2292" y="2370"/>
                      <a:pt x="2292" y="2370"/>
                    </a:cubicBezTo>
                    <a:lnTo>
                      <a:pt x="2292" y="2844"/>
                    </a:lnTo>
                    <a:close/>
                    <a:moveTo>
                      <a:pt x="2292" y="2291"/>
                    </a:moveTo>
                    <a:cubicBezTo>
                      <a:pt x="2766" y="2291"/>
                      <a:pt x="2766" y="2291"/>
                      <a:pt x="2766" y="2291"/>
                    </a:cubicBezTo>
                    <a:cubicBezTo>
                      <a:pt x="2766" y="1812"/>
                      <a:pt x="2766" y="1812"/>
                      <a:pt x="2766" y="1812"/>
                    </a:cubicBezTo>
                    <a:cubicBezTo>
                      <a:pt x="2292" y="1812"/>
                      <a:pt x="2292" y="1812"/>
                      <a:pt x="2292" y="1812"/>
                    </a:cubicBezTo>
                    <a:lnTo>
                      <a:pt x="2292" y="2291"/>
                    </a:lnTo>
                    <a:close/>
                    <a:moveTo>
                      <a:pt x="1739" y="3397"/>
                    </a:moveTo>
                    <a:cubicBezTo>
                      <a:pt x="2213" y="3397"/>
                      <a:pt x="2213" y="3397"/>
                      <a:pt x="2213" y="3397"/>
                    </a:cubicBezTo>
                    <a:cubicBezTo>
                      <a:pt x="2213" y="2923"/>
                      <a:pt x="2213" y="2923"/>
                      <a:pt x="2213" y="2923"/>
                    </a:cubicBezTo>
                    <a:cubicBezTo>
                      <a:pt x="1739" y="2923"/>
                      <a:pt x="1739" y="2923"/>
                      <a:pt x="1739" y="2923"/>
                    </a:cubicBezTo>
                    <a:lnTo>
                      <a:pt x="1739" y="3397"/>
                    </a:lnTo>
                    <a:close/>
                    <a:moveTo>
                      <a:pt x="1739" y="2844"/>
                    </a:moveTo>
                    <a:cubicBezTo>
                      <a:pt x="2213" y="2844"/>
                      <a:pt x="2213" y="2844"/>
                      <a:pt x="2213" y="2844"/>
                    </a:cubicBezTo>
                    <a:cubicBezTo>
                      <a:pt x="2213" y="2370"/>
                      <a:pt x="2213" y="2370"/>
                      <a:pt x="2213" y="2370"/>
                    </a:cubicBezTo>
                    <a:cubicBezTo>
                      <a:pt x="1739" y="2370"/>
                      <a:pt x="1739" y="2370"/>
                      <a:pt x="1739" y="2370"/>
                    </a:cubicBezTo>
                    <a:lnTo>
                      <a:pt x="1739" y="2844"/>
                    </a:lnTo>
                    <a:close/>
                    <a:moveTo>
                      <a:pt x="1739" y="2291"/>
                    </a:moveTo>
                    <a:cubicBezTo>
                      <a:pt x="2213" y="2291"/>
                      <a:pt x="2213" y="2291"/>
                      <a:pt x="2213" y="2291"/>
                    </a:cubicBezTo>
                    <a:cubicBezTo>
                      <a:pt x="2213" y="1812"/>
                      <a:pt x="2213" y="1812"/>
                      <a:pt x="2213" y="1812"/>
                    </a:cubicBezTo>
                    <a:cubicBezTo>
                      <a:pt x="1739" y="1812"/>
                      <a:pt x="1739" y="1812"/>
                      <a:pt x="1739" y="1812"/>
                    </a:cubicBezTo>
                    <a:lnTo>
                      <a:pt x="1739" y="2291"/>
                    </a:lnTo>
                    <a:close/>
                    <a:moveTo>
                      <a:pt x="1186" y="3397"/>
                    </a:moveTo>
                    <a:cubicBezTo>
                      <a:pt x="1660" y="3397"/>
                      <a:pt x="1660" y="3397"/>
                      <a:pt x="1660" y="3397"/>
                    </a:cubicBezTo>
                    <a:cubicBezTo>
                      <a:pt x="1660" y="2923"/>
                      <a:pt x="1660" y="2923"/>
                      <a:pt x="1660" y="2923"/>
                    </a:cubicBezTo>
                    <a:cubicBezTo>
                      <a:pt x="1186" y="2923"/>
                      <a:pt x="1186" y="2923"/>
                      <a:pt x="1186" y="2923"/>
                    </a:cubicBezTo>
                    <a:lnTo>
                      <a:pt x="1186" y="3397"/>
                    </a:lnTo>
                    <a:close/>
                    <a:moveTo>
                      <a:pt x="1186" y="2844"/>
                    </a:moveTo>
                    <a:cubicBezTo>
                      <a:pt x="1660" y="2844"/>
                      <a:pt x="1660" y="2844"/>
                      <a:pt x="1660" y="2844"/>
                    </a:cubicBezTo>
                    <a:cubicBezTo>
                      <a:pt x="1660" y="2370"/>
                      <a:pt x="1660" y="2370"/>
                      <a:pt x="1660" y="2370"/>
                    </a:cubicBezTo>
                    <a:cubicBezTo>
                      <a:pt x="1186" y="2370"/>
                      <a:pt x="1186" y="2370"/>
                      <a:pt x="1186" y="2370"/>
                    </a:cubicBezTo>
                    <a:lnTo>
                      <a:pt x="1186" y="2844"/>
                    </a:lnTo>
                    <a:close/>
                    <a:moveTo>
                      <a:pt x="1186" y="2291"/>
                    </a:moveTo>
                    <a:cubicBezTo>
                      <a:pt x="1660" y="2291"/>
                      <a:pt x="1660" y="2291"/>
                      <a:pt x="1660" y="2291"/>
                    </a:cubicBezTo>
                    <a:cubicBezTo>
                      <a:pt x="1660" y="1812"/>
                      <a:pt x="1660" y="1812"/>
                      <a:pt x="1660" y="1812"/>
                    </a:cubicBezTo>
                    <a:cubicBezTo>
                      <a:pt x="1186" y="1812"/>
                      <a:pt x="1186" y="1812"/>
                      <a:pt x="1186" y="1812"/>
                    </a:cubicBezTo>
                    <a:lnTo>
                      <a:pt x="1186" y="2291"/>
                    </a:lnTo>
                    <a:close/>
                    <a:moveTo>
                      <a:pt x="633" y="3397"/>
                    </a:moveTo>
                    <a:cubicBezTo>
                      <a:pt x="1107" y="3397"/>
                      <a:pt x="1107" y="3397"/>
                      <a:pt x="1107" y="3397"/>
                    </a:cubicBezTo>
                    <a:cubicBezTo>
                      <a:pt x="1107" y="2923"/>
                      <a:pt x="1107" y="2923"/>
                      <a:pt x="1107" y="2923"/>
                    </a:cubicBezTo>
                    <a:cubicBezTo>
                      <a:pt x="633" y="2923"/>
                      <a:pt x="633" y="2923"/>
                      <a:pt x="633" y="2923"/>
                    </a:cubicBezTo>
                    <a:lnTo>
                      <a:pt x="633" y="3397"/>
                    </a:lnTo>
                    <a:close/>
                    <a:moveTo>
                      <a:pt x="633" y="2844"/>
                    </a:moveTo>
                    <a:cubicBezTo>
                      <a:pt x="1107" y="2844"/>
                      <a:pt x="1107" y="2844"/>
                      <a:pt x="1107" y="2844"/>
                    </a:cubicBezTo>
                    <a:cubicBezTo>
                      <a:pt x="1107" y="2370"/>
                      <a:pt x="1107" y="2370"/>
                      <a:pt x="1107" y="2370"/>
                    </a:cubicBezTo>
                    <a:cubicBezTo>
                      <a:pt x="633" y="2370"/>
                      <a:pt x="633" y="2370"/>
                      <a:pt x="633" y="2370"/>
                    </a:cubicBezTo>
                    <a:lnTo>
                      <a:pt x="633" y="2844"/>
                    </a:lnTo>
                    <a:close/>
                    <a:moveTo>
                      <a:pt x="633" y="2291"/>
                    </a:moveTo>
                    <a:cubicBezTo>
                      <a:pt x="1107" y="2291"/>
                      <a:pt x="1107" y="2291"/>
                      <a:pt x="1107" y="2291"/>
                    </a:cubicBezTo>
                    <a:cubicBezTo>
                      <a:pt x="1107" y="1812"/>
                      <a:pt x="1107" y="1812"/>
                      <a:pt x="1107" y="1812"/>
                    </a:cubicBezTo>
                    <a:cubicBezTo>
                      <a:pt x="633" y="1812"/>
                      <a:pt x="633" y="1812"/>
                      <a:pt x="633" y="1812"/>
                    </a:cubicBezTo>
                    <a:lnTo>
                      <a:pt x="633" y="2291"/>
                    </a:lnTo>
                    <a:close/>
                    <a:moveTo>
                      <a:pt x="0" y="711"/>
                    </a:moveTo>
                    <a:cubicBezTo>
                      <a:pt x="0" y="493"/>
                      <a:pt x="177" y="316"/>
                      <a:pt x="396" y="316"/>
                    </a:cubicBezTo>
                    <a:cubicBezTo>
                      <a:pt x="554" y="316"/>
                      <a:pt x="554" y="316"/>
                      <a:pt x="554" y="316"/>
                    </a:cubicBezTo>
                    <a:cubicBezTo>
                      <a:pt x="554" y="1106"/>
                      <a:pt x="554" y="1106"/>
                      <a:pt x="554" y="1106"/>
                    </a:cubicBezTo>
                    <a:cubicBezTo>
                      <a:pt x="870" y="1106"/>
                      <a:pt x="858" y="1106"/>
                      <a:pt x="1186" y="1106"/>
                    </a:cubicBezTo>
                    <a:cubicBezTo>
                      <a:pt x="1186" y="316"/>
                      <a:pt x="1186" y="316"/>
                      <a:pt x="1186" y="316"/>
                    </a:cubicBezTo>
                    <a:cubicBezTo>
                      <a:pt x="2766" y="316"/>
                      <a:pt x="2766" y="316"/>
                      <a:pt x="2766" y="316"/>
                    </a:cubicBezTo>
                    <a:cubicBezTo>
                      <a:pt x="2766" y="1106"/>
                      <a:pt x="2766" y="1106"/>
                      <a:pt x="2766" y="1106"/>
                    </a:cubicBezTo>
                    <a:cubicBezTo>
                      <a:pt x="3070" y="1106"/>
                      <a:pt x="3070" y="1106"/>
                      <a:pt x="3398" y="1106"/>
                    </a:cubicBezTo>
                    <a:cubicBezTo>
                      <a:pt x="3398" y="316"/>
                      <a:pt x="3398" y="316"/>
                      <a:pt x="3398" y="316"/>
                    </a:cubicBezTo>
                    <a:cubicBezTo>
                      <a:pt x="3556" y="316"/>
                      <a:pt x="3556" y="316"/>
                      <a:pt x="3556" y="316"/>
                    </a:cubicBezTo>
                    <a:cubicBezTo>
                      <a:pt x="3774" y="316"/>
                      <a:pt x="3951" y="493"/>
                      <a:pt x="3951" y="711"/>
                    </a:cubicBezTo>
                    <a:cubicBezTo>
                      <a:pt x="3951" y="1580"/>
                      <a:pt x="3951" y="1580"/>
                      <a:pt x="3951" y="1580"/>
                    </a:cubicBezTo>
                    <a:cubicBezTo>
                      <a:pt x="2260" y="1580"/>
                      <a:pt x="1897" y="1580"/>
                      <a:pt x="0" y="1580"/>
                    </a:cubicBezTo>
                    <a:lnTo>
                      <a:pt x="0" y="711"/>
                    </a:lnTo>
                    <a:close/>
                    <a:moveTo>
                      <a:pt x="2845" y="237"/>
                    </a:moveTo>
                    <a:cubicBezTo>
                      <a:pt x="2845" y="106"/>
                      <a:pt x="2951" y="0"/>
                      <a:pt x="3082" y="0"/>
                    </a:cubicBezTo>
                    <a:cubicBezTo>
                      <a:pt x="3213" y="0"/>
                      <a:pt x="3319" y="106"/>
                      <a:pt x="3319" y="237"/>
                    </a:cubicBezTo>
                    <a:cubicBezTo>
                      <a:pt x="3319" y="1027"/>
                      <a:pt x="3319" y="1027"/>
                      <a:pt x="3319" y="1027"/>
                    </a:cubicBezTo>
                    <a:cubicBezTo>
                      <a:pt x="3319" y="1027"/>
                      <a:pt x="3138" y="1027"/>
                      <a:pt x="2845" y="1027"/>
                    </a:cubicBezTo>
                    <a:cubicBezTo>
                      <a:pt x="2845" y="891"/>
                      <a:pt x="2845" y="237"/>
                      <a:pt x="2845" y="237"/>
                    </a:cubicBezTo>
                    <a:close/>
                    <a:moveTo>
                      <a:pt x="633" y="237"/>
                    </a:moveTo>
                    <a:cubicBezTo>
                      <a:pt x="633" y="106"/>
                      <a:pt x="739" y="0"/>
                      <a:pt x="870" y="0"/>
                    </a:cubicBezTo>
                    <a:cubicBezTo>
                      <a:pt x="1001" y="0"/>
                      <a:pt x="1107" y="106"/>
                      <a:pt x="1107" y="237"/>
                    </a:cubicBezTo>
                    <a:cubicBezTo>
                      <a:pt x="1107" y="1027"/>
                      <a:pt x="1107" y="1027"/>
                      <a:pt x="1107" y="1027"/>
                    </a:cubicBezTo>
                    <a:cubicBezTo>
                      <a:pt x="1107" y="1027"/>
                      <a:pt x="847" y="1027"/>
                      <a:pt x="633" y="1027"/>
                    </a:cubicBezTo>
                    <a:cubicBezTo>
                      <a:pt x="633" y="1072"/>
                      <a:pt x="633" y="237"/>
                      <a:pt x="633" y="237"/>
                    </a:cubicBezTo>
                    <a:close/>
                  </a:path>
                </a:pathLst>
              </a:custGeom>
              <a:solidFill>
                <a:schemeClr val="tx2"/>
              </a:solidFill>
              <a:ln>
                <a:noFill/>
              </a:ln>
              <a:extLst/>
            </p:spPr>
            <p:txBody>
              <a:bodyPr anchor="ctr"/>
              <a:lstStyle/>
              <a:p>
                <a:pPr algn="ctr"/>
                <a:endParaRPr/>
              </a:p>
            </p:txBody>
          </p:sp>
        </p:grpSp>
      </p:grpSp>
      <p:grpSp>
        <p:nvGrpSpPr>
          <p:cNvPr id="81" name="组合 80">
            <a:extLst>
              <a:ext uri="{FF2B5EF4-FFF2-40B4-BE49-F238E27FC236}">
                <a16:creationId xmlns:a16="http://schemas.microsoft.com/office/drawing/2014/main" id="{0853A8D8-448C-4E50-AD38-219140CD6184}"/>
              </a:ext>
            </a:extLst>
          </p:cNvPr>
          <p:cNvGrpSpPr/>
          <p:nvPr/>
        </p:nvGrpSpPr>
        <p:grpSpPr>
          <a:xfrm>
            <a:off x="669925" y="210537"/>
            <a:ext cx="468000" cy="468000"/>
            <a:chOff x="669925" y="48611"/>
            <a:chExt cx="468000" cy="468000"/>
          </a:xfrm>
        </p:grpSpPr>
        <p:sp>
          <p:nvSpPr>
            <p:cNvPr id="82" name="椭圆 81">
              <a:extLst>
                <a:ext uri="{FF2B5EF4-FFF2-40B4-BE49-F238E27FC236}">
                  <a16:creationId xmlns:a16="http://schemas.microsoft.com/office/drawing/2014/main" id="{18765B3C-06BD-445D-B72B-512E55DEF34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83" name="椭圆 82">
              <a:extLst>
                <a:ext uri="{FF2B5EF4-FFF2-40B4-BE49-F238E27FC236}">
                  <a16:creationId xmlns:a16="http://schemas.microsoft.com/office/drawing/2014/main" id="{A6AA7771-0E3D-4241-9DE3-825324394A29}"/>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grpSp>
      <p:sp>
        <p:nvSpPr>
          <p:cNvPr id="84" name="标题 1">
            <a:extLst>
              <a:ext uri="{FF2B5EF4-FFF2-40B4-BE49-F238E27FC236}">
                <a16:creationId xmlns:a16="http://schemas.microsoft.com/office/drawing/2014/main" id="{62930304-3D14-4FEB-B45D-709CE5948953}"/>
              </a:ext>
            </a:extLst>
          </p:cNvPr>
          <p:cNvSpPr txBox="1">
            <a:spLocks/>
          </p:cNvSpPr>
          <p:nvPr/>
        </p:nvSpPr>
        <p:spPr>
          <a:xfrm>
            <a:off x="1149782" y="198392"/>
            <a:ext cx="7347103" cy="57784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en-US" altLang="zh-CN" sz="3200" b="0" dirty="0" smtClean="0">
                <a:latin typeface="Arial" panose="020B0604020202020204" pitchFamily="34" charset="0"/>
                <a:ea typeface="Microsoft YaHei" panose="020B0503020204020204" pitchFamily="34" charset="-122"/>
                <a:cs typeface="+mn-ea"/>
                <a:sym typeface="Arial" panose="020B0604020202020204" pitchFamily="34" charset="0"/>
              </a:rPr>
              <a:t>UML</a:t>
            </a:r>
            <a:r>
              <a:rPr lang="zh-CN" altLang="en-US" sz="3200" b="0" smtClean="0">
                <a:latin typeface="Arial" panose="020B0604020202020204" pitchFamily="34" charset="0"/>
                <a:ea typeface="Microsoft YaHei" panose="020B0503020204020204" pitchFamily="34" charset="-122"/>
                <a:cs typeface="+mn-ea"/>
                <a:sym typeface="Arial" panose="020B0604020202020204" pitchFamily="34" charset="0"/>
              </a:rPr>
              <a:t>的实例</a:t>
            </a:r>
            <a:endParaRPr lang="zh-CN" altLang="en-US" sz="3200" b="0" dirty="0">
              <a:latin typeface="Arial" panose="020B0604020202020204" pitchFamily="34" charset="0"/>
              <a:ea typeface="Microsoft YaHei" panose="020B0503020204020204" pitchFamily="34" charset="-122"/>
              <a:cs typeface="+mn-ea"/>
              <a:sym typeface="Arial" panose="020B0604020202020204" pitchFamily="34" charset="0"/>
            </a:endParaRPr>
          </a:p>
        </p:txBody>
      </p:sp>
      <p:pic>
        <p:nvPicPr>
          <p:cNvPr id="85" name="图片 8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71787" y="797595"/>
            <a:ext cx="4850195" cy="5633788"/>
          </a:xfrm>
          <a:prstGeom prst="rect">
            <a:avLst/>
          </a:prstGeom>
        </p:spPr>
      </p:pic>
    </p:spTree>
    <p:extLst>
      <p:ext uri="{BB962C8B-B14F-4D97-AF65-F5344CB8AC3E}">
        <p14:creationId xmlns:p14="http://schemas.microsoft.com/office/powerpoint/2010/main" val="261924406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63" name="204299"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775855" y="1444338"/>
            <a:ext cx="10105448" cy="4322615"/>
            <a:chOff x="669926" y="2462310"/>
            <a:chExt cx="9355785" cy="3684490"/>
          </a:xfrm>
        </p:grpSpPr>
        <p:grpSp>
          <p:nvGrpSpPr>
            <p:cNvPr id="264" name="iṡľîďê">
              <a:extLst>
                <a:ext uri="{FF2B5EF4-FFF2-40B4-BE49-F238E27FC236}">
                  <a16:creationId xmlns:a16="http://schemas.microsoft.com/office/drawing/2014/main" id="{A9562653-4E6B-47AF-A546-7048E509C09A}"/>
                </a:ext>
              </a:extLst>
            </p:cNvPr>
            <p:cNvGrpSpPr/>
            <p:nvPr/>
          </p:nvGrpSpPr>
          <p:grpSpPr>
            <a:xfrm>
              <a:off x="669926" y="2462310"/>
              <a:ext cx="9355785" cy="1686103"/>
              <a:chOff x="669926" y="2063410"/>
              <a:chExt cx="9355785" cy="2026277"/>
            </a:xfrm>
          </p:grpSpPr>
          <p:sp>
            <p:nvSpPr>
              <p:cNvPr id="292" name="ïṧľîḓê">
                <a:extLst>
                  <a:ext uri="{FF2B5EF4-FFF2-40B4-BE49-F238E27FC236}">
                    <a16:creationId xmlns:a16="http://schemas.microsoft.com/office/drawing/2014/main" id="{9FF7EBE0-139E-48FF-8FA7-120BE2303B1D}"/>
                  </a:ext>
                </a:extLst>
              </p:cNvPr>
              <p:cNvSpPr/>
              <p:nvPr/>
            </p:nvSpPr>
            <p:spPr bwMode="auto">
              <a:xfrm>
                <a:off x="669926" y="3378130"/>
                <a:ext cx="2660798" cy="711557"/>
              </a:xfrm>
              <a:custGeom>
                <a:avLst/>
                <a:gdLst>
                  <a:gd name="T0" fmla="*/ 1803400 w 21600"/>
                  <a:gd name="T1" fmla="*/ 973932 h 21600"/>
                  <a:gd name="T2" fmla="*/ 1803400 w 21600"/>
                  <a:gd name="T3" fmla="*/ 973932 h 21600"/>
                  <a:gd name="T4" fmla="*/ 1803400 w 21600"/>
                  <a:gd name="T5" fmla="*/ 973932 h 21600"/>
                  <a:gd name="T6" fmla="*/ 1803400 w 21600"/>
                  <a:gd name="T7" fmla="*/ 973932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21600" y="0"/>
                    </a:lnTo>
                    <a:lnTo>
                      <a:pt x="21600" y="21599"/>
                    </a:lnTo>
                    <a:lnTo>
                      <a:pt x="0" y="21599"/>
                    </a:lnTo>
                    <a:lnTo>
                      <a:pt x="0" y="0"/>
                    </a:lnTo>
                    <a:close/>
                  </a:path>
                </a:pathLst>
              </a:custGeom>
              <a:solidFill>
                <a:schemeClr val="bg1">
                  <a:lumMod val="95000"/>
                </a:schemeClr>
              </a:solidFill>
              <a:ln>
                <a:noFill/>
              </a:ln>
              <a:effectLst/>
              <a:ex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dirty="0"/>
                  <a:t>分析</a:t>
                </a:r>
                <a:r>
                  <a:rPr lang="zh-CN" altLang="en-US" dirty="0" smtClean="0"/>
                  <a:t>需求</a:t>
                </a:r>
                <a:endParaRPr dirty="0"/>
              </a:p>
            </p:txBody>
          </p:sp>
          <p:sp>
            <p:nvSpPr>
              <p:cNvPr id="293" name="îšḷiďe">
                <a:extLst>
                  <a:ext uri="{FF2B5EF4-FFF2-40B4-BE49-F238E27FC236}">
                    <a16:creationId xmlns:a16="http://schemas.microsoft.com/office/drawing/2014/main" id="{57EB2590-9340-4DA0-8B65-F87B1D0CE818}"/>
                  </a:ext>
                </a:extLst>
              </p:cNvPr>
              <p:cNvSpPr/>
              <p:nvPr/>
            </p:nvSpPr>
            <p:spPr bwMode="auto">
              <a:xfrm>
                <a:off x="2825800" y="3050477"/>
                <a:ext cx="2023255" cy="711557"/>
              </a:xfrm>
              <a:custGeom>
                <a:avLst/>
                <a:gdLst>
                  <a:gd name="T0" fmla="*/ 1803400 w 21600"/>
                  <a:gd name="T1" fmla="*/ 973931 h 21600"/>
                  <a:gd name="T2" fmla="*/ 1803400 w 21600"/>
                  <a:gd name="T3" fmla="*/ 973931 h 21600"/>
                  <a:gd name="T4" fmla="*/ 1803400 w 21600"/>
                  <a:gd name="T5" fmla="*/ 973931 h 21600"/>
                  <a:gd name="T6" fmla="*/ 1803400 w 21600"/>
                  <a:gd name="T7" fmla="*/ 973931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21600" y="0"/>
                    </a:lnTo>
                    <a:lnTo>
                      <a:pt x="21600" y="21599"/>
                    </a:lnTo>
                    <a:lnTo>
                      <a:pt x="0" y="21599"/>
                    </a:lnTo>
                    <a:lnTo>
                      <a:pt x="0" y="0"/>
                    </a:lnTo>
                    <a:close/>
                  </a:path>
                </a:pathLst>
              </a:custGeom>
              <a:solidFill>
                <a:schemeClr val="bg1">
                  <a:lumMod val="85000"/>
                </a:schemeClr>
              </a:solidFill>
              <a:ln>
                <a:noFill/>
              </a:ln>
              <a:effectLst/>
              <a:ex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dirty="0" smtClean="0"/>
                  <a:t>明确属性</a:t>
                </a:r>
                <a:endParaRPr lang="en-US" altLang="zh-CN" dirty="0"/>
              </a:p>
            </p:txBody>
          </p:sp>
          <p:sp>
            <p:nvSpPr>
              <p:cNvPr id="294" name="ïṣḻîḋé">
                <a:extLst>
                  <a:ext uri="{FF2B5EF4-FFF2-40B4-BE49-F238E27FC236}">
                    <a16:creationId xmlns:a16="http://schemas.microsoft.com/office/drawing/2014/main" id="{6466ED33-5488-4417-904B-330F699009AE}"/>
                  </a:ext>
                </a:extLst>
              </p:cNvPr>
              <p:cNvSpPr/>
              <p:nvPr/>
            </p:nvSpPr>
            <p:spPr bwMode="auto">
              <a:xfrm>
                <a:off x="4366395" y="2723984"/>
                <a:ext cx="2023255" cy="711557"/>
              </a:xfrm>
              <a:custGeom>
                <a:avLst/>
                <a:gdLst>
                  <a:gd name="T0" fmla="*/ 1803400 w 21600"/>
                  <a:gd name="T1" fmla="*/ 973932 h 21600"/>
                  <a:gd name="T2" fmla="*/ 1803400 w 21600"/>
                  <a:gd name="T3" fmla="*/ 973932 h 21600"/>
                  <a:gd name="T4" fmla="*/ 1803400 w 21600"/>
                  <a:gd name="T5" fmla="*/ 973932 h 21600"/>
                  <a:gd name="T6" fmla="*/ 1803400 w 21600"/>
                  <a:gd name="T7" fmla="*/ 973932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21600" y="0"/>
                    </a:lnTo>
                    <a:lnTo>
                      <a:pt x="21600" y="21599"/>
                    </a:lnTo>
                    <a:lnTo>
                      <a:pt x="0" y="21599"/>
                    </a:lnTo>
                    <a:lnTo>
                      <a:pt x="0" y="0"/>
                    </a:lnTo>
                    <a:close/>
                  </a:path>
                </a:pathLst>
              </a:custGeom>
              <a:solidFill>
                <a:schemeClr val="bg1">
                  <a:lumMod val="95000"/>
                </a:schemeClr>
              </a:solidFill>
              <a:ln>
                <a:noFill/>
              </a:ln>
              <a:effectLst/>
              <a:ex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dirty="0" smtClean="0"/>
                  <a:t>发现联系</a:t>
                </a:r>
                <a:endParaRPr lang="en-US" altLang="zh-CN" dirty="0"/>
              </a:p>
            </p:txBody>
          </p:sp>
          <p:sp>
            <p:nvSpPr>
              <p:cNvPr id="295" name="íşļiḍè">
                <a:extLst>
                  <a:ext uri="{FF2B5EF4-FFF2-40B4-BE49-F238E27FC236}">
                    <a16:creationId xmlns:a16="http://schemas.microsoft.com/office/drawing/2014/main" id="{7CF4CED4-75A3-417E-87E8-8AC4B72155E2}"/>
                  </a:ext>
                </a:extLst>
              </p:cNvPr>
              <p:cNvSpPr/>
              <p:nvPr/>
            </p:nvSpPr>
            <p:spPr bwMode="auto">
              <a:xfrm rot="10800000">
                <a:off x="2832924" y="3755075"/>
                <a:ext cx="487113" cy="333452"/>
              </a:xfrm>
              <a:custGeom>
                <a:avLst/>
                <a:gdLst>
                  <a:gd name="T0" fmla="*/ 434181 w 21600"/>
                  <a:gd name="T1" fmla="*/ 456407 h 21600"/>
                  <a:gd name="T2" fmla="*/ 434181 w 21600"/>
                  <a:gd name="T3" fmla="*/ 456407 h 21600"/>
                  <a:gd name="T4" fmla="*/ 434181 w 21600"/>
                  <a:gd name="T5" fmla="*/ 456407 h 21600"/>
                  <a:gd name="T6" fmla="*/ 434181 w 21600"/>
                  <a:gd name="T7" fmla="*/ 456407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0" y="21599"/>
                    </a:lnTo>
                    <a:lnTo>
                      <a:pt x="21600" y="21599"/>
                    </a:lnTo>
                    <a:lnTo>
                      <a:pt x="0" y="0"/>
                    </a:lnTo>
                    <a:close/>
                  </a:path>
                </a:pathLst>
              </a:custGeom>
              <a:solidFill>
                <a:schemeClr val="tx1">
                  <a:lumMod val="50000"/>
                  <a:lumOff val="50000"/>
                </a:schemeClr>
              </a:solidFill>
              <a:ln>
                <a:noFill/>
              </a:ln>
              <a:effectLst/>
              <a:ex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296" name="íṧlîďè">
                <a:extLst>
                  <a:ext uri="{FF2B5EF4-FFF2-40B4-BE49-F238E27FC236}">
                    <a16:creationId xmlns:a16="http://schemas.microsoft.com/office/drawing/2014/main" id="{3426F723-4447-4208-A213-AA35799947A7}"/>
                  </a:ext>
                </a:extLst>
              </p:cNvPr>
              <p:cNvSpPr/>
              <p:nvPr/>
            </p:nvSpPr>
            <p:spPr bwMode="auto">
              <a:xfrm rot="10800000">
                <a:off x="5898084" y="3109048"/>
                <a:ext cx="487113" cy="333452"/>
              </a:xfrm>
              <a:custGeom>
                <a:avLst/>
                <a:gdLst>
                  <a:gd name="T0" fmla="*/ 434181 w 21600"/>
                  <a:gd name="T1" fmla="*/ 456407 h 21600"/>
                  <a:gd name="T2" fmla="*/ 434181 w 21600"/>
                  <a:gd name="T3" fmla="*/ 456407 h 21600"/>
                  <a:gd name="T4" fmla="*/ 434181 w 21600"/>
                  <a:gd name="T5" fmla="*/ 456407 h 21600"/>
                  <a:gd name="T6" fmla="*/ 434181 w 21600"/>
                  <a:gd name="T7" fmla="*/ 456407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0" y="21599"/>
                    </a:lnTo>
                    <a:lnTo>
                      <a:pt x="21600" y="21599"/>
                    </a:lnTo>
                    <a:lnTo>
                      <a:pt x="0" y="0"/>
                    </a:lnTo>
                    <a:close/>
                  </a:path>
                </a:pathLst>
              </a:custGeom>
              <a:solidFill>
                <a:schemeClr val="tx1">
                  <a:lumMod val="50000"/>
                  <a:lumOff val="50000"/>
                </a:schemeClr>
              </a:solidFill>
              <a:ln>
                <a:noFill/>
              </a:ln>
              <a:effectLst/>
              <a:ex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297" name="íṧḷiḑè">
                <a:extLst>
                  <a:ext uri="{FF2B5EF4-FFF2-40B4-BE49-F238E27FC236}">
                    <a16:creationId xmlns:a16="http://schemas.microsoft.com/office/drawing/2014/main" id="{0D048A67-F58E-4F28-A2D0-2A7C5FA6A86A}"/>
                  </a:ext>
                </a:extLst>
              </p:cNvPr>
              <p:cNvSpPr/>
              <p:nvPr/>
            </p:nvSpPr>
            <p:spPr bwMode="auto">
              <a:xfrm>
                <a:off x="5884726" y="2397491"/>
                <a:ext cx="2023255" cy="711557"/>
              </a:xfrm>
              <a:custGeom>
                <a:avLst/>
                <a:gdLst>
                  <a:gd name="T0" fmla="*/ 1803400 w 21600"/>
                  <a:gd name="T1" fmla="*/ 973931 h 21600"/>
                  <a:gd name="T2" fmla="*/ 1803400 w 21600"/>
                  <a:gd name="T3" fmla="*/ 973931 h 21600"/>
                  <a:gd name="T4" fmla="*/ 1803400 w 21600"/>
                  <a:gd name="T5" fmla="*/ 973931 h 21600"/>
                  <a:gd name="T6" fmla="*/ 1803400 w 21600"/>
                  <a:gd name="T7" fmla="*/ 973931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21600" y="0"/>
                    </a:lnTo>
                    <a:lnTo>
                      <a:pt x="21600" y="21599"/>
                    </a:lnTo>
                    <a:lnTo>
                      <a:pt x="0" y="21599"/>
                    </a:lnTo>
                    <a:lnTo>
                      <a:pt x="0" y="0"/>
                    </a:lnTo>
                    <a:close/>
                  </a:path>
                </a:pathLst>
              </a:custGeom>
              <a:solidFill>
                <a:schemeClr val="bg1">
                  <a:lumMod val="85000"/>
                </a:schemeClr>
              </a:solidFill>
              <a:ln>
                <a:noFill/>
              </a:ln>
              <a:effectLst/>
              <a:ex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dirty="0" smtClean="0"/>
                  <a:t>构思设计</a:t>
                </a:r>
                <a:endParaRPr lang="en-US" altLang="zh-CN" dirty="0"/>
              </a:p>
            </p:txBody>
          </p:sp>
          <p:sp>
            <p:nvSpPr>
              <p:cNvPr id="298" name="ïṥlïḍê">
                <a:extLst>
                  <a:ext uri="{FF2B5EF4-FFF2-40B4-BE49-F238E27FC236}">
                    <a16:creationId xmlns:a16="http://schemas.microsoft.com/office/drawing/2014/main" id="{8F31D863-1C3D-4F82-B06E-29D7074B9189}"/>
                  </a:ext>
                </a:extLst>
              </p:cNvPr>
              <p:cNvSpPr/>
              <p:nvPr/>
            </p:nvSpPr>
            <p:spPr bwMode="auto">
              <a:xfrm rot="10800000">
                <a:off x="7420869" y="2774437"/>
                <a:ext cx="487113" cy="333452"/>
              </a:xfrm>
              <a:custGeom>
                <a:avLst/>
                <a:gdLst>
                  <a:gd name="T0" fmla="*/ 434181 w 21600"/>
                  <a:gd name="T1" fmla="*/ 456406 h 21600"/>
                  <a:gd name="T2" fmla="*/ 434181 w 21600"/>
                  <a:gd name="T3" fmla="*/ 456406 h 21600"/>
                  <a:gd name="T4" fmla="*/ 434181 w 21600"/>
                  <a:gd name="T5" fmla="*/ 456406 h 21600"/>
                  <a:gd name="T6" fmla="*/ 434181 w 21600"/>
                  <a:gd name="T7" fmla="*/ 45640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0" y="21599"/>
                    </a:lnTo>
                    <a:lnTo>
                      <a:pt x="21600" y="21599"/>
                    </a:lnTo>
                    <a:lnTo>
                      <a:pt x="0" y="0"/>
                    </a:lnTo>
                    <a:close/>
                  </a:path>
                </a:pathLst>
              </a:custGeom>
              <a:solidFill>
                <a:schemeClr val="tx1">
                  <a:lumMod val="50000"/>
                  <a:lumOff val="50000"/>
                </a:schemeClr>
              </a:solidFill>
              <a:ln>
                <a:noFill/>
              </a:ln>
              <a:effectLst/>
              <a:ex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299" name="íşľíḋê">
                <a:extLst>
                  <a:ext uri="{FF2B5EF4-FFF2-40B4-BE49-F238E27FC236}">
                    <a16:creationId xmlns:a16="http://schemas.microsoft.com/office/drawing/2014/main" id="{AEB695AE-F6F3-43AF-A016-B53E884B789E}"/>
                  </a:ext>
                </a:extLst>
              </p:cNvPr>
              <p:cNvSpPr/>
              <p:nvPr/>
            </p:nvSpPr>
            <p:spPr bwMode="auto">
              <a:xfrm rot="10800000">
                <a:off x="4361942" y="3446100"/>
                <a:ext cx="487113" cy="333452"/>
              </a:xfrm>
              <a:custGeom>
                <a:avLst/>
                <a:gdLst>
                  <a:gd name="T0" fmla="*/ 434181 w 21600"/>
                  <a:gd name="T1" fmla="*/ 456407 h 21600"/>
                  <a:gd name="T2" fmla="*/ 434181 w 21600"/>
                  <a:gd name="T3" fmla="*/ 456407 h 21600"/>
                  <a:gd name="T4" fmla="*/ 434181 w 21600"/>
                  <a:gd name="T5" fmla="*/ 456407 h 21600"/>
                  <a:gd name="T6" fmla="*/ 434181 w 21600"/>
                  <a:gd name="T7" fmla="*/ 456407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0" y="21599"/>
                    </a:lnTo>
                    <a:lnTo>
                      <a:pt x="21600" y="21599"/>
                    </a:lnTo>
                    <a:lnTo>
                      <a:pt x="0" y="0"/>
                    </a:lnTo>
                    <a:close/>
                  </a:path>
                </a:pathLst>
              </a:custGeom>
              <a:solidFill>
                <a:schemeClr val="tx1">
                  <a:lumMod val="50000"/>
                  <a:lumOff val="50000"/>
                </a:schemeClr>
              </a:solidFill>
              <a:ln>
                <a:noFill/>
              </a:ln>
              <a:effectLst/>
              <a:ex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300" name="ïŝľiḋê">
                <a:extLst>
                  <a:ext uri="{FF2B5EF4-FFF2-40B4-BE49-F238E27FC236}">
                    <a16:creationId xmlns:a16="http://schemas.microsoft.com/office/drawing/2014/main" id="{EA071D77-6299-47E7-A1BC-5B51C76D2DD0}"/>
                  </a:ext>
                </a:extLst>
              </p:cNvPr>
              <p:cNvSpPr/>
              <p:nvPr/>
            </p:nvSpPr>
            <p:spPr bwMode="auto">
              <a:xfrm rot="10800000">
                <a:off x="8939200" y="2440984"/>
                <a:ext cx="487113" cy="333452"/>
              </a:xfrm>
              <a:custGeom>
                <a:avLst/>
                <a:gdLst>
                  <a:gd name="T0" fmla="*/ 434181 w 21600"/>
                  <a:gd name="T1" fmla="*/ 456406 h 21600"/>
                  <a:gd name="T2" fmla="*/ 434181 w 21600"/>
                  <a:gd name="T3" fmla="*/ 456406 h 21600"/>
                  <a:gd name="T4" fmla="*/ 434181 w 21600"/>
                  <a:gd name="T5" fmla="*/ 456406 h 21600"/>
                  <a:gd name="T6" fmla="*/ 434181 w 21600"/>
                  <a:gd name="T7" fmla="*/ 45640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0" y="21599"/>
                    </a:lnTo>
                    <a:lnTo>
                      <a:pt x="21600" y="21599"/>
                    </a:lnTo>
                    <a:lnTo>
                      <a:pt x="0" y="0"/>
                    </a:lnTo>
                    <a:close/>
                  </a:path>
                </a:pathLst>
              </a:custGeom>
              <a:solidFill>
                <a:schemeClr val="tx1">
                  <a:lumMod val="50000"/>
                  <a:lumOff val="50000"/>
                </a:schemeClr>
              </a:solidFill>
              <a:ln>
                <a:noFill/>
              </a:ln>
              <a:effectLst/>
              <a:ex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301" name="îsḻíḑe">
                <a:extLst>
                  <a:ext uri="{FF2B5EF4-FFF2-40B4-BE49-F238E27FC236}">
                    <a16:creationId xmlns:a16="http://schemas.microsoft.com/office/drawing/2014/main" id="{ED1793B2-3DBE-463C-AEEB-4A8539B53038}"/>
                  </a:ext>
                </a:extLst>
              </p:cNvPr>
              <p:cNvSpPr/>
              <p:nvPr/>
            </p:nvSpPr>
            <p:spPr bwMode="auto">
              <a:xfrm>
                <a:off x="7448876" y="2063410"/>
                <a:ext cx="2576835" cy="711556"/>
              </a:xfrm>
              <a:prstGeom prst="homePlate">
                <a:avLst/>
              </a:prstGeom>
              <a:solidFill>
                <a:schemeClr val="accent1"/>
              </a:solidFill>
              <a:ln>
                <a:noFill/>
              </a:ln>
              <a:effectLst/>
              <a:ex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dirty="0" smtClean="0">
                    <a:solidFill>
                      <a:schemeClr val="bg1"/>
                    </a:solidFill>
                  </a:rPr>
                  <a:t>绘制类图</a:t>
                </a:r>
                <a:endParaRPr lang="en-US" altLang="zh-CN" dirty="0">
                  <a:solidFill>
                    <a:schemeClr val="bg1"/>
                  </a:solidFill>
                </a:endParaRPr>
              </a:p>
            </p:txBody>
          </p:sp>
        </p:grpSp>
        <p:cxnSp>
          <p:nvCxnSpPr>
            <p:cNvPr id="265" name="直接连接符 264">
              <a:extLst>
                <a:ext uri="{FF2B5EF4-FFF2-40B4-BE49-F238E27FC236}">
                  <a16:creationId xmlns:a16="http://schemas.microsoft.com/office/drawing/2014/main" id="{4AA622A8-8183-4782-A4A5-6DF01B92BB53}"/>
                </a:ext>
              </a:extLst>
            </p:cNvPr>
            <p:cNvCxnSpPr/>
            <p:nvPr/>
          </p:nvCxnSpPr>
          <p:spPr>
            <a:xfrm flipV="1">
              <a:off x="669926" y="4799937"/>
              <a:ext cx="9355785" cy="13563"/>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nvGrpSpPr>
            <p:cNvPr id="266" name="íšļïḍé">
              <a:extLst>
                <a:ext uri="{FF2B5EF4-FFF2-40B4-BE49-F238E27FC236}">
                  <a16:creationId xmlns:a16="http://schemas.microsoft.com/office/drawing/2014/main" id="{02966B0C-BB54-40F6-A1EA-F42471126436}"/>
                </a:ext>
              </a:extLst>
            </p:cNvPr>
            <p:cNvGrpSpPr/>
            <p:nvPr/>
          </p:nvGrpSpPr>
          <p:grpSpPr>
            <a:xfrm>
              <a:off x="673100" y="4533901"/>
              <a:ext cx="1580392" cy="1612899"/>
              <a:chOff x="673100" y="4533901"/>
              <a:chExt cx="1580392" cy="1612899"/>
            </a:xfrm>
          </p:grpSpPr>
          <p:grpSp>
            <p:nvGrpSpPr>
              <p:cNvPr id="288" name="íŝļíďe">
                <a:extLst>
                  <a:ext uri="{FF2B5EF4-FFF2-40B4-BE49-F238E27FC236}">
                    <a16:creationId xmlns:a16="http://schemas.microsoft.com/office/drawing/2014/main" id="{EEF90E27-7736-4217-B1E5-ADD588C9C5BC}"/>
                  </a:ext>
                </a:extLst>
              </p:cNvPr>
              <p:cNvGrpSpPr/>
              <p:nvPr/>
            </p:nvGrpSpPr>
            <p:grpSpPr>
              <a:xfrm>
                <a:off x="1668638" y="4533901"/>
                <a:ext cx="532084" cy="532082"/>
                <a:chOff x="2381089" y="4383463"/>
                <a:chExt cx="784597" cy="784597"/>
              </a:xfrm>
            </p:grpSpPr>
            <p:sp>
              <p:nvSpPr>
                <p:cNvPr id="290" name="ïṣ1ïdê">
                  <a:extLst>
                    <a:ext uri="{FF2B5EF4-FFF2-40B4-BE49-F238E27FC236}">
                      <a16:creationId xmlns:a16="http://schemas.microsoft.com/office/drawing/2014/main" id="{FBC6DF09-FCD2-4E57-B557-9F103A335C85}"/>
                    </a:ext>
                  </a:extLst>
                </p:cNvPr>
                <p:cNvSpPr/>
                <p:nvPr/>
              </p:nvSpPr>
              <p:spPr>
                <a:xfrm rot="10800000" flipV="1">
                  <a:off x="2381089" y="4383463"/>
                  <a:ext cx="784597" cy="784597"/>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21600" y="16765"/>
                        <a:pt x="16765" y="21600"/>
                        <a:pt x="10800" y="21600"/>
                      </a:cubicBezTo>
                      <a:cubicBezTo>
                        <a:pt x="4835" y="21600"/>
                        <a:pt x="0" y="16765"/>
                        <a:pt x="0" y="10800"/>
                      </a:cubicBezTo>
                      <a:cubicBezTo>
                        <a:pt x="0" y="4835"/>
                        <a:pt x="4835" y="0"/>
                        <a:pt x="10800" y="0"/>
                      </a:cubicBezTo>
                      <a:cubicBezTo>
                        <a:pt x="16765" y="0"/>
                        <a:pt x="21600" y="4835"/>
                        <a:pt x="21600" y="10800"/>
                      </a:cubicBezTo>
                      <a:close/>
                    </a:path>
                  </a:pathLst>
                </a:custGeom>
                <a:solidFill>
                  <a:schemeClr val="tx1">
                    <a:lumMod val="50000"/>
                    <a:lumOff val="50000"/>
                  </a:schemeClr>
                </a:solidFill>
                <a:ln w="38100" cap="flat" cmpd="sng" algn="ctr">
                  <a:solidFill>
                    <a:schemeClr val="bg1">
                      <a:lumMod val="9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solidFill>
                      <a:schemeClr val="lt1"/>
                    </a:solidFill>
                  </a:endParaRPr>
                </a:p>
              </p:txBody>
            </p:sp>
            <p:sp>
              <p:nvSpPr>
                <p:cNvPr id="291" name="isļîdê">
                  <a:extLst>
                    <a:ext uri="{FF2B5EF4-FFF2-40B4-BE49-F238E27FC236}">
                      <a16:creationId xmlns:a16="http://schemas.microsoft.com/office/drawing/2014/main" id="{3F45D60B-A46F-4AB8-A530-AEB442A946B9}"/>
                    </a:ext>
                  </a:extLst>
                </p:cNvPr>
                <p:cNvSpPr/>
                <p:nvPr/>
              </p:nvSpPr>
              <p:spPr bwMode="auto">
                <a:xfrm>
                  <a:off x="2599584" y="4602241"/>
                  <a:ext cx="347606" cy="347037"/>
                </a:xfrm>
                <a:custGeom>
                  <a:avLst/>
                  <a:gdLst>
                    <a:gd name="connsiteX0" fmla="*/ 140058 w 608466"/>
                    <a:gd name="connsiteY0" fmla="*/ 391328 h 607471"/>
                    <a:gd name="connsiteX1" fmla="*/ 183230 w 608466"/>
                    <a:gd name="connsiteY1" fmla="*/ 434344 h 607471"/>
                    <a:gd name="connsiteX2" fmla="*/ 216467 w 608466"/>
                    <a:gd name="connsiteY2" fmla="*/ 467532 h 607471"/>
                    <a:gd name="connsiteX3" fmla="*/ 78226 w 608466"/>
                    <a:gd name="connsiteY3" fmla="*/ 605572 h 607471"/>
                    <a:gd name="connsiteX4" fmla="*/ 33941 w 608466"/>
                    <a:gd name="connsiteY4" fmla="*/ 583415 h 607471"/>
                    <a:gd name="connsiteX5" fmla="*/ 1910 w 608466"/>
                    <a:gd name="connsiteY5" fmla="*/ 529275 h 607471"/>
                    <a:gd name="connsiteX6" fmla="*/ 338845 w 608466"/>
                    <a:gd name="connsiteY6" fmla="*/ 166372 h 607471"/>
                    <a:gd name="connsiteX7" fmla="*/ 313032 w 608466"/>
                    <a:gd name="connsiteY7" fmla="*/ 210126 h 607471"/>
                    <a:gd name="connsiteX8" fmla="*/ 304583 w 608466"/>
                    <a:gd name="connsiteY8" fmla="*/ 215039 h 607471"/>
                    <a:gd name="connsiteX9" fmla="*/ 245621 w 608466"/>
                    <a:gd name="connsiteY9" fmla="*/ 215039 h 607471"/>
                    <a:gd name="connsiteX10" fmla="*/ 291026 w 608466"/>
                    <a:gd name="connsiteY10" fmla="*/ 316915 h 607471"/>
                    <a:gd name="connsiteX11" fmla="*/ 512666 w 608466"/>
                    <a:gd name="connsiteY11" fmla="*/ 316915 h 607471"/>
                    <a:gd name="connsiteX12" fmla="*/ 558164 w 608466"/>
                    <a:gd name="connsiteY12" fmla="*/ 215039 h 607471"/>
                    <a:gd name="connsiteX13" fmla="*/ 440055 w 608466"/>
                    <a:gd name="connsiteY13" fmla="*/ 215039 h 607471"/>
                    <a:gd name="connsiteX14" fmla="*/ 430770 w 608466"/>
                    <a:gd name="connsiteY14" fmla="*/ 208179 h 607471"/>
                    <a:gd name="connsiteX15" fmla="*/ 426963 w 608466"/>
                    <a:gd name="connsiteY15" fmla="*/ 196406 h 607471"/>
                    <a:gd name="connsiteX16" fmla="*/ 399478 w 608466"/>
                    <a:gd name="connsiteY16" fmla="*/ 308387 h 607471"/>
                    <a:gd name="connsiteX17" fmla="*/ 390193 w 608466"/>
                    <a:gd name="connsiteY17" fmla="*/ 315896 h 607471"/>
                    <a:gd name="connsiteX18" fmla="*/ 389914 w 608466"/>
                    <a:gd name="connsiteY18" fmla="*/ 315896 h 607471"/>
                    <a:gd name="connsiteX19" fmla="*/ 380536 w 608466"/>
                    <a:gd name="connsiteY19" fmla="*/ 308850 h 607471"/>
                    <a:gd name="connsiteX20" fmla="*/ 401846 w 608466"/>
                    <a:gd name="connsiteY20" fmla="*/ 49802 h 607471"/>
                    <a:gd name="connsiteX21" fmla="*/ 291026 w 608466"/>
                    <a:gd name="connsiteY21" fmla="*/ 95550 h 607471"/>
                    <a:gd name="connsiteX22" fmla="*/ 245714 w 608466"/>
                    <a:gd name="connsiteY22" fmla="*/ 195387 h 607471"/>
                    <a:gd name="connsiteX23" fmla="*/ 299011 w 608466"/>
                    <a:gd name="connsiteY23" fmla="*/ 195387 h 607471"/>
                    <a:gd name="connsiteX24" fmla="*/ 333367 w 608466"/>
                    <a:gd name="connsiteY24" fmla="*/ 136893 h 607471"/>
                    <a:gd name="connsiteX25" fmla="*/ 343024 w 608466"/>
                    <a:gd name="connsiteY25" fmla="*/ 132166 h 607471"/>
                    <a:gd name="connsiteX26" fmla="*/ 351287 w 608466"/>
                    <a:gd name="connsiteY26" fmla="*/ 139118 h 607471"/>
                    <a:gd name="connsiteX27" fmla="*/ 389079 w 608466"/>
                    <a:gd name="connsiteY27" fmla="*/ 268341 h 607471"/>
                    <a:gd name="connsiteX28" fmla="*/ 416192 w 608466"/>
                    <a:gd name="connsiteY28" fmla="*/ 157936 h 607471"/>
                    <a:gd name="connsiteX29" fmla="*/ 425384 w 608466"/>
                    <a:gd name="connsiteY29" fmla="*/ 150520 h 607471"/>
                    <a:gd name="connsiteX30" fmla="*/ 435041 w 608466"/>
                    <a:gd name="connsiteY30" fmla="*/ 157287 h 607471"/>
                    <a:gd name="connsiteX31" fmla="*/ 447297 w 608466"/>
                    <a:gd name="connsiteY31" fmla="*/ 195387 h 607471"/>
                    <a:gd name="connsiteX32" fmla="*/ 558071 w 608466"/>
                    <a:gd name="connsiteY32" fmla="*/ 195387 h 607471"/>
                    <a:gd name="connsiteX33" fmla="*/ 512666 w 608466"/>
                    <a:gd name="connsiteY33" fmla="*/ 95550 h 607471"/>
                    <a:gd name="connsiteX34" fmla="*/ 401846 w 608466"/>
                    <a:gd name="connsiteY34" fmla="*/ 49802 h 607471"/>
                    <a:gd name="connsiteX35" fmla="*/ 401846 w 608466"/>
                    <a:gd name="connsiteY35" fmla="*/ 0 h 607471"/>
                    <a:gd name="connsiteX36" fmla="*/ 547950 w 608466"/>
                    <a:gd name="connsiteY36" fmla="*/ 60417 h 607471"/>
                    <a:gd name="connsiteX37" fmla="*/ 547950 w 608466"/>
                    <a:gd name="connsiteY37" fmla="*/ 352048 h 607471"/>
                    <a:gd name="connsiteX38" fmla="*/ 274684 w 608466"/>
                    <a:gd name="connsiteY38" fmla="*/ 368549 h 607471"/>
                    <a:gd name="connsiteX39" fmla="*/ 247757 w 608466"/>
                    <a:gd name="connsiteY39" fmla="*/ 395524 h 607471"/>
                    <a:gd name="connsiteX40" fmla="*/ 258899 w 608466"/>
                    <a:gd name="connsiteY40" fmla="*/ 425281 h 607471"/>
                    <a:gd name="connsiteX41" fmla="*/ 236057 w 608466"/>
                    <a:gd name="connsiteY41" fmla="*/ 447992 h 607471"/>
                    <a:gd name="connsiteX42" fmla="*/ 159732 w 608466"/>
                    <a:gd name="connsiteY42" fmla="*/ 371700 h 607471"/>
                    <a:gd name="connsiteX43" fmla="*/ 182481 w 608466"/>
                    <a:gd name="connsiteY43" fmla="*/ 348989 h 607471"/>
                    <a:gd name="connsiteX44" fmla="*/ 212194 w 608466"/>
                    <a:gd name="connsiteY44" fmla="*/ 360113 h 607471"/>
                    <a:gd name="connsiteX45" fmla="*/ 239214 w 608466"/>
                    <a:gd name="connsiteY45" fmla="*/ 333138 h 607471"/>
                    <a:gd name="connsiteX46" fmla="*/ 255742 w 608466"/>
                    <a:gd name="connsiteY46" fmla="*/ 60417 h 607471"/>
                    <a:gd name="connsiteX47" fmla="*/ 401846 w 608466"/>
                    <a:gd name="connsiteY47" fmla="*/ 0 h 607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08466" h="607471">
                      <a:moveTo>
                        <a:pt x="140058" y="391328"/>
                      </a:moveTo>
                      <a:lnTo>
                        <a:pt x="183230" y="434344"/>
                      </a:lnTo>
                      <a:lnTo>
                        <a:pt x="216467" y="467532"/>
                      </a:lnTo>
                      <a:lnTo>
                        <a:pt x="78226" y="605572"/>
                      </a:lnTo>
                      <a:cubicBezTo>
                        <a:pt x="71449" y="612339"/>
                        <a:pt x="51859" y="600102"/>
                        <a:pt x="33941" y="583415"/>
                      </a:cubicBezTo>
                      <a:cubicBezTo>
                        <a:pt x="12680" y="563576"/>
                        <a:pt x="-6167" y="537433"/>
                        <a:pt x="1910" y="529275"/>
                      </a:cubicBezTo>
                      <a:close/>
                      <a:moveTo>
                        <a:pt x="338845" y="166372"/>
                      </a:moveTo>
                      <a:lnTo>
                        <a:pt x="313032" y="210126"/>
                      </a:lnTo>
                      <a:cubicBezTo>
                        <a:pt x="311268" y="213185"/>
                        <a:pt x="308111" y="215039"/>
                        <a:pt x="304583" y="215039"/>
                      </a:cubicBezTo>
                      <a:lnTo>
                        <a:pt x="245621" y="215039"/>
                      </a:lnTo>
                      <a:cubicBezTo>
                        <a:pt x="247664" y="252118"/>
                        <a:pt x="262706" y="288642"/>
                        <a:pt x="291026" y="316915"/>
                      </a:cubicBezTo>
                      <a:cubicBezTo>
                        <a:pt x="352123" y="377911"/>
                        <a:pt x="451569" y="377911"/>
                        <a:pt x="512666" y="316915"/>
                      </a:cubicBezTo>
                      <a:cubicBezTo>
                        <a:pt x="541079" y="288642"/>
                        <a:pt x="556028" y="252118"/>
                        <a:pt x="558164" y="215039"/>
                      </a:cubicBezTo>
                      <a:lnTo>
                        <a:pt x="440055" y="215039"/>
                      </a:lnTo>
                      <a:cubicBezTo>
                        <a:pt x="435784" y="215039"/>
                        <a:pt x="432069" y="212258"/>
                        <a:pt x="430770" y="208179"/>
                      </a:cubicBezTo>
                      <a:lnTo>
                        <a:pt x="426963" y="196406"/>
                      </a:lnTo>
                      <a:lnTo>
                        <a:pt x="399478" y="308387"/>
                      </a:lnTo>
                      <a:cubicBezTo>
                        <a:pt x="398457" y="312744"/>
                        <a:pt x="394557" y="315803"/>
                        <a:pt x="390193" y="315896"/>
                      </a:cubicBezTo>
                      <a:lnTo>
                        <a:pt x="389914" y="315896"/>
                      </a:lnTo>
                      <a:cubicBezTo>
                        <a:pt x="385550" y="315896"/>
                        <a:pt x="381743" y="313022"/>
                        <a:pt x="380536" y="308850"/>
                      </a:cubicBezTo>
                      <a:close/>
                      <a:moveTo>
                        <a:pt x="401846" y="49802"/>
                      </a:moveTo>
                      <a:cubicBezTo>
                        <a:pt x="361710" y="49802"/>
                        <a:pt x="321575" y="65052"/>
                        <a:pt x="291026" y="95550"/>
                      </a:cubicBezTo>
                      <a:cubicBezTo>
                        <a:pt x="263170" y="123359"/>
                        <a:pt x="248221" y="159048"/>
                        <a:pt x="245714" y="195387"/>
                      </a:cubicBezTo>
                      <a:lnTo>
                        <a:pt x="299011" y="195387"/>
                      </a:lnTo>
                      <a:lnTo>
                        <a:pt x="333367" y="136893"/>
                      </a:lnTo>
                      <a:cubicBezTo>
                        <a:pt x="335317" y="133556"/>
                        <a:pt x="339124" y="131610"/>
                        <a:pt x="343024" y="132166"/>
                      </a:cubicBezTo>
                      <a:cubicBezTo>
                        <a:pt x="346923" y="132629"/>
                        <a:pt x="350173" y="135318"/>
                        <a:pt x="351287" y="139118"/>
                      </a:cubicBezTo>
                      <a:lnTo>
                        <a:pt x="389079" y="268341"/>
                      </a:lnTo>
                      <a:lnTo>
                        <a:pt x="416192" y="157936"/>
                      </a:lnTo>
                      <a:cubicBezTo>
                        <a:pt x="417213" y="153672"/>
                        <a:pt x="420927" y="150613"/>
                        <a:pt x="425384" y="150520"/>
                      </a:cubicBezTo>
                      <a:cubicBezTo>
                        <a:pt x="429748" y="150057"/>
                        <a:pt x="433741" y="153116"/>
                        <a:pt x="435041" y="157287"/>
                      </a:cubicBezTo>
                      <a:lnTo>
                        <a:pt x="447297" y="195387"/>
                      </a:lnTo>
                      <a:lnTo>
                        <a:pt x="558071" y="195387"/>
                      </a:lnTo>
                      <a:cubicBezTo>
                        <a:pt x="555564" y="159048"/>
                        <a:pt x="540522" y="123359"/>
                        <a:pt x="512666" y="95550"/>
                      </a:cubicBezTo>
                      <a:cubicBezTo>
                        <a:pt x="482117" y="65052"/>
                        <a:pt x="441982" y="49802"/>
                        <a:pt x="401846" y="49802"/>
                      </a:cubicBezTo>
                      <a:close/>
                      <a:moveTo>
                        <a:pt x="401846" y="0"/>
                      </a:moveTo>
                      <a:cubicBezTo>
                        <a:pt x="454726" y="0"/>
                        <a:pt x="507605" y="20139"/>
                        <a:pt x="547950" y="60417"/>
                      </a:cubicBezTo>
                      <a:cubicBezTo>
                        <a:pt x="628639" y="140972"/>
                        <a:pt x="628639" y="271493"/>
                        <a:pt x="547950" y="352048"/>
                      </a:cubicBezTo>
                      <a:cubicBezTo>
                        <a:pt x="473296" y="426579"/>
                        <a:pt x="355744" y="432048"/>
                        <a:pt x="274684" y="368549"/>
                      </a:cubicBezTo>
                      <a:lnTo>
                        <a:pt x="247757" y="395524"/>
                      </a:lnTo>
                      <a:cubicBezTo>
                        <a:pt x="257785" y="408595"/>
                        <a:pt x="263542" y="420553"/>
                        <a:pt x="258899" y="425281"/>
                      </a:cubicBezTo>
                      <a:lnTo>
                        <a:pt x="236057" y="447992"/>
                      </a:lnTo>
                      <a:lnTo>
                        <a:pt x="159732" y="371700"/>
                      </a:lnTo>
                      <a:lnTo>
                        <a:pt x="182481" y="348989"/>
                      </a:lnTo>
                      <a:cubicBezTo>
                        <a:pt x="187216" y="344262"/>
                        <a:pt x="199102" y="350009"/>
                        <a:pt x="212194" y="360113"/>
                      </a:cubicBezTo>
                      <a:lnTo>
                        <a:pt x="239214" y="333138"/>
                      </a:lnTo>
                      <a:cubicBezTo>
                        <a:pt x="175703" y="252211"/>
                        <a:pt x="181088" y="134947"/>
                        <a:pt x="255742" y="60417"/>
                      </a:cubicBezTo>
                      <a:cubicBezTo>
                        <a:pt x="296086" y="20139"/>
                        <a:pt x="348966" y="0"/>
                        <a:pt x="401846" y="0"/>
                      </a:cubicBezTo>
                      <a:close/>
                    </a:path>
                  </a:pathLst>
                </a:custGeom>
                <a:solidFill>
                  <a:schemeClr val="bg1"/>
                </a:solidFill>
                <a:ln w="9525">
                  <a:noFill/>
                  <a:round/>
                  <a:headEnd/>
                  <a:tailEnd/>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sp>
            <p:nvSpPr>
              <p:cNvPr id="289" name="ïŝḻiḋê">
                <a:extLst>
                  <a:ext uri="{FF2B5EF4-FFF2-40B4-BE49-F238E27FC236}">
                    <a16:creationId xmlns:a16="http://schemas.microsoft.com/office/drawing/2014/main" id="{A818DAC0-BFF6-48E7-BF43-D9CB294CE7DF}"/>
                  </a:ext>
                </a:extLst>
              </p:cNvPr>
              <p:cNvSpPr txBox="1"/>
              <p:nvPr/>
            </p:nvSpPr>
            <p:spPr>
              <a:xfrm>
                <a:off x="673100" y="5550915"/>
                <a:ext cx="1580392" cy="595885"/>
              </a:xfrm>
              <a:prstGeom prst="rect">
                <a:avLst/>
              </a:prstGeom>
            </p:spPr>
            <p:txBody>
              <a:bodyPr wrap="square"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lnSpc>
                    <a:spcPct val="150000"/>
                  </a:lnSpc>
                  <a:spcBef>
                    <a:spcPct val="0"/>
                  </a:spcBef>
                  <a:buNone/>
                </a:pPr>
                <a:endParaRPr lang="zh-CN" altLang="en-US" sz="1100" dirty="0"/>
              </a:p>
            </p:txBody>
          </p:sp>
        </p:grpSp>
        <p:grpSp>
          <p:nvGrpSpPr>
            <p:cNvPr id="267" name="iṡľîḓê">
              <a:extLst>
                <a:ext uri="{FF2B5EF4-FFF2-40B4-BE49-F238E27FC236}">
                  <a16:creationId xmlns:a16="http://schemas.microsoft.com/office/drawing/2014/main" id="{3E22F184-5110-4AEF-91A7-7AECFADA0813}"/>
                </a:ext>
              </a:extLst>
            </p:cNvPr>
            <p:cNvGrpSpPr/>
            <p:nvPr/>
          </p:nvGrpSpPr>
          <p:grpSpPr>
            <a:xfrm>
              <a:off x="2526182" y="4533901"/>
              <a:ext cx="1580392" cy="1612899"/>
              <a:chOff x="673100" y="4533901"/>
              <a:chExt cx="1580392" cy="1612899"/>
            </a:xfrm>
          </p:grpSpPr>
          <p:grpSp>
            <p:nvGrpSpPr>
              <p:cNvPr id="284" name="íṩļïḓé">
                <a:extLst>
                  <a:ext uri="{FF2B5EF4-FFF2-40B4-BE49-F238E27FC236}">
                    <a16:creationId xmlns:a16="http://schemas.microsoft.com/office/drawing/2014/main" id="{C8C1B28D-8402-4B93-9449-6F97EFA49D78}"/>
                  </a:ext>
                </a:extLst>
              </p:cNvPr>
              <p:cNvGrpSpPr/>
              <p:nvPr/>
            </p:nvGrpSpPr>
            <p:grpSpPr>
              <a:xfrm>
                <a:off x="1601299" y="4533901"/>
                <a:ext cx="532084" cy="532082"/>
                <a:chOff x="2281802" y="4383463"/>
                <a:chExt cx="784597" cy="784597"/>
              </a:xfrm>
            </p:grpSpPr>
            <p:sp>
              <p:nvSpPr>
                <p:cNvPr id="286" name="íš1îdê">
                  <a:extLst>
                    <a:ext uri="{FF2B5EF4-FFF2-40B4-BE49-F238E27FC236}">
                      <a16:creationId xmlns:a16="http://schemas.microsoft.com/office/drawing/2014/main" id="{3FC487D0-A815-4107-8A36-7C156E98B5FA}"/>
                    </a:ext>
                  </a:extLst>
                </p:cNvPr>
                <p:cNvSpPr/>
                <p:nvPr/>
              </p:nvSpPr>
              <p:spPr>
                <a:xfrm rot="10800000" flipV="1">
                  <a:off x="2281802" y="4383463"/>
                  <a:ext cx="784597" cy="784597"/>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21600" y="16765"/>
                        <a:pt x="16765" y="21600"/>
                        <a:pt x="10800" y="21600"/>
                      </a:cubicBezTo>
                      <a:cubicBezTo>
                        <a:pt x="4835" y="21600"/>
                        <a:pt x="0" y="16765"/>
                        <a:pt x="0" y="10800"/>
                      </a:cubicBezTo>
                      <a:cubicBezTo>
                        <a:pt x="0" y="4835"/>
                        <a:pt x="4835" y="0"/>
                        <a:pt x="10800" y="0"/>
                      </a:cubicBezTo>
                      <a:cubicBezTo>
                        <a:pt x="16765" y="0"/>
                        <a:pt x="21600" y="4835"/>
                        <a:pt x="21600" y="10800"/>
                      </a:cubicBezTo>
                      <a:close/>
                    </a:path>
                  </a:pathLst>
                </a:custGeom>
                <a:solidFill>
                  <a:schemeClr val="tx1">
                    <a:lumMod val="50000"/>
                    <a:lumOff val="50000"/>
                  </a:schemeClr>
                </a:solidFill>
                <a:ln w="38100" cap="flat" cmpd="sng" algn="ctr">
                  <a:solidFill>
                    <a:schemeClr val="bg1">
                      <a:lumMod val="9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solidFill>
                      <a:schemeClr val="lt1"/>
                    </a:solidFill>
                  </a:endParaRPr>
                </a:p>
              </p:txBody>
            </p:sp>
            <p:sp>
              <p:nvSpPr>
                <p:cNvPr id="287" name="í$ļîḋé">
                  <a:extLst>
                    <a:ext uri="{FF2B5EF4-FFF2-40B4-BE49-F238E27FC236}">
                      <a16:creationId xmlns:a16="http://schemas.microsoft.com/office/drawing/2014/main" id="{D7D8818F-F646-4A5A-ACCA-86AF29F4E2DB}"/>
                    </a:ext>
                  </a:extLst>
                </p:cNvPr>
                <p:cNvSpPr/>
                <p:nvPr/>
              </p:nvSpPr>
              <p:spPr bwMode="auto">
                <a:xfrm>
                  <a:off x="2515258" y="4601956"/>
                  <a:ext cx="317682" cy="347606"/>
                </a:xfrm>
                <a:custGeom>
                  <a:avLst/>
                  <a:gdLst>
                    <a:gd name="T0" fmla="*/ 883 w 1398"/>
                    <a:gd name="T1" fmla="*/ 393 h 1532"/>
                    <a:gd name="T2" fmla="*/ 918 w 1398"/>
                    <a:gd name="T3" fmla="*/ 429 h 1532"/>
                    <a:gd name="T4" fmla="*/ 918 w 1398"/>
                    <a:gd name="T5" fmla="*/ 510 h 1532"/>
                    <a:gd name="T6" fmla="*/ 883 w 1398"/>
                    <a:gd name="T7" fmla="*/ 545 h 1532"/>
                    <a:gd name="T8" fmla="*/ 802 w 1398"/>
                    <a:gd name="T9" fmla="*/ 545 h 1532"/>
                    <a:gd name="T10" fmla="*/ 767 w 1398"/>
                    <a:gd name="T11" fmla="*/ 510 h 1532"/>
                    <a:gd name="T12" fmla="*/ 767 w 1398"/>
                    <a:gd name="T13" fmla="*/ 429 h 1532"/>
                    <a:gd name="T14" fmla="*/ 802 w 1398"/>
                    <a:gd name="T15" fmla="*/ 393 h 1532"/>
                    <a:gd name="T16" fmla="*/ 1135 w 1398"/>
                    <a:gd name="T17" fmla="*/ 173 h 1532"/>
                    <a:gd name="T18" fmla="*/ 1094 w 1398"/>
                    <a:gd name="T19" fmla="*/ 1532 h 1532"/>
                    <a:gd name="T20" fmla="*/ 0 w 1398"/>
                    <a:gd name="T21" fmla="*/ 1491 h 1532"/>
                    <a:gd name="T22" fmla="*/ 40 w 1398"/>
                    <a:gd name="T23" fmla="*/ 133 h 1532"/>
                    <a:gd name="T24" fmla="*/ 305 w 1398"/>
                    <a:gd name="T25" fmla="*/ 40 h 1532"/>
                    <a:gd name="T26" fmla="*/ 789 w 1398"/>
                    <a:gd name="T27" fmla="*/ 0 h 1532"/>
                    <a:gd name="T28" fmla="*/ 829 w 1398"/>
                    <a:gd name="T29" fmla="*/ 133 h 1532"/>
                    <a:gd name="T30" fmla="*/ 1135 w 1398"/>
                    <a:gd name="T31" fmla="*/ 173 h 1532"/>
                    <a:gd name="T32" fmla="*/ 749 w 1398"/>
                    <a:gd name="T33" fmla="*/ 242 h 1532"/>
                    <a:gd name="T34" fmla="*/ 386 w 1398"/>
                    <a:gd name="T35" fmla="*/ 81 h 1532"/>
                    <a:gd name="T36" fmla="*/ 1054 w 1398"/>
                    <a:gd name="T37" fmla="*/ 214 h 1532"/>
                    <a:gd name="T38" fmla="*/ 829 w 1398"/>
                    <a:gd name="T39" fmla="*/ 283 h 1532"/>
                    <a:gd name="T40" fmla="*/ 345 w 1398"/>
                    <a:gd name="T41" fmla="*/ 323 h 1532"/>
                    <a:gd name="T42" fmla="*/ 305 w 1398"/>
                    <a:gd name="T43" fmla="*/ 214 h 1532"/>
                    <a:gd name="T44" fmla="*/ 80 w 1398"/>
                    <a:gd name="T45" fmla="*/ 1451 h 1532"/>
                    <a:gd name="T46" fmla="*/ 1054 w 1398"/>
                    <a:gd name="T47" fmla="*/ 214 h 1532"/>
                    <a:gd name="T48" fmla="*/ 206 w 1398"/>
                    <a:gd name="T49" fmla="*/ 676 h 1532"/>
                    <a:gd name="T50" fmla="*/ 206 w 1398"/>
                    <a:gd name="T51" fmla="*/ 757 h 1532"/>
                    <a:gd name="T52" fmla="*/ 968 w 1398"/>
                    <a:gd name="T53" fmla="*/ 716 h 1532"/>
                    <a:gd name="T54" fmla="*/ 928 w 1398"/>
                    <a:gd name="T55" fmla="*/ 863 h 1532"/>
                    <a:gd name="T56" fmla="*/ 166 w 1398"/>
                    <a:gd name="T57" fmla="*/ 903 h 1532"/>
                    <a:gd name="T58" fmla="*/ 928 w 1398"/>
                    <a:gd name="T59" fmla="*/ 943 h 1532"/>
                    <a:gd name="T60" fmla="*/ 928 w 1398"/>
                    <a:gd name="T61" fmla="*/ 863 h 1532"/>
                    <a:gd name="T62" fmla="*/ 206 w 1398"/>
                    <a:gd name="T63" fmla="*/ 1049 h 1532"/>
                    <a:gd name="T64" fmla="*/ 206 w 1398"/>
                    <a:gd name="T65" fmla="*/ 1130 h 1532"/>
                    <a:gd name="T66" fmla="*/ 968 w 1398"/>
                    <a:gd name="T67" fmla="*/ 1090 h 1532"/>
                    <a:gd name="T68" fmla="*/ 928 w 1398"/>
                    <a:gd name="T69" fmla="*/ 1236 h 1532"/>
                    <a:gd name="T70" fmla="*/ 166 w 1398"/>
                    <a:gd name="T71" fmla="*/ 1276 h 1532"/>
                    <a:gd name="T72" fmla="*/ 928 w 1398"/>
                    <a:gd name="T73" fmla="*/ 1317 h 1532"/>
                    <a:gd name="T74" fmla="*/ 928 w 1398"/>
                    <a:gd name="T75" fmla="*/ 1236 h 1532"/>
                    <a:gd name="T76" fmla="*/ 1230 w 1398"/>
                    <a:gd name="T77" fmla="*/ 699 h 1532"/>
                    <a:gd name="T78" fmla="*/ 1274 w 1398"/>
                    <a:gd name="T79" fmla="*/ 1418 h 1532"/>
                    <a:gd name="T80" fmla="*/ 1314 w 1398"/>
                    <a:gd name="T81" fmla="*/ 1532 h 1532"/>
                    <a:gd name="T82" fmla="*/ 1355 w 1398"/>
                    <a:gd name="T83" fmla="*/ 1418 h 1532"/>
                    <a:gd name="T84" fmla="*/ 1398 w 1398"/>
                    <a:gd name="T85" fmla="*/ 699 h 1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98" h="1532">
                      <a:moveTo>
                        <a:pt x="843" y="353"/>
                      </a:moveTo>
                      <a:cubicBezTo>
                        <a:pt x="865" y="353"/>
                        <a:pt x="883" y="371"/>
                        <a:pt x="883" y="393"/>
                      </a:cubicBezTo>
                      <a:lnTo>
                        <a:pt x="883" y="429"/>
                      </a:lnTo>
                      <a:lnTo>
                        <a:pt x="918" y="429"/>
                      </a:lnTo>
                      <a:cubicBezTo>
                        <a:pt x="941" y="429"/>
                        <a:pt x="959" y="447"/>
                        <a:pt x="959" y="469"/>
                      </a:cubicBezTo>
                      <a:cubicBezTo>
                        <a:pt x="959" y="491"/>
                        <a:pt x="941" y="510"/>
                        <a:pt x="918" y="510"/>
                      </a:cubicBezTo>
                      <a:lnTo>
                        <a:pt x="883" y="510"/>
                      </a:lnTo>
                      <a:lnTo>
                        <a:pt x="883" y="545"/>
                      </a:lnTo>
                      <a:cubicBezTo>
                        <a:pt x="883" y="567"/>
                        <a:pt x="865" y="585"/>
                        <a:pt x="843" y="585"/>
                      </a:cubicBezTo>
                      <a:cubicBezTo>
                        <a:pt x="820" y="585"/>
                        <a:pt x="802" y="567"/>
                        <a:pt x="802" y="545"/>
                      </a:cubicBezTo>
                      <a:lnTo>
                        <a:pt x="802" y="510"/>
                      </a:lnTo>
                      <a:lnTo>
                        <a:pt x="767" y="510"/>
                      </a:lnTo>
                      <a:cubicBezTo>
                        <a:pt x="745" y="510"/>
                        <a:pt x="727" y="491"/>
                        <a:pt x="727" y="469"/>
                      </a:cubicBezTo>
                      <a:cubicBezTo>
                        <a:pt x="727" y="447"/>
                        <a:pt x="745" y="429"/>
                        <a:pt x="767" y="429"/>
                      </a:cubicBezTo>
                      <a:lnTo>
                        <a:pt x="802" y="429"/>
                      </a:lnTo>
                      <a:lnTo>
                        <a:pt x="802" y="393"/>
                      </a:lnTo>
                      <a:cubicBezTo>
                        <a:pt x="802" y="371"/>
                        <a:pt x="820" y="353"/>
                        <a:pt x="843" y="353"/>
                      </a:cubicBezTo>
                      <a:close/>
                      <a:moveTo>
                        <a:pt x="1135" y="173"/>
                      </a:moveTo>
                      <a:lnTo>
                        <a:pt x="1135" y="1491"/>
                      </a:lnTo>
                      <a:cubicBezTo>
                        <a:pt x="1135" y="1514"/>
                        <a:pt x="1116" y="1532"/>
                        <a:pt x="1094" y="1532"/>
                      </a:cubicBezTo>
                      <a:lnTo>
                        <a:pt x="40" y="1532"/>
                      </a:lnTo>
                      <a:cubicBezTo>
                        <a:pt x="18" y="1532"/>
                        <a:pt x="0" y="1514"/>
                        <a:pt x="0" y="1491"/>
                      </a:cubicBezTo>
                      <a:lnTo>
                        <a:pt x="0" y="173"/>
                      </a:lnTo>
                      <a:cubicBezTo>
                        <a:pt x="0" y="151"/>
                        <a:pt x="18" y="133"/>
                        <a:pt x="40" y="133"/>
                      </a:cubicBezTo>
                      <a:lnTo>
                        <a:pt x="305" y="133"/>
                      </a:lnTo>
                      <a:lnTo>
                        <a:pt x="305" y="40"/>
                      </a:lnTo>
                      <a:cubicBezTo>
                        <a:pt x="305" y="18"/>
                        <a:pt x="323" y="0"/>
                        <a:pt x="345" y="0"/>
                      </a:cubicBezTo>
                      <a:lnTo>
                        <a:pt x="789" y="0"/>
                      </a:lnTo>
                      <a:cubicBezTo>
                        <a:pt x="811" y="0"/>
                        <a:pt x="829" y="18"/>
                        <a:pt x="829" y="40"/>
                      </a:cubicBezTo>
                      <a:lnTo>
                        <a:pt x="829" y="133"/>
                      </a:lnTo>
                      <a:lnTo>
                        <a:pt x="1094" y="133"/>
                      </a:lnTo>
                      <a:cubicBezTo>
                        <a:pt x="1116" y="133"/>
                        <a:pt x="1135" y="151"/>
                        <a:pt x="1135" y="173"/>
                      </a:cubicBezTo>
                      <a:close/>
                      <a:moveTo>
                        <a:pt x="386" y="242"/>
                      </a:moveTo>
                      <a:lnTo>
                        <a:pt x="749" y="242"/>
                      </a:lnTo>
                      <a:lnTo>
                        <a:pt x="749" y="81"/>
                      </a:lnTo>
                      <a:lnTo>
                        <a:pt x="386" y="81"/>
                      </a:lnTo>
                      <a:lnTo>
                        <a:pt x="386" y="242"/>
                      </a:lnTo>
                      <a:close/>
                      <a:moveTo>
                        <a:pt x="1054" y="214"/>
                      </a:moveTo>
                      <a:lnTo>
                        <a:pt x="829" y="214"/>
                      </a:lnTo>
                      <a:lnTo>
                        <a:pt x="829" y="283"/>
                      </a:lnTo>
                      <a:cubicBezTo>
                        <a:pt x="829" y="305"/>
                        <a:pt x="811" y="323"/>
                        <a:pt x="789" y="323"/>
                      </a:cubicBezTo>
                      <a:lnTo>
                        <a:pt x="345" y="323"/>
                      </a:lnTo>
                      <a:cubicBezTo>
                        <a:pt x="323" y="323"/>
                        <a:pt x="305" y="305"/>
                        <a:pt x="305" y="283"/>
                      </a:cubicBezTo>
                      <a:lnTo>
                        <a:pt x="305" y="214"/>
                      </a:lnTo>
                      <a:lnTo>
                        <a:pt x="80" y="214"/>
                      </a:lnTo>
                      <a:lnTo>
                        <a:pt x="80" y="1451"/>
                      </a:lnTo>
                      <a:lnTo>
                        <a:pt x="1054" y="1451"/>
                      </a:lnTo>
                      <a:lnTo>
                        <a:pt x="1054" y="214"/>
                      </a:lnTo>
                      <a:close/>
                      <a:moveTo>
                        <a:pt x="928" y="676"/>
                      </a:moveTo>
                      <a:lnTo>
                        <a:pt x="206" y="676"/>
                      </a:lnTo>
                      <a:cubicBezTo>
                        <a:pt x="184" y="676"/>
                        <a:pt x="166" y="694"/>
                        <a:pt x="166" y="716"/>
                      </a:cubicBezTo>
                      <a:cubicBezTo>
                        <a:pt x="166" y="739"/>
                        <a:pt x="184" y="757"/>
                        <a:pt x="206" y="757"/>
                      </a:cubicBezTo>
                      <a:lnTo>
                        <a:pt x="928" y="757"/>
                      </a:lnTo>
                      <a:cubicBezTo>
                        <a:pt x="950" y="757"/>
                        <a:pt x="968" y="739"/>
                        <a:pt x="968" y="716"/>
                      </a:cubicBezTo>
                      <a:cubicBezTo>
                        <a:pt x="968" y="694"/>
                        <a:pt x="950" y="676"/>
                        <a:pt x="928" y="676"/>
                      </a:cubicBezTo>
                      <a:close/>
                      <a:moveTo>
                        <a:pt x="928" y="863"/>
                      </a:moveTo>
                      <a:lnTo>
                        <a:pt x="206" y="863"/>
                      </a:lnTo>
                      <a:cubicBezTo>
                        <a:pt x="184" y="863"/>
                        <a:pt x="166" y="881"/>
                        <a:pt x="166" y="903"/>
                      </a:cubicBezTo>
                      <a:cubicBezTo>
                        <a:pt x="166" y="925"/>
                        <a:pt x="184" y="943"/>
                        <a:pt x="206" y="943"/>
                      </a:cubicBezTo>
                      <a:lnTo>
                        <a:pt x="928" y="943"/>
                      </a:lnTo>
                      <a:cubicBezTo>
                        <a:pt x="950" y="943"/>
                        <a:pt x="968" y="925"/>
                        <a:pt x="968" y="903"/>
                      </a:cubicBezTo>
                      <a:cubicBezTo>
                        <a:pt x="968" y="881"/>
                        <a:pt x="950" y="863"/>
                        <a:pt x="928" y="863"/>
                      </a:cubicBezTo>
                      <a:close/>
                      <a:moveTo>
                        <a:pt x="928" y="1049"/>
                      </a:moveTo>
                      <a:lnTo>
                        <a:pt x="206" y="1049"/>
                      </a:lnTo>
                      <a:cubicBezTo>
                        <a:pt x="184" y="1049"/>
                        <a:pt x="166" y="1067"/>
                        <a:pt x="166" y="1090"/>
                      </a:cubicBezTo>
                      <a:cubicBezTo>
                        <a:pt x="166" y="1112"/>
                        <a:pt x="184" y="1130"/>
                        <a:pt x="206" y="1130"/>
                      </a:cubicBezTo>
                      <a:lnTo>
                        <a:pt x="928" y="1130"/>
                      </a:lnTo>
                      <a:cubicBezTo>
                        <a:pt x="950" y="1130"/>
                        <a:pt x="968" y="1112"/>
                        <a:pt x="968" y="1090"/>
                      </a:cubicBezTo>
                      <a:cubicBezTo>
                        <a:pt x="968" y="1067"/>
                        <a:pt x="950" y="1049"/>
                        <a:pt x="928" y="1049"/>
                      </a:cubicBezTo>
                      <a:close/>
                      <a:moveTo>
                        <a:pt x="928" y="1236"/>
                      </a:moveTo>
                      <a:lnTo>
                        <a:pt x="206" y="1236"/>
                      </a:lnTo>
                      <a:cubicBezTo>
                        <a:pt x="184" y="1236"/>
                        <a:pt x="166" y="1254"/>
                        <a:pt x="166" y="1276"/>
                      </a:cubicBezTo>
                      <a:cubicBezTo>
                        <a:pt x="166" y="1298"/>
                        <a:pt x="184" y="1317"/>
                        <a:pt x="206" y="1317"/>
                      </a:cubicBezTo>
                      <a:lnTo>
                        <a:pt x="928" y="1317"/>
                      </a:lnTo>
                      <a:cubicBezTo>
                        <a:pt x="950" y="1317"/>
                        <a:pt x="968" y="1298"/>
                        <a:pt x="968" y="1276"/>
                      </a:cubicBezTo>
                      <a:cubicBezTo>
                        <a:pt x="968" y="1254"/>
                        <a:pt x="950" y="1236"/>
                        <a:pt x="928" y="1236"/>
                      </a:cubicBezTo>
                      <a:close/>
                      <a:moveTo>
                        <a:pt x="1314" y="615"/>
                      </a:moveTo>
                      <a:cubicBezTo>
                        <a:pt x="1268" y="615"/>
                        <a:pt x="1230" y="652"/>
                        <a:pt x="1230" y="699"/>
                      </a:cubicBezTo>
                      <a:lnTo>
                        <a:pt x="1230" y="1346"/>
                      </a:lnTo>
                      <a:cubicBezTo>
                        <a:pt x="1230" y="1378"/>
                        <a:pt x="1248" y="1404"/>
                        <a:pt x="1274" y="1418"/>
                      </a:cubicBezTo>
                      <a:lnTo>
                        <a:pt x="1274" y="1491"/>
                      </a:lnTo>
                      <a:cubicBezTo>
                        <a:pt x="1274" y="1514"/>
                        <a:pt x="1292" y="1532"/>
                        <a:pt x="1314" y="1532"/>
                      </a:cubicBezTo>
                      <a:cubicBezTo>
                        <a:pt x="1336" y="1532"/>
                        <a:pt x="1355" y="1514"/>
                        <a:pt x="1355" y="1491"/>
                      </a:cubicBezTo>
                      <a:lnTo>
                        <a:pt x="1355" y="1418"/>
                      </a:lnTo>
                      <a:cubicBezTo>
                        <a:pt x="1380" y="1404"/>
                        <a:pt x="1398" y="1378"/>
                        <a:pt x="1398" y="1346"/>
                      </a:cubicBezTo>
                      <a:lnTo>
                        <a:pt x="1398" y="699"/>
                      </a:lnTo>
                      <a:cubicBezTo>
                        <a:pt x="1398" y="652"/>
                        <a:pt x="1360" y="615"/>
                        <a:pt x="1314" y="615"/>
                      </a:cubicBezTo>
                      <a:close/>
                    </a:path>
                  </a:pathLst>
                </a:custGeom>
                <a:solidFill>
                  <a:schemeClr val="bg1"/>
                </a:solidFill>
                <a:ln w="9525">
                  <a:noFill/>
                  <a:round/>
                  <a:headEnd/>
                  <a:tailEnd/>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sp>
            <p:nvSpPr>
              <p:cNvPr id="285" name="îṧḷiḑè">
                <a:extLst>
                  <a:ext uri="{FF2B5EF4-FFF2-40B4-BE49-F238E27FC236}">
                    <a16:creationId xmlns:a16="http://schemas.microsoft.com/office/drawing/2014/main" id="{C5B8318B-9E67-462F-BDC1-6CF3EEBD2DDB}"/>
                  </a:ext>
                </a:extLst>
              </p:cNvPr>
              <p:cNvSpPr txBox="1"/>
              <p:nvPr/>
            </p:nvSpPr>
            <p:spPr>
              <a:xfrm>
                <a:off x="673100" y="5550915"/>
                <a:ext cx="1580392" cy="595885"/>
              </a:xfrm>
              <a:prstGeom prst="rect">
                <a:avLst/>
              </a:prstGeom>
            </p:spPr>
            <p:txBody>
              <a:bodyPr wrap="square"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lnSpc>
                    <a:spcPct val="150000"/>
                  </a:lnSpc>
                  <a:spcBef>
                    <a:spcPct val="0"/>
                  </a:spcBef>
                  <a:buNone/>
                </a:pPr>
                <a:endParaRPr lang="zh-CN" altLang="en-US" sz="1100" dirty="0"/>
              </a:p>
            </p:txBody>
          </p:sp>
        </p:grpSp>
        <p:grpSp>
          <p:nvGrpSpPr>
            <p:cNvPr id="268" name="îṥ1îḓe">
              <a:extLst>
                <a:ext uri="{FF2B5EF4-FFF2-40B4-BE49-F238E27FC236}">
                  <a16:creationId xmlns:a16="http://schemas.microsoft.com/office/drawing/2014/main" id="{76BC33FC-EECE-487B-9C82-11CD4D7E2A69}"/>
                </a:ext>
              </a:extLst>
            </p:cNvPr>
            <p:cNvGrpSpPr/>
            <p:nvPr/>
          </p:nvGrpSpPr>
          <p:grpSpPr>
            <a:xfrm>
              <a:off x="4379264" y="4533901"/>
              <a:ext cx="1580392" cy="1612899"/>
              <a:chOff x="673100" y="4533901"/>
              <a:chExt cx="1580392" cy="1612899"/>
            </a:xfrm>
          </p:grpSpPr>
          <p:grpSp>
            <p:nvGrpSpPr>
              <p:cNvPr id="280" name="îšļíḍè">
                <a:extLst>
                  <a:ext uri="{FF2B5EF4-FFF2-40B4-BE49-F238E27FC236}">
                    <a16:creationId xmlns:a16="http://schemas.microsoft.com/office/drawing/2014/main" id="{CE319E40-F41A-4F0A-AACB-1E1090B7A70A}"/>
                  </a:ext>
                </a:extLst>
              </p:cNvPr>
              <p:cNvGrpSpPr/>
              <p:nvPr/>
            </p:nvGrpSpPr>
            <p:grpSpPr>
              <a:xfrm>
                <a:off x="1437758" y="4533901"/>
                <a:ext cx="532084" cy="532082"/>
                <a:chOff x="2040647" y="4383463"/>
                <a:chExt cx="784597" cy="784597"/>
              </a:xfrm>
            </p:grpSpPr>
            <p:sp>
              <p:nvSpPr>
                <p:cNvPr id="282" name="îSḻíďè">
                  <a:extLst>
                    <a:ext uri="{FF2B5EF4-FFF2-40B4-BE49-F238E27FC236}">
                      <a16:creationId xmlns:a16="http://schemas.microsoft.com/office/drawing/2014/main" id="{7F2033B8-3D85-4EBC-B06A-35DC8DC5989D}"/>
                    </a:ext>
                  </a:extLst>
                </p:cNvPr>
                <p:cNvSpPr/>
                <p:nvPr/>
              </p:nvSpPr>
              <p:spPr>
                <a:xfrm rot="10800000" flipV="1">
                  <a:off x="2040647" y="4383463"/>
                  <a:ext cx="784597" cy="784597"/>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21600" y="16765"/>
                        <a:pt x="16765" y="21600"/>
                        <a:pt x="10800" y="21600"/>
                      </a:cubicBezTo>
                      <a:cubicBezTo>
                        <a:pt x="4835" y="21600"/>
                        <a:pt x="0" y="16765"/>
                        <a:pt x="0" y="10800"/>
                      </a:cubicBezTo>
                      <a:cubicBezTo>
                        <a:pt x="0" y="4835"/>
                        <a:pt x="4835" y="0"/>
                        <a:pt x="10800" y="0"/>
                      </a:cubicBezTo>
                      <a:cubicBezTo>
                        <a:pt x="16765" y="0"/>
                        <a:pt x="21600" y="4835"/>
                        <a:pt x="21600" y="10800"/>
                      </a:cubicBezTo>
                      <a:close/>
                    </a:path>
                  </a:pathLst>
                </a:custGeom>
                <a:solidFill>
                  <a:schemeClr val="tx1">
                    <a:lumMod val="50000"/>
                    <a:lumOff val="50000"/>
                  </a:schemeClr>
                </a:solidFill>
                <a:ln w="38100" cap="flat" cmpd="sng" algn="ctr">
                  <a:solidFill>
                    <a:schemeClr val="bg1">
                      <a:lumMod val="9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solidFill>
                      <a:schemeClr val="lt1"/>
                    </a:solidFill>
                  </a:endParaRPr>
                </a:p>
              </p:txBody>
            </p:sp>
            <p:sp>
              <p:nvSpPr>
                <p:cNvPr id="283" name="ïṧľíḋe">
                  <a:extLst>
                    <a:ext uri="{FF2B5EF4-FFF2-40B4-BE49-F238E27FC236}">
                      <a16:creationId xmlns:a16="http://schemas.microsoft.com/office/drawing/2014/main" id="{67C630C0-B65A-4B15-BF86-DFDDDEBC1DAB}"/>
                    </a:ext>
                  </a:extLst>
                </p:cNvPr>
                <p:cNvSpPr/>
                <p:nvPr/>
              </p:nvSpPr>
              <p:spPr bwMode="auto">
                <a:xfrm>
                  <a:off x="2259142" y="4602209"/>
                  <a:ext cx="347606" cy="347101"/>
                </a:xfrm>
                <a:custGeom>
                  <a:avLst/>
                  <a:gdLst>
                    <a:gd name="T0" fmla="*/ 6270 w 7104"/>
                    <a:gd name="T1" fmla="*/ 835 h 7104"/>
                    <a:gd name="T2" fmla="*/ 3243 w 7104"/>
                    <a:gd name="T3" fmla="*/ 835 h 7104"/>
                    <a:gd name="T4" fmla="*/ 3076 w 7104"/>
                    <a:gd name="T5" fmla="*/ 3675 h 7104"/>
                    <a:gd name="T6" fmla="*/ 2661 w 7104"/>
                    <a:gd name="T7" fmla="*/ 4091 h 7104"/>
                    <a:gd name="T8" fmla="*/ 2516 w 7104"/>
                    <a:gd name="T9" fmla="*/ 3946 h 7104"/>
                    <a:gd name="T10" fmla="*/ 2163 w 7104"/>
                    <a:gd name="T11" fmla="*/ 3946 h 7104"/>
                    <a:gd name="T12" fmla="*/ 275 w 7104"/>
                    <a:gd name="T13" fmla="*/ 5834 h 7104"/>
                    <a:gd name="T14" fmla="*/ 275 w 7104"/>
                    <a:gd name="T15" fmla="*/ 6829 h 7104"/>
                    <a:gd name="T16" fmla="*/ 1271 w 7104"/>
                    <a:gd name="T17" fmla="*/ 6829 h 7104"/>
                    <a:gd name="T18" fmla="*/ 3158 w 7104"/>
                    <a:gd name="T19" fmla="*/ 4942 h 7104"/>
                    <a:gd name="T20" fmla="*/ 3158 w 7104"/>
                    <a:gd name="T21" fmla="*/ 4588 h 7104"/>
                    <a:gd name="T22" fmla="*/ 3014 w 7104"/>
                    <a:gd name="T23" fmla="*/ 4444 h 7104"/>
                    <a:gd name="T24" fmla="*/ 3430 w 7104"/>
                    <a:gd name="T25" fmla="*/ 4028 h 7104"/>
                    <a:gd name="T26" fmla="*/ 6270 w 7104"/>
                    <a:gd name="T27" fmla="*/ 3862 h 7104"/>
                    <a:gd name="T28" fmla="*/ 6270 w 7104"/>
                    <a:gd name="T29" fmla="*/ 835 h 7104"/>
                    <a:gd name="T30" fmla="*/ 5497 w 7104"/>
                    <a:gd name="T31" fmla="*/ 2856 h 7104"/>
                    <a:gd name="T32" fmla="*/ 5497 w 7104"/>
                    <a:gd name="T33" fmla="*/ 3356 h 7104"/>
                    <a:gd name="T34" fmla="*/ 5247 w 7104"/>
                    <a:gd name="T35" fmla="*/ 3606 h 7104"/>
                    <a:gd name="T36" fmla="*/ 4248 w 7104"/>
                    <a:gd name="T37" fmla="*/ 3606 h 7104"/>
                    <a:gd name="T38" fmla="*/ 3999 w 7104"/>
                    <a:gd name="T39" fmla="*/ 3356 h 7104"/>
                    <a:gd name="T40" fmla="*/ 3999 w 7104"/>
                    <a:gd name="T41" fmla="*/ 2856 h 7104"/>
                    <a:gd name="T42" fmla="*/ 4198 w 7104"/>
                    <a:gd name="T43" fmla="*/ 2348 h 7104"/>
                    <a:gd name="T44" fmla="*/ 4748 w 7104"/>
                    <a:gd name="T45" fmla="*/ 1091 h 7104"/>
                    <a:gd name="T46" fmla="*/ 5298 w 7104"/>
                    <a:gd name="T47" fmla="*/ 2348 h 7104"/>
                    <a:gd name="T48" fmla="*/ 5497 w 7104"/>
                    <a:gd name="T49" fmla="*/ 2856 h 7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104" h="7104">
                      <a:moveTo>
                        <a:pt x="6270" y="835"/>
                      </a:moveTo>
                      <a:cubicBezTo>
                        <a:pt x="5435" y="0"/>
                        <a:pt x="4077" y="0"/>
                        <a:pt x="3243" y="835"/>
                      </a:cubicBezTo>
                      <a:cubicBezTo>
                        <a:pt x="2468" y="1610"/>
                        <a:pt x="2412" y="2836"/>
                        <a:pt x="3076" y="3675"/>
                      </a:cubicBezTo>
                      <a:lnTo>
                        <a:pt x="2661" y="4091"/>
                      </a:lnTo>
                      <a:lnTo>
                        <a:pt x="2516" y="3946"/>
                      </a:lnTo>
                      <a:cubicBezTo>
                        <a:pt x="2419" y="3849"/>
                        <a:pt x="2261" y="3849"/>
                        <a:pt x="2163" y="3946"/>
                      </a:cubicBezTo>
                      <a:lnTo>
                        <a:pt x="275" y="5834"/>
                      </a:lnTo>
                      <a:cubicBezTo>
                        <a:pt x="0" y="6109"/>
                        <a:pt x="0" y="6554"/>
                        <a:pt x="275" y="6829"/>
                      </a:cubicBezTo>
                      <a:cubicBezTo>
                        <a:pt x="550" y="7104"/>
                        <a:pt x="996" y="7104"/>
                        <a:pt x="1271" y="6829"/>
                      </a:cubicBezTo>
                      <a:lnTo>
                        <a:pt x="3158" y="4942"/>
                      </a:lnTo>
                      <a:cubicBezTo>
                        <a:pt x="3256" y="4844"/>
                        <a:pt x="3256" y="4686"/>
                        <a:pt x="3158" y="4588"/>
                      </a:cubicBezTo>
                      <a:lnTo>
                        <a:pt x="3014" y="4444"/>
                      </a:lnTo>
                      <a:lnTo>
                        <a:pt x="3430" y="4028"/>
                      </a:lnTo>
                      <a:cubicBezTo>
                        <a:pt x="4269" y="4692"/>
                        <a:pt x="5495" y="4637"/>
                        <a:pt x="6270" y="3862"/>
                      </a:cubicBezTo>
                      <a:cubicBezTo>
                        <a:pt x="7104" y="3027"/>
                        <a:pt x="7104" y="1670"/>
                        <a:pt x="6270" y="835"/>
                      </a:cubicBezTo>
                      <a:close/>
                      <a:moveTo>
                        <a:pt x="5497" y="2856"/>
                      </a:moveTo>
                      <a:lnTo>
                        <a:pt x="5497" y="3356"/>
                      </a:lnTo>
                      <a:cubicBezTo>
                        <a:pt x="5497" y="3494"/>
                        <a:pt x="5385" y="3606"/>
                        <a:pt x="5247" y="3606"/>
                      </a:cubicBezTo>
                      <a:lnTo>
                        <a:pt x="4248" y="3606"/>
                      </a:lnTo>
                      <a:cubicBezTo>
                        <a:pt x="4110" y="3606"/>
                        <a:pt x="3999" y="3494"/>
                        <a:pt x="3999" y="3356"/>
                      </a:cubicBezTo>
                      <a:lnTo>
                        <a:pt x="3999" y="2856"/>
                      </a:lnTo>
                      <a:cubicBezTo>
                        <a:pt x="3999" y="2660"/>
                        <a:pt x="4074" y="2482"/>
                        <a:pt x="4198" y="2348"/>
                      </a:cubicBezTo>
                      <a:cubicBezTo>
                        <a:pt x="3757" y="1871"/>
                        <a:pt x="4095" y="1091"/>
                        <a:pt x="4748" y="1091"/>
                      </a:cubicBezTo>
                      <a:cubicBezTo>
                        <a:pt x="5400" y="1091"/>
                        <a:pt x="5739" y="1871"/>
                        <a:pt x="5298" y="2348"/>
                      </a:cubicBezTo>
                      <a:cubicBezTo>
                        <a:pt x="5422" y="2482"/>
                        <a:pt x="5497" y="2660"/>
                        <a:pt x="5497" y="2856"/>
                      </a:cubicBezTo>
                      <a:close/>
                    </a:path>
                  </a:pathLst>
                </a:custGeom>
                <a:solidFill>
                  <a:schemeClr val="bg1"/>
                </a:solidFill>
                <a:ln w="9525">
                  <a:noFill/>
                  <a:round/>
                  <a:headEnd/>
                  <a:tailEnd/>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sp>
            <p:nvSpPr>
              <p:cNvPr id="281" name="íṩľîḍé">
                <a:extLst>
                  <a:ext uri="{FF2B5EF4-FFF2-40B4-BE49-F238E27FC236}">
                    <a16:creationId xmlns:a16="http://schemas.microsoft.com/office/drawing/2014/main" id="{CF426A5C-05F0-48F7-868A-3828B43C58D6}"/>
                  </a:ext>
                </a:extLst>
              </p:cNvPr>
              <p:cNvSpPr txBox="1"/>
              <p:nvPr/>
            </p:nvSpPr>
            <p:spPr>
              <a:xfrm>
                <a:off x="673100" y="5550915"/>
                <a:ext cx="1580392" cy="595885"/>
              </a:xfrm>
              <a:prstGeom prst="rect">
                <a:avLst/>
              </a:prstGeom>
            </p:spPr>
            <p:txBody>
              <a:bodyPr wrap="square"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lnSpc>
                    <a:spcPct val="150000"/>
                  </a:lnSpc>
                  <a:spcBef>
                    <a:spcPct val="0"/>
                  </a:spcBef>
                  <a:buNone/>
                </a:pPr>
                <a:endParaRPr lang="zh-CN" altLang="en-US" sz="1100" dirty="0"/>
              </a:p>
            </p:txBody>
          </p:sp>
        </p:grpSp>
        <p:grpSp>
          <p:nvGrpSpPr>
            <p:cNvPr id="269" name="ïṣ1ïḍê">
              <a:extLst>
                <a:ext uri="{FF2B5EF4-FFF2-40B4-BE49-F238E27FC236}">
                  <a16:creationId xmlns:a16="http://schemas.microsoft.com/office/drawing/2014/main" id="{843200A5-CADC-42AF-A4F7-5A88ECE88AFC}"/>
                </a:ext>
              </a:extLst>
            </p:cNvPr>
            <p:cNvGrpSpPr/>
            <p:nvPr/>
          </p:nvGrpSpPr>
          <p:grpSpPr>
            <a:xfrm>
              <a:off x="6232346" y="4533901"/>
              <a:ext cx="1580392" cy="1612899"/>
              <a:chOff x="673100" y="4533901"/>
              <a:chExt cx="1580392" cy="1612899"/>
            </a:xfrm>
          </p:grpSpPr>
          <p:grpSp>
            <p:nvGrpSpPr>
              <p:cNvPr id="276" name="ïṥḻiḋe">
                <a:extLst>
                  <a:ext uri="{FF2B5EF4-FFF2-40B4-BE49-F238E27FC236}">
                    <a16:creationId xmlns:a16="http://schemas.microsoft.com/office/drawing/2014/main" id="{18DF2B85-2ABB-415A-A36C-7F982A85A5FE}"/>
                  </a:ext>
                </a:extLst>
              </p:cNvPr>
              <p:cNvGrpSpPr/>
              <p:nvPr/>
            </p:nvGrpSpPr>
            <p:grpSpPr>
              <a:xfrm>
                <a:off x="1197255" y="4533901"/>
                <a:ext cx="532084" cy="532082"/>
                <a:chOff x="1686004" y="4383463"/>
                <a:chExt cx="784597" cy="784597"/>
              </a:xfrm>
            </p:grpSpPr>
            <p:sp>
              <p:nvSpPr>
                <p:cNvPr id="278" name="íṧľíḑè">
                  <a:extLst>
                    <a:ext uri="{FF2B5EF4-FFF2-40B4-BE49-F238E27FC236}">
                      <a16:creationId xmlns:a16="http://schemas.microsoft.com/office/drawing/2014/main" id="{E7C05249-EC6B-4A31-B592-1B7DA1FC1C4D}"/>
                    </a:ext>
                  </a:extLst>
                </p:cNvPr>
                <p:cNvSpPr/>
                <p:nvPr/>
              </p:nvSpPr>
              <p:spPr>
                <a:xfrm rot="10800000" flipV="1">
                  <a:off x="1686004" y="4383463"/>
                  <a:ext cx="784597" cy="784597"/>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21600" y="16765"/>
                        <a:pt x="16765" y="21600"/>
                        <a:pt x="10800" y="21600"/>
                      </a:cubicBezTo>
                      <a:cubicBezTo>
                        <a:pt x="4835" y="21600"/>
                        <a:pt x="0" y="16765"/>
                        <a:pt x="0" y="10800"/>
                      </a:cubicBezTo>
                      <a:cubicBezTo>
                        <a:pt x="0" y="4835"/>
                        <a:pt x="4835" y="0"/>
                        <a:pt x="10800" y="0"/>
                      </a:cubicBezTo>
                      <a:cubicBezTo>
                        <a:pt x="16765" y="0"/>
                        <a:pt x="21600" y="4835"/>
                        <a:pt x="21600" y="10800"/>
                      </a:cubicBezTo>
                      <a:close/>
                    </a:path>
                  </a:pathLst>
                </a:custGeom>
                <a:solidFill>
                  <a:schemeClr val="tx1">
                    <a:lumMod val="50000"/>
                    <a:lumOff val="50000"/>
                  </a:schemeClr>
                </a:solidFill>
                <a:ln w="38100" cap="flat" cmpd="sng" algn="ctr">
                  <a:solidFill>
                    <a:schemeClr val="bg1">
                      <a:lumMod val="9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solidFill>
                      <a:schemeClr val="lt1"/>
                    </a:solidFill>
                  </a:endParaRPr>
                </a:p>
              </p:txBody>
            </p:sp>
            <p:sp>
              <p:nvSpPr>
                <p:cNvPr id="279" name="iṡľïdê">
                  <a:extLst>
                    <a:ext uri="{FF2B5EF4-FFF2-40B4-BE49-F238E27FC236}">
                      <a16:creationId xmlns:a16="http://schemas.microsoft.com/office/drawing/2014/main" id="{BE7CCCC9-8065-4F6A-AAE6-681F89B69718}"/>
                    </a:ext>
                  </a:extLst>
                </p:cNvPr>
                <p:cNvSpPr/>
                <p:nvPr/>
              </p:nvSpPr>
              <p:spPr bwMode="auto">
                <a:xfrm>
                  <a:off x="1904496" y="4622484"/>
                  <a:ext cx="347607" cy="306553"/>
                </a:xfrm>
                <a:custGeom>
                  <a:avLst/>
                  <a:gdLst>
                    <a:gd name="T0" fmla="*/ 2169 w 5708"/>
                    <a:gd name="T1" fmla="*/ 2459 h 5042"/>
                    <a:gd name="T2" fmla="*/ 3310 w 5708"/>
                    <a:gd name="T3" fmla="*/ 2408 h 5042"/>
                    <a:gd name="T4" fmla="*/ 3418 w 5708"/>
                    <a:gd name="T5" fmla="*/ 2622 h 5042"/>
                    <a:gd name="T6" fmla="*/ 2222 w 5708"/>
                    <a:gd name="T7" fmla="*/ 2621 h 5042"/>
                    <a:gd name="T8" fmla="*/ 580 w 5708"/>
                    <a:gd name="T9" fmla="*/ 3271 h 5042"/>
                    <a:gd name="T10" fmla="*/ 5063 w 5708"/>
                    <a:gd name="T11" fmla="*/ 240 h 5042"/>
                    <a:gd name="T12" fmla="*/ 5183 w 5708"/>
                    <a:gd name="T13" fmla="*/ 2173 h 5042"/>
                    <a:gd name="T14" fmla="*/ 5303 w 5708"/>
                    <a:gd name="T15" fmla="*/ 120 h 5042"/>
                    <a:gd name="T16" fmla="*/ 460 w 5708"/>
                    <a:gd name="T17" fmla="*/ 0 h 5042"/>
                    <a:gd name="T18" fmla="*/ 340 w 5708"/>
                    <a:gd name="T19" fmla="*/ 3391 h 5042"/>
                    <a:gd name="T20" fmla="*/ 3496 w 5708"/>
                    <a:gd name="T21" fmla="*/ 3511 h 5042"/>
                    <a:gd name="T22" fmla="*/ 3496 w 5708"/>
                    <a:gd name="T23" fmla="*/ 3271 h 5042"/>
                    <a:gd name="T24" fmla="*/ 2542 w 5708"/>
                    <a:gd name="T25" fmla="*/ 4028 h 5042"/>
                    <a:gd name="T26" fmla="*/ 2985 w 5708"/>
                    <a:gd name="T27" fmla="*/ 4118 h 5042"/>
                    <a:gd name="T28" fmla="*/ 3496 w 5708"/>
                    <a:gd name="T29" fmla="*/ 4028 h 5042"/>
                    <a:gd name="T30" fmla="*/ 3496 w 5708"/>
                    <a:gd name="T31" fmla="*/ 3788 h 5042"/>
                    <a:gd name="T32" fmla="*/ 0 w 5708"/>
                    <a:gd name="T33" fmla="*/ 4166 h 5042"/>
                    <a:gd name="T34" fmla="*/ 3496 w 5708"/>
                    <a:gd name="T35" fmla="*/ 4545 h 5042"/>
                    <a:gd name="T36" fmla="*/ 3496 w 5708"/>
                    <a:gd name="T37" fmla="*/ 4305 h 5042"/>
                    <a:gd name="T38" fmla="*/ 240 w 5708"/>
                    <a:gd name="T39" fmla="*/ 4166 h 5042"/>
                    <a:gd name="T40" fmla="*/ 4214 w 5708"/>
                    <a:gd name="T41" fmla="*/ 2045 h 5042"/>
                    <a:gd name="T42" fmla="*/ 3381 w 5708"/>
                    <a:gd name="T43" fmla="*/ 2074 h 5042"/>
                    <a:gd name="T44" fmla="*/ 2259 w 5708"/>
                    <a:gd name="T45" fmla="*/ 2072 h 5042"/>
                    <a:gd name="T46" fmla="*/ 1429 w 5708"/>
                    <a:gd name="T47" fmla="*/ 2045 h 5042"/>
                    <a:gd name="T48" fmla="*/ 1289 w 5708"/>
                    <a:gd name="T49" fmla="*/ 1850 h 5042"/>
                    <a:gd name="T50" fmla="*/ 2821 w 5708"/>
                    <a:gd name="T51" fmla="*/ 747 h 5042"/>
                    <a:gd name="T52" fmla="*/ 4354 w 5708"/>
                    <a:gd name="T53" fmla="*/ 1850 h 5042"/>
                    <a:gd name="T54" fmla="*/ 4214 w 5708"/>
                    <a:gd name="T55" fmla="*/ 2045 h 5042"/>
                    <a:gd name="T56" fmla="*/ 2821 w 5708"/>
                    <a:gd name="T57" fmla="*/ 987 h 5042"/>
                    <a:gd name="T58" fmla="*/ 2386 w 5708"/>
                    <a:gd name="T59" fmla="*/ 1868 h 5042"/>
                    <a:gd name="T60" fmla="*/ 3618 w 5708"/>
                    <a:gd name="T61" fmla="*/ 1733 h 5042"/>
                    <a:gd name="T62" fmla="*/ 5708 w 5708"/>
                    <a:gd name="T63" fmla="*/ 4163 h 5042"/>
                    <a:gd name="T64" fmla="*/ 3950 w 5708"/>
                    <a:gd name="T65" fmla="*/ 4163 h 5042"/>
                    <a:gd name="T66" fmla="*/ 4829 w 5708"/>
                    <a:gd name="T67" fmla="*/ 2518 h 5042"/>
                    <a:gd name="T68" fmla="*/ 5708 w 5708"/>
                    <a:gd name="T69" fmla="*/ 3397 h 5042"/>
                    <a:gd name="T70" fmla="*/ 4829 w 5708"/>
                    <a:gd name="T71" fmla="*/ 2758 h 5042"/>
                    <a:gd name="T72" fmla="*/ 4190 w 5708"/>
                    <a:gd name="T73" fmla="*/ 3397 h 5042"/>
                    <a:gd name="T74" fmla="*/ 4829 w 5708"/>
                    <a:gd name="T75" fmla="*/ 4802 h 5042"/>
                    <a:gd name="T76" fmla="*/ 5468 w 5708"/>
                    <a:gd name="T77" fmla="*/ 3397 h 5042"/>
                    <a:gd name="T78" fmla="*/ 4709 w 5708"/>
                    <a:gd name="T79" fmla="*/ 3158 h 5042"/>
                    <a:gd name="T80" fmla="*/ 4829 w 5708"/>
                    <a:gd name="T81" fmla="*/ 3574 h 5042"/>
                    <a:gd name="T82" fmla="*/ 4949 w 5708"/>
                    <a:gd name="T83" fmla="*/ 3158 h 5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08" h="5042">
                      <a:moveTo>
                        <a:pt x="2222" y="2621"/>
                      </a:moveTo>
                      <a:cubicBezTo>
                        <a:pt x="2163" y="2591"/>
                        <a:pt x="2139" y="2518"/>
                        <a:pt x="2169" y="2459"/>
                      </a:cubicBezTo>
                      <a:cubicBezTo>
                        <a:pt x="2199" y="2400"/>
                        <a:pt x="2271" y="2377"/>
                        <a:pt x="2331" y="2407"/>
                      </a:cubicBezTo>
                      <a:cubicBezTo>
                        <a:pt x="2638" y="2563"/>
                        <a:pt x="3004" y="2564"/>
                        <a:pt x="3310" y="2408"/>
                      </a:cubicBezTo>
                      <a:cubicBezTo>
                        <a:pt x="3369" y="2378"/>
                        <a:pt x="3441" y="2402"/>
                        <a:pt x="3471" y="2461"/>
                      </a:cubicBezTo>
                      <a:cubicBezTo>
                        <a:pt x="3501" y="2520"/>
                        <a:pt x="3477" y="2592"/>
                        <a:pt x="3418" y="2622"/>
                      </a:cubicBezTo>
                      <a:cubicBezTo>
                        <a:pt x="3232" y="2717"/>
                        <a:pt x="3027" y="2764"/>
                        <a:pt x="2822" y="2764"/>
                      </a:cubicBezTo>
                      <a:cubicBezTo>
                        <a:pt x="2616" y="2764"/>
                        <a:pt x="2410" y="2716"/>
                        <a:pt x="2222" y="2621"/>
                      </a:cubicBezTo>
                      <a:close/>
                      <a:moveTo>
                        <a:pt x="3496" y="3271"/>
                      </a:moveTo>
                      <a:lnTo>
                        <a:pt x="580" y="3271"/>
                      </a:lnTo>
                      <a:lnTo>
                        <a:pt x="580" y="240"/>
                      </a:lnTo>
                      <a:lnTo>
                        <a:pt x="5063" y="240"/>
                      </a:lnTo>
                      <a:lnTo>
                        <a:pt x="5063" y="2053"/>
                      </a:lnTo>
                      <a:cubicBezTo>
                        <a:pt x="5063" y="2119"/>
                        <a:pt x="5117" y="2173"/>
                        <a:pt x="5183" y="2173"/>
                      </a:cubicBezTo>
                      <a:cubicBezTo>
                        <a:pt x="5249" y="2173"/>
                        <a:pt x="5303" y="2119"/>
                        <a:pt x="5303" y="2053"/>
                      </a:cubicBezTo>
                      <a:lnTo>
                        <a:pt x="5303" y="120"/>
                      </a:lnTo>
                      <a:cubicBezTo>
                        <a:pt x="5303" y="54"/>
                        <a:pt x="5249" y="0"/>
                        <a:pt x="5183" y="0"/>
                      </a:cubicBezTo>
                      <a:lnTo>
                        <a:pt x="460" y="0"/>
                      </a:lnTo>
                      <a:cubicBezTo>
                        <a:pt x="394" y="0"/>
                        <a:pt x="340" y="54"/>
                        <a:pt x="340" y="120"/>
                      </a:cubicBezTo>
                      <a:lnTo>
                        <a:pt x="340" y="3391"/>
                      </a:lnTo>
                      <a:cubicBezTo>
                        <a:pt x="340" y="3457"/>
                        <a:pt x="394" y="3511"/>
                        <a:pt x="460" y="3511"/>
                      </a:cubicBezTo>
                      <a:lnTo>
                        <a:pt x="3496" y="3511"/>
                      </a:lnTo>
                      <a:cubicBezTo>
                        <a:pt x="3562" y="3511"/>
                        <a:pt x="3616" y="3457"/>
                        <a:pt x="3616" y="3391"/>
                      </a:cubicBezTo>
                      <a:cubicBezTo>
                        <a:pt x="3616" y="3324"/>
                        <a:pt x="3562" y="3271"/>
                        <a:pt x="3496" y="3271"/>
                      </a:cubicBezTo>
                      <a:close/>
                      <a:moveTo>
                        <a:pt x="378" y="4028"/>
                      </a:moveTo>
                      <a:lnTo>
                        <a:pt x="2542" y="4028"/>
                      </a:lnTo>
                      <a:cubicBezTo>
                        <a:pt x="2555" y="4080"/>
                        <a:pt x="2602" y="4118"/>
                        <a:pt x="2658" y="4118"/>
                      </a:cubicBezTo>
                      <a:lnTo>
                        <a:pt x="2985" y="4118"/>
                      </a:lnTo>
                      <a:cubicBezTo>
                        <a:pt x="3040" y="4118"/>
                        <a:pt x="3088" y="4080"/>
                        <a:pt x="3101" y="4028"/>
                      </a:cubicBezTo>
                      <a:lnTo>
                        <a:pt x="3496" y="4028"/>
                      </a:lnTo>
                      <a:cubicBezTo>
                        <a:pt x="3562" y="4028"/>
                        <a:pt x="3616" y="3974"/>
                        <a:pt x="3616" y="3908"/>
                      </a:cubicBezTo>
                      <a:cubicBezTo>
                        <a:pt x="3616" y="3842"/>
                        <a:pt x="3562" y="3788"/>
                        <a:pt x="3496" y="3788"/>
                      </a:cubicBezTo>
                      <a:lnTo>
                        <a:pt x="378" y="3788"/>
                      </a:lnTo>
                      <a:cubicBezTo>
                        <a:pt x="170" y="3788"/>
                        <a:pt x="0" y="3958"/>
                        <a:pt x="0" y="4166"/>
                      </a:cubicBezTo>
                      <a:cubicBezTo>
                        <a:pt x="0" y="4375"/>
                        <a:pt x="170" y="4545"/>
                        <a:pt x="378" y="4545"/>
                      </a:cubicBezTo>
                      <a:lnTo>
                        <a:pt x="3496" y="4545"/>
                      </a:lnTo>
                      <a:cubicBezTo>
                        <a:pt x="3562" y="4545"/>
                        <a:pt x="3616" y="4491"/>
                        <a:pt x="3616" y="4425"/>
                      </a:cubicBezTo>
                      <a:cubicBezTo>
                        <a:pt x="3616" y="4358"/>
                        <a:pt x="3562" y="4305"/>
                        <a:pt x="3496" y="4305"/>
                      </a:cubicBezTo>
                      <a:lnTo>
                        <a:pt x="378" y="4305"/>
                      </a:lnTo>
                      <a:cubicBezTo>
                        <a:pt x="302" y="4305"/>
                        <a:pt x="240" y="4242"/>
                        <a:pt x="240" y="4166"/>
                      </a:cubicBezTo>
                      <a:cubicBezTo>
                        <a:pt x="240" y="4090"/>
                        <a:pt x="302" y="4028"/>
                        <a:pt x="378" y="4028"/>
                      </a:cubicBezTo>
                      <a:close/>
                      <a:moveTo>
                        <a:pt x="4214" y="2045"/>
                      </a:moveTo>
                      <a:cubicBezTo>
                        <a:pt x="4158" y="2005"/>
                        <a:pt x="4004" y="1962"/>
                        <a:pt x="3797" y="1962"/>
                      </a:cubicBezTo>
                      <a:cubicBezTo>
                        <a:pt x="3561" y="1962"/>
                        <a:pt x="3474" y="2016"/>
                        <a:pt x="3381" y="2074"/>
                      </a:cubicBezTo>
                      <a:cubicBezTo>
                        <a:pt x="3206" y="2182"/>
                        <a:pt x="3014" y="2236"/>
                        <a:pt x="2822" y="2236"/>
                      </a:cubicBezTo>
                      <a:cubicBezTo>
                        <a:pt x="2629" y="2236"/>
                        <a:pt x="2436" y="2182"/>
                        <a:pt x="2259" y="2072"/>
                      </a:cubicBezTo>
                      <a:cubicBezTo>
                        <a:pt x="2172" y="2018"/>
                        <a:pt x="2081" y="1962"/>
                        <a:pt x="1846" y="1962"/>
                      </a:cubicBezTo>
                      <a:cubicBezTo>
                        <a:pt x="1639" y="1962"/>
                        <a:pt x="1485" y="2005"/>
                        <a:pt x="1429" y="2045"/>
                      </a:cubicBezTo>
                      <a:cubicBezTo>
                        <a:pt x="1375" y="2084"/>
                        <a:pt x="1300" y="2071"/>
                        <a:pt x="1261" y="2017"/>
                      </a:cubicBezTo>
                      <a:cubicBezTo>
                        <a:pt x="1223" y="1964"/>
                        <a:pt x="1235" y="1889"/>
                        <a:pt x="1289" y="1850"/>
                      </a:cubicBezTo>
                      <a:cubicBezTo>
                        <a:pt x="1391" y="1777"/>
                        <a:pt x="1574" y="1730"/>
                        <a:pt x="1785" y="1723"/>
                      </a:cubicBezTo>
                      <a:cubicBezTo>
                        <a:pt x="1817" y="1179"/>
                        <a:pt x="2270" y="747"/>
                        <a:pt x="2821" y="747"/>
                      </a:cubicBezTo>
                      <a:cubicBezTo>
                        <a:pt x="3373" y="747"/>
                        <a:pt x="3826" y="1179"/>
                        <a:pt x="3858" y="1723"/>
                      </a:cubicBezTo>
                      <a:cubicBezTo>
                        <a:pt x="4069" y="1730"/>
                        <a:pt x="4252" y="1777"/>
                        <a:pt x="4354" y="1850"/>
                      </a:cubicBezTo>
                      <a:cubicBezTo>
                        <a:pt x="4408" y="1889"/>
                        <a:pt x="4420" y="1964"/>
                        <a:pt x="4382" y="2017"/>
                      </a:cubicBezTo>
                      <a:cubicBezTo>
                        <a:pt x="4343" y="2071"/>
                        <a:pt x="4268" y="2084"/>
                        <a:pt x="4214" y="2045"/>
                      </a:cubicBezTo>
                      <a:close/>
                      <a:moveTo>
                        <a:pt x="3618" y="1733"/>
                      </a:moveTo>
                      <a:cubicBezTo>
                        <a:pt x="3591" y="1317"/>
                        <a:pt x="3244" y="987"/>
                        <a:pt x="2821" y="987"/>
                      </a:cubicBezTo>
                      <a:cubicBezTo>
                        <a:pt x="2399" y="987"/>
                        <a:pt x="2052" y="1317"/>
                        <a:pt x="2025" y="1733"/>
                      </a:cubicBezTo>
                      <a:cubicBezTo>
                        <a:pt x="2189" y="1755"/>
                        <a:pt x="2288" y="1808"/>
                        <a:pt x="2386" y="1868"/>
                      </a:cubicBezTo>
                      <a:cubicBezTo>
                        <a:pt x="2659" y="2038"/>
                        <a:pt x="2983" y="2038"/>
                        <a:pt x="3254" y="1870"/>
                      </a:cubicBezTo>
                      <a:cubicBezTo>
                        <a:pt x="3354" y="1809"/>
                        <a:pt x="3453" y="1755"/>
                        <a:pt x="3618" y="1733"/>
                      </a:cubicBezTo>
                      <a:close/>
                      <a:moveTo>
                        <a:pt x="5708" y="3397"/>
                      </a:moveTo>
                      <a:lnTo>
                        <a:pt x="5708" y="4163"/>
                      </a:lnTo>
                      <a:cubicBezTo>
                        <a:pt x="5708" y="4648"/>
                        <a:pt x="5314" y="5042"/>
                        <a:pt x="4829" y="5042"/>
                      </a:cubicBezTo>
                      <a:cubicBezTo>
                        <a:pt x="4345" y="5042"/>
                        <a:pt x="3950" y="4648"/>
                        <a:pt x="3950" y="4163"/>
                      </a:cubicBezTo>
                      <a:lnTo>
                        <a:pt x="3950" y="3397"/>
                      </a:lnTo>
                      <a:cubicBezTo>
                        <a:pt x="3950" y="2912"/>
                        <a:pt x="4345" y="2518"/>
                        <a:pt x="4829" y="2518"/>
                      </a:cubicBezTo>
                      <a:lnTo>
                        <a:pt x="4829" y="2518"/>
                      </a:lnTo>
                      <a:cubicBezTo>
                        <a:pt x="5314" y="2518"/>
                        <a:pt x="5708" y="2912"/>
                        <a:pt x="5708" y="3397"/>
                      </a:cubicBezTo>
                      <a:close/>
                      <a:moveTo>
                        <a:pt x="5468" y="3397"/>
                      </a:moveTo>
                      <a:cubicBezTo>
                        <a:pt x="5468" y="3045"/>
                        <a:pt x="5182" y="2758"/>
                        <a:pt x="4829" y="2758"/>
                      </a:cubicBezTo>
                      <a:lnTo>
                        <a:pt x="4829" y="2758"/>
                      </a:lnTo>
                      <a:cubicBezTo>
                        <a:pt x="4477" y="2758"/>
                        <a:pt x="4190" y="3045"/>
                        <a:pt x="4190" y="3397"/>
                      </a:cubicBezTo>
                      <a:lnTo>
                        <a:pt x="4190" y="4163"/>
                      </a:lnTo>
                      <a:cubicBezTo>
                        <a:pt x="4190" y="4515"/>
                        <a:pt x="4477" y="4802"/>
                        <a:pt x="4829" y="4802"/>
                      </a:cubicBezTo>
                      <a:cubicBezTo>
                        <a:pt x="5182" y="4802"/>
                        <a:pt x="5468" y="4515"/>
                        <a:pt x="5468" y="4163"/>
                      </a:cubicBezTo>
                      <a:lnTo>
                        <a:pt x="5468" y="3397"/>
                      </a:lnTo>
                      <a:close/>
                      <a:moveTo>
                        <a:pt x="4829" y="3038"/>
                      </a:moveTo>
                      <a:cubicBezTo>
                        <a:pt x="4763" y="3038"/>
                        <a:pt x="4709" y="3092"/>
                        <a:pt x="4709" y="3158"/>
                      </a:cubicBezTo>
                      <a:lnTo>
                        <a:pt x="4709" y="3454"/>
                      </a:lnTo>
                      <a:cubicBezTo>
                        <a:pt x="4709" y="3521"/>
                        <a:pt x="4763" y="3574"/>
                        <a:pt x="4829" y="3574"/>
                      </a:cubicBezTo>
                      <a:cubicBezTo>
                        <a:pt x="4896" y="3574"/>
                        <a:pt x="4949" y="3521"/>
                        <a:pt x="4949" y="3454"/>
                      </a:cubicBezTo>
                      <a:lnTo>
                        <a:pt x="4949" y="3158"/>
                      </a:lnTo>
                      <a:cubicBezTo>
                        <a:pt x="4949" y="3092"/>
                        <a:pt x="4896" y="3038"/>
                        <a:pt x="4829" y="3038"/>
                      </a:cubicBezTo>
                      <a:close/>
                    </a:path>
                  </a:pathLst>
                </a:custGeom>
                <a:solidFill>
                  <a:schemeClr val="bg1"/>
                </a:solidFill>
                <a:ln w="9525">
                  <a:noFill/>
                  <a:round/>
                  <a:headEnd/>
                  <a:tailEnd/>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sp>
            <p:nvSpPr>
              <p:cNvPr id="277" name="íṣļïdê">
                <a:extLst>
                  <a:ext uri="{FF2B5EF4-FFF2-40B4-BE49-F238E27FC236}">
                    <a16:creationId xmlns:a16="http://schemas.microsoft.com/office/drawing/2014/main" id="{2316C433-96B0-4CE7-92E5-5699C3D714E2}"/>
                  </a:ext>
                </a:extLst>
              </p:cNvPr>
              <p:cNvSpPr txBox="1"/>
              <p:nvPr/>
            </p:nvSpPr>
            <p:spPr>
              <a:xfrm>
                <a:off x="673100" y="5550915"/>
                <a:ext cx="1580392" cy="595885"/>
              </a:xfrm>
              <a:prstGeom prst="rect">
                <a:avLst/>
              </a:prstGeom>
            </p:spPr>
            <p:txBody>
              <a:bodyPr wrap="square"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lnSpc>
                    <a:spcPct val="150000"/>
                  </a:lnSpc>
                  <a:spcBef>
                    <a:spcPct val="0"/>
                  </a:spcBef>
                  <a:buNone/>
                </a:pPr>
                <a:endParaRPr lang="zh-CN" altLang="en-US" sz="1100" dirty="0"/>
              </a:p>
            </p:txBody>
          </p:sp>
        </p:grpSp>
        <p:grpSp>
          <p:nvGrpSpPr>
            <p:cNvPr id="270" name="íṡļidê">
              <a:extLst>
                <a:ext uri="{FF2B5EF4-FFF2-40B4-BE49-F238E27FC236}">
                  <a16:creationId xmlns:a16="http://schemas.microsoft.com/office/drawing/2014/main" id="{C237CF8A-BF21-4639-A057-50828E78276F}"/>
                </a:ext>
              </a:extLst>
            </p:cNvPr>
            <p:cNvGrpSpPr/>
            <p:nvPr/>
          </p:nvGrpSpPr>
          <p:grpSpPr>
            <a:xfrm>
              <a:off x="8085428" y="4684560"/>
              <a:ext cx="1580392" cy="1462240"/>
              <a:chOff x="673100" y="4684560"/>
              <a:chExt cx="1580392" cy="1462240"/>
            </a:xfrm>
          </p:grpSpPr>
          <p:sp>
            <p:nvSpPr>
              <p:cNvPr id="274" name="ïşļíďe">
                <a:extLst>
                  <a:ext uri="{FF2B5EF4-FFF2-40B4-BE49-F238E27FC236}">
                    <a16:creationId xmlns:a16="http://schemas.microsoft.com/office/drawing/2014/main" id="{7B6601F5-26A9-49D0-98F2-2421A216E921}"/>
                  </a:ext>
                </a:extLst>
              </p:cNvPr>
              <p:cNvSpPr/>
              <p:nvPr/>
            </p:nvSpPr>
            <p:spPr bwMode="auto">
              <a:xfrm>
                <a:off x="1345428" y="4684560"/>
                <a:ext cx="235733" cy="230753"/>
              </a:xfrm>
              <a:custGeom>
                <a:avLst/>
                <a:gdLst>
                  <a:gd name="connsiteX0" fmla="*/ 503434 w 607215"/>
                  <a:gd name="connsiteY0" fmla="*/ 494203 h 594390"/>
                  <a:gd name="connsiteX1" fmla="*/ 501253 w 607215"/>
                  <a:gd name="connsiteY1" fmla="*/ 494385 h 594390"/>
                  <a:gd name="connsiteX2" fmla="*/ 485713 w 607215"/>
                  <a:gd name="connsiteY2" fmla="*/ 509086 h 594390"/>
                  <a:gd name="connsiteX3" fmla="*/ 491802 w 607215"/>
                  <a:gd name="connsiteY3" fmla="*/ 525603 h 594390"/>
                  <a:gd name="connsiteX4" fmla="*/ 487167 w 607215"/>
                  <a:gd name="connsiteY4" fmla="*/ 548199 h 594390"/>
                  <a:gd name="connsiteX5" fmla="*/ 491166 w 607215"/>
                  <a:gd name="connsiteY5" fmla="*/ 553009 h 594390"/>
                  <a:gd name="connsiteX6" fmla="*/ 503161 w 607215"/>
                  <a:gd name="connsiteY6" fmla="*/ 553009 h 594390"/>
                  <a:gd name="connsiteX7" fmla="*/ 515157 w 607215"/>
                  <a:gd name="connsiteY7" fmla="*/ 553009 h 594390"/>
                  <a:gd name="connsiteX8" fmla="*/ 519156 w 607215"/>
                  <a:gd name="connsiteY8" fmla="*/ 548199 h 594390"/>
                  <a:gd name="connsiteX9" fmla="*/ 514703 w 607215"/>
                  <a:gd name="connsiteY9" fmla="*/ 525784 h 594390"/>
                  <a:gd name="connsiteX10" fmla="*/ 521246 w 607215"/>
                  <a:gd name="connsiteY10" fmla="*/ 511990 h 594390"/>
                  <a:gd name="connsiteX11" fmla="*/ 503434 w 607215"/>
                  <a:gd name="connsiteY11" fmla="*/ 494203 h 594390"/>
                  <a:gd name="connsiteX12" fmla="*/ 503979 w 607215"/>
                  <a:gd name="connsiteY12" fmla="*/ 378590 h 594390"/>
                  <a:gd name="connsiteX13" fmla="*/ 499617 w 607215"/>
                  <a:gd name="connsiteY13" fmla="*/ 378771 h 594390"/>
                  <a:gd name="connsiteX14" fmla="*/ 458359 w 607215"/>
                  <a:gd name="connsiteY14" fmla="*/ 425507 h 594390"/>
                  <a:gd name="connsiteX15" fmla="*/ 458359 w 607215"/>
                  <a:gd name="connsiteY15" fmla="*/ 452368 h 594390"/>
                  <a:gd name="connsiteX16" fmla="*/ 549690 w 607215"/>
                  <a:gd name="connsiteY16" fmla="*/ 452368 h 594390"/>
                  <a:gd name="connsiteX17" fmla="*/ 549690 w 607215"/>
                  <a:gd name="connsiteY17" fmla="*/ 424146 h 594390"/>
                  <a:gd name="connsiteX18" fmla="*/ 503979 w 607215"/>
                  <a:gd name="connsiteY18" fmla="*/ 378590 h 594390"/>
                  <a:gd name="connsiteX19" fmla="*/ 503979 w 607215"/>
                  <a:gd name="connsiteY19" fmla="*/ 343107 h 594390"/>
                  <a:gd name="connsiteX20" fmla="*/ 585223 w 607215"/>
                  <a:gd name="connsiteY20" fmla="*/ 424146 h 594390"/>
                  <a:gd name="connsiteX21" fmla="*/ 585223 w 607215"/>
                  <a:gd name="connsiteY21" fmla="*/ 452368 h 594390"/>
                  <a:gd name="connsiteX22" fmla="*/ 585768 w 607215"/>
                  <a:gd name="connsiteY22" fmla="*/ 452368 h 594390"/>
                  <a:gd name="connsiteX23" fmla="*/ 607215 w 607215"/>
                  <a:gd name="connsiteY23" fmla="*/ 473876 h 594390"/>
                  <a:gd name="connsiteX24" fmla="*/ 607215 w 607215"/>
                  <a:gd name="connsiteY24" fmla="*/ 572973 h 594390"/>
                  <a:gd name="connsiteX25" fmla="*/ 585768 w 607215"/>
                  <a:gd name="connsiteY25" fmla="*/ 594390 h 594390"/>
                  <a:gd name="connsiteX26" fmla="*/ 420918 w 607215"/>
                  <a:gd name="connsiteY26" fmla="*/ 594390 h 594390"/>
                  <a:gd name="connsiteX27" fmla="*/ 399471 w 607215"/>
                  <a:gd name="connsiteY27" fmla="*/ 572973 h 594390"/>
                  <a:gd name="connsiteX28" fmla="*/ 399471 w 607215"/>
                  <a:gd name="connsiteY28" fmla="*/ 473876 h 594390"/>
                  <a:gd name="connsiteX29" fmla="*/ 420918 w 607215"/>
                  <a:gd name="connsiteY29" fmla="*/ 452459 h 594390"/>
                  <a:gd name="connsiteX30" fmla="*/ 422826 w 607215"/>
                  <a:gd name="connsiteY30" fmla="*/ 452459 h 594390"/>
                  <a:gd name="connsiteX31" fmla="*/ 422826 w 607215"/>
                  <a:gd name="connsiteY31" fmla="*/ 426233 h 594390"/>
                  <a:gd name="connsiteX32" fmla="*/ 500889 w 607215"/>
                  <a:gd name="connsiteY32" fmla="*/ 343198 h 594390"/>
                  <a:gd name="connsiteX33" fmla="*/ 503979 w 607215"/>
                  <a:gd name="connsiteY33" fmla="*/ 343107 h 594390"/>
                  <a:gd name="connsiteX34" fmla="*/ 277002 w 607215"/>
                  <a:gd name="connsiteY34" fmla="*/ 512 h 594390"/>
                  <a:gd name="connsiteX35" fmla="*/ 344162 w 607215"/>
                  <a:gd name="connsiteY35" fmla="*/ 14669 h 594390"/>
                  <a:gd name="connsiteX36" fmla="*/ 376879 w 607215"/>
                  <a:gd name="connsiteY36" fmla="*/ 45070 h 594390"/>
                  <a:gd name="connsiteX37" fmla="*/ 412867 w 607215"/>
                  <a:gd name="connsiteY37" fmla="*/ 159052 h 594390"/>
                  <a:gd name="connsiteX38" fmla="*/ 410414 w 607215"/>
                  <a:gd name="connsiteY38" fmla="*/ 169216 h 594390"/>
                  <a:gd name="connsiteX39" fmla="*/ 419956 w 607215"/>
                  <a:gd name="connsiteY39" fmla="*/ 217132 h 594390"/>
                  <a:gd name="connsiteX40" fmla="*/ 396872 w 607215"/>
                  <a:gd name="connsiteY40" fmla="*/ 257425 h 594390"/>
                  <a:gd name="connsiteX41" fmla="*/ 380605 w 607215"/>
                  <a:gd name="connsiteY41" fmla="*/ 301802 h 594390"/>
                  <a:gd name="connsiteX42" fmla="*/ 380605 w 607215"/>
                  <a:gd name="connsiteY42" fmla="*/ 357251 h 594390"/>
                  <a:gd name="connsiteX43" fmla="*/ 383513 w 607215"/>
                  <a:gd name="connsiteY43" fmla="*/ 361970 h 594390"/>
                  <a:gd name="connsiteX44" fmla="*/ 401962 w 607215"/>
                  <a:gd name="connsiteY44" fmla="*/ 371408 h 594390"/>
                  <a:gd name="connsiteX45" fmla="*/ 388511 w 607215"/>
                  <a:gd name="connsiteY45" fmla="*/ 426221 h 594390"/>
                  <a:gd name="connsiteX46" fmla="*/ 388511 w 607215"/>
                  <a:gd name="connsiteY46" fmla="*/ 428671 h 594390"/>
                  <a:gd name="connsiteX47" fmla="*/ 365064 w 607215"/>
                  <a:gd name="connsiteY47" fmla="*/ 473864 h 594390"/>
                  <a:gd name="connsiteX48" fmla="*/ 365064 w 607215"/>
                  <a:gd name="connsiteY48" fmla="*/ 572963 h 594390"/>
                  <a:gd name="connsiteX49" fmla="*/ 369063 w 607215"/>
                  <a:gd name="connsiteY49" fmla="*/ 593473 h 594390"/>
                  <a:gd name="connsiteX50" fmla="*/ 29082 w 607215"/>
                  <a:gd name="connsiteY50" fmla="*/ 593473 h 594390"/>
                  <a:gd name="connsiteX51" fmla="*/ 0 w 607215"/>
                  <a:gd name="connsiteY51" fmla="*/ 564433 h 594390"/>
                  <a:gd name="connsiteX52" fmla="*/ 0 w 607215"/>
                  <a:gd name="connsiteY52" fmla="*/ 512978 h 594390"/>
                  <a:gd name="connsiteX53" fmla="*/ 20993 w 607215"/>
                  <a:gd name="connsiteY53" fmla="*/ 468782 h 594390"/>
                  <a:gd name="connsiteX54" fmla="*/ 187849 w 607215"/>
                  <a:gd name="connsiteY54" fmla="*/ 361970 h 594390"/>
                  <a:gd name="connsiteX55" fmla="*/ 190757 w 607215"/>
                  <a:gd name="connsiteY55" fmla="*/ 357251 h 594390"/>
                  <a:gd name="connsiteX56" fmla="*/ 190757 w 607215"/>
                  <a:gd name="connsiteY56" fmla="*/ 301802 h 594390"/>
                  <a:gd name="connsiteX57" fmla="*/ 174489 w 607215"/>
                  <a:gd name="connsiteY57" fmla="*/ 257425 h 594390"/>
                  <a:gd name="connsiteX58" fmla="*/ 151315 w 607215"/>
                  <a:gd name="connsiteY58" fmla="*/ 217132 h 594390"/>
                  <a:gd name="connsiteX59" fmla="*/ 160403 w 607215"/>
                  <a:gd name="connsiteY59" fmla="*/ 169216 h 594390"/>
                  <a:gd name="connsiteX60" fmla="*/ 158040 w 607215"/>
                  <a:gd name="connsiteY60" fmla="*/ 159052 h 594390"/>
                  <a:gd name="connsiteX61" fmla="*/ 157767 w 607215"/>
                  <a:gd name="connsiteY61" fmla="*/ 103060 h 594390"/>
                  <a:gd name="connsiteX62" fmla="*/ 190484 w 607215"/>
                  <a:gd name="connsiteY62" fmla="*/ 45706 h 594390"/>
                  <a:gd name="connsiteX63" fmla="*/ 220747 w 607215"/>
                  <a:gd name="connsiteY63" fmla="*/ 20659 h 594390"/>
                  <a:gd name="connsiteX64" fmla="*/ 250192 w 607215"/>
                  <a:gd name="connsiteY64" fmla="*/ 5594 h 594390"/>
                  <a:gd name="connsiteX65" fmla="*/ 277002 w 607215"/>
                  <a:gd name="connsiteY65" fmla="*/ 512 h 59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607215" h="594390">
                    <a:moveTo>
                      <a:pt x="503434" y="494203"/>
                    </a:moveTo>
                    <a:cubicBezTo>
                      <a:pt x="502707" y="494203"/>
                      <a:pt x="501980" y="494203"/>
                      <a:pt x="501253" y="494385"/>
                    </a:cubicBezTo>
                    <a:cubicBezTo>
                      <a:pt x="493347" y="495292"/>
                      <a:pt x="486894" y="501373"/>
                      <a:pt x="485713" y="509086"/>
                    </a:cubicBezTo>
                    <a:cubicBezTo>
                      <a:pt x="484622" y="515620"/>
                      <a:pt x="487258" y="521700"/>
                      <a:pt x="491802" y="525603"/>
                    </a:cubicBezTo>
                    <a:lnTo>
                      <a:pt x="487167" y="548199"/>
                    </a:lnTo>
                    <a:cubicBezTo>
                      <a:pt x="486713" y="550740"/>
                      <a:pt x="488621" y="553009"/>
                      <a:pt x="491166" y="553009"/>
                    </a:cubicBezTo>
                    <a:lnTo>
                      <a:pt x="503161" y="553009"/>
                    </a:lnTo>
                    <a:lnTo>
                      <a:pt x="515157" y="553009"/>
                    </a:lnTo>
                    <a:cubicBezTo>
                      <a:pt x="517702" y="553009"/>
                      <a:pt x="519610" y="550740"/>
                      <a:pt x="519156" y="548199"/>
                    </a:cubicBezTo>
                    <a:lnTo>
                      <a:pt x="514703" y="525784"/>
                    </a:lnTo>
                    <a:cubicBezTo>
                      <a:pt x="518701" y="522517"/>
                      <a:pt x="521246" y="517617"/>
                      <a:pt x="521246" y="511990"/>
                    </a:cubicBezTo>
                    <a:cubicBezTo>
                      <a:pt x="521246" y="502189"/>
                      <a:pt x="513249" y="494203"/>
                      <a:pt x="503434" y="494203"/>
                    </a:cubicBezTo>
                    <a:close/>
                    <a:moveTo>
                      <a:pt x="503979" y="378590"/>
                    </a:moveTo>
                    <a:cubicBezTo>
                      <a:pt x="502525" y="378590"/>
                      <a:pt x="501071" y="378680"/>
                      <a:pt x="499617" y="378771"/>
                    </a:cubicBezTo>
                    <a:cubicBezTo>
                      <a:pt x="475898" y="380949"/>
                      <a:pt x="458359" y="401821"/>
                      <a:pt x="458359" y="425507"/>
                    </a:cubicBezTo>
                    <a:lnTo>
                      <a:pt x="458359" y="452368"/>
                    </a:lnTo>
                    <a:lnTo>
                      <a:pt x="549690" y="452368"/>
                    </a:lnTo>
                    <a:lnTo>
                      <a:pt x="549690" y="424146"/>
                    </a:lnTo>
                    <a:cubicBezTo>
                      <a:pt x="549690" y="399008"/>
                      <a:pt x="529243" y="378590"/>
                      <a:pt x="503979" y="378590"/>
                    </a:cubicBezTo>
                    <a:close/>
                    <a:moveTo>
                      <a:pt x="503979" y="343107"/>
                    </a:moveTo>
                    <a:cubicBezTo>
                      <a:pt x="548690" y="343107"/>
                      <a:pt x="585223" y="379406"/>
                      <a:pt x="585223" y="424146"/>
                    </a:cubicBezTo>
                    <a:lnTo>
                      <a:pt x="585223" y="452368"/>
                    </a:lnTo>
                    <a:lnTo>
                      <a:pt x="585768" y="452368"/>
                    </a:lnTo>
                    <a:cubicBezTo>
                      <a:pt x="597673" y="452368"/>
                      <a:pt x="607215" y="461897"/>
                      <a:pt x="607215" y="473876"/>
                    </a:cubicBezTo>
                    <a:lnTo>
                      <a:pt x="607215" y="572973"/>
                    </a:lnTo>
                    <a:cubicBezTo>
                      <a:pt x="607215" y="584861"/>
                      <a:pt x="597673" y="594390"/>
                      <a:pt x="585768" y="594390"/>
                    </a:cubicBezTo>
                    <a:lnTo>
                      <a:pt x="420918" y="594390"/>
                    </a:lnTo>
                    <a:cubicBezTo>
                      <a:pt x="409013" y="594390"/>
                      <a:pt x="399471" y="584861"/>
                      <a:pt x="399471" y="572973"/>
                    </a:cubicBezTo>
                    <a:lnTo>
                      <a:pt x="399471" y="473876"/>
                    </a:lnTo>
                    <a:cubicBezTo>
                      <a:pt x="399471" y="462078"/>
                      <a:pt x="409013" y="452459"/>
                      <a:pt x="420918" y="452459"/>
                    </a:cubicBezTo>
                    <a:lnTo>
                      <a:pt x="422826" y="452459"/>
                    </a:lnTo>
                    <a:lnTo>
                      <a:pt x="422826" y="426233"/>
                    </a:lnTo>
                    <a:cubicBezTo>
                      <a:pt x="422826" y="382310"/>
                      <a:pt x="456905" y="344922"/>
                      <a:pt x="500889" y="343198"/>
                    </a:cubicBezTo>
                    <a:cubicBezTo>
                      <a:pt x="501980" y="343107"/>
                      <a:pt x="502889" y="343107"/>
                      <a:pt x="503979" y="343107"/>
                    </a:cubicBezTo>
                    <a:close/>
                    <a:moveTo>
                      <a:pt x="277002" y="512"/>
                    </a:moveTo>
                    <a:cubicBezTo>
                      <a:pt x="306174" y="-2029"/>
                      <a:pt x="328258" y="5231"/>
                      <a:pt x="344162" y="14669"/>
                    </a:cubicBezTo>
                    <a:cubicBezTo>
                      <a:pt x="367882" y="27737"/>
                      <a:pt x="376879" y="45070"/>
                      <a:pt x="376879" y="45070"/>
                    </a:cubicBezTo>
                    <a:cubicBezTo>
                      <a:pt x="376879" y="45070"/>
                      <a:pt x="431134" y="48973"/>
                      <a:pt x="412867" y="159052"/>
                    </a:cubicBezTo>
                    <a:cubicBezTo>
                      <a:pt x="412231" y="162410"/>
                      <a:pt x="411413" y="165859"/>
                      <a:pt x="410414" y="169216"/>
                    </a:cubicBezTo>
                    <a:cubicBezTo>
                      <a:pt x="420683" y="169216"/>
                      <a:pt x="431225" y="177202"/>
                      <a:pt x="419956" y="217132"/>
                    </a:cubicBezTo>
                    <a:cubicBezTo>
                      <a:pt x="411231" y="248260"/>
                      <a:pt x="403052" y="256972"/>
                      <a:pt x="396872" y="257425"/>
                    </a:cubicBezTo>
                    <a:cubicBezTo>
                      <a:pt x="394691" y="271582"/>
                      <a:pt x="389238" y="287101"/>
                      <a:pt x="380605" y="301802"/>
                    </a:cubicBezTo>
                    <a:lnTo>
                      <a:pt x="380605" y="357251"/>
                    </a:lnTo>
                    <a:cubicBezTo>
                      <a:pt x="380605" y="359338"/>
                      <a:pt x="381695" y="361153"/>
                      <a:pt x="383513" y="361970"/>
                    </a:cubicBezTo>
                    <a:cubicBezTo>
                      <a:pt x="386876" y="363694"/>
                      <a:pt x="393328" y="366961"/>
                      <a:pt x="401962" y="371408"/>
                    </a:cubicBezTo>
                    <a:cubicBezTo>
                      <a:pt x="393237" y="388106"/>
                      <a:pt x="388511" y="406891"/>
                      <a:pt x="388511" y="426221"/>
                    </a:cubicBezTo>
                    <a:lnTo>
                      <a:pt x="388511" y="428671"/>
                    </a:lnTo>
                    <a:cubicBezTo>
                      <a:pt x="374334" y="438835"/>
                      <a:pt x="365064" y="455261"/>
                      <a:pt x="365064" y="473864"/>
                    </a:cubicBezTo>
                    <a:lnTo>
                      <a:pt x="365064" y="572963"/>
                    </a:lnTo>
                    <a:cubicBezTo>
                      <a:pt x="365064" y="580133"/>
                      <a:pt x="366519" y="587121"/>
                      <a:pt x="369063" y="593473"/>
                    </a:cubicBezTo>
                    <a:lnTo>
                      <a:pt x="29082" y="593473"/>
                    </a:lnTo>
                    <a:cubicBezTo>
                      <a:pt x="13087" y="593473"/>
                      <a:pt x="91" y="580405"/>
                      <a:pt x="0" y="564433"/>
                    </a:cubicBezTo>
                    <a:lnTo>
                      <a:pt x="0" y="512978"/>
                    </a:lnTo>
                    <a:cubicBezTo>
                      <a:pt x="0" y="495917"/>
                      <a:pt x="7725" y="479672"/>
                      <a:pt x="20993" y="468782"/>
                    </a:cubicBezTo>
                    <a:cubicBezTo>
                      <a:pt x="93697" y="409250"/>
                      <a:pt x="171945" y="369683"/>
                      <a:pt x="187849" y="361970"/>
                    </a:cubicBezTo>
                    <a:cubicBezTo>
                      <a:pt x="189666" y="360971"/>
                      <a:pt x="190757" y="359156"/>
                      <a:pt x="190757" y="357251"/>
                    </a:cubicBezTo>
                    <a:lnTo>
                      <a:pt x="190757" y="301802"/>
                    </a:lnTo>
                    <a:cubicBezTo>
                      <a:pt x="182123" y="287101"/>
                      <a:pt x="176670" y="271492"/>
                      <a:pt x="174489" y="257425"/>
                    </a:cubicBezTo>
                    <a:cubicBezTo>
                      <a:pt x="168310" y="256972"/>
                      <a:pt x="160221" y="248260"/>
                      <a:pt x="151315" y="217132"/>
                    </a:cubicBezTo>
                    <a:cubicBezTo>
                      <a:pt x="140228" y="177838"/>
                      <a:pt x="150224" y="169489"/>
                      <a:pt x="160403" y="169216"/>
                    </a:cubicBezTo>
                    <a:cubicBezTo>
                      <a:pt x="159494" y="165859"/>
                      <a:pt x="158585" y="162410"/>
                      <a:pt x="158040" y="159052"/>
                    </a:cubicBezTo>
                    <a:cubicBezTo>
                      <a:pt x="154132" y="139178"/>
                      <a:pt x="153133" y="120665"/>
                      <a:pt x="157767" y="103060"/>
                    </a:cubicBezTo>
                    <a:cubicBezTo>
                      <a:pt x="163311" y="79283"/>
                      <a:pt x="176034" y="60316"/>
                      <a:pt x="190484" y="45706"/>
                    </a:cubicBezTo>
                    <a:cubicBezTo>
                      <a:pt x="199572" y="35995"/>
                      <a:pt x="209842" y="27556"/>
                      <a:pt x="220747" y="20659"/>
                    </a:cubicBezTo>
                    <a:cubicBezTo>
                      <a:pt x="229653" y="14578"/>
                      <a:pt x="239559" y="9224"/>
                      <a:pt x="250192" y="5594"/>
                    </a:cubicBezTo>
                    <a:cubicBezTo>
                      <a:pt x="258553" y="2872"/>
                      <a:pt x="267550" y="1057"/>
                      <a:pt x="277002" y="512"/>
                    </a:cubicBezTo>
                    <a:close/>
                  </a:path>
                </a:pathLst>
              </a:custGeom>
              <a:solidFill>
                <a:schemeClr val="bg1"/>
              </a:solidFill>
              <a:ln w="9525">
                <a:noFill/>
                <a:round/>
                <a:headEnd/>
                <a:tailEnd/>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275" name="ï$liďe">
                <a:extLst>
                  <a:ext uri="{FF2B5EF4-FFF2-40B4-BE49-F238E27FC236}">
                    <a16:creationId xmlns:a16="http://schemas.microsoft.com/office/drawing/2014/main" id="{DC1D3E37-76A9-4402-9361-031A30F8C752}"/>
                  </a:ext>
                </a:extLst>
              </p:cNvPr>
              <p:cNvSpPr txBox="1"/>
              <p:nvPr/>
            </p:nvSpPr>
            <p:spPr>
              <a:xfrm>
                <a:off x="673100" y="5550915"/>
                <a:ext cx="1580392" cy="595885"/>
              </a:xfrm>
              <a:prstGeom prst="rect">
                <a:avLst/>
              </a:prstGeom>
            </p:spPr>
            <p:txBody>
              <a:bodyPr wrap="square"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lnSpc>
                    <a:spcPct val="150000"/>
                  </a:lnSpc>
                  <a:spcBef>
                    <a:spcPct val="0"/>
                  </a:spcBef>
                  <a:buNone/>
                </a:pPr>
                <a:endParaRPr lang="zh-CN" altLang="en-US" sz="1100" dirty="0"/>
              </a:p>
            </p:txBody>
          </p:sp>
        </p:grpSp>
        <p:grpSp>
          <p:nvGrpSpPr>
            <p:cNvPr id="271" name="íṥļídé">
              <a:extLst>
                <a:ext uri="{FF2B5EF4-FFF2-40B4-BE49-F238E27FC236}">
                  <a16:creationId xmlns:a16="http://schemas.microsoft.com/office/drawing/2014/main" id="{D50CE55E-61EA-4BB0-8571-37D41FE03434}"/>
                </a:ext>
              </a:extLst>
            </p:cNvPr>
            <p:cNvGrpSpPr/>
            <p:nvPr/>
          </p:nvGrpSpPr>
          <p:grpSpPr>
            <a:xfrm>
              <a:off x="8528947" y="4533901"/>
              <a:ext cx="532087" cy="532082"/>
              <a:chOff x="-1165408" y="4383463"/>
              <a:chExt cx="784600" cy="784597"/>
            </a:xfrm>
          </p:grpSpPr>
          <p:sp>
            <p:nvSpPr>
              <p:cNvPr id="272" name="îṡḷïḋê">
                <a:extLst>
                  <a:ext uri="{FF2B5EF4-FFF2-40B4-BE49-F238E27FC236}">
                    <a16:creationId xmlns:a16="http://schemas.microsoft.com/office/drawing/2014/main" id="{E7B4C38D-272E-4203-BDE9-BE246828D0F2}"/>
                  </a:ext>
                </a:extLst>
              </p:cNvPr>
              <p:cNvSpPr/>
              <p:nvPr/>
            </p:nvSpPr>
            <p:spPr>
              <a:xfrm rot="10800000" flipV="1">
                <a:off x="-1165408" y="4383463"/>
                <a:ext cx="784600" cy="784597"/>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21600" y="16765"/>
                      <a:pt x="16765" y="21600"/>
                      <a:pt x="10800" y="21600"/>
                    </a:cubicBezTo>
                    <a:cubicBezTo>
                      <a:pt x="4835" y="21600"/>
                      <a:pt x="0" y="16765"/>
                      <a:pt x="0" y="10800"/>
                    </a:cubicBezTo>
                    <a:cubicBezTo>
                      <a:pt x="0" y="4835"/>
                      <a:pt x="4835" y="0"/>
                      <a:pt x="10800" y="0"/>
                    </a:cubicBezTo>
                    <a:cubicBezTo>
                      <a:pt x="16765" y="0"/>
                      <a:pt x="21600" y="4835"/>
                      <a:pt x="21600" y="10800"/>
                    </a:cubicBezTo>
                    <a:close/>
                  </a:path>
                </a:pathLst>
              </a:custGeom>
              <a:solidFill>
                <a:schemeClr val="accent1"/>
              </a:solidFill>
              <a:ln w="38100" cap="flat" cmpd="sng" algn="ctr">
                <a:solidFill>
                  <a:schemeClr val="bg1">
                    <a:lumMod val="9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solidFill>
                    <a:schemeClr val="lt1"/>
                  </a:solidFill>
                </a:endParaRPr>
              </a:p>
            </p:txBody>
          </p:sp>
          <p:sp>
            <p:nvSpPr>
              <p:cNvPr id="273" name="iṩḷíďê">
                <a:extLst>
                  <a:ext uri="{FF2B5EF4-FFF2-40B4-BE49-F238E27FC236}">
                    <a16:creationId xmlns:a16="http://schemas.microsoft.com/office/drawing/2014/main" id="{D2F2F0A0-455D-459F-90E5-A8674554530D}"/>
                  </a:ext>
                </a:extLst>
              </p:cNvPr>
              <p:cNvSpPr/>
              <p:nvPr/>
            </p:nvSpPr>
            <p:spPr bwMode="auto">
              <a:xfrm>
                <a:off x="-919951" y="4601958"/>
                <a:ext cx="323866" cy="347603"/>
              </a:xfrm>
              <a:custGeom>
                <a:avLst/>
                <a:gdLst>
                  <a:gd name="T0" fmla="*/ 88862 h 440259"/>
                  <a:gd name="T1" fmla="*/ 88862 h 440259"/>
                  <a:gd name="T2" fmla="*/ 278945 h 440259"/>
                  <a:gd name="T3" fmla="*/ 278945 h 440259"/>
                  <a:gd name="T4" fmla="*/ 278945 h 440259"/>
                  <a:gd name="T5" fmla="*/ 278945 h 440259"/>
                  <a:gd name="T6" fmla="*/ 278945 h 440259"/>
                  <a:gd name="T7" fmla="*/ 278945 h 440259"/>
                  <a:gd name="T8" fmla="*/ 278945 h 440259"/>
                  <a:gd name="T9" fmla="*/ 278945 h 440259"/>
                  <a:gd name="T10" fmla="*/ 278945 h 440259"/>
                  <a:gd name="T11" fmla="*/ 278945 h 440259"/>
                  <a:gd name="T12" fmla="*/ 278945 h 440259"/>
                  <a:gd name="T13" fmla="*/ 278945 h 440259"/>
                  <a:gd name="T14" fmla="*/ 278945 h 440259"/>
                  <a:gd name="T15" fmla="*/ 278945 h 440259"/>
                  <a:gd name="T16" fmla="*/ 278945 h 440259"/>
                  <a:gd name="T17" fmla="*/ 278945 h 440259"/>
                  <a:gd name="T18" fmla="*/ 278945 h 440259"/>
                  <a:gd name="T19" fmla="*/ 278945 h 440259"/>
                  <a:gd name="T20" fmla="*/ 278945 h 440259"/>
                  <a:gd name="T21" fmla="*/ 278945 h 440259"/>
                  <a:gd name="T22" fmla="*/ 278945 h 440259"/>
                  <a:gd name="T23" fmla="*/ 278945 h 440259"/>
                  <a:gd name="T24" fmla="*/ 278945 h 440259"/>
                  <a:gd name="T25" fmla="*/ 278945 h 440259"/>
                  <a:gd name="T26" fmla="*/ 278945 h 440259"/>
                  <a:gd name="T27" fmla="*/ 278945 h 440259"/>
                  <a:gd name="T28" fmla="*/ 278945 h 440259"/>
                  <a:gd name="T29" fmla="*/ 278945 h 440259"/>
                  <a:gd name="T30" fmla="*/ 278945 h 440259"/>
                  <a:gd name="T31" fmla="*/ 278945 h 440259"/>
                  <a:gd name="T32" fmla="*/ 278945 h 440259"/>
                  <a:gd name="T33" fmla="*/ 278945 h 440259"/>
                  <a:gd name="T34" fmla="*/ 278945 h 440259"/>
                  <a:gd name="T35" fmla="*/ 278945 h 440259"/>
                  <a:gd name="T36" fmla="*/ 278945 h 440259"/>
                  <a:gd name="T37" fmla="*/ 278945 h 440259"/>
                  <a:gd name="T38" fmla="*/ 278945 h 440259"/>
                  <a:gd name="T39" fmla="*/ 278945 h 440259"/>
                  <a:gd name="T40" fmla="*/ 278945 h 440259"/>
                  <a:gd name="T41" fmla="*/ 278945 h 440259"/>
                  <a:gd name="T42" fmla="*/ 278945 h 440259"/>
                  <a:gd name="T43" fmla="*/ 278945 h 440259"/>
                  <a:gd name="T44" fmla="*/ 88862 h 440259"/>
                  <a:gd name="T45" fmla="*/ 88862 h 440259"/>
                  <a:gd name="T46" fmla="*/ 278945 h 440259"/>
                  <a:gd name="T47" fmla="*/ 278945 h 440259"/>
                  <a:gd name="T48" fmla="*/ 278945 h 440259"/>
                  <a:gd name="T49" fmla="*/ 278945 h 440259"/>
                  <a:gd name="T50" fmla="*/ 278945 h 440259"/>
                  <a:gd name="T51" fmla="*/ 278945 h 440259"/>
                  <a:gd name="T52" fmla="*/ 278945 h 440259"/>
                  <a:gd name="T53" fmla="*/ 278945 h 440259"/>
                  <a:gd name="T54" fmla="*/ 88862 h 440259"/>
                  <a:gd name="T55" fmla="*/ 88862 h 440259"/>
                  <a:gd name="T56" fmla="*/ 278945 h 440259"/>
                  <a:gd name="T57" fmla="*/ 278945 h 440259"/>
                  <a:gd name="T58" fmla="*/ 278945 h 440259"/>
                  <a:gd name="T59" fmla="*/ 278945 h 440259"/>
                  <a:gd name="T60" fmla="*/ 278945 h 440259"/>
                  <a:gd name="T61" fmla="*/ 278945 h 440259"/>
                  <a:gd name="T62" fmla="*/ 278945 h 440259"/>
                  <a:gd name="T63" fmla="*/ 278945 h 440259"/>
                  <a:gd name="T64" fmla="*/ 88862 h 440259"/>
                  <a:gd name="T65" fmla="*/ 88862 h 440259"/>
                  <a:gd name="T66" fmla="*/ 278945 h 440259"/>
                  <a:gd name="T67" fmla="*/ 278945 h 440259"/>
                  <a:gd name="T68" fmla="*/ 278945 h 440259"/>
                  <a:gd name="T69" fmla="*/ 278945 h 440259"/>
                  <a:gd name="T70" fmla="*/ 278945 h 440259"/>
                  <a:gd name="T71" fmla="*/ 278945 h 440259"/>
                  <a:gd name="T72" fmla="*/ 278945 h 440259"/>
                  <a:gd name="T73" fmla="*/ 278945 h 440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94" h="6657">
                    <a:moveTo>
                      <a:pt x="2409" y="5403"/>
                    </a:moveTo>
                    <a:lnTo>
                      <a:pt x="6105" y="1708"/>
                    </a:lnTo>
                    <a:cubicBezTo>
                      <a:pt x="6194" y="1619"/>
                      <a:pt x="6194" y="1473"/>
                      <a:pt x="6105" y="1383"/>
                    </a:cubicBezTo>
                    <a:lnTo>
                      <a:pt x="4789" y="67"/>
                    </a:lnTo>
                    <a:cubicBezTo>
                      <a:pt x="4746" y="24"/>
                      <a:pt x="4688" y="0"/>
                      <a:pt x="4627" y="0"/>
                    </a:cubicBezTo>
                    <a:cubicBezTo>
                      <a:pt x="4566" y="0"/>
                      <a:pt x="4507" y="24"/>
                      <a:pt x="4464" y="67"/>
                    </a:cubicBezTo>
                    <a:lnTo>
                      <a:pt x="769" y="3763"/>
                    </a:lnTo>
                    <a:cubicBezTo>
                      <a:pt x="744" y="3788"/>
                      <a:pt x="725" y="3818"/>
                      <a:pt x="714" y="3851"/>
                    </a:cubicBezTo>
                    <a:lnTo>
                      <a:pt x="29" y="5851"/>
                    </a:lnTo>
                    <a:cubicBezTo>
                      <a:pt x="0" y="5934"/>
                      <a:pt x="22" y="6026"/>
                      <a:pt x="84" y="6088"/>
                    </a:cubicBezTo>
                    <a:cubicBezTo>
                      <a:pt x="128" y="6132"/>
                      <a:pt x="186" y="6155"/>
                      <a:pt x="246" y="6155"/>
                    </a:cubicBezTo>
                    <a:cubicBezTo>
                      <a:pt x="253" y="6169"/>
                      <a:pt x="264" y="6182"/>
                      <a:pt x="280" y="6194"/>
                    </a:cubicBezTo>
                    <a:cubicBezTo>
                      <a:pt x="398" y="6276"/>
                      <a:pt x="522" y="6340"/>
                      <a:pt x="649" y="6396"/>
                    </a:cubicBezTo>
                    <a:cubicBezTo>
                      <a:pt x="1237" y="6657"/>
                      <a:pt x="1898" y="6648"/>
                      <a:pt x="2537" y="6506"/>
                    </a:cubicBezTo>
                    <a:cubicBezTo>
                      <a:pt x="3020" y="6397"/>
                      <a:pt x="3479" y="6205"/>
                      <a:pt x="3950" y="6055"/>
                    </a:cubicBezTo>
                    <a:cubicBezTo>
                      <a:pt x="4592" y="5851"/>
                      <a:pt x="5291" y="5753"/>
                      <a:pt x="5957" y="5675"/>
                    </a:cubicBezTo>
                    <a:cubicBezTo>
                      <a:pt x="6105" y="5657"/>
                      <a:pt x="6080" y="5429"/>
                      <a:pt x="5933" y="5446"/>
                    </a:cubicBezTo>
                    <a:cubicBezTo>
                      <a:pt x="5026" y="5553"/>
                      <a:pt x="4136" y="5734"/>
                      <a:pt x="3276" y="6042"/>
                    </a:cubicBezTo>
                    <a:cubicBezTo>
                      <a:pt x="2552" y="6301"/>
                      <a:pt x="1722" y="6507"/>
                      <a:pt x="981" y="6282"/>
                    </a:cubicBezTo>
                    <a:cubicBezTo>
                      <a:pt x="823" y="6234"/>
                      <a:pt x="669" y="6166"/>
                      <a:pt x="521" y="6075"/>
                    </a:cubicBezTo>
                    <a:lnTo>
                      <a:pt x="2321" y="5459"/>
                    </a:lnTo>
                    <a:cubicBezTo>
                      <a:pt x="2354" y="5447"/>
                      <a:pt x="2385" y="5428"/>
                      <a:pt x="2409" y="5403"/>
                    </a:cubicBezTo>
                    <a:close/>
                    <a:moveTo>
                      <a:pt x="2292" y="4870"/>
                    </a:moveTo>
                    <a:lnTo>
                      <a:pt x="2048" y="4626"/>
                    </a:lnTo>
                    <a:lnTo>
                      <a:pt x="5373" y="1302"/>
                    </a:lnTo>
                    <a:lnTo>
                      <a:pt x="5616" y="1546"/>
                    </a:lnTo>
                    <a:lnTo>
                      <a:pt x="2292" y="4870"/>
                    </a:lnTo>
                    <a:close/>
                    <a:moveTo>
                      <a:pt x="4627" y="556"/>
                    </a:moveTo>
                    <a:lnTo>
                      <a:pt x="4871" y="800"/>
                    </a:lnTo>
                    <a:lnTo>
                      <a:pt x="1546" y="4124"/>
                    </a:lnTo>
                    <a:lnTo>
                      <a:pt x="1302" y="3880"/>
                    </a:lnTo>
                    <a:lnTo>
                      <a:pt x="4627" y="556"/>
                    </a:lnTo>
                    <a:close/>
                    <a:moveTo>
                      <a:pt x="1015" y="5419"/>
                    </a:moveTo>
                    <a:lnTo>
                      <a:pt x="753" y="5157"/>
                    </a:lnTo>
                    <a:lnTo>
                      <a:pt x="1053" y="4282"/>
                    </a:lnTo>
                    <a:lnTo>
                      <a:pt x="1890" y="5119"/>
                    </a:lnTo>
                    <a:lnTo>
                      <a:pt x="1015" y="5419"/>
                    </a:lnTo>
                    <a:close/>
                  </a:path>
                </a:pathLst>
              </a:custGeom>
              <a:solidFill>
                <a:schemeClr val="bg1"/>
              </a:solidFill>
              <a:ln w="9525">
                <a:noFill/>
                <a:round/>
                <a:headEnd/>
                <a:tailEnd/>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grpSp>
      <p:sp>
        <p:nvSpPr>
          <p:cNvPr id="5" name="矩形 4"/>
          <p:cNvSpPr/>
          <p:nvPr/>
        </p:nvSpPr>
        <p:spPr>
          <a:xfrm>
            <a:off x="1632796" y="4690666"/>
            <a:ext cx="877163" cy="923330"/>
          </a:xfrm>
          <a:prstGeom prst="rect">
            <a:avLst/>
          </a:prstGeom>
          <a:noFill/>
        </p:spPr>
        <p:txBody>
          <a:bodyPr wrap="none" lIns="91440" tIns="45720" rIns="91440" bIns="45720">
            <a:spAutoFit/>
          </a:bodyPr>
          <a:lstStyle/>
          <a:p>
            <a:pPr algn="r"/>
            <a:r>
              <a:rPr lang="zh-CN" altLang="en-US" sz="5400" dirty="0">
                <a:ln w="0"/>
                <a:solidFill>
                  <a:schemeClr val="accent1"/>
                </a:solidFill>
                <a:effectLst>
                  <a:outerShdw blurRad="38100" dist="25400" dir="5400000" algn="ctr" rotWithShape="0">
                    <a:srgbClr val="6E747A">
                      <a:alpha val="43000"/>
                    </a:srgbClr>
                  </a:outerShdw>
                </a:effectLst>
              </a:rPr>
              <a:t>分</a:t>
            </a:r>
            <a:endParaRPr lang="zh-CN" altLang="en-US" sz="5400" b="0" cap="none" spc="0" dirty="0">
              <a:ln w="0"/>
              <a:solidFill>
                <a:schemeClr val="accent1"/>
              </a:solidFill>
              <a:effectLst>
                <a:outerShdw blurRad="38100" dist="25400" dir="5400000" algn="ctr" rotWithShape="0">
                  <a:srgbClr val="6E747A">
                    <a:alpha val="43000"/>
                  </a:srgbClr>
                </a:outerShdw>
              </a:effectLst>
            </a:endParaRPr>
          </a:p>
        </p:txBody>
      </p:sp>
      <p:sp>
        <p:nvSpPr>
          <p:cNvPr id="67" name="矩形 66"/>
          <p:cNvSpPr/>
          <p:nvPr/>
        </p:nvSpPr>
        <p:spPr>
          <a:xfrm>
            <a:off x="5437481" y="4704750"/>
            <a:ext cx="877164" cy="923330"/>
          </a:xfrm>
          <a:prstGeom prst="rect">
            <a:avLst/>
          </a:prstGeom>
          <a:noFill/>
        </p:spPr>
        <p:txBody>
          <a:bodyPr wrap="none" lIns="91440" tIns="45720" rIns="91440" bIns="45720">
            <a:spAutoFit/>
          </a:bodyPr>
          <a:lstStyle/>
          <a:p>
            <a:pPr algn="ctr"/>
            <a:r>
              <a:rPr lang="zh-CN" altLang="en-US" sz="5400" dirty="0">
                <a:ln w="0"/>
                <a:solidFill>
                  <a:schemeClr val="accent1"/>
                </a:solidFill>
                <a:effectLst>
                  <a:outerShdw blurRad="38100" dist="25400" dir="5400000" algn="ctr" rotWithShape="0">
                    <a:srgbClr val="6E747A">
                      <a:alpha val="43000"/>
                    </a:srgbClr>
                  </a:outerShdw>
                </a:effectLst>
              </a:rPr>
              <a:t>现</a:t>
            </a:r>
            <a:endParaRPr lang="zh-CN" altLang="en-US" sz="5400" b="0" cap="none" spc="0" dirty="0">
              <a:ln w="0"/>
              <a:solidFill>
                <a:schemeClr val="accent1"/>
              </a:solidFill>
              <a:effectLst>
                <a:outerShdw blurRad="38100" dist="25400" dir="5400000" algn="ctr" rotWithShape="0">
                  <a:srgbClr val="6E747A">
                    <a:alpha val="43000"/>
                  </a:srgbClr>
                </a:outerShdw>
              </a:effectLst>
            </a:endParaRPr>
          </a:p>
        </p:txBody>
      </p:sp>
      <p:sp>
        <p:nvSpPr>
          <p:cNvPr id="68" name="矩形 67"/>
          <p:cNvSpPr/>
          <p:nvPr/>
        </p:nvSpPr>
        <p:spPr>
          <a:xfrm>
            <a:off x="7200262" y="4690666"/>
            <a:ext cx="877163" cy="923330"/>
          </a:xfrm>
          <a:prstGeom prst="rect">
            <a:avLst/>
          </a:prstGeom>
          <a:noFill/>
        </p:spPr>
        <p:txBody>
          <a:bodyPr wrap="square" lIns="91440" tIns="45720" rIns="91440" bIns="45720">
            <a:spAutoFit/>
          </a:bodyPr>
          <a:lstStyle/>
          <a:p>
            <a:pPr algn="ctr"/>
            <a:r>
              <a:rPr lang="zh-CN" altLang="en-US" sz="5400" dirty="0" smtClean="0">
                <a:ln w="0"/>
                <a:solidFill>
                  <a:srgbClr val="C00000"/>
                </a:solidFill>
                <a:effectLst>
                  <a:outerShdw blurRad="38100" dist="25400" dir="5400000" algn="ctr" rotWithShape="0">
                    <a:srgbClr val="6E747A">
                      <a:alpha val="43000"/>
                    </a:srgbClr>
                  </a:outerShdw>
                </a:effectLst>
              </a:rPr>
              <a:t>私</a:t>
            </a:r>
            <a:endParaRPr lang="zh-CN" altLang="en-US" sz="5400" b="0" cap="none" spc="0" dirty="0">
              <a:ln w="0"/>
              <a:solidFill>
                <a:srgbClr val="C00000"/>
              </a:solidFill>
              <a:effectLst>
                <a:outerShdw blurRad="38100" dist="25400" dir="5400000" algn="ctr" rotWithShape="0">
                  <a:srgbClr val="6E747A">
                    <a:alpha val="43000"/>
                  </a:srgbClr>
                </a:outerShdw>
              </a:effectLst>
            </a:endParaRPr>
          </a:p>
        </p:txBody>
      </p:sp>
      <p:sp>
        <p:nvSpPr>
          <p:cNvPr id="69" name="矩形 68"/>
          <p:cNvSpPr/>
          <p:nvPr/>
        </p:nvSpPr>
        <p:spPr>
          <a:xfrm>
            <a:off x="9117771" y="4704750"/>
            <a:ext cx="873722" cy="923330"/>
          </a:xfrm>
          <a:prstGeom prst="rect">
            <a:avLst/>
          </a:prstGeom>
          <a:noFill/>
        </p:spPr>
        <p:txBody>
          <a:bodyPr wrap="square" lIns="91440" tIns="45720" rIns="91440" bIns="45720">
            <a:spAutoFit/>
          </a:bodyPr>
          <a:lstStyle/>
          <a:p>
            <a:pPr algn="ctr"/>
            <a:r>
              <a:rPr lang="zh-CN" altLang="en-US" sz="5400" dirty="0" smtClean="0">
                <a:ln w="0"/>
                <a:solidFill>
                  <a:srgbClr val="A98317"/>
                </a:solidFill>
                <a:effectLst>
                  <a:outerShdw blurRad="38100" dist="25400" dir="5400000" algn="ctr" rotWithShape="0">
                    <a:srgbClr val="6E747A">
                      <a:alpha val="43000"/>
                    </a:srgbClr>
                  </a:outerShdw>
                </a:effectLst>
              </a:rPr>
              <a:t>会</a:t>
            </a:r>
            <a:endParaRPr lang="zh-CN" altLang="en-US" sz="5400" b="0" cap="none" spc="0" dirty="0">
              <a:ln w="0"/>
              <a:solidFill>
                <a:srgbClr val="A98317"/>
              </a:solidFill>
              <a:effectLst>
                <a:outerShdw blurRad="38100" dist="25400" dir="5400000" algn="ctr" rotWithShape="0">
                  <a:srgbClr val="6E747A">
                    <a:alpha val="43000"/>
                  </a:srgbClr>
                </a:outerShdw>
              </a:effectLst>
            </a:endParaRPr>
          </a:p>
        </p:txBody>
      </p:sp>
      <p:sp>
        <p:nvSpPr>
          <p:cNvPr id="70" name="矩形 69"/>
          <p:cNvSpPr/>
          <p:nvPr/>
        </p:nvSpPr>
        <p:spPr>
          <a:xfrm>
            <a:off x="3604046" y="4704750"/>
            <a:ext cx="910809" cy="923330"/>
          </a:xfrm>
          <a:prstGeom prst="rect">
            <a:avLst/>
          </a:prstGeom>
          <a:noFill/>
        </p:spPr>
        <p:txBody>
          <a:bodyPr wrap="square" lIns="91440" tIns="45720" rIns="91440" bIns="45720">
            <a:spAutoFit/>
          </a:bodyPr>
          <a:lstStyle/>
          <a:p>
            <a:pPr algn="ctr"/>
            <a:r>
              <a:rPr lang="zh-CN" altLang="en-US" sz="5400" dirty="0" smtClean="0">
                <a:ln w="0"/>
                <a:solidFill>
                  <a:schemeClr val="accent1"/>
                </a:solidFill>
                <a:effectLst>
                  <a:outerShdw blurRad="38100" dist="25400" dir="5400000" algn="ctr" rotWithShape="0">
                    <a:srgbClr val="6E747A">
                      <a:alpha val="43000"/>
                    </a:srgbClr>
                  </a:outerShdw>
                </a:effectLst>
              </a:rPr>
              <a:t>明</a:t>
            </a:r>
            <a:endParaRPr lang="zh-CN" altLang="en-US" sz="5400" b="0" cap="none" spc="0" dirty="0">
              <a:ln w="0"/>
              <a:solidFill>
                <a:schemeClr val="accent1"/>
              </a:solidFill>
              <a:effectLst>
                <a:outerShdw blurRad="38100" dist="25400" dir="5400000" algn="ctr" rotWithShape="0">
                  <a:srgbClr val="6E747A">
                    <a:alpha val="43000"/>
                  </a:srgbClr>
                </a:outerShdw>
              </a:effectLst>
            </a:endParaRPr>
          </a:p>
        </p:txBody>
      </p:sp>
      <p:grpSp>
        <p:nvGrpSpPr>
          <p:cNvPr id="49" name="组合 48">
            <a:extLst>
              <a:ext uri="{FF2B5EF4-FFF2-40B4-BE49-F238E27FC236}">
                <a16:creationId xmlns:a16="http://schemas.microsoft.com/office/drawing/2014/main" id="{0853A8D8-448C-4E50-AD38-219140CD6184}"/>
              </a:ext>
            </a:extLst>
          </p:cNvPr>
          <p:cNvGrpSpPr/>
          <p:nvPr/>
        </p:nvGrpSpPr>
        <p:grpSpPr>
          <a:xfrm>
            <a:off x="669925" y="210537"/>
            <a:ext cx="468000" cy="468000"/>
            <a:chOff x="669925" y="48611"/>
            <a:chExt cx="468000" cy="468000"/>
          </a:xfrm>
        </p:grpSpPr>
        <p:sp>
          <p:nvSpPr>
            <p:cNvPr id="50" name="椭圆 49">
              <a:extLst>
                <a:ext uri="{FF2B5EF4-FFF2-40B4-BE49-F238E27FC236}">
                  <a16:creationId xmlns:a16="http://schemas.microsoft.com/office/drawing/2014/main" id="{18765B3C-06BD-445D-B72B-512E55DEF34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58" name="椭圆 57">
              <a:extLst>
                <a:ext uri="{FF2B5EF4-FFF2-40B4-BE49-F238E27FC236}">
                  <a16:creationId xmlns:a16="http://schemas.microsoft.com/office/drawing/2014/main" id="{A6AA7771-0E3D-4241-9DE3-825324394A29}"/>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grpSp>
      <p:sp>
        <p:nvSpPr>
          <p:cNvPr id="62" name="标题 1">
            <a:extLst>
              <a:ext uri="{FF2B5EF4-FFF2-40B4-BE49-F238E27FC236}">
                <a16:creationId xmlns:a16="http://schemas.microsoft.com/office/drawing/2014/main" id="{62930304-3D14-4FEB-B45D-709CE5948953}"/>
              </a:ext>
            </a:extLst>
          </p:cNvPr>
          <p:cNvSpPr txBox="1">
            <a:spLocks/>
          </p:cNvSpPr>
          <p:nvPr/>
        </p:nvSpPr>
        <p:spPr>
          <a:xfrm>
            <a:off x="1149782" y="198392"/>
            <a:ext cx="7347103" cy="57784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en-US" altLang="zh-CN" sz="3200" b="0" dirty="0" smtClean="0">
                <a:latin typeface="Arial" panose="020B0604020202020204" pitchFamily="34" charset="0"/>
                <a:ea typeface="Microsoft YaHei" panose="020B0503020204020204" pitchFamily="34" charset="-122"/>
                <a:cs typeface="+mn-ea"/>
                <a:sym typeface="Arial" panose="020B0604020202020204" pitchFamily="34" charset="0"/>
              </a:rPr>
              <a:t>UML</a:t>
            </a:r>
            <a:r>
              <a:rPr lang="zh-CN" altLang="en-US" sz="3200" b="0" dirty="0" smtClean="0">
                <a:latin typeface="Arial" panose="020B0604020202020204" pitchFamily="34" charset="0"/>
                <a:ea typeface="Microsoft YaHei" panose="020B0503020204020204" pitchFamily="34" charset="-122"/>
                <a:cs typeface="+mn-ea"/>
                <a:sym typeface="Arial" panose="020B0604020202020204" pitchFamily="34" charset="0"/>
              </a:rPr>
              <a:t>类图</a:t>
            </a:r>
            <a:r>
              <a:rPr lang="zh-CN" altLang="en-US" sz="3200" dirty="0" smtClean="0">
                <a:solidFill>
                  <a:srgbClr val="FF0000"/>
                </a:solidFill>
                <a:latin typeface="Arial" panose="020B0604020202020204" pitchFamily="34" charset="0"/>
                <a:ea typeface="Microsoft YaHei" panose="020B0503020204020204" pitchFamily="34" charset="-122"/>
                <a:cs typeface="+mn-ea"/>
                <a:sym typeface="Arial" panose="020B0604020202020204" pitchFamily="34" charset="0"/>
              </a:rPr>
              <a:t>五</a:t>
            </a:r>
            <a:r>
              <a:rPr lang="zh-CN" altLang="en-US" sz="3200" b="0" dirty="0" smtClean="0">
                <a:latin typeface="Arial" panose="020B0604020202020204" pitchFamily="34" charset="0"/>
                <a:ea typeface="Microsoft YaHei" panose="020B0503020204020204" pitchFamily="34" charset="-122"/>
                <a:cs typeface="+mn-ea"/>
                <a:sym typeface="Arial" panose="020B0604020202020204" pitchFamily="34" charset="0"/>
              </a:rPr>
              <a:t>步曲</a:t>
            </a:r>
            <a:endParaRPr lang="zh-CN" altLang="en-US" sz="3200" b="0" dirty="0">
              <a:latin typeface="Arial" panose="020B0604020202020204" pitchFamily="34" charset="0"/>
              <a:ea typeface="Microsoft YaHei" panose="020B0503020204020204" pitchFamily="34" charset="-122"/>
              <a:cs typeface="+mn-ea"/>
              <a:sym typeface="Arial" panose="020B0604020202020204" pitchFamily="34" charset="0"/>
            </a:endParaRPr>
          </a:p>
        </p:txBody>
      </p:sp>
    </p:spTree>
    <p:extLst>
      <p:ext uri="{BB962C8B-B14F-4D97-AF65-F5344CB8AC3E}">
        <p14:creationId xmlns:p14="http://schemas.microsoft.com/office/powerpoint/2010/main" val="26607181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1" name="组合 80">
            <a:extLst>
              <a:ext uri="{FF2B5EF4-FFF2-40B4-BE49-F238E27FC236}">
                <a16:creationId xmlns:a16="http://schemas.microsoft.com/office/drawing/2014/main" id="{0853A8D8-448C-4E50-AD38-219140CD6184}"/>
              </a:ext>
            </a:extLst>
          </p:cNvPr>
          <p:cNvGrpSpPr/>
          <p:nvPr/>
        </p:nvGrpSpPr>
        <p:grpSpPr>
          <a:xfrm>
            <a:off x="669925" y="210537"/>
            <a:ext cx="468000" cy="468000"/>
            <a:chOff x="669925" y="48611"/>
            <a:chExt cx="468000" cy="468000"/>
          </a:xfrm>
        </p:grpSpPr>
        <p:sp>
          <p:nvSpPr>
            <p:cNvPr id="82" name="椭圆 81">
              <a:extLst>
                <a:ext uri="{FF2B5EF4-FFF2-40B4-BE49-F238E27FC236}">
                  <a16:creationId xmlns:a16="http://schemas.microsoft.com/office/drawing/2014/main" id="{18765B3C-06BD-445D-B72B-512E55DEF34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83" name="椭圆 82">
              <a:extLst>
                <a:ext uri="{FF2B5EF4-FFF2-40B4-BE49-F238E27FC236}">
                  <a16:creationId xmlns:a16="http://schemas.microsoft.com/office/drawing/2014/main" id="{A6AA7771-0E3D-4241-9DE3-825324394A29}"/>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grpSp>
      <p:sp>
        <p:nvSpPr>
          <p:cNvPr id="84" name="标题 1">
            <a:extLst>
              <a:ext uri="{FF2B5EF4-FFF2-40B4-BE49-F238E27FC236}">
                <a16:creationId xmlns:a16="http://schemas.microsoft.com/office/drawing/2014/main" id="{62930304-3D14-4FEB-B45D-709CE5948953}"/>
              </a:ext>
            </a:extLst>
          </p:cNvPr>
          <p:cNvSpPr txBox="1">
            <a:spLocks/>
          </p:cNvSpPr>
          <p:nvPr/>
        </p:nvSpPr>
        <p:spPr>
          <a:xfrm>
            <a:off x="1149782" y="198392"/>
            <a:ext cx="7347103" cy="57784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en-US" altLang="zh-CN" sz="3200" b="0" dirty="0" smtClean="0">
                <a:latin typeface="Arial" panose="020B0604020202020204" pitchFamily="34" charset="0"/>
                <a:ea typeface="Microsoft YaHei" panose="020B0503020204020204" pitchFamily="34" charset="-122"/>
                <a:cs typeface="+mn-ea"/>
                <a:sym typeface="Arial" panose="020B0604020202020204" pitchFamily="34" charset="0"/>
              </a:rPr>
              <a:t>UML</a:t>
            </a:r>
            <a:r>
              <a:rPr lang="zh-CN" altLang="en-US" sz="3200" b="0" dirty="0" smtClean="0">
                <a:latin typeface="Arial" panose="020B0604020202020204" pitchFamily="34" charset="0"/>
                <a:ea typeface="Microsoft YaHei" panose="020B0503020204020204" pitchFamily="34" charset="-122"/>
                <a:cs typeface="+mn-ea"/>
                <a:sym typeface="Arial" panose="020B0604020202020204" pitchFamily="34" charset="0"/>
              </a:rPr>
              <a:t>工具推荐</a:t>
            </a:r>
            <a:endParaRPr lang="zh-CN" altLang="en-US" sz="3200" b="0" dirty="0">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23" name="文本框 22"/>
          <p:cNvSpPr txBox="1"/>
          <p:nvPr/>
        </p:nvSpPr>
        <p:spPr>
          <a:xfrm>
            <a:off x="8082476" y="11134351"/>
            <a:ext cx="379642" cy="1754326"/>
          </a:xfrm>
          <a:prstGeom prst="rect">
            <a:avLst/>
          </a:prstGeom>
          <a:noFill/>
        </p:spPr>
        <p:txBody>
          <a:bodyPr wrap="square" rtlCol="0">
            <a:spAutoFit/>
          </a:bodyPr>
          <a:lstStyle/>
          <a:p>
            <a:r>
              <a:rPr lang="en-US" altLang="zh-CN" dirty="0" err="1" smtClean="0"/>
              <a:t>staruml</a:t>
            </a:r>
            <a:endParaRPr lang="zh-CN" altLang="en-US" dirty="0"/>
          </a:p>
        </p:txBody>
      </p:sp>
      <p:grpSp>
        <p:nvGrpSpPr>
          <p:cNvPr id="10" name="组合 9"/>
          <p:cNvGrpSpPr/>
          <p:nvPr/>
        </p:nvGrpSpPr>
        <p:grpSpPr>
          <a:xfrm>
            <a:off x="1366964" y="1658286"/>
            <a:ext cx="3350302" cy="3880579"/>
            <a:chOff x="224852" y="1028700"/>
            <a:chExt cx="3350302" cy="3880579"/>
          </a:xfrm>
        </p:grpSpPr>
        <p:grpSp>
          <p:nvGrpSpPr>
            <p:cNvPr id="6" name="组合 5"/>
            <p:cNvGrpSpPr/>
            <p:nvPr/>
          </p:nvGrpSpPr>
          <p:grpSpPr>
            <a:xfrm>
              <a:off x="1138763" y="1609236"/>
              <a:ext cx="2232716" cy="531332"/>
              <a:chOff x="4805166" y="1556176"/>
              <a:chExt cx="2232716" cy="531332"/>
            </a:xfrm>
          </p:grpSpPr>
          <p:sp>
            <p:nvSpPr>
              <p:cNvPr id="24" name="文本框 23"/>
              <p:cNvSpPr txBox="1"/>
              <p:nvPr/>
            </p:nvSpPr>
            <p:spPr>
              <a:xfrm>
                <a:off x="5336498" y="1556176"/>
                <a:ext cx="1701384" cy="461665"/>
              </a:xfrm>
              <a:prstGeom prst="rect">
                <a:avLst/>
              </a:prstGeom>
              <a:noFill/>
            </p:spPr>
            <p:txBody>
              <a:bodyPr wrap="square" rtlCol="0">
                <a:spAutoFit/>
              </a:bodyPr>
              <a:lstStyle/>
              <a:p>
                <a:r>
                  <a:rPr lang="en-US" altLang="zh-CN" sz="2400" dirty="0" err="1"/>
                  <a:t>omnigraffle</a:t>
                </a:r>
                <a:endParaRPr lang="zh-CN" altLang="en-US" sz="2400" dirty="0"/>
              </a:p>
            </p:txBody>
          </p:sp>
          <p:pic>
            <p:nvPicPr>
              <p:cNvPr id="5122" name="Picture 2" descr="ç¸å³å¾ç"/>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805166" y="1556176"/>
                <a:ext cx="531332" cy="53133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组合 4"/>
            <p:cNvGrpSpPr/>
            <p:nvPr/>
          </p:nvGrpSpPr>
          <p:grpSpPr>
            <a:xfrm>
              <a:off x="1242652" y="2500207"/>
              <a:ext cx="1278628" cy="461665"/>
              <a:chOff x="5126636" y="3377572"/>
              <a:chExt cx="1278628" cy="461665"/>
            </a:xfrm>
          </p:grpSpPr>
          <p:sp>
            <p:nvSpPr>
              <p:cNvPr id="2" name="文本框 1"/>
              <p:cNvSpPr txBox="1"/>
              <p:nvPr/>
            </p:nvSpPr>
            <p:spPr>
              <a:xfrm>
                <a:off x="5588301" y="3377572"/>
                <a:ext cx="816963" cy="461665"/>
              </a:xfrm>
              <a:prstGeom prst="rect">
                <a:avLst/>
              </a:prstGeom>
              <a:noFill/>
            </p:spPr>
            <p:txBody>
              <a:bodyPr wrap="square" rtlCol="0">
                <a:spAutoFit/>
              </a:bodyPr>
              <a:lstStyle/>
              <a:p>
                <a:r>
                  <a:rPr lang="en-US" altLang="zh-CN" sz="2400" dirty="0" err="1" smtClean="0"/>
                  <a:t>visio</a:t>
                </a:r>
                <a:endParaRPr lang="zh-CN" altLang="en-US" sz="2400" dirty="0"/>
              </a:p>
            </p:txBody>
          </p:sp>
          <p:pic>
            <p:nvPicPr>
              <p:cNvPr id="5124" name="Picture 4" descr="ç¸å³å¾ç"/>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126636" y="3377572"/>
                <a:ext cx="461665" cy="46166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 name="组合 6"/>
            <p:cNvGrpSpPr/>
            <p:nvPr/>
          </p:nvGrpSpPr>
          <p:grpSpPr>
            <a:xfrm>
              <a:off x="1149782" y="3242167"/>
              <a:ext cx="1843411" cy="536544"/>
              <a:chOff x="4591833" y="5065515"/>
              <a:chExt cx="1843411" cy="536544"/>
            </a:xfrm>
          </p:grpSpPr>
          <p:pic>
            <p:nvPicPr>
              <p:cNvPr id="5126" name="Picture 6" descr="âstarumlâçå¾çæç´¢ç»æ"/>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591833" y="5065515"/>
                <a:ext cx="564783" cy="536544"/>
              </a:xfrm>
              <a:prstGeom prst="rect">
                <a:avLst/>
              </a:prstGeom>
              <a:noFill/>
              <a:extLst>
                <a:ext uri="{909E8E84-426E-40DD-AFC4-6F175D3DCCD1}">
                  <a14:hiddenFill xmlns:a14="http://schemas.microsoft.com/office/drawing/2010/main">
                    <a:solidFill>
                      <a:srgbClr val="FFFFFF"/>
                    </a:solidFill>
                  </a14:hiddenFill>
                </a:ext>
              </a:extLst>
            </p:spPr>
          </p:pic>
          <p:sp>
            <p:nvSpPr>
              <p:cNvPr id="3" name="文本框 2"/>
              <p:cNvSpPr txBox="1"/>
              <p:nvPr/>
            </p:nvSpPr>
            <p:spPr>
              <a:xfrm>
                <a:off x="5156616" y="5140394"/>
                <a:ext cx="1278628" cy="461665"/>
              </a:xfrm>
              <a:prstGeom prst="rect">
                <a:avLst/>
              </a:prstGeom>
              <a:noFill/>
            </p:spPr>
            <p:txBody>
              <a:bodyPr wrap="square" rtlCol="0">
                <a:spAutoFit/>
              </a:bodyPr>
              <a:lstStyle/>
              <a:p>
                <a:r>
                  <a:rPr lang="en-US" altLang="zh-CN" sz="2400" dirty="0" err="1" smtClean="0"/>
                  <a:t>staruml</a:t>
                </a:r>
                <a:endParaRPr lang="zh-CN" altLang="en-US" sz="2400" dirty="0"/>
              </a:p>
            </p:txBody>
          </p:sp>
        </p:grpSp>
        <p:grpSp>
          <p:nvGrpSpPr>
            <p:cNvPr id="4" name="组合 3"/>
            <p:cNvGrpSpPr/>
            <p:nvPr/>
          </p:nvGrpSpPr>
          <p:grpSpPr>
            <a:xfrm>
              <a:off x="1174008" y="4133885"/>
              <a:ext cx="1081113" cy="461665"/>
              <a:chOff x="7748094" y="4515215"/>
              <a:chExt cx="1081113" cy="461665"/>
            </a:xfrm>
          </p:grpSpPr>
          <p:sp>
            <p:nvSpPr>
              <p:cNvPr id="22" name="文本框 21"/>
              <p:cNvSpPr txBox="1"/>
              <p:nvPr/>
            </p:nvSpPr>
            <p:spPr>
              <a:xfrm>
                <a:off x="8205294" y="4515215"/>
                <a:ext cx="623913" cy="461665"/>
              </a:xfrm>
              <a:prstGeom prst="rect">
                <a:avLst/>
              </a:prstGeom>
              <a:noFill/>
            </p:spPr>
            <p:txBody>
              <a:bodyPr wrap="square" rtlCol="0">
                <a:spAutoFit/>
              </a:bodyPr>
              <a:lstStyle/>
              <a:p>
                <a:r>
                  <a:rPr lang="en-US" altLang="zh-CN" sz="2400" dirty="0" err="1" smtClean="0"/>
                  <a:t>dia</a:t>
                </a:r>
                <a:endParaRPr lang="zh-CN" altLang="en-US" sz="2400" dirty="0"/>
              </a:p>
            </p:txBody>
          </p:sp>
          <p:pic>
            <p:nvPicPr>
              <p:cNvPr id="5128" name="Picture 8" descr="Dia"/>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48094" y="4519680"/>
                <a:ext cx="457200" cy="457200"/>
              </a:xfrm>
              <a:prstGeom prst="rect">
                <a:avLst/>
              </a:prstGeom>
              <a:noFill/>
              <a:extLst>
                <a:ext uri="{909E8E84-426E-40DD-AFC4-6F175D3DCCD1}">
                  <a14:hiddenFill xmlns:a14="http://schemas.microsoft.com/office/drawing/2010/main">
                    <a:solidFill>
                      <a:srgbClr val="FFFFFF"/>
                    </a:solidFill>
                  </a14:hiddenFill>
                </a:ext>
              </a:extLst>
            </p:spPr>
          </p:pic>
        </p:grpSp>
        <p:sp>
          <p:nvSpPr>
            <p:cNvPr id="8" name="文本框 7"/>
            <p:cNvSpPr txBox="1"/>
            <p:nvPr/>
          </p:nvSpPr>
          <p:spPr>
            <a:xfrm>
              <a:off x="363075" y="1840068"/>
              <a:ext cx="404734" cy="2554545"/>
            </a:xfrm>
            <a:prstGeom prst="rect">
              <a:avLst/>
            </a:prstGeom>
            <a:noFill/>
          </p:spPr>
          <p:txBody>
            <a:bodyPr wrap="square" rtlCol="0">
              <a:spAutoFit/>
            </a:bodyPr>
            <a:lstStyle/>
            <a:p>
              <a:r>
                <a:rPr lang="zh-CN" altLang="en-US" sz="3200" dirty="0" smtClean="0"/>
                <a:t>图形化工具</a:t>
              </a:r>
              <a:endParaRPr lang="zh-CN" altLang="en-US" sz="3200" dirty="0"/>
            </a:p>
          </p:txBody>
        </p:sp>
        <p:sp>
          <p:nvSpPr>
            <p:cNvPr id="9" name="圆角矩形 8"/>
            <p:cNvSpPr/>
            <p:nvPr/>
          </p:nvSpPr>
          <p:spPr>
            <a:xfrm>
              <a:off x="224852" y="1028700"/>
              <a:ext cx="3350302" cy="3880579"/>
            </a:xfrm>
            <a:prstGeom prst="roundRect">
              <a:avLst/>
            </a:prstGeom>
            <a:noFill/>
            <a:ln w="63500">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1" name="AutoShape 10" descr="âplantumlâçå¾çæç´¢ç»æ"/>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3" name="AutoShape 12" descr="âplantumlâçå¾çæç´¢ç»æ"/>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42" name="文本框 41"/>
          <p:cNvSpPr txBox="1"/>
          <p:nvPr/>
        </p:nvSpPr>
        <p:spPr>
          <a:xfrm>
            <a:off x="6959957" y="2618004"/>
            <a:ext cx="404734" cy="2062103"/>
          </a:xfrm>
          <a:prstGeom prst="rect">
            <a:avLst/>
          </a:prstGeom>
          <a:noFill/>
        </p:spPr>
        <p:txBody>
          <a:bodyPr wrap="square" rtlCol="0">
            <a:spAutoFit/>
          </a:bodyPr>
          <a:lstStyle/>
          <a:p>
            <a:r>
              <a:rPr lang="zh-CN" altLang="en-US" sz="3200" dirty="0" smtClean="0"/>
              <a:t>命令工具</a:t>
            </a:r>
            <a:endParaRPr lang="zh-CN" altLang="en-US" sz="3200" dirty="0"/>
          </a:p>
        </p:txBody>
      </p:sp>
      <p:sp>
        <p:nvSpPr>
          <p:cNvPr id="43" name="圆角矩形 42"/>
          <p:cNvSpPr/>
          <p:nvPr/>
        </p:nvSpPr>
        <p:spPr>
          <a:xfrm>
            <a:off x="6821734" y="1806636"/>
            <a:ext cx="3350302" cy="3880579"/>
          </a:xfrm>
          <a:prstGeom prst="roundRect">
            <a:avLst/>
          </a:prstGeom>
          <a:noFill/>
          <a:ln w="63500">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7" name="组合 16"/>
          <p:cNvGrpSpPr/>
          <p:nvPr/>
        </p:nvGrpSpPr>
        <p:grpSpPr>
          <a:xfrm>
            <a:off x="7800554" y="2697495"/>
            <a:ext cx="2161986" cy="511161"/>
            <a:chOff x="7806375" y="2387172"/>
            <a:chExt cx="2161986" cy="511161"/>
          </a:xfrm>
        </p:grpSpPr>
        <p:sp>
          <p:nvSpPr>
            <p:cNvPr id="50" name="文本框 49"/>
            <p:cNvSpPr txBox="1"/>
            <p:nvPr/>
          </p:nvSpPr>
          <p:spPr>
            <a:xfrm>
              <a:off x="8266977" y="2387172"/>
              <a:ext cx="1701384" cy="461665"/>
            </a:xfrm>
            <a:prstGeom prst="rect">
              <a:avLst/>
            </a:prstGeom>
            <a:noFill/>
          </p:spPr>
          <p:txBody>
            <a:bodyPr wrap="square" rtlCol="0">
              <a:spAutoFit/>
            </a:bodyPr>
            <a:lstStyle/>
            <a:p>
              <a:r>
                <a:rPr lang="en-US" altLang="zh-CN" sz="2400" dirty="0" err="1" smtClean="0"/>
                <a:t>plantuml</a:t>
              </a:r>
              <a:endParaRPr lang="zh-CN" altLang="en-US" sz="2400" dirty="0"/>
            </a:p>
          </p:txBody>
        </p:sp>
        <p:pic>
          <p:nvPicPr>
            <p:cNvPr id="14" name="图片 13"/>
            <p:cNvPicPr>
              <a:picLocks noChangeAspect="1"/>
            </p:cNvPicPr>
            <p:nvPr/>
          </p:nvPicPr>
          <p:blipFill>
            <a:blip r:embed="rId7"/>
            <a:stretch>
              <a:fillRect/>
            </a:stretch>
          </p:blipFill>
          <p:spPr>
            <a:xfrm>
              <a:off x="7806375" y="2387172"/>
              <a:ext cx="511161" cy="511161"/>
            </a:xfrm>
            <a:prstGeom prst="rect">
              <a:avLst/>
            </a:prstGeom>
          </p:spPr>
        </p:pic>
      </p:grpSp>
      <p:grpSp>
        <p:nvGrpSpPr>
          <p:cNvPr id="18" name="组合 17"/>
          <p:cNvGrpSpPr/>
          <p:nvPr/>
        </p:nvGrpSpPr>
        <p:grpSpPr>
          <a:xfrm>
            <a:off x="7803092" y="3989937"/>
            <a:ext cx="1930543" cy="468519"/>
            <a:chOff x="7746664" y="3271289"/>
            <a:chExt cx="1930543" cy="468519"/>
          </a:xfrm>
        </p:grpSpPr>
        <p:sp>
          <p:nvSpPr>
            <p:cNvPr id="48" name="文本框 47"/>
            <p:cNvSpPr txBox="1"/>
            <p:nvPr/>
          </p:nvSpPr>
          <p:spPr>
            <a:xfrm>
              <a:off x="8617049" y="3271289"/>
              <a:ext cx="1060158" cy="461665"/>
            </a:xfrm>
            <a:prstGeom prst="rect">
              <a:avLst/>
            </a:prstGeom>
            <a:noFill/>
          </p:spPr>
          <p:txBody>
            <a:bodyPr wrap="square" rtlCol="0">
              <a:spAutoFit/>
            </a:bodyPr>
            <a:lstStyle/>
            <a:p>
              <a:r>
                <a:rPr lang="en-US" altLang="zh-CN" sz="2400" dirty="0" err="1" smtClean="0"/>
                <a:t>yUML</a:t>
              </a:r>
              <a:endParaRPr lang="zh-CN" altLang="en-US" sz="2400" dirty="0"/>
            </a:p>
          </p:txBody>
        </p:sp>
        <p:pic>
          <p:nvPicPr>
            <p:cNvPr id="16" name="图片 15"/>
            <p:cNvPicPr>
              <a:picLocks noChangeAspect="1"/>
            </p:cNvPicPr>
            <p:nvPr/>
          </p:nvPicPr>
          <p:blipFill>
            <a:blip r:embed="rId8"/>
            <a:stretch>
              <a:fillRect/>
            </a:stretch>
          </p:blipFill>
          <p:spPr>
            <a:xfrm>
              <a:off x="7746664" y="3313205"/>
              <a:ext cx="870385" cy="426603"/>
            </a:xfrm>
            <a:prstGeom prst="rect">
              <a:avLst/>
            </a:prstGeom>
          </p:spPr>
        </p:pic>
      </p:grpSp>
    </p:spTree>
    <p:extLst>
      <p:ext uri="{BB962C8B-B14F-4D97-AF65-F5344CB8AC3E}">
        <p14:creationId xmlns:p14="http://schemas.microsoft.com/office/powerpoint/2010/main" val="4054048008"/>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文本框 8">
            <a:extLst>
              <a:ext uri="{FF2B5EF4-FFF2-40B4-BE49-F238E27FC236}">
                <a16:creationId xmlns:a16="http://schemas.microsoft.com/office/drawing/2014/main" id="{04F69230-F3A6-4586-9371-A858F4763E9F}"/>
              </a:ext>
            </a:extLst>
          </p:cNvPr>
          <p:cNvSpPr txBox="1"/>
          <p:nvPr/>
        </p:nvSpPr>
        <p:spPr>
          <a:xfrm>
            <a:off x="2139202" y="3018606"/>
            <a:ext cx="1227053" cy="1066877"/>
          </a:xfrm>
          <a:prstGeom prst="rect">
            <a:avLst/>
          </a:prstGeom>
          <a:noFill/>
          <a:ln w="117475">
            <a:noFill/>
          </a:ln>
        </p:spPr>
        <p:txBody>
          <a:bodyPr wrap="none" rtlCol="0">
            <a:prstTxWarp prst="textPlain">
              <a:avLst/>
            </a:prstTxWarp>
            <a:spAutoFit/>
          </a:bodyPr>
          <a:lstStyle/>
          <a:p>
            <a:r>
              <a:rPr lang="en-US" altLang="zh-CN" b="1" spc="100" dirty="0" smtClean="0">
                <a:solidFill>
                  <a:schemeClr val="bg1"/>
                </a:solidFill>
                <a:latin typeface="Arial" panose="020B0604020202020204" pitchFamily="34" charset="0"/>
                <a:ea typeface="Microsoft YaHei" panose="020B0503020204020204" pitchFamily="34" charset="-122"/>
                <a:cs typeface="+mn-ea"/>
                <a:sym typeface="Arial" panose="020B0604020202020204" pitchFamily="34" charset="0"/>
              </a:rPr>
              <a:t>03</a:t>
            </a:r>
            <a:endParaRPr lang="zh-CN" altLang="en-US" b="1" spc="100" dirty="0">
              <a:solidFill>
                <a:schemeClr val="bg1"/>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13" name="TextBox 50">
            <a:extLst>
              <a:ext uri="{FF2B5EF4-FFF2-40B4-BE49-F238E27FC236}">
                <a16:creationId xmlns:a16="http://schemas.microsoft.com/office/drawing/2014/main" id="{53B9FB5B-97FC-4FB6-BA8A-C38408C07D8D}"/>
              </a:ext>
            </a:extLst>
          </p:cNvPr>
          <p:cNvSpPr txBox="1"/>
          <p:nvPr/>
        </p:nvSpPr>
        <p:spPr>
          <a:xfrm>
            <a:off x="4433702" y="3552044"/>
            <a:ext cx="6400799" cy="830997"/>
          </a:xfrm>
          <a:prstGeom prst="rect">
            <a:avLst/>
          </a:prstGeom>
          <a:noFill/>
        </p:spPr>
        <p:txBody>
          <a:bodyPr wrap="square" rtlCol="0">
            <a:spAutoFit/>
          </a:bodyPr>
          <a:lstStyle/>
          <a:p>
            <a:pPr lvl="0" algn="ctr"/>
            <a:r>
              <a:rPr lang="zh-CN" altLang="en-US" sz="4800" dirty="0" smtClean="0">
                <a:solidFill>
                  <a:schemeClr val="tx1">
                    <a:lumMod val="85000"/>
                    <a:lumOff val="15000"/>
                  </a:schemeClr>
                </a:solidFill>
                <a:latin typeface="Arial" panose="020B0604020202020204" pitchFamily="34" charset="0"/>
                <a:ea typeface="Microsoft YaHei" panose="020B0503020204020204" pitchFamily="34" charset="-122"/>
                <a:cs typeface="+mn-ea"/>
                <a:sym typeface="Arial" panose="020B0604020202020204" pitchFamily="34" charset="0"/>
              </a:rPr>
              <a:t>针对需求做架构设计</a:t>
            </a:r>
            <a:endParaRPr lang="en-US" altLang="zh-CN" sz="4800" dirty="0">
              <a:solidFill>
                <a:schemeClr val="tx1">
                  <a:lumMod val="85000"/>
                  <a:lumOff val="15000"/>
                </a:schemeClr>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17" name="TextBox 50">
            <a:extLst>
              <a:ext uri="{FF2B5EF4-FFF2-40B4-BE49-F238E27FC236}">
                <a16:creationId xmlns:a16="http://schemas.microsoft.com/office/drawing/2014/main" id="{CFFB5B42-4850-4002-BCB2-DADA1D869622}"/>
              </a:ext>
            </a:extLst>
          </p:cNvPr>
          <p:cNvSpPr txBox="1"/>
          <p:nvPr/>
        </p:nvSpPr>
        <p:spPr>
          <a:xfrm>
            <a:off x="6977512" y="2633885"/>
            <a:ext cx="1313181" cy="769441"/>
          </a:xfrm>
          <a:prstGeom prst="rect">
            <a:avLst/>
          </a:prstGeom>
          <a:noFill/>
        </p:spPr>
        <p:txBody>
          <a:bodyPr wrap="none" rtlCol="0">
            <a:spAutoFit/>
          </a:bodyPr>
          <a:lstStyle/>
          <a:p>
            <a:pPr lvl="0" algn="ctr"/>
            <a:r>
              <a:rPr lang="zh-CN" altLang="en-US" sz="4400" dirty="0" smtClean="0">
                <a:solidFill>
                  <a:schemeClr val="tx1">
                    <a:lumMod val="85000"/>
                    <a:lumOff val="15000"/>
                  </a:schemeClr>
                </a:solidFill>
                <a:latin typeface="Arial" panose="020B0604020202020204" pitchFamily="34" charset="0"/>
                <a:ea typeface="Microsoft YaHei" panose="020B0503020204020204" pitchFamily="34" charset="-122"/>
                <a:cs typeface="+mn-ea"/>
                <a:sym typeface="Arial" panose="020B0604020202020204" pitchFamily="34" charset="0"/>
              </a:rPr>
              <a:t>圆梦</a:t>
            </a:r>
            <a:endParaRPr lang="en-US" altLang="zh-CN" sz="4400" dirty="0">
              <a:solidFill>
                <a:schemeClr val="tx1">
                  <a:lumMod val="85000"/>
                  <a:lumOff val="15000"/>
                </a:schemeClr>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2" name="文本框 1"/>
          <p:cNvSpPr txBox="1"/>
          <p:nvPr/>
        </p:nvSpPr>
        <p:spPr>
          <a:xfrm>
            <a:off x="6319024" y="4383041"/>
            <a:ext cx="2713464" cy="1200329"/>
          </a:xfrm>
          <a:prstGeom prst="rect">
            <a:avLst/>
          </a:prstGeom>
          <a:noFill/>
        </p:spPr>
        <p:txBody>
          <a:bodyPr wrap="square" rtlCol="0">
            <a:spAutoFit/>
          </a:bodyPr>
          <a:lstStyle/>
          <a:p>
            <a:pPr marL="285750" indent="-285750">
              <a:buFont typeface="Arial" panose="020B0604020202020204" pitchFamily="34" charset="0"/>
              <a:buChar char="•"/>
            </a:pPr>
            <a:r>
              <a:rPr lang="zh-CN" altLang="en-US" dirty="0" smtClean="0"/>
              <a:t>架构设计解决的问题</a:t>
            </a:r>
            <a:endParaRPr lang="en-US" altLang="zh-CN" dirty="0" smtClean="0"/>
          </a:p>
          <a:p>
            <a:pPr marL="285750" indent="-285750">
              <a:buFont typeface="Arial" panose="020B0604020202020204" pitchFamily="34" charset="0"/>
              <a:buChar char="•"/>
            </a:pPr>
            <a:r>
              <a:rPr lang="zh-CN" altLang="en-US" dirty="0" smtClean="0"/>
              <a:t>面向对象设计</a:t>
            </a:r>
            <a:endParaRPr lang="en-US" altLang="zh-CN" dirty="0" smtClean="0"/>
          </a:p>
          <a:p>
            <a:pPr marL="285750" indent="-285750">
              <a:buFont typeface="Arial" panose="020B0604020202020204" pitchFamily="34" charset="0"/>
              <a:buChar char="•"/>
            </a:pPr>
            <a:r>
              <a:rPr lang="zh-CN" altLang="en-US" dirty="0" smtClean="0"/>
              <a:t>分层设计</a:t>
            </a:r>
            <a:endParaRPr lang="en-US" altLang="zh-CN" dirty="0" smtClean="0"/>
          </a:p>
          <a:p>
            <a:pPr marL="285750" indent="-285750">
              <a:buFont typeface="Arial" panose="020B0604020202020204" pitchFamily="34" charset="0"/>
              <a:buChar char="•"/>
            </a:pPr>
            <a:r>
              <a:rPr lang="zh-CN" altLang="en-US" dirty="0"/>
              <a:t>非功能性</a:t>
            </a:r>
            <a:r>
              <a:rPr lang="zh-CN" altLang="en-US" dirty="0" smtClean="0"/>
              <a:t>设计</a:t>
            </a:r>
            <a:endParaRPr lang="zh-CN" altLang="en-US" dirty="0"/>
          </a:p>
        </p:txBody>
      </p:sp>
    </p:spTree>
    <p:extLst>
      <p:ext uri="{BB962C8B-B14F-4D97-AF65-F5344CB8AC3E}">
        <p14:creationId xmlns:p14="http://schemas.microsoft.com/office/powerpoint/2010/main" val="160593351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矩形 6">
            <a:extLst>
              <a:ext uri="{FF2B5EF4-FFF2-40B4-BE49-F238E27FC236}">
                <a16:creationId xmlns:a16="http://schemas.microsoft.com/office/drawing/2014/main" id="{571C4256-D3E1-4FE7-BEB6-F340521C8562}"/>
              </a:ext>
            </a:extLst>
          </p:cNvPr>
          <p:cNvSpPr/>
          <p:nvPr/>
        </p:nvSpPr>
        <p:spPr>
          <a:xfrm>
            <a:off x="1277968" y="765809"/>
            <a:ext cx="10180864" cy="646331"/>
          </a:xfrm>
          <a:prstGeom prst="rect">
            <a:avLst/>
          </a:prstGeom>
        </p:spPr>
        <p:txBody>
          <a:bodyPr wrap="square">
            <a:spAutoFit/>
          </a:bodyPr>
          <a:lstStyle/>
          <a:p>
            <a:endParaRPr lang="en-US" altLang="zh-CN" dirty="0">
              <a:latin typeface="Arial" panose="020B0604020202020204" pitchFamily="34" charset="0"/>
              <a:ea typeface="Microsoft YaHei" panose="020B0503020204020204" pitchFamily="34" charset="-122"/>
              <a:sym typeface="Arial" panose="020B0604020202020204" pitchFamily="34" charset="0"/>
            </a:endParaRPr>
          </a:p>
          <a:p>
            <a:endParaRPr lang="en-US" altLang="zh-CN" dirty="0" smtClean="0">
              <a:latin typeface="Arial" panose="020B0604020202020204" pitchFamily="34" charset="0"/>
              <a:ea typeface="Microsoft YaHei" panose="020B0503020204020204" pitchFamily="34" charset="-122"/>
              <a:sym typeface="Arial" panose="020B0604020202020204" pitchFamily="34" charset="0"/>
            </a:endParaRPr>
          </a:p>
        </p:txBody>
      </p:sp>
      <p:grpSp>
        <p:nvGrpSpPr>
          <p:cNvPr id="6" name="组合 5">
            <a:extLst>
              <a:ext uri="{FF2B5EF4-FFF2-40B4-BE49-F238E27FC236}">
                <a16:creationId xmlns:a16="http://schemas.microsoft.com/office/drawing/2014/main" id="{0853A8D8-448C-4E50-AD38-219140CD6184}"/>
              </a:ext>
            </a:extLst>
          </p:cNvPr>
          <p:cNvGrpSpPr/>
          <p:nvPr/>
        </p:nvGrpSpPr>
        <p:grpSpPr>
          <a:xfrm>
            <a:off x="669925" y="210537"/>
            <a:ext cx="468000" cy="468000"/>
            <a:chOff x="669925" y="48611"/>
            <a:chExt cx="468000" cy="468000"/>
          </a:xfrm>
        </p:grpSpPr>
        <p:sp>
          <p:nvSpPr>
            <p:cNvPr id="8" name="椭圆 7">
              <a:extLst>
                <a:ext uri="{FF2B5EF4-FFF2-40B4-BE49-F238E27FC236}">
                  <a16:creationId xmlns:a16="http://schemas.microsoft.com/office/drawing/2014/main" id="{18765B3C-06BD-445D-B72B-512E55DEF34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9" name="椭圆 8">
              <a:extLst>
                <a:ext uri="{FF2B5EF4-FFF2-40B4-BE49-F238E27FC236}">
                  <a16:creationId xmlns:a16="http://schemas.microsoft.com/office/drawing/2014/main" id="{A6AA7771-0E3D-4241-9DE3-825324394A29}"/>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grpSp>
      <p:sp>
        <p:nvSpPr>
          <p:cNvPr id="11" name="标题 1">
            <a:extLst>
              <a:ext uri="{FF2B5EF4-FFF2-40B4-BE49-F238E27FC236}">
                <a16:creationId xmlns:a16="http://schemas.microsoft.com/office/drawing/2014/main" id="{62930304-3D14-4FEB-B45D-709CE5948953}"/>
              </a:ext>
            </a:extLst>
          </p:cNvPr>
          <p:cNvSpPr txBox="1">
            <a:spLocks/>
          </p:cNvSpPr>
          <p:nvPr/>
        </p:nvSpPr>
        <p:spPr>
          <a:xfrm>
            <a:off x="1149782" y="198392"/>
            <a:ext cx="7347103" cy="57784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3200" b="0" dirty="0" smtClean="0">
                <a:latin typeface="Arial" panose="020B0604020202020204" pitchFamily="34" charset="0"/>
                <a:ea typeface="Microsoft YaHei" panose="020B0503020204020204" pitchFamily="34" charset="-122"/>
                <a:cs typeface="+mn-ea"/>
                <a:sym typeface="Arial" panose="020B0604020202020204" pitchFamily="34" charset="0"/>
              </a:rPr>
              <a:t>面向对象</a:t>
            </a:r>
            <a:endParaRPr lang="zh-CN" altLang="en-US" sz="3200" b="0" dirty="0">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4" name="文本框 3"/>
          <p:cNvSpPr txBox="1"/>
          <p:nvPr/>
        </p:nvSpPr>
        <p:spPr>
          <a:xfrm>
            <a:off x="1537982" y="4234853"/>
            <a:ext cx="4830418" cy="646331"/>
          </a:xfrm>
          <a:prstGeom prst="rect">
            <a:avLst/>
          </a:prstGeom>
          <a:noFill/>
        </p:spPr>
        <p:txBody>
          <a:bodyPr wrap="square" rtlCol="0">
            <a:spAutoFit/>
          </a:bodyPr>
          <a:lstStyle/>
          <a:p>
            <a:r>
              <a:rPr lang="zh-CN" altLang="en-US" dirty="0" smtClean="0"/>
              <a:t>对象具有行为</a:t>
            </a:r>
            <a:endParaRPr lang="en-US" altLang="zh-CN" dirty="0" smtClean="0"/>
          </a:p>
          <a:p>
            <a:r>
              <a:rPr lang="zh-CN" altLang="en-US" dirty="0" smtClean="0"/>
              <a:t>对象具有属性</a:t>
            </a:r>
            <a:endParaRPr lang="zh-CN" altLang="en-US" dirty="0"/>
          </a:p>
        </p:txBody>
      </p:sp>
      <p:sp>
        <p:nvSpPr>
          <p:cNvPr id="5" name="文本框 4"/>
          <p:cNvSpPr txBox="1"/>
          <p:nvPr/>
        </p:nvSpPr>
        <p:spPr>
          <a:xfrm>
            <a:off x="993925" y="1769165"/>
            <a:ext cx="3100997" cy="646331"/>
          </a:xfrm>
          <a:prstGeom prst="rect">
            <a:avLst/>
          </a:prstGeom>
          <a:noFill/>
        </p:spPr>
        <p:txBody>
          <a:bodyPr wrap="square" rtlCol="0">
            <a:spAutoFit/>
          </a:bodyPr>
          <a:lstStyle/>
          <a:p>
            <a:r>
              <a:rPr lang="zh-CN" altLang="en-US" dirty="0" smtClean="0"/>
              <a:t>静态和动态</a:t>
            </a:r>
            <a:endParaRPr lang="en-US" altLang="zh-CN" dirty="0" smtClean="0"/>
          </a:p>
          <a:p>
            <a:r>
              <a:rPr lang="zh-CN" altLang="en-US" dirty="0" smtClean="0"/>
              <a:t>静如瘫痪、动若癫痫</a:t>
            </a:r>
            <a:endParaRPr lang="en-US" altLang="zh-CN" dirty="0" smtClean="0"/>
          </a:p>
        </p:txBody>
      </p:sp>
      <p:sp>
        <p:nvSpPr>
          <p:cNvPr id="12" name="文本框 11"/>
          <p:cNvSpPr txBox="1"/>
          <p:nvPr/>
        </p:nvSpPr>
        <p:spPr>
          <a:xfrm>
            <a:off x="3240157" y="2859793"/>
            <a:ext cx="4353339" cy="646331"/>
          </a:xfrm>
          <a:prstGeom prst="rect">
            <a:avLst/>
          </a:prstGeom>
          <a:noFill/>
        </p:spPr>
        <p:txBody>
          <a:bodyPr wrap="square" rtlCol="0">
            <a:spAutoFit/>
          </a:bodyPr>
          <a:lstStyle/>
          <a:p>
            <a:r>
              <a:rPr lang="zh-CN" altLang="en-US" dirty="0" smtClean="0"/>
              <a:t>背包（大魔棒）</a:t>
            </a:r>
            <a:endParaRPr lang="en-US" altLang="zh-CN" dirty="0" smtClean="0"/>
          </a:p>
          <a:p>
            <a:r>
              <a:rPr lang="zh-CN" altLang="en-US" dirty="0" smtClean="0"/>
              <a:t>技能（打晕）</a:t>
            </a:r>
            <a:endParaRPr lang="zh-CN" altLang="en-US" dirty="0"/>
          </a:p>
        </p:txBody>
      </p:sp>
    </p:spTree>
    <p:extLst>
      <p:ext uri="{BB962C8B-B14F-4D97-AF65-F5344CB8AC3E}">
        <p14:creationId xmlns:p14="http://schemas.microsoft.com/office/powerpoint/2010/main" val="18239492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矩形 6">
            <a:extLst>
              <a:ext uri="{FF2B5EF4-FFF2-40B4-BE49-F238E27FC236}">
                <a16:creationId xmlns:a16="http://schemas.microsoft.com/office/drawing/2014/main" id="{571C4256-D3E1-4FE7-BEB6-F340521C8562}"/>
              </a:ext>
            </a:extLst>
          </p:cNvPr>
          <p:cNvSpPr/>
          <p:nvPr/>
        </p:nvSpPr>
        <p:spPr>
          <a:xfrm>
            <a:off x="1277968" y="765809"/>
            <a:ext cx="10180864" cy="646331"/>
          </a:xfrm>
          <a:prstGeom prst="rect">
            <a:avLst/>
          </a:prstGeom>
        </p:spPr>
        <p:txBody>
          <a:bodyPr wrap="square">
            <a:spAutoFit/>
          </a:bodyPr>
          <a:lstStyle/>
          <a:p>
            <a:endParaRPr lang="en-US" altLang="zh-CN" dirty="0">
              <a:latin typeface="Arial" panose="020B0604020202020204" pitchFamily="34" charset="0"/>
              <a:ea typeface="Microsoft YaHei" panose="020B0503020204020204" pitchFamily="34" charset="-122"/>
              <a:sym typeface="Arial" panose="020B0604020202020204" pitchFamily="34" charset="0"/>
            </a:endParaRPr>
          </a:p>
          <a:p>
            <a:endParaRPr lang="en-US" altLang="zh-CN" dirty="0" smtClean="0">
              <a:latin typeface="Arial" panose="020B0604020202020204" pitchFamily="34" charset="0"/>
              <a:ea typeface="Microsoft YaHei" panose="020B0503020204020204" pitchFamily="34" charset="-122"/>
              <a:sym typeface="Arial" panose="020B0604020202020204" pitchFamily="34" charset="0"/>
            </a:endParaRPr>
          </a:p>
        </p:txBody>
      </p:sp>
      <p:sp>
        <p:nvSpPr>
          <p:cNvPr id="10" name="questions_207259"/>
          <p:cNvSpPr>
            <a:spLocks noChangeAspect="1"/>
          </p:cNvSpPr>
          <p:nvPr/>
        </p:nvSpPr>
        <p:spPr bwMode="auto">
          <a:xfrm>
            <a:off x="7302564" y="1412140"/>
            <a:ext cx="3179581" cy="3243338"/>
          </a:xfrm>
          <a:custGeom>
            <a:avLst/>
            <a:gdLst>
              <a:gd name="connsiteX0" fmla="*/ 583941 w 594796"/>
              <a:gd name="connsiteY0" fmla="*/ 587528 h 606722"/>
              <a:gd name="connsiteX1" fmla="*/ 585187 w 594796"/>
              <a:gd name="connsiteY1" fmla="*/ 587528 h 606722"/>
              <a:gd name="connsiteX2" fmla="*/ 594796 w 594796"/>
              <a:gd name="connsiteY2" fmla="*/ 597125 h 606722"/>
              <a:gd name="connsiteX3" fmla="*/ 585187 w 594796"/>
              <a:gd name="connsiteY3" fmla="*/ 606722 h 606722"/>
              <a:gd name="connsiteX4" fmla="*/ 583941 w 594796"/>
              <a:gd name="connsiteY4" fmla="*/ 606722 h 606722"/>
              <a:gd name="connsiteX5" fmla="*/ 574332 w 594796"/>
              <a:gd name="connsiteY5" fmla="*/ 597125 h 606722"/>
              <a:gd name="connsiteX6" fmla="*/ 583941 w 594796"/>
              <a:gd name="connsiteY6" fmla="*/ 587528 h 606722"/>
              <a:gd name="connsiteX7" fmla="*/ 380575 w 594796"/>
              <a:gd name="connsiteY7" fmla="*/ 587528 h 606722"/>
              <a:gd name="connsiteX8" fmla="*/ 534023 w 594796"/>
              <a:gd name="connsiteY8" fmla="*/ 587528 h 606722"/>
              <a:gd name="connsiteX9" fmla="*/ 543636 w 594796"/>
              <a:gd name="connsiteY9" fmla="*/ 597125 h 606722"/>
              <a:gd name="connsiteX10" fmla="*/ 534023 w 594796"/>
              <a:gd name="connsiteY10" fmla="*/ 606722 h 606722"/>
              <a:gd name="connsiteX11" fmla="*/ 380575 w 594796"/>
              <a:gd name="connsiteY11" fmla="*/ 606722 h 606722"/>
              <a:gd name="connsiteX12" fmla="*/ 370962 w 594796"/>
              <a:gd name="connsiteY12" fmla="*/ 597125 h 606722"/>
              <a:gd name="connsiteX13" fmla="*/ 380575 w 594796"/>
              <a:gd name="connsiteY13" fmla="*/ 587528 h 606722"/>
              <a:gd name="connsiteX14" fmla="*/ 342095 w 594796"/>
              <a:gd name="connsiteY14" fmla="*/ 587528 h 606722"/>
              <a:gd name="connsiteX15" fmla="*/ 343430 w 594796"/>
              <a:gd name="connsiteY15" fmla="*/ 587528 h 606722"/>
              <a:gd name="connsiteX16" fmla="*/ 353039 w 594796"/>
              <a:gd name="connsiteY16" fmla="*/ 597125 h 606722"/>
              <a:gd name="connsiteX17" fmla="*/ 343430 w 594796"/>
              <a:gd name="connsiteY17" fmla="*/ 606722 h 606722"/>
              <a:gd name="connsiteX18" fmla="*/ 342095 w 594796"/>
              <a:gd name="connsiteY18" fmla="*/ 606722 h 606722"/>
              <a:gd name="connsiteX19" fmla="*/ 332575 w 594796"/>
              <a:gd name="connsiteY19" fmla="*/ 597125 h 606722"/>
              <a:gd name="connsiteX20" fmla="*/ 342095 w 594796"/>
              <a:gd name="connsiteY20" fmla="*/ 587528 h 606722"/>
              <a:gd name="connsiteX21" fmla="*/ 290935 w 594796"/>
              <a:gd name="connsiteY21" fmla="*/ 587528 h 606722"/>
              <a:gd name="connsiteX22" fmla="*/ 292270 w 594796"/>
              <a:gd name="connsiteY22" fmla="*/ 587528 h 606722"/>
              <a:gd name="connsiteX23" fmla="*/ 301879 w 594796"/>
              <a:gd name="connsiteY23" fmla="*/ 597125 h 606722"/>
              <a:gd name="connsiteX24" fmla="*/ 292270 w 594796"/>
              <a:gd name="connsiteY24" fmla="*/ 606722 h 606722"/>
              <a:gd name="connsiteX25" fmla="*/ 290935 w 594796"/>
              <a:gd name="connsiteY25" fmla="*/ 606722 h 606722"/>
              <a:gd name="connsiteX26" fmla="*/ 281415 w 594796"/>
              <a:gd name="connsiteY26" fmla="*/ 597125 h 606722"/>
              <a:gd name="connsiteX27" fmla="*/ 290935 w 594796"/>
              <a:gd name="connsiteY27" fmla="*/ 587528 h 606722"/>
              <a:gd name="connsiteX28" fmla="*/ 111847 w 594796"/>
              <a:gd name="connsiteY28" fmla="*/ 587528 h 606722"/>
              <a:gd name="connsiteX29" fmla="*/ 252606 w 594796"/>
              <a:gd name="connsiteY29" fmla="*/ 587528 h 606722"/>
              <a:gd name="connsiteX30" fmla="*/ 262221 w 594796"/>
              <a:gd name="connsiteY30" fmla="*/ 597125 h 606722"/>
              <a:gd name="connsiteX31" fmla="*/ 252606 w 594796"/>
              <a:gd name="connsiteY31" fmla="*/ 606722 h 606722"/>
              <a:gd name="connsiteX32" fmla="*/ 111847 w 594796"/>
              <a:gd name="connsiteY32" fmla="*/ 606722 h 606722"/>
              <a:gd name="connsiteX33" fmla="*/ 102320 w 594796"/>
              <a:gd name="connsiteY33" fmla="*/ 597125 h 606722"/>
              <a:gd name="connsiteX34" fmla="*/ 111847 w 594796"/>
              <a:gd name="connsiteY34" fmla="*/ 587528 h 606722"/>
              <a:gd name="connsiteX35" fmla="*/ 72271 w 594796"/>
              <a:gd name="connsiteY35" fmla="*/ 587528 h 606722"/>
              <a:gd name="connsiteX36" fmla="*/ 73517 w 594796"/>
              <a:gd name="connsiteY36" fmla="*/ 587528 h 606722"/>
              <a:gd name="connsiteX37" fmla="*/ 83126 w 594796"/>
              <a:gd name="connsiteY37" fmla="*/ 597125 h 606722"/>
              <a:gd name="connsiteX38" fmla="*/ 73517 w 594796"/>
              <a:gd name="connsiteY38" fmla="*/ 606722 h 606722"/>
              <a:gd name="connsiteX39" fmla="*/ 72271 w 594796"/>
              <a:gd name="connsiteY39" fmla="*/ 606722 h 606722"/>
              <a:gd name="connsiteX40" fmla="*/ 62662 w 594796"/>
              <a:gd name="connsiteY40" fmla="*/ 597125 h 606722"/>
              <a:gd name="connsiteX41" fmla="*/ 72271 w 594796"/>
              <a:gd name="connsiteY41" fmla="*/ 587528 h 606722"/>
              <a:gd name="connsiteX42" fmla="*/ 21111 w 594796"/>
              <a:gd name="connsiteY42" fmla="*/ 587528 h 606722"/>
              <a:gd name="connsiteX43" fmla="*/ 22357 w 594796"/>
              <a:gd name="connsiteY43" fmla="*/ 587528 h 606722"/>
              <a:gd name="connsiteX44" fmla="*/ 31966 w 594796"/>
              <a:gd name="connsiteY44" fmla="*/ 597125 h 606722"/>
              <a:gd name="connsiteX45" fmla="*/ 22357 w 594796"/>
              <a:gd name="connsiteY45" fmla="*/ 606722 h 606722"/>
              <a:gd name="connsiteX46" fmla="*/ 21111 w 594796"/>
              <a:gd name="connsiteY46" fmla="*/ 606722 h 606722"/>
              <a:gd name="connsiteX47" fmla="*/ 11502 w 594796"/>
              <a:gd name="connsiteY47" fmla="*/ 597125 h 606722"/>
              <a:gd name="connsiteX48" fmla="*/ 21111 w 594796"/>
              <a:gd name="connsiteY48" fmla="*/ 587528 h 606722"/>
              <a:gd name="connsiteX49" fmla="*/ 457299 w 594796"/>
              <a:gd name="connsiteY49" fmla="*/ 491746 h 606722"/>
              <a:gd name="connsiteX50" fmla="*/ 428476 w 594796"/>
              <a:gd name="connsiteY50" fmla="*/ 520527 h 606722"/>
              <a:gd name="connsiteX51" fmla="*/ 457299 w 594796"/>
              <a:gd name="connsiteY51" fmla="*/ 549218 h 606722"/>
              <a:gd name="connsiteX52" fmla="*/ 486033 w 594796"/>
              <a:gd name="connsiteY52" fmla="*/ 520527 h 606722"/>
              <a:gd name="connsiteX53" fmla="*/ 457299 w 594796"/>
              <a:gd name="connsiteY53" fmla="*/ 491746 h 606722"/>
              <a:gd name="connsiteX54" fmla="*/ 188692 w 594796"/>
              <a:gd name="connsiteY54" fmla="*/ 491746 h 606722"/>
              <a:gd name="connsiteX55" fmla="*/ 159848 w 594796"/>
              <a:gd name="connsiteY55" fmla="*/ 520527 h 606722"/>
              <a:gd name="connsiteX56" fmla="*/ 188692 w 594796"/>
              <a:gd name="connsiteY56" fmla="*/ 549218 h 606722"/>
              <a:gd name="connsiteX57" fmla="*/ 217447 w 594796"/>
              <a:gd name="connsiteY57" fmla="*/ 520527 h 606722"/>
              <a:gd name="connsiteX58" fmla="*/ 188692 w 594796"/>
              <a:gd name="connsiteY58" fmla="*/ 491746 h 606722"/>
              <a:gd name="connsiteX59" fmla="*/ 457299 w 594796"/>
              <a:gd name="connsiteY59" fmla="*/ 472648 h 606722"/>
              <a:gd name="connsiteX60" fmla="*/ 505248 w 594796"/>
              <a:gd name="connsiteY60" fmla="*/ 520527 h 606722"/>
              <a:gd name="connsiteX61" fmla="*/ 457299 w 594796"/>
              <a:gd name="connsiteY61" fmla="*/ 568405 h 606722"/>
              <a:gd name="connsiteX62" fmla="*/ 409350 w 594796"/>
              <a:gd name="connsiteY62" fmla="*/ 520527 h 606722"/>
              <a:gd name="connsiteX63" fmla="*/ 457299 w 594796"/>
              <a:gd name="connsiteY63" fmla="*/ 472648 h 606722"/>
              <a:gd name="connsiteX64" fmla="*/ 188692 w 594796"/>
              <a:gd name="connsiteY64" fmla="*/ 472648 h 606722"/>
              <a:gd name="connsiteX65" fmla="*/ 236676 w 594796"/>
              <a:gd name="connsiteY65" fmla="*/ 520527 h 606722"/>
              <a:gd name="connsiteX66" fmla="*/ 188692 w 594796"/>
              <a:gd name="connsiteY66" fmla="*/ 568405 h 606722"/>
              <a:gd name="connsiteX67" fmla="*/ 140707 w 594796"/>
              <a:gd name="connsiteY67" fmla="*/ 520527 h 606722"/>
              <a:gd name="connsiteX68" fmla="*/ 188692 w 594796"/>
              <a:gd name="connsiteY68" fmla="*/ 472648 h 606722"/>
              <a:gd name="connsiteX69" fmla="*/ 463695 w 594796"/>
              <a:gd name="connsiteY69" fmla="*/ 150375 h 606722"/>
              <a:gd name="connsiteX70" fmla="*/ 473212 w 594796"/>
              <a:gd name="connsiteY70" fmla="*/ 159984 h 606722"/>
              <a:gd name="connsiteX71" fmla="*/ 473212 w 594796"/>
              <a:gd name="connsiteY71" fmla="*/ 161230 h 606722"/>
              <a:gd name="connsiteX72" fmla="*/ 463695 w 594796"/>
              <a:gd name="connsiteY72" fmla="*/ 170839 h 606722"/>
              <a:gd name="connsiteX73" fmla="*/ 454089 w 594796"/>
              <a:gd name="connsiteY73" fmla="*/ 161230 h 606722"/>
              <a:gd name="connsiteX74" fmla="*/ 454089 w 594796"/>
              <a:gd name="connsiteY74" fmla="*/ 159984 h 606722"/>
              <a:gd name="connsiteX75" fmla="*/ 463695 w 594796"/>
              <a:gd name="connsiteY75" fmla="*/ 150375 h 606722"/>
              <a:gd name="connsiteX76" fmla="*/ 229706 w 594796"/>
              <a:gd name="connsiteY76" fmla="*/ 43973 h 606722"/>
              <a:gd name="connsiteX77" fmla="*/ 338926 w 594796"/>
              <a:gd name="connsiteY77" fmla="*/ 188408 h 606722"/>
              <a:gd name="connsiteX78" fmla="*/ 329402 w 594796"/>
              <a:gd name="connsiteY78" fmla="*/ 198007 h 606722"/>
              <a:gd name="connsiteX79" fmla="*/ 319788 w 594796"/>
              <a:gd name="connsiteY79" fmla="*/ 188408 h 606722"/>
              <a:gd name="connsiteX80" fmla="*/ 224455 w 594796"/>
              <a:gd name="connsiteY80" fmla="*/ 62372 h 606722"/>
              <a:gd name="connsiteX81" fmla="*/ 217867 w 594796"/>
              <a:gd name="connsiteY81" fmla="*/ 50551 h 606722"/>
              <a:gd name="connsiteX82" fmla="*/ 229706 w 594796"/>
              <a:gd name="connsiteY82" fmla="*/ 43973 h 606722"/>
              <a:gd name="connsiteX83" fmla="*/ 463695 w 594796"/>
              <a:gd name="connsiteY83" fmla="*/ 38317 h 606722"/>
              <a:gd name="connsiteX84" fmla="*/ 473212 w 594796"/>
              <a:gd name="connsiteY84" fmla="*/ 47911 h 606722"/>
              <a:gd name="connsiteX85" fmla="*/ 473212 w 594796"/>
              <a:gd name="connsiteY85" fmla="*/ 124481 h 606722"/>
              <a:gd name="connsiteX86" fmla="*/ 463695 w 594796"/>
              <a:gd name="connsiteY86" fmla="*/ 134074 h 606722"/>
              <a:gd name="connsiteX87" fmla="*/ 454089 w 594796"/>
              <a:gd name="connsiteY87" fmla="*/ 124481 h 606722"/>
              <a:gd name="connsiteX88" fmla="*/ 454089 w 594796"/>
              <a:gd name="connsiteY88" fmla="*/ 47911 h 606722"/>
              <a:gd name="connsiteX89" fmla="*/ 463695 w 594796"/>
              <a:gd name="connsiteY89" fmla="*/ 38317 h 606722"/>
              <a:gd name="connsiteX90" fmla="*/ 188697 w 594796"/>
              <a:gd name="connsiteY90" fmla="*/ 38317 h 606722"/>
              <a:gd name="connsiteX91" fmla="*/ 189675 w 594796"/>
              <a:gd name="connsiteY91" fmla="*/ 38317 h 606722"/>
              <a:gd name="connsiteX92" fmla="*/ 199188 w 594796"/>
              <a:gd name="connsiteY92" fmla="*/ 48003 h 606722"/>
              <a:gd name="connsiteX93" fmla="*/ 189675 w 594796"/>
              <a:gd name="connsiteY93" fmla="*/ 57511 h 606722"/>
              <a:gd name="connsiteX94" fmla="*/ 189586 w 594796"/>
              <a:gd name="connsiteY94" fmla="*/ 57511 h 606722"/>
              <a:gd name="connsiteX95" fmla="*/ 188697 w 594796"/>
              <a:gd name="connsiteY95" fmla="*/ 57511 h 606722"/>
              <a:gd name="connsiteX96" fmla="*/ 179095 w 594796"/>
              <a:gd name="connsiteY96" fmla="*/ 47914 h 606722"/>
              <a:gd name="connsiteX97" fmla="*/ 188697 w 594796"/>
              <a:gd name="connsiteY97" fmla="*/ 38317 h 606722"/>
              <a:gd name="connsiteX98" fmla="*/ 457299 w 594796"/>
              <a:gd name="connsiteY98" fmla="*/ 19198 h 606722"/>
              <a:gd name="connsiteX99" fmla="*/ 428476 w 594796"/>
              <a:gd name="connsiteY99" fmla="*/ 47905 h 606722"/>
              <a:gd name="connsiteX100" fmla="*/ 428476 w 594796"/>
              <a:gd name="connsiteY100" fmla="*/ 405549 h 606722"/>
              <a:gd name="connsiteX101" fmla="*/ 457299 w 594796"/>
              <a:gd name="connsiteY101" fmla="*/ 434257 h 606722"/>
              <a:gd name="connsiteX102" fmla="*/ 486033 w 594796"/>
              <a:gd name="connsiteY102" fmla="*/ 405549 h 606722"/>
              <a:gd name="connsiteX103" fmla="*/ 486033 w 594796"/>
              <a:gd name="connsiteY103" fmla="*/ 47905 h 606722"/>
              <a:gd name="connsiteX104" fmla="*/ 457299 w 594796"/>
              <a:gd name="connsiteY104" fmla="*/ 19198 h 606722"/>
              <a:gd name="connsiteX105" fmla="*/ 186282 w 594796"/>
              <a:gd name="connsiteY105" fmla="*/ 19198 h 606722"/>
              <a:gd name="connsiteX106" fmla="*/ 68977 w 594796"/>
              <a:gd name="connsiteY106" fmla="*/ 67192 h 606722"/>
              <a:gd name="connsiteX107" fmla="*/ 19136 w 594796"/>
              <a:gd name="connsiteY107" fmla="*/ 186021 h 606722"/>
              <a:gd name="connsiteX108" fmla="*/ 47973 w 594796"/>
              <a:gd name="connsiteY108" fmla="*/ 214729 h 606722"/>
              <a:gd name="connsiteX109" fmla="*/ 76720 w 594796"/>
              <a:gd name="connsiteY109" fmla="*/ 186021 h 606722"/>
              <a:gd name="connsiteX110" fmla="*/ 109384 w 594796"/>
              <a:gd name="connsiteY110" fmla="*/ 108164 h 606722"/>
              <a:gd name="connsiteX111" fmla="*/ 187795 w 594796"/>
              <a:gd name="connsiteY111" fmla="*/ 76613 h 606722"/>
              <a:gd name="connsiteX112" fmla="*/ 295755 w 594796"/>
              <a:gd name="connsiteY112" fmla="*/ 184421 h 606722"/>
              <a:gd name="connsiteX113" fmla="*/ 234789 w 594796"/>
              <a:gd name="connsiteY113" fmla="*/ 284053 h 606722"/>
              <a:gd name="connsiteX114" fmla="*/ 178361 w 594796"/>
              <a:gd name="connsiteY114" fmla="*/ 335336 h 606722"/>
              <a:gd name="connsiteX115" fmla="*/ 157534 w 594796"/>
              <a:gd name="connsiteY115" fmla="*/ 405727 h 606722"/>
              <a:gd name="connsiteX116" fmla="*/ 157445 w 594796"/>
              <a:gd name="connsiteY116" fmla="*/ 406260 h 606722"/>
              <a:gd name="connsiteX117" fmla="*/ 186282 w 594796"/>
              <a:gd name="connsiteY117" fmla="*/ 434257 h 606722"/>
              <a:gd name="connsiteX118" fmla="*/ 215030 w 594796"/>
              <a:gd name="connsiteY118" fmla="*/ 405549 h 606722"/>
              <a:gd name="connsiteX119" fmla="*/ 215119 w 594796"/>
              <a:gd name="connsiteY119" fmla="*/ 403949 h 606722"/>
              <a:gd name="connsiteX120" fmla="*/ 260421 w 594796"/>
              <a:gd name="connsiteY120" fmla="*/ 335514 h 606722"/>
              <a:gd name="connsiteX121" fmla="*/ 328063 w 594796"/>
              <a:gd name="connsiteY121" fmla="*/ 274188 h 606722"/>
              <a:gd name="connsiteX122" fmla="*/ 353251 w 594796"/>
              <a:gd name="connsiteY122" fmla="*/ 183622 h 606722"/>
              <a:gd name="connsiteX123" fmla="*/ 304210 w 594796"/>
              <a:gd name="connsiteY123" fmla="*/ 68169 h 606722"/>
              <a:gd name="connsiteX124" fmla="*/ 188596 w 594796"/>
              <a:gd name="connsiteY124" fmla="*/ 19198 h 606722"/>
              <a:gd name="connsiteX125" fmla="*/ 186282 w 594796"/>
              <a:gd name="connsiteY125" fmla="*/ 19198 h 606722"/>
              <a:gd name="connsiteX126" fmla="*/ 457299 w 594796"/>
              <a:gd name="connsiteY126" fmla="*/ 0 h 606722"/>
              <a:gd name="connsiteX127" fmla="*/ 505248 w 594796"/>
              <a:gd name="connsiteY127" fmla="*/ 47905 h 606722"/>
              <a:gd name="connsiteX128" fmla="*/ 505248 w 594796"/>
              <a:gd name="connsiteY128" fmla="*/ 405549 h 606722"/>
              <a:gd name="connsiteX129" fmla="*/ 457299 w 594796"/>
              <a:gd name="connsiteY129" fmla="*/ 453454 h 606722"/>
              <a:gd name="connsiteX130" fmla="*/ 409350 w 594796"/>
              <a:gd name="connsiteY130" fmla="*/ 405549 h 606722"/>
              <a:gd name="connsiteX131" fmla="*/ 409350 w 594796"/>
              <a:gd name="connsiteY131" fmla="*/ 47905 h 606722"/>
              <a:gd name="connsiteX132" fmla="*/ 457299 w 594796"/>
              <a:gd name="connsiteY132" fmla="*/ 0 h 606722"/>
              <a:gd name="connsiteX133" fmla="*/ 186282 w 594796"/>
              <a:gd name="connsiteY133" fmla="*/ 0 h 606722"/>
              <a:gd name="connsiteX134" fmla="*/ 188863 w 594796"/>
              <a:gd name="connsiteY134" fmla="*/ 0 h 606722"/>
              <a:gd name="connsiteX135" fmla="*/ 317828 w 594796"/>
              <a:gd name="connsiteY135" fmla="*/ 54571 h 606722"/>
              <a:gd name="connsiteX136" fmla="*/ 372475 w 594796"/>
              <a:gd name="connsiteY136" fmla="*/ 183355 h 606722"/>
              <a:gd name="connsiteX137" fmla="*/ 344350 w 594796"/>
              <a:gd name="connsiteY137" fmla="*/ 284320 h 606722"/>
              <a:gd name="connsiteX138" fmla="*/ 268965 w 594796"/>
              <a:gd name="connsiteY138" fmla="*/ 352667 h 606722"/>
              <a:gd name="connsiteX139" fmla="*/ 234255 w 594796"/>
              <a:gd name="connsiteY139" fmla="*/ 405994 h 606722"/>
              <a:gd name="connsiteX140" fmla="*/ 234166 w 594796"/>
              <a:gd name="connsiteY140" fmla="*/ 406882 h 606722"/>
              <a:gd name="connsiteX141" fmla="*/ 186282 w 594796"/>
              <a:gd name="connsiteY141" fmla="*/ 453454 h 606722"/>
              <a:gd name="connsiteX142" fmla="*/ 138310 w 594796"/>
              <a:gd name="connsiteY142" fmla="*/ 405549 h 606722"/>
              <a:gd name="connsiteX143" fmla="*/ 138310 w 594796"/>
              <a:gd name="connsiteY143" fmla="*/ 404483 h 606722"/>
              <a:gd name="connsiteX144" fmla="*/ 162074 w 594796"/>
              <a:gd name="connsiteY144" fmla="*/ 325293 h 606722"/>
              <a:gd name="connsiteX145" fmla="*/ 226333 w 594796"/>
              <a:gd name="connsiteY145" fmla="*/ 266900 h 606722"/>
              <a:gd name="connsiteX146" fmla="*/ 276531 w 594796"/>
              <a:gd name="connsiteY146" fmla="*/ 184688 h 606722"/>
              <a:gd name="connsiteX147" fmla="*/ 187528 w 594796"/>
              <a:gd name="connsiteY147" fmla="*/ 95810 h 606722"/>
              <a:gd name="connsiteX148" fmla="*/ 122824 w 594796"/>
              <a:gd name="connsiteY148" fmla="*/ 121763 h 606722"/>
              <a:gd name="connsiteX149" fmla="*/ 95945 w 594796"/>
              <a:gd name="connsiteY149" fmla="*/ 186021 h 606722"/>
              <a:gd name="connsiteX150" fmla="*/ 47973 w 594796"/>
              <a:gd name="connsiteY150" fmla="*/ 233926 h 606722"/>
              <a:gd name="connsiteX151" fmla="*/ 0 w 594796"/>
              <a:gd name="connsiteY151" fmla="*/ 186021 h 606722"/>
              <a:gd name="connsiteX152" fmla="*/ 55449 w 594796"/>
              <a:gd name="connsiteY152" fmla="*/ 53593 h 606722"/>
              <a:gd name="connsiteX153" fmla="*/ 186282 w 594796"/>
              <a:gd name="connsiteY153"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594796" h="606722">
                <a:moveTo>
                  <a:pt x="583941" y="587528"/>
                </a:moveTo>
                <a:lnTo>
                  <a:pt x="585187" y="587528"/>
                </a:lnTo>
                <a:cubicBezTo>
                  <a:pt x="590526" y="587528"/>
                  <a:pt x="594796" y="591794"/>
                  <a:pt x="594796" y="597125"/>
                </a:cubicBezTo>
                <a:cubicBezTo>
                  <a:pt x="594796" y="602368"/>
                  <a:pt x="590526" y="606722"/>
                  <a:pt x="585187" y="606722"/>
                </a:cubicBezTo>
                <a:lnTo>
                  <a:pt x="583941" y="606722"/>
                </a:lnTo>
                <a:cubicBezTo>
                  <a:pt x="578603" y="606722"/>
                  <a:pt x="574332" y="602368"/>
                  <a:pt x="574332" y="597125"/>
                </a:cubicBezTo>
                <a:cubicBezTo>
                  <a:pt x="574332" y="591794"/>
                  <a:pt x="578603" y="587528"/>
                  <a:pt x="583941" y="587528"/>
                </a:cubicBezTo>
                <a:close/>
                <a:moveTo>
                  <a:pt x="380575" y="587528"/>
                </a:moveTo>
                <a:lnTo>
                  <a:pt x="534023" y="587528"/>
                </a:lnTo>
                <a:cubicBezTo>
                  <a:pt x="539364" y="587528"/>
                  <a:pt x="543636" y="591794"/>
                  <a:pt x="543636" y="597125"/>
                </a:cubicBezTo>
                <a:cubicBezTo>
                  <a:pt x="543636" y="602368"/>
                  <a:pt x="539364" y="606722"/>
                  <a:pt x="534023" y="606722"/>
                </a:cubicBezTo>
                <a:lnTo>
                  <a:pt x="380575" y="606722"/>
                </a:lnTo>
                <a:cubicBezTo>
                  <a:pt x="375235" y="606722"/>
                  <a:pt x="370962" y="602368"/>
                  <a:pt x="370962" y="597125"/>
                </a:cubicBezTo>
                <a:cubicBezTo>
                  <a:pt x="370962" y="591794"/>
                  <a:pt x="375235" y="587528"/>
                  <a:pt x="380575" y="587528"/>
                </a:cubicBezTo>
                <a:close/>
                <a:moveTo>
                  <a:pt x="342095" y="587528"/>
                </a:moveTo>
                <a:lnTo>
                  <a:pt x="343430" y="587528"/>
                </a:lnTo>
                <a:cubicBezTo>
                  <a:pt x="348680" y="587528"/>
                  <a:pt x="353039" y="591794"/>
                  <a:pt x="353039" y="597125"/>
                </a:cubicBezTo>
                <a:cubicBezTo>
                  <a:pt x="353039" y="602368"/>
                  <a:pt x="348680" y="606722"/>
                  <a:pt x="343430" y="606722"/>
                </a:cubicBezTo>
                <a:lnTo>
                  <a:pt x="342095" y="606722"/>
                </a:lnTo>
                <a:cubicBezTo>
                  <a:pt x="336846" y="606722"/>
                  <a:pt x="332575" y="602368"/>
                  <a:pt x="332575" y="597125"/>
                </a:cubicBezTo>
                <a:cubicBezTo>
                  <a:pt x="332575" y="591794"/>
                  <a:pt x="336846" y="587528"/>
                  <a:pt x="342095" y="587528"/>
                </a:cubicBezTo>
                <a:close/>
                <a:moveTo>
                  <a:pt x="290935" y="587528"/>
                </a:moveTo>
                <a:lnTo>
                  <a:pt x="292270" y="587528"/>
                </a:lnTo>
                <a:cubicBezTo>
                  <a:pt x="297520" y="587528"/>
                  <a:pt x="301879" y="591794"/>
                  <a:pt x="301879" y="597125"/>
                </a:cubicBezTo>
                <a:cubicBezTo>
                  <a:pt x="301879" y="602368"/>
                  <a:pt x="297520" y="606722"/>
                  <a:pt x="292270" y="606722"/>
                </a:cubicBezTo>
                <a:lnTo>
                  <a:pt x="290935" y="606722"/>
                </a:lnTo>
                <a:cubicBezTo>
                  <a:pt x="285686" y="606722"/>
                  <a:pt x="281415" y="602368"/>
                  <a:pt x="281415" y="597125"/>
                </a:cubicBezTo>
                <a:cubicBezTo>
                  <a:pt x="281415" y="591794"/>
                  <a:pt x="285686" y="587528"/>
                  <a:pt x="290935" y="587528"/>
                </a:cubicBezTo>
                <a:close/>
                <a:moveTo>
                  <a:pt x="111847" y="587528"/>
                </a:moveTo>
                <a:lnTo>
                  <a:pt x="252606" y="587528"/>
                </a:lnTo>
                <a:cubicBezTo>
                  <a:pt x="257948" y="587528"/>
                  <a:pt x="262221" y="591794"/>
                  <a:pt x="262221" y="597125"/>
                </a:cubicBezTo>
                <a:cubicBezTo>
                  <a:pt x="262221" y="602368"/>
                  <a:pt x="257948" y="606722"/>
                  <a:pt x="252606" y="606722"/>
                </a:cubicBezTo>
                <a:lnTo>
                  <a:pt x="111847" y="606722"/>
                </a:lnTo>
                <a:cubicBezTo>
                  <a:pt x="106594" y="606722"/>
                  <a:pt x="102320" y="602368"/>
                  <a:pt x="102320" y="597125"/>
                </a:cubicBezTo>
                <a:cubicBezTo>
                  <a:pt x="102320" y="591794"/>
                  <a:pt x="106594" y="587528"/>
                  <a:pt x="111847" y="587528"/>
                </a:cubicBezTo>
                <a:close/>
                <a:moveTo>
                  <a:pt x="72271" y="587528"/>
                </a:moveTo>
                <a:lnTo>
                  <a:pt x="73517" y="587528"/>
                </a:lnTo>
                <a:cubicBezTo>
                  <a:pt x="78856" y="587528"/>
                  <a:pt x="83126" y="591794"/>
                  <a:pt x="83126" y="597125"/>
                </a:cubicBezTo>
                <a:cubicBezTo>
                  <a:pt x="83126" y="602368"/>
                  <a:pt x="78856" y="606722"/>
                  <a:pt x="73517" y="606722"/>
                </a:cubicBezTo>
                <a:lnTo>
                  <a:pt x="72271" y="606722"/>
                </a:lnTo>
                <a:cubicBezTo>
                  <a:pt x="66933" y="606722"/>
                  <a:pt x="62662" y="602368"/>
                  <a:pt x="62662" y="597125"/>
                </a:cubicBezTo>
                <a:cubicBezTo>
                  <a:pt x="62662" y="591794"/>
                  <a:pt x="66933" y="587528"/>
                  <a:pt x="72271" y="587528"/>
                </a:cubicBezTo>
                <a:close/>
                <a:moveTo>
                  <a:pt x="21111" y="587528"/>
                </a:moveTo>
                <a:lnTo>
                  <a:pt x="22357" y="587528"/>
                </a:lnTo>
                <a:cubicBezTo>
                  <a:pt x="27696" y="587528"/>
                  <a:pt x="31966" y="591794"/>
                  <a:pt x="31966" y="597125"/>
                </a:cubicBezTo>
                <a:cubicBezTo>
                  <a:pt x="31966" y="602368"/>
                  <a:pt x="27696" y="606722"/>
                  <a:pt x="22357" y="606722"/>
                </a:cubicBezTo>
                <a:lnTo>
                  <a:pt x="21111" y="606722"/>
                </a:lnTo>
                <a:cubicBezTo>
                  <a:pt x="15773" y="606722"/>
                  <a:pt x="11502" y="602368"/>
                  <a:pt x="11502" y="597125"/>
                </a:cubicBezTo>
                <a:cubicBezTo>
                  <a:pt x="11502" y="591794"/>
                  <a:pt x="15773" y="587528"/>
                  <a:pt x="21111" y="587528"/>
                </a:cubicBezTo>
                <a:close/>
                <a:moveTo>
                  <a:pt x="457299" y="491746"/>
                </a:moveTo>
                <a:cubicBezTo>
                  <a:pt x="441465" y="491746"/>
                  <a:pt x="428476" y="504626"/>
                  <a:pt x="428476" y="520527"/>
                </a:cubicBezTo>
                <a:cubicBezTo>
                  <a:pt x="428476" y="536338"/>
                  <a:pt x="441465" y="549218"/>
                  <a:pt x="457299" y="549218"/>
                </a:cubicBezTo>
                <a:cubicBezTo>
                  <a:pt x="473134" y="549218"/>
                  <a:pt x="486033" y="536338"/>
                  <a:pt x="486033" y="520527"/>
                </a:cubicBezTo>
                <a:cubicBezTo>
                  <a:pt x="486033" y="504626"/>
                  <a:pt x="473134" y="491746"/>
                  <a:pt x="457299" y="491746"/>
                </a:cubicBezTo>
                <a:close/>
                <a:moveTo>
                  <a:pt x="188692" y="491746"/>
                </a:moveTo>
                <a:cubicBezTo>
                  <a:pt x="172756" y="491746"/>
                  <a:pt x="159848" y="504626"/>
                  <a:pt x="159848" y="520527"/>
                </a:cubicBezTo>
                <a:cubicBezTo>
                  <a:pt x="159848" y="536338"/>
                  <a:pt x="172756" y="549218"/>
                  <a:pt x="188692" y="549218"/>
                </a:cubicBezTo>
                <a:cubicBezTo>
                  <a:pt x="204538" y="549218"/>
                  <a:pt x="217447" y="536338"/>
                  <a:pt x="217447" y="520527"/>
                </a:cubicBezTo>
                <a:cubicBezTo>
                  <a:pt x="217447" y="504626"/>
                  <a:pt x="204538" y="491746"/>
                  <a:pt x="188692" y="491746"/>
                </a:cubicBezTo>
                <a:close/>
                <a:moveTo>
                  <a:pt x="457299" y="472648"/>
                </a:moveTo>
                <a:cubicBezTo>
                  <a:pt x="483720" y="472648"/>
                  <a:pt x="505248" y="494056"/>
                  <a:pt x="505248" y="520527"/>
                </a:cubicBezTo>
                <a:cubicBezTo>
                  <a:pt x="505248" y="546909"/>
                  <a:pt x="483720" y="568405"/>
                  <a:pt x="457299" y="568405"/>
                </a:cubicBezTo>
                <a:cubicBezTo>
                  <a:pt x="430878" y="568405"/>
                  <a:pt x="409350" y="546909"/>
                  <a:pt x="409350" y="520527"/>
                </a:cubicBezTo>
                <a:cubicBezTo>
                  <a:pt x="409350" y="494056"/>
                  <a:pt x="430878" y="472648"/>
                  <a:pt x="457299" y="472648"/>
                </a:cubicBezTo>
                <a:close/>
                <a:moveTo>
                  <a:pt x="188692" y="472648"/>
                </a:moveTo>
                <a:cubicBezTo>
                  <a:pt x="215132" y="472648"/>
                  <a:pt x="236676" y="494056"/>
                  <a:pt x="236676" y="520527"/>
                </a:cubicBezTo>
                <a:cubicBezTo>
                  <a:pt x="236676" y="546909"/>
                  <a:pt x="215132" y="568405"/>
                  <a:pt x="188692" y="568405"/>
                </a:cubicBezTo>
                <a:cubicBezTo>
                  <a:pt x="162251" y="568405"/>
                  <a:pt x="140707" y="546909"/>
                  <a:pt x="140707" y="520527"/>
                </a:cubicBezTo>
                <a:cubicBezTo>
                  <a:pt x="140707" y="494056"/>
                  <a:pt x="162251" y="472648"/>
                  <a:pt x="188692" y="472648"/>
                </a:cubicBezTo>
                <a:close/>
                <a:moveTo>
                  <a:pt x="463695" y="150375"/>
                </a:moveTo>
                <a:cubicBezTo>
                  <a:pt x="468943" y="150375"/>
                  <a:pt x="473212" y="154646"/>
                  <a:pt x="473212" y="159984"/>
                </a:cubicBezTo>
                <a:lnTo>
                  <a:pt x="473212" y="161230"/>
                </a:lnTo>
                <a:cubicBezTo>
                  <a:pt x="473212" y="166569"/>
                  <a:pt x="468943" y="170839"/>
                  <a:pt x="463695" y="170839"/>
                </a:cubicBezTo>
                <a:cubicBezTo>
                  <a:pt x="458359" y="170839"/>
                  <a:pt x="454089" y="166569"/>
                  <a:pt x="454089" y="161230"/>
                </a:cubicBezTo>
                <a:lnTo>
                  <a:pt x="454089" y="159984"/>
                </a:lnTo>
                <a:cubicBezTo>
                  <a:pt x="454089" y="154646"/>
                  <a:pt x="458359" y="150375"/>
                  <a:pt x="463695" y="150375"/>
                </a:cubicBezTo>
                <a:close/>
                <a:moveTo>
                  <a:pt x="229706" y="43973"/>
                </a:moveTo>
                <a:cubicBezTo>
                  <a:pt x="294063" y="62194"/>
                  <a:pt x="338926" y="121568"/>
                  <a:pt x="338926" y="188408"/>
                </a:cubicBezTo>
                <a:cubicBezTo>
                  <a:pt x="338926" y="193652"/>
                  <a:pt x="334654" y="198007"/>
                  <a:pt x="329402" y="198007"/>
                </a:cubicBezTo>
                <a:cubicBezTo>
                  <a:pt x="324061" y="198007"/>
                  <a:pt x="319788" y="193652"/>
                  <a:pt x="319788" y="188408"/>
                </a:cubicBezTo>
                <a:cubicBezTo>
                  <a:pt x="319788" y="130101"/>
                  <a:pt x="280533" y="78282"/>
                  <a:pt x="224455" y="62372"/>
                </a:cubicBezTo>
                <a:cubicBezTo>
                  <a:pt x="219381" y="60950"/>
                  <a:pt x="216354" y="55706"/>
                  <a:pt x="217867" y="50551"/>
                </a:cubicBezTo>
                <a:cubicBezTo>
                  <a:pt x="219292" y="45484"/>
                  <a:pt x="224544" y="42551"/>
                  <a:pt x="229706" y="43973"/>
                </a:cubicBezTo>
                <a:close/>
                <a:moveTo>
                  <a:pt x="463695" y="38317"/>
                </a:moveTo>
                <a:cubicBezTo>
                  <a:pt x="468943" y="38317"/>
                  <a:pt x="473212" y="42581"/>
                  <a:pt x="473212" y="47911"/>
                </a:cubicBezTo>
                <a:lnTo>
                  <a:pt x="473212" y="124481"/>
                </a:lnTo>
                <a:cubicBezTo>
                  <a:pt x="473212" y="129810"/>
                  <a:pt x="468943" y="134074"/>
                  <a:pt x="463695" y="134074"/>
                </a:cubicBezTo>
                <a:cubicBezTo>
                  <a:pt x="458359" y="134074"/>
                  <a:pt x="454089" y="129810"/>
                  <a:pt x="454089" y="124481"/>
                </a:cubicBezTo>
                <a:lnTo>
                  <a:pt x="454089" y="47911"/>
                </a:lnTo>
                <a:cubicBezTo>
                  <a:pt x="454089" y="42581"/>
                  <a:pt x="458359" y="38317"/>
                  <a:pt x="463695" y="38317"/>
                </a:cubicBezTo>
                <a:close/>
                <a:moveTo>
                  <a:pt x="188697" y="38317"/>
                </a:moveTo>
                <a:lnTo>
                  <a:pt x="189675" y="38317"/>
                </a:lnTo>
                <a:cubicBezTo>
                  <a:pt x="195010" y="38406"/>
                  <a:pt x="199277" y="42671"/>
                  <a:pt x="199188" y="48003"/>
                </a:cubicBezTo>
                <a:cubicBezTo>
                  <a:pt x="199188" y="53246"/>
                  <a:pt x="194921" y="57511"/>
                  <a:pt x="189675" y="57511"/>
                </a:cubicBezTo>
                <a:lnTo>
                  <a:pt x="189586" y="57511"/>
                </a:lnTo>
                <a:lnTo>
                  <a:pt x="188697" y="57511"/>
                </a:lnTo>
                <a:cubicBezTo>
                  <a:pt x="183363" y="57511"/>
                  <a:pt x="179095" y="53157"/>
                  <a:pt x="179095" y="47914"/>
                </a:cubicBezTo>
                <a:cubicBezTo>
                  <a:pt x="179095" y="42583"/>
                  <a:pt x="183363" y="38317"/>
                  <a:pt x="188697" y="38317"/>
                </a:cubicBezTo>
                <a:close/>
                <a:moveTo>
                  <a:pt x="457299" y="19198"/>
                </a:moveTo>
                <a:cubicBezTo>
                  <a:pt x="441465" y="19198"/>
                  <a:pt x="428476" y="32085"/>
                  <a:pt x="428476" y="47905"/>
                </a:cubicBezTo>
                <a:lnTo>
                  <a:pt x="428476" y="405549"/>
                </a:lnTo>
                <a:cubicBezTo>
                  <a:pt x="428476" y="421369"/>
                  <a:pt x="441465" y="434257"/>
                  <a:pt x="457299" y="434257"/>
                </a:cubicBezTo>
                <a:cubicBezTo>
                  <a:pt x="473134" y="434257"/>
                  <a:pt x="486033" y="421369"/>
                  <a:pt x="486033" y="405549"/>
                </a:cubicBezTo>
                <a:lnTo>
                  <a:pt x="486033" y="47905"/>
                </a:lnTo>
                <a:cubicBezTo>
                  <a:pt x="486033" y="32085"/>
                  <a:pt x="473134" y="19198"/>
                  <a:pt x="457299" y="19198"/>
                </a:cubicBezTo>
                <a:close/>
                <a:moveTo>
                  <a:pt x="186282" y="19198"/>
                </a:moveTo>
                <a:cubicBezTo>
                  <a:pt x="142048" y="19198"/>
                  <a:pt x="100484" y="36173"/>
                  <a:pt x="68977" y="67192"/>
                </a:cubicBezTo>
                <a:cubicBezTo>
                  <a:pt x="36847" y="98832"/>
                  <a:pt x="19136" y="140960"/>
                  <a:pt x="19136" y="186021"/>
                </a:cubicBezTo>
                <a:cubicBezTo>
                  <a:pt x="19136" y="201841"/>
                  <a:pt x="32041" y="214729"/>
                  <a:pt x="47973" y="214729"/>
                </a:cubicBezTo>
                <a:cubicBezTo>
                  <a:pt x="63815" y="214729"/>
                  <a:pt x="76720" y="201841"/>
                  <a:pt x="76720" y="186021"/>
                </a:cubicBezTo>
                <a:cubicBezTo>
                  <a:pt x="76720" y="156514"/>
                  <a:pt x="88291" y="128873"/>
                  <a:pt x="109384" y="108164"/>
                </a:cubicBezTo>
                <a:cubicBezTo>
                  <a:pt x="130389" y="87367"/>
                  <a:pt x="158335" y="76168"/>
                  <a:pt x="187795" y="76613"/>
                </a:cubicBezTo>
                <a:cubicBezTo>
                  <a:pt x="246537" y="77502"/>
                  <a:pt x="294954" y="125851"/>
                  <a:pt x="295755" y="184421"/>
                </a:cubicBezTo>
                <a:cubicBezTo>
                  <a:pt x="296289" y="226283"/>
                  <a:pt x="272437" y="265389"/>
                  <a:pt x="234789" y="284053"/>
                </a:cubicBezTo>
                <a:cubicBezTo>
                  <a:pt x="211559" y="295519"/>
                  <a:pt x="192067" y="313294"/>
                  <a:pt x="178361" y="335336"/>
                </a:cubicBezTo>
                <a:cubicBezTo>
                  <a:pt x="165189" y="356489"/>
                  <a:pt x="157979" y="380841"/>
                  <a:pt x="157534" y="405727"/>
                </a:cubicBezTo>
                <a:cubicBezTo>
                  <a:pt x="157445" y="405905"/>
                  <a:pt x="157445" y="406082"/>
                  <a:pt x="157445" y="406260"/>
                </a:cubicBezTo>
                <a:cubicBezTo>
                  <a:pt x="157890" y="421814"/>
                  <a:pt x="170618" y="434257"/>
                  <a:pt x="186282" y="434257"/>
                </a:cubicBezTo>
                <a:cubicBezTo>
                  <a:pt x="202125" y="434257"/>
                  <a:pt x="215030" y="421369"/>
                  <a:pt x="215030" y="405549"/>
                </a:cubicBezTo>
                <a:cubicBezTo>
                  <a:pt x="215030" y="405016"/>
                  <a:pt x="215030" y="404483"/>
                  <a:pt x="215119" y="403949"/>
                </a:cubicBezTo>
                <a:cubicBezTo>
                  <a:pt x="216810" y="374620"/>
                  <a:pt x="234077" y="348579"/>
                  <a:pt x="260421" y="335514"/>
                </a:cubicBezTo>
                <a:cubicBezTo>
                  <a:pt x="288190" y="321737"/>
                  <a:pt x="311598" y="300496"/>
                  <a:pt x="328063" y="274188"/>
                </a:cubicBezTo>
                <a:cubicBezTo>
                  <a:pt x="344973" y="247080"/>
                  <a:pt x="353696" y="215795"/>
                  <a:pt x="353251" y="183622"/>
                </a:cubicBezTo>
                <a:cubicBezTo>
                  <a:pt x="352717" y="140160"/>
                  <a:pt x="335272" y="99099"/>
                  <a:pt x="304210" y="68169"/>
                </a:cubicBezTo>
                <a:cubicBezTo>
                  <a:pt x="273238" y="37151"/>
                  <a:pt x="232207" y="19820"/>
                  <a:pt x="188596" y="19198"/>
                </a:cubicBezTo>
                <a:cubicBezTo>
                  <a:pt x="187795" y="19198"/>
                  <a:pt x="187083" y="19198"/>
                  <a:pt x="186282" y="19198"/>
                </a:cubicBezTo>
                <a:close/>
                <a:moveTo>
                  <a:pt x="457299" y="0"/>
                </a:moveTo>
                <a:cubicBezTo>
                  <a:pt x="483720" y="0"/>
                  <a:pt x="505248" y="21509"/>
                  <a:pt x="505248" y="47905"/>
                </a:cubicBezTo>
                <a:lnTo>
                  <a:pt x="505248" y="405549"/>
                </a:lnTo>
                <a:cubicBezTo>
                  <a:pt x="505248" y="431946"/>
                  <a:pt x="483720" y="453454"/>
                  <a:pt x="457299" y="453454"/>
                </a:cubicBezTo>
                <a:cubicBezTo>
                  <a:pt x="430878" y="453454"/>
                  <a:pt x="409350" y="431946"/>
                  <a:pt x="409350" y="405549"/>
                </a:cubicBezTo>
                <a:lnTo>
                  <a:pt x="409350" y="47905"/>
                </a:lnTo>
                <a:cubicBezTo>
                  <a:pt x="409350" y="21509"/>
                  <a:pt x="430878" y="0"/>
                  <a:pt x="457299" y="0"/>
                </a:cubicBezTo>
                <a:close/>
                <a:moveTo>
                  <a:pt x="186282" y="0"/>
                </a:moveTo>
                <a:cubicBezTo>
                  <a:pt x="187172" y="0"/>
                  <a:pt x="187973" y="0"/>
                  <a:pt x="188863" y="0"/>
                </a:cubicBezTo>
                <a:cubicBezTo>
                  <a:pt x="237459" y="711"/>
                  <a:pt x="283295" y="20087"/>
                  <a:pt x="317828" y="54571"/>
                </a:cubicBezTo>
                <a:cubicBezTo>
                  <a:pt x="352361" y="89145"/>
                  <a:pt x="371763" y="134828"/>
                  <a:pt x="372475" y="183355"/>
                </a:cubicBezTo>
                <a:cubicBezTo>
                  <a:pt x="373009" y="219173"/>
                  <a:pt x="363219" y="254102"/>
                  <a:pt x="344350" y="284320"/>
                </a:cubicBezTo>
                <a:cubicBezTo>
                  <a:pt x="326016" y="313738"/>
                  <a:pt x="299938" y="337291"/>
                  <a:pt x="268965" y="352667"/>
                </a:cubicBezTo>
                <a:cubicBezTo>
                  <a:pt x="248495" y="362799"/>
                  <a:pt x="235234" y="383241"/>
                  <a:pt x="234255" y="405994"/>
                </a:cubicBezTo>
                <a:cubicBezTo>
                  <a:pt x="234255" y="406260"/>
                  <a:pt x="234255" y="406616"/>
                  <a:pt x="234166" y="406882"/>
                </a:cubicBezTo>
                <a:cubicBezTo>
                  <a:pt x="233454" y="432657"/>
                  <a:pt x="212271" y="453454"/>
                  <a:pt x="186282" y="453454"/>
                </a:cubicBezTo>
                <a:cubicBezTo>
                  <a:pt x="159760" y="453454"/>
                  <a:pt x="138310" y="431946"/>
                  <a:pt x="138310" y="405549"/>
                </a:cubicBezTo>
                <a:cubicBezTo>
                  <a:pt x="138310" y="405194"/>
                  <a:pt x="138310" y="404838"/>
                  <a:pt x="138310" y="404483"/>
                </a:cubicBezTo>
                <a:cubicBezTo>
                  <a:pt x="139022" y="376486"/>
                  <a:pt x="147210" y="349112"/>
                  <a:pt x="162074" y="325293"/>
                </a:cubicBezTo>
                <a:cubicBezTo>
                  <a:pt x="177649" y="300140"/>
                  <a:pt x="199811" y="279965"/>
                  <a:pt x="226333" y="266900"/>
                </a:cubicBezTo>
                <a:cubicBezTo>
                  <a:pt x="257306" y="251524"/>
                  <a:pt x="277065" y="219262"/>
                  <a:pt x="276531" y="184688"/>
                </a:cubicBezTo>
                <a:cubicBezTo>
                  <a:pt x="275908" y="136339"/>
                  <a:pt x="235946" y="96521"/>
                  <a:pt x="187528" y="95810"/>
                </a:cubicBezTo>
                <a:cubicBezTo>
                  <a:pt x="163231" y="95455"/>
                  <a:pt x="140179" y="104698"/>
                  <a:pt x="122824" y="121763"/>
                </a:cubicBezTo>
                <a:cubicBezTo>
                  <a:pt x="105468" y="138827"/>
                  <a:pt x="95945" y="161669"/>
                  <a:pt x="95945" y="186021"/>
                </a:cubicBezTo>
                <a:cubicBezTo>
                  <a:pt x="95945" y="212418"/>
                  <a:pt x="74406" y="233926"/>
                  <a:pt x="47973" y="233926"/>
                </a:cubicBezTo>
                <a:cubicBezTo>
                  <a:pt x="21539" y="233926"/>
                  <a:pt x="0" y="212418"/>
                  <a:pt x="0" y="186021"/>
                </a:cubicBezTo>
                <a:cubicBezTo>
                  <a:pt x="0" y="135805"/>
                  <a:pt x="19670" y="88789"/>
                  <a:pt x="55449" y="53593"/>
                </a:cubicBezTo>
                <a:cubicBezTo>
                  <a:pt x="90605" y="18931"/>
                  <a:pt x="136975" y="0"/>
                  <a:pt x="186282" y="0"/>
                </a:cubicBezTo>
                <a:close/>
              </a:path>
            </a:pathLst>
          </a:custGeom>
          <a:solidFill>
            <a:schemeClr val="accent1">
              <a:lumMod val="60000"/>
              <a:lumOff val="40000"/>
            </a:schemeClr>
          </a:solidFill>
          <a:ln>
            <a:noFill/>
          </a:ln>
        </p:spPr>
      </p:sp>
      <p:grpSp>
        <p:nvGrpSpPr>
          <p:cNvPr id="6" name="组合 5">
            <a:extLst>
              <a:ext uri="{FF2B5EF4-FFF2-40B4-BE49-F238E27FC236}">
                <a16:creationId xmlns:a16="http://schemas.microsoft.com/office/drawing/2014/main" id="{0853A8D8-448C-4E50-AD38-219140CD6184}"/>
              </a:ext>
            </a:extLst>
          </p:cNvPr>
          <p:cNvGrpSpPr/>
          <p:nvPr/>
        </p:nvGrpSpPr>
        <p:grpSpPr>
          <a:xfrm>
            <a:off x="669925" y="210537"/>
            <a:ext cx="468000" cy="468000"/>
            <a:chOff x="669925" y="48611"/>
            <a:chExt cx="468000" cy="468000"/>
          </a:xfrm>
        </p:grpSpPr>
        <p:sp>
          <p:nvSpPr>
            <p:cNvPr id="8" name="椭圆 7">
              <a:extLst>
                <a:ext uri="{FF2B5EF4-FFF2-40B4-BE49-F238E27FC236}">
                  <a16:creationId xmlns:a16="http://schemas.microsoft.com/office/drawing/2014/main" id="{18765B3C-06BD-445D-B72B-512E55DEF34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9" name="椭圆 8">
              <a:extLst>
                <a:ext uri="{FF2B5EF4-FFF2-40B4-BE49-F238E27FC236}">
                  <a16:creationId xmlns:a16="http://schemas.microsoft.com/office/drawing/2014/main" id="{A6AA7771-0E3D-4241-9DE3-825324394A29}"/>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grpSp>
      <p:sp>
        <p:nvSpPr>
          <p:cNvPr id="11" name="标题 1">
            <a:extLst>
              <a:ext uri="{FF2B5EF4-FFF2-40B4-BE49-F238E27FC236}">
                <a16:creationId xmlns:a16="http://schemas.microsoft.com/office/drawing/2014/main" id="{62930304-3D14-4FEB-B45D-709CE5948953}"/>
              </a:ext>
            </a:extLst>
          </p:cNvPr>
          <p:cNvSpPr txBox="1">
            <a:spLocks/>
          </p:cNvSpPr>
          <p:nvPr/>
        </p:nvSpPr>
        <p:spPr>
          <a:xfrm>
            <a:off x="1149782" y="198392"/>
            <a:ext cx="7347103" cy="57784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3200" b="0" dirty="0" smtClean="0">
                <a:latin typeface="Arial" panose="020B0604020202020204" pitchFamily="34" charset="0"/>
                <a:ea typeface="Microsoft YaHei" panose="020B0503020204020204" pitchFamily="34" charset="-122"/>
                <a:cs typeface="+mn-ea"/>
                <a:sym typeface="Arial" panose="020B0604020202020204" pitchFamily="34" charset="0"/>
              </a:rPr>
              <a:t>数据结构的重要性</a:t>
            </a:r>
            <a:endParaRPr lang="zh-CN" altLang="en-US" sz="3200" b="0" dirty="0">
              <a:latin typeface="Arial" panose="020B0604020202020204" pitchFamily="34" charset="0"/>
              <a:ea typeface="Microsoft YaHei" panose="020B0503020204020204" pitchFamily="34" charset="-122"/>
              <a:cs typeface="+mn-ea"/>
              <a:sym typeface="Arial" panose="020B0604020202020204" pitchFamily="34" charset="0"/>
            </a:endParaRPr>
          </a:p>
        </p:txBody>
      </p:sp>
      <p:pic>
        <p:nvPicPr>
          <p:cNvPr id="2" name="图片 1"/>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93925" y="1823898"/>
            <a:ext cx="4515556" cy="3691467"/>
          </a:xfrm>
          <a:prstGeom prst="rect">
            <a:avLst/>
          </a:prstGeom>
        </p:spPr>
      </p:pic>
      <p:sp>
        <p:nvSpPr>
          <p:cNvPr id="3" name="椭圆 2"/>
          <p:cNvSpPr/>
          <p:nvPr/>
        </p:nvSpPr>
        <p:spPr>
          <a:xfrm>
            <a:off x="4283242" y="2782089"/>
            <a:ext cx="417095" cy="281952"/>
          </a:xfrm>
          <a:prstGeom prst="ellipse">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zh-CN" altLang="en-US"/>
          </a:p>
        </p:txBody>
      </p:sp>
      <p:sp>
        <p:nvSpPr>
          <p:cNvPr id="13" name="椭圆 12"/>
          <p:cNvSpPr/>
          <p:nvPr/>
        </p:nvSpPr>
        <p:spPr>
          <a:xfrm>
            <a:off x="4608258" y="1719475"/>
            <a:ext cx="1551909" cy="979867"/>
          </a:xfrm>
          <a:prstGeom prst="ellipse">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zh-CN" altLang="en-US" dirty="0" smtClean="0"/>
              <a:t>这肉丝怎么出来呢？</a:t>
            </a:r>
            <a:endParaRPr lang="zh-CN" altLang="en-US" dirty="0"/>
          </a:p>
        </p:txBody>
      </p:sp>
    </p:spTree>
    <p:extLst>
      <p:ext uri="{BB962C8B-B14F-4D97-AF65-F5344CB8AC3E}">
        <p14:creationId xmlns:p14="http://schemas.microsoft.com/office/powerpoint/2010/main" val="3558572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 name="3783"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641438" y="1123950"/>
            <a:ext cx="10875780" cy="5019675"/>
            <a:chOff x="641438" y="1123950"/>
            <a:chExt cx="10875780" cy="5019675"/>
          </a:xfrm>
        </p:grpSpPr>
        <p:grpSp>
          <p:nvGrpSpPr>
            <p:cNvPr id="4" name="ísľïḍê">
              <a:extLst>
                <a:ext uri="{FF2B5EF4-FFF2-40B4-BE49-F238E27FC236}">
                  <a16:creationId xmlns:a16="http://schemas.microsoft.com/office/drawing/2014/main" id="{3D7BAA6E-0A7B-4443-A9CC-DAD166C40A7B}"/>
                </a:ext>
              </a:extLst>
            </p:cNvPr>
            <p:cNvGrpSpPr/>
            <p:nvPr/>
          </p:nvGrpSpPr>
          <p:grpSpPr>
            <a:xfrm>
              <a:off x="641438" y="4277667"/>
              <a:ext cx="3079888" cy="1446333"/>
              <a:chOff x="1233620" y="4277667"/>
              <a:chExt cx="3079888" cy="1446333"/>
            </a:xfrm>
          </p:grpSpPr>
          <p:sp>
            <p:nvSpPr>
              <p:cNvPr id="100" name="íṩļíḓê">
                <a:extLst>
                  <a:ext uri="{FF2B5EF4-FFF2-40B4-BE49-F238E27FC236}">
                    <a16:creationId xmlns:a16="http://schemas.microsoft.com/office/drawing/2014/main" id="{6E685359-0D12-4E53-9266-00297460FBAC}"/>
                  </a:ext>
                </a:extLst>
              </p:cNvPr>
              <p:cNvSpPr txBox="1"/>
              <p:nvPr/>
            </p:nvSpPr>
            <p:spPr>
              <a:xfrm>
                <a:off x="1233620" y="4277667"/>
                <a:ext cx="3079888" cy="492493"/>
              </a:xfrm>
              <a:prstGeom prst="rect">
                <a:avLst/>
              </a:prstGeom>
            </p:spPr>
            <p:txBody>
              <a:bodyPr vert="horz" wrap="none" lIns="90000" tIns="46800" rIns="90000" bIns="46800" anchor="ctr">
                <a:normAutofit/>
              </a:bodyPr>
              <a:lstStyle/>
              <a:p>
                <a:pPr algn="ctr"/>
                <a:endParaRPr lang="zh-CN" altLang="en-US" sz="2000" b="1" dirty="0"/>
              </a:p>
            </p:txBody>
          </p:sp>
          <p:sp>
            <p:nvSpPr>
              <p:cNvPr id="101" name="ïṣľíďe">
                <a:extLst>
                  <a:ext uri="{FF2B5EF4-FFF2-40B4-BE49-F238E27FC236}">
                    <a16:creationId xmlns:a16="http://schemas.microsoft.com/office/drawing/2014/main" id="{DBD0463F-05CD-4AF7-B05D-EF157966BFB2}"/>
                  </a:ext>
                </a:extLst>
              </p:cNvPr>
              <p:cNvSpPr txBox="1"/>
              <p:nvPr/>
            </p:nvSpPr>
            <p:spPr>
              <a:xfrm>
                <a:off x="1279382" y="4770160"/>
                <a:ext cx="3031262" cy="953840"/>
              </a:xfrm>
              <a:prstGeom prst="rect">
                <a:avLst/>
              </a:prstGeom>
            </p:spPr>
            <p:txBody>
              <a:bodyPr vert="horz" wrap="square" lIns="90000" tIns="46800" rIns="90000" bIns="46800" anchor="t" anchorCtr="0">
                <a:normAutofit/>
              </a:bodyPr>
              <a:lstStyle/>
              <a:p>
                <a:pPr algn="ctr">
                  <a:lnSpc>
                    <a:spcPct val="150000"/>
                  </a:lnSpc>
                </a:pPr>
                <a:r>
                  <a:rPr lang="zh-CN" altLang="en-US" sz="1100" dirty="0" smtClean="0"/>
                  <a:t>直接，不卫生，效果不好</a:t>
                </a:r>
                <a:endParaRPr lang="en-US" altLang="zh-CN" sz="1100" dirty="0"/>
              </a:p>
            </p:txBody>
          </p:sp>
        </p:grpSp>
        <p:grpSp>
          <p:nvGrpSpPr>
            <p:cNvPr id="5" name="îSlíḓê">
              <a:extLst>
                <a:ext uri="{FF2B5EF4-FFF2-40B4-BE49-F238E27FC236}">
                  <a16:creationId xmlns:a16="http://schemas.microsoft.com/office/drawing/2014/main" id="{80DF8A2F-BF50-46A8-A33B-B2C0CFB9AB36}"/>
                </a:ext>
              </a:extLst>
            </p:cNvPr>
            <p:cNvGrpSpPr/>
            <p:nvPr/>
          </p:nvGrpSpPr>
          <p:grpSpPr>
            <a:xfrm>
              <a:off x="4539384" y="4277667"/>
              <a:ext cx="3079888" cy="1446333"/>
              <a:chOff x="4557321" y="4277667"/>
              <a:chExt cx="3079888" cy="1446333"/>
            </a:xfrm>
          </p:grpSpPr>
          <p:sp>
            <p:nvSpPr>
              <p:cNvPr id="76" name="íṥľíďè">
                <a:extLst>
                  <a:ext uri="{FF2B5EF4-FFF2-40B4-BE49-F238E27FC236}">
                    <a16:creationId xmlns:a16="http://schemas.microsoft.com/office/drawing/2014/main" id="{0FBEDB24-33A9-4EE0-B741-BAE524C0DC71}"/>
                  </a:ext>
                </a:extLst>
              </p:cNvPr>
              <p:cNvSpPr txBox="1"/>
              <p:nvPr/>
            </p:nvSpPr>
            <p:spPr>
              <a:xfrm>
                <a:off x="4557321" y="4277667"/>
                <a:ext cx="3079888" cy="492493"/>
              </a:xfrm>
              <a:prstGeom prst="rect">
                <a:avLst/>
              </a:prstGeom>
            </p:spPr>
            <p:txBody>
              <a:bodyPr vert="horz" wrap="none" lIns="90000" tIns="46800" rIns="90000" bIns="46800" anchor="ctr">
                <a:normAutofit/>
              </a:bodyPr>
              <a:lstStyle/>
              <a:p>
                <a:pPr algn="ctr"/>
                <a:r>
                  <a:rPr lang="zh-CN" altLang="en-US" sz="2000" b="1" dirty="0" smtClean="0"/>
                  <a:t>牙签</a:t>
                </a:r>
                <a:endParaRPr lang="zh-CN" altLang="en-US" sz="2000" b="1" dirty="0"/>
              </a:p>
            </p:txBody>
          </p:sp>
          <p:sp>
            <p:nvSpPr>
              <p:cNvPr id="77" name="iŝ1ïḍè">
                <a:extLst>
                  <a:ext uri="{FF2B5EF4-FFF2-40B4-BE49-F238E27FC236}">
                    <a16:creationId xmlns:a16="http://schemas.microsoft.com/office/drawing/2014/main" id="{14AD998D-7A83-4BE4-BD78-A7A783C07AAB}"/>
                  </a:ext>
                </a:extLst>
              </p:cNvPr>
              <p:cNvSpPr txBox="1"/>
              <p:nvPr/>
            </p:nvSpPr>
            <p:spPr>
              <a:xfrm>
                <a:off x="4557321" y="4770160"/>
                <a:ext cx="3079888" cy="953840"/>
              </a:xfrm>
              <a:prstGeom prst="rect">
                <a:avLst/>
              </a:prstGeom>
            </p:spPr>
            <p:txBody>
              <a:bodyPr vert="horz" wrap="square" lIns="90000" tIns="46800" rIns="90000" bIns="46800" anchor="t" anchorCtr="0">
                <a:normAutofit/>
              </a:bodyPr>
              <a:lstStyle/>
              <a:p>
                <a:pPr algn="ctr">
                  <a:lnSpc>
                    <a:spcPct val="150000"/>
                  </a:lnSpc>
                </a:pPr>
                <a:r>
                  <a:rPr lang="zh-CN" altLang="en-US" sz="1100" dirty="0" smtClean="0"/>
                  <a:t>卫生，效果佳。对牙齿有损伤</a:t>
                </a:r>
                <a:endParaRPr lang="en-US" altLang="zh-CN" sz="1100" dirty="0"/>
              </a:p>
            </p:txBody>
          </p:sp>
        </p:grpSp>
        <p:grpSp>
          <p:nvGrpSpPr>
            <p:cNvPr id="6" name="îşlïḋe">
              <a:extLst>
                <a:ext uri="{FF2B5EF4-FFF2-40B4-BE49-F238E27FC236}">
                  <a16:creationId xmlns:a16="http://schemas.microsoft.com/office/drawing/2014/main" id="{9B750894-B371-47E0-84FC-ECEC4BA0203A}"/>
                </a:ext>
              </a:extLst>
            </p:cNvPr>
            <p:cNvGrpSpPr/>
            <p:nvPr/>
          </p:nvGrpSpPr>
          <p:grpSpPr>
            <a:xfrm>
              <a:off x="8437330" y="2812551"/>
              <a:ext cx="3079888" cy="2911449"/>
              <a:chOff x="8105326" y="2812551"/>
              <a:chExt cx="3079888" cy="2911449"/>
            </a:xfrm>
          </p:grpSpPr>
          <p:grpSp>
            <p:nvGrpSpPr>
              <p:cNvPr id="9" name="îśḻidé">
                <a:extLst>
                  <a:ext uri="{FF2B5EF4-FFF2-40B4-BE49-F238E27FC236}">
                    <a16:creationId xmlns:a16="http://schemas.microsoft.com/office/drawing/2014/main" id="{A64EF312-E114-4EFD-96DD-2E79F3DC184D}"/>
                  </a:ext>
                </a:extLst>
              </p:cNvPr>
              <p:cNvGrpSpPr/>
              <p:nvPr/>
            </p:nvGrpSpPr>
            <p:grpSpPr>
              <a:xfrm>
                <a:off x="8967229" y="2812551"/>
                <a:ext cx="376806" cy="495102"/>
                <a:chOff x="952500" y="3908425"/>
                <a:chExt cx="319088" cy="419100"/>
              </a:xfrm>
            </p:grpSpPr>
            <p:sp>
              <p:nvSpPr>
                <p:cNvPr id="13" name="íṡlíḋé">
                  <a:extLst>
                    <a:ext uri="{FF2B5EF4-FFF2-40B4-BE49-F238E27FC236}">
                      <a16:creationId xmlns:a16="http://schemas.microsoft.com/office/drawing/2014/main" id="{20196A41-579B-4B96-BFDE-405294C9AB1E}"/>
                    </a:ext>
                  </a:extLst>
                </p:cNvPr>
                <p:cNvSpPr/>
                <p:nvPr/>
              </p:nvSpPr>
              <p:spPr bwMode="auto">
                <a:xfrm>
                  <a:off x="952500" y="4013200"/>
                  <a:ext cx="25400" cy="20638"/>
                </a:xfrm>
                <a:custGeom>
                  <a:avLst/>
                  <a:gdLst>
                    <a:gd name="T0" fmla="*/ 55 w 70"/>
                    <a:gd name="T1" fmla="*/ 55 h 56"/>
                    <a:gd name="T2" fmla="*/ 0 w 70"/>
                    <a:gd name="T3" fmla="*/ 14 h 56"/>
                    <a:gd name="T4" fmla="*/ 0 w 70"/>
                    <a:gd name="T5" fmla="*/ 0 h 56"/>
                    <a:gd name="T6" fmla="*/ 28 w 70"/>
                    <a:gd name="T7" fmla="*/ 14 h 56"/>
                    <a:gd name="T8" fmla="*/ 55 w 70"/>
                    <a:gd name="T9" fmla="*/ 0 h 56"/>
                    <a:gd name="T10" fmla="*/ 55 w 70"/>
                    <a:gd name="T11" fmla="*/ 14 h 56"/>
                    <a:gd name="T12" fmla="*/ 69 w 70"/>
                    <a:gd name="T13" fmla="*/ 42 h 56"/>
                    <a:gd name="T14" fmla="*/ 55 w 70"/>
                    <a:gd name="T15" fmla="*/ 55 h 56"/>
                    <a:gd name="T16" fmla="*/ 42 w 70"/>
                    <a:gd name="T17" fmla="*/ 14 h 56"/>
                    <a:gd name="T18" fmla="*/ 28 w 70"/>
                    <a:gd name="T19" fmla="*/ 28 h 56"/>
                    <a:gd name="T20" fmla="*/ 55 w 70"/>
                    <a:gd name="T21" fmla="*/ 42 h 56"/>
                    <a:gd name="T22" fmla="*/ 55 w 70"/>
                    <a:gd name="T23" fmla="*/ 28 h 56"/>
                    <a:gd name="T24" fmla="*/ 42 w 70"/>
                    <a:gd name="T25" fmla="*/ 1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6">
                      <a:moveTo>
                        <a:pt x="55" y="55"/>
                      </a:moveTo>
                      <a:cubicBezTo>
                        <a:pt x="0" y="14"/>
                        <a:pt x="0" y="14"/>
                        <a:pt x="0" y="14"/>
                      </a:cubicBezTo>
                      <a:lnTo>
                        <a:pt x="0" y="0"/>
                      </a:lnTo>
                      <a:lnTo>
                        <a:pt x="28" y="14"/>
                      </a:lnTo>
                      <a:cubicBezTo>
                        <a:pt x="28" y="0"/>
                        <a:pt x="42" y="0"/>
                        <a:pt x="55" y="0"/>
                      </a:cubicBezTo>
                      <a:lnTo>
                        <a:pt x="55" y="14"/>
                      </a:lnTo>
                      <a:cubicBezTo>
                        <a:pt x="69" y="14"/>
                        <a:pt x="69" y="28"/>
                        <a:pt x="69" y="42"/>
                      </a:cubicBezTo>
                      <a:lnTo>
                        <a:pt x="55" y="55"/>
                      </a:lnTo>
                      <a:close/>
                      <a:moveTo>
                        <a:pt x="42" y="14"/>
                      </a:moveTo>
                      <a:cubicBezTo>
                        <a:pt x="28" y="28"/>
                        <a:pt x="28" y="28"/>
                        <a:pt x="28" y="28"/>
                      </a:cubicBezTo>
                      <a:cubicBezTo>
                        <a:pt x="55" y="42"/>
                        <a:pt x="55" y="42"/>
                        <a:pt x="55" y="42"/>
                      </a:cubicBezTo>
                      <a:lnTo>
                        <a:pt x="55" y="28"/>
                      </a:lnTo>
                      <a:lnTo>
                        <a:pt x="42" y="14"/>
                      </a:lnTo>
                      <a:close/>
                    </a:path>
                  </a:pathLst>
                </a:custGeom>
                <a:solidFill>
                  <a:srgbClr val="FFFFFF"/>
                </a:solidFill>
                <a:ln>
                  <a:noFill/>
                </a:ln>
                <a:effectLst/>
                <a:extLst>
                  <a:ext uri="{91240B29-F687-4f45-9708-019B960494DF}">
                    <a14:hiddenLine xmlns="" xmlns:lc="http://schemas.openxmlformats.org/drawingml/2006/lockedCanvas" xmlns:a14="http://schemas.microsoft.com/office/drawing/2010/main" xmlns:p14="http://schemas.microsoft.com/office/powerpoint/2010/main" xmlns:a16="http://schemas.microsoft.com/office/drawing/2014/main" w="9525" cap="flat">
                      <a:solidFill>
                        <a:srgbClr val="808080"/>
                      </a:solidFill>
                      <a:bevel/>
                      <a:headEnd/>
                      <a:tailEnd/>
                    </a14:hiddenLine>
                  </a:ext>
                  <a:ext uri="{AF507438-7753-43e0-B8FC-AC1667EBCBE1}">
                    <a14:hiddenEffects xmlns="" xmlns:lc="http://schemas.openxmlformats.org/drawingml/2006/lockedCanvas" xmlns:a14="http://schemas.microsoft.com/office/drawing/2010/main" xmlns:p14="http://schemas.microsoft.com/office/powerpoint/2010/main" xmlns:a16="http://schemas.microsoft.com/office/drawing/2014/main">
                      <a:effectLst>
                        <a:outerShdw blurRad="63500" dist="38099" dir="2700000" algn="ctr" rotWithShape="0">
                          <a:srgbClr val="000000">
                            <a:alpha val="74998"/>
                          </a:srgbClr>
                        </a:outerShdw>
                      </a:effectLst>
                    </a14:hiddenEffects>
                  </a:ext>
                </a:extLst>
              </p:spPr>
              <p:txBody>
                <a:bodyPr anchor="ctr"/>
                <a:lstStyle/>
                <a:p>
                  <a:pPr algn="ctr"/>
                  <a:endParaRPr/>
                </a:p>
              </p:txBody>
            </p:sp>
            <p:sp>
              <p:nvSpPr>
                <p:cNvPr id="14" name="išḻiḓè">
                  <a:extLst>
                    <a:ext uri="{FF2B5EF4-FFF2-40B4-BE49-F238E27FC236}">
                      <a16:creationId xmlns:a16="http://schemas.microsoft.com/office/drawing/2014/main" id="{E5DDC520-BA73-482F-BE33-8F782A4407BB}"/>
                    </a:ext>
                  </a:extLst>
                </p:cNvPr>
                <p:cNvSpPr/>
                <p:nvPr/>
              </p:nvSpPr>
              <p:spPr bwMode="auto">
                <a:xfrm>
                  <a:off x="962025" y="3987800"/>
                  <a:ext cx="25400" cy="25400"/>
                </a:xfrm>
                <a:custGeom>
                  <a:avLst/>
                  <a:gdLst>
                    <a:gd name="T0" fmla="*/ 69 w 70"/>
                    <a:gd name="T1" fmla="*/ 55 h 70"/>
                    <a:gd name="T2" fmla="*/ 69 w 70"/>
                    <a:gd name="T3" fmla="*/ 69 h 70"/>
                    <a:gd name="T4" fmla="*/ 0 w 70"/>
                    <a:gd name="T5" fmla="*/ 42 h 70"/>
                    <a:gd name="T6" fmla="*/ 0 w 70"/>
                    <a:gd name="T7" fmla="*/ 28 h 70"/>
                    <a:gd name="T8" fmla="*/ 14 w 70"/>
                    <a:gd name="T9" fmla="*/ 28 h 70"/>
                    <a:gd name="T10" fmla="*/ 27 w 70"/>
                    <a:gd name="T11" fmla="*/ 28 h 70"/>
                    <a:gd name="T12" fmla="*/ 14 w 70"/>
                    <a:gd name="T13" fmla="*/ 14 h 70"/>
                    <a:gd name="T14" fmla="*/ 14 w 70"/>
                    <a:gd name="T15" fmla="*/ 0 h 70"/>
                    <a:gd name="T16" fmla="*/ 69 w 70"/>
                    <a:gd name="T17" fmla="*/ 55 h 70"/>
                    <a:gd name="T18" fmla="*/ 55 w 70"/>
                    <a:gd name="T19" fmla="*/ 55 h 70"/>
                    <a:gd name="T20" fmla="*/ 27 w 70"/>
                    <a:gd name="T21" fmla="*/ 28 h 70"/>
                    <a:gd name="T22" fmla="*/ 27 w 70"/>
                    <a:gd name="T23" fmla="*/ 42 h 70"/>
                    <a:gd name="T24" fmla="*/ 55 w 70"/>
                    <a:gd name="T25" fmla="*/ 5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9" y="55"/>
                      </a:moveTo>
                      <a:lnTo>
                        <a:pt x="69" y="69"/>
                      </a:lnTo>
                      <a:lnTo>
                        <a:pt x="0" y="42"/>
                      </a:lnTo>
                      <a:lnTo>
                        <a:pt x="0" y="28"/>
                      </a:lnTo>
                      <a:lnTo>
                        <a:pt x="14" y="28"/>
                      </a:lnTo>
                      <a:lnTo>
                        <a:pt x="27" y="28"/>
                      </a:lnTo>
                      <a:lnTo>
                        <a:pt x="14" y="14"/>
                      </a:lnTo>
                      <a:lnTo>
                        <a:pt x="14" y="0"/>
                      </a:lnTo>
                      <a:lnTo>
                        <a:pt x="69" y="55"/>
                      </a:lnTo>
                      <a:close/>
                      <a:moveTo>
                        <a:pt x="55" y="55"/>
                      </a:moveTo>
                      <a:lnTo>
                        <a:pt x="27" y="28"/>
                      </a:lnTo>
                      <a:lnTo>
                        <a:pt x="27" y="42"/>
                      </a:lnTo>
                      <a:lnTo>
                        <a:pt x="55" y="55"/>
                      </a:lnTo>
                      <a:close/>
                    </a:path>
                  </a:pathLst>
                </a:custGeom>
                <a:solidFill>
                  <a:srgbClr val="FFFFFF"/>
                </a:solidFill>
                <a:ln>
                  <a:noFill/>
                </a:ln>
                <a:effectLst/>
                <a:extLst>
                  <a:ext uri="{91240B29-F687-4f45-9708-019B960494DF}">
                    <a14:hiddenLine xmlns="" xmlns:lc="http://schemas.openxmlformats.org/drawingml/2006/lockedCanvas" xmlns:a14="http://schemas.microsoft.com/office/drawing/2010/main" xmlns:p14="http://schemas.microsoft.com/office/powerpoint/2010/main" xmlns:a16="http://schemas.microsoft.com/office/drawing/2014/main" w="9525" cap="flat">
                      <a:solidFill>
                        <a:srgbClr val="808080"/>
                      </a:solidFill>
                      <a:bevel/>
                      <a:headEnd/>
                      <a:tailEnd/>
                    </a14:hiddenLine>
                  </a:ext>
                  <a:ext uri="{AF507438-7753-43e0-B8FC-AC1667EBCBE1}">
                    <a14:hiddenEffects xmlns="" xmlns:lc="http://schemas.openxmlformats.org/drawingml/2006/lockedCanvas" xmlns:a14="http://schemas.microsoft.com/office/drawing/2010/main" xmlns:p14="http://schemas.microsoft.com/office/powerpoint/2010/main" xmlns:a16="http://schemas.microsoft.com/office/drawing/2014/main">
                      <a:effectLst>
                        <a:outerShdw blurRad="63500" dist="38099" dir="2700000" algn="ctr" rotWithShape="0">
                          <a:srgbClr val="000000">
                            <a:alpha val="74998"/>
                          </a:srgbClr>
                        </a:outerShdw>
                      </a:effectLst>
                    </a14:hiddenEffects>
                  </a:ext>
                </a:extLst>
              </p:spPr>
              <p:txBody>
                <a:bodyPr anchor="ctr"/>
                <a:lstStyle/>
                <a:p>
                  <a:pPr algn="ctr"/>
                  <a:endParaRPr/>
                </a:p>
              </p:txBody>
            </p:sp>
            <p:sp>
              <p:nvSpPr>
                <p:cNvPr id="15" name="îSļïďé">
                  <a:extLst>
                    <a:ext uri="{FF2B5EF4-FFF2-40B4-BE49-F238E27FC236}">
                      <a16:creationId xmlns:a16="http://schemas.microsoft.com/office/drawing/2014/main" id="{DA8A5B4A-A1BA-4D38-97F6-AA6185428964}"/>
                    </a:ext>
                  </a:extLst>
                </p:cNvPr>
                <p:cNvSpPr/>
                <p:nvPr/>
              </p:nvSpPr>
              <p:spPr bwMode="auto">
                <a:xfrm>
                  <a:off x="962025" y="3987800"/>
                  <a:ext cx="25400" cy="25400"/>
                </a:xfrm>
                <a:custGeom>
                  <a:avLst/>
                  <a:gdLst>
                    <a:gd name="T0" fmla="*/ 69 w 70"/>
                    <a:gd name="T1" fmla="*/ 55 h 70"/>
                    <a:gd name="T2" fmla="*/ 69 w 70"/>
                    <a:gd name="T3" fmla="*/ 69 h 70"/>
                    <a:gd name="T4" fmla="*/ 0 w 70"/>
                    <a:gd name="T5" fmla="*/ 42 h 70"/>
                    <a:gd name="T6" fmla="*/ 0 w 70"/>
                    <a:gd name="T7" fmla="*/ 28 h 70"/>
                    <a:gd name="T8" fmla="*/ 14 w 70"/>
                    <a:gd name="T9" fmla="*/ 28 h 70"/>
                    <a:gd name="T10" fmla="*/ 27 w 70"/>
                    <a:gd name="T11" fmla="*/ 28 h 70"/>
                    <a:gd name="T12" fmla="*/ 14 w 70"/>
                    <a:gd name="T13" fmla="*/ 14 h 70"/>
                    <a:gd name="T14" fmla="*/ 14 w 70"/>
                    <a:gd name="T15" fmla="*/ 0 h 70"/>
                    <a:gd name="T16" fmla="*/ 69 w 70"/>
                    <a:gd name="T17" fmla="*/ 5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70">
                      <a:moveTo>
                        <a:pt x="69" y="55"/>
                      </a:moveTo>
                      <a:lnTo>
                        <a:pt x="69" y="69"/>
                      </a:lnTo>
                      <a:lnTo>
                        <a:pt x="0" y="42"/>
                      </a:lnTo>
                      <a:lnTo>
                        <a:pt x="0" y="28"/>
                      </a:lnTo>
                      <a:lnTo>
                        <a:pt x="14" y="28"/>
                      </a:lnTo>
                      <a:lnTo>
                        <a:pt x="27" y="28"/>
                      </a:lnTo>
                      <a:lnTo>
                        <a:pt x="14" y="14"/>
                      </a:lnTo>
                      <a:lnTo>
                        <a:pt x="14" y="0"/>
                      </a:lnTo>
                      <a:lnTo>
                        <a:pt x="69" y="55"/>
                      </a:lnTo>
                    </a:path>
                  </a:pathLst>
                </a:custGeom>
                <a:solidFill>
                  <a:srgbClr val="FFFFFF"/>
                </a:solidFill>
                <a:ln>
                  <a:noFill/>
                </a:ln>
                <a:effectLst/>
                <a:extLst>
                  <a:ext uri="{91240B29-F687-4f45-9708-019B960494DF}">
                    <a14:hiddenLine xmlns="" xmlns:lc="http://schemas.openxmlformats.org/drawingml/2006/lockedCanvas" xmlns:a14="http://schemas.microsoft.com/office/drawing/2010/main" xmlns:p14="http://schemas.microsoft.com/office/powerpoint/2010/main" xmlns:a16="http://schemas.microsoft.com/office/drawing/2014/main" w="9525" cap="flat">
                      <a:solidFill>
                        <a:srgbClr val="808080"/>
                      </a:solidFill>
                      <a:round/>
                      <a:headEnd/>
                      <a:tailEnd/>
                    </a14:hiddenLine>
                  </a:ext>
                  <a:ext uri="{AF507438-7753-43e0-B8FC-AC1667EBCBE1}">
                    <a14:hiddenEffects xmlns="" xmlns:lc="http://schemas.openxmlformats.org/drawingml/2006/lockedCanvas" xmlns:a14="http://schemas.microsoft.com/office/drawing/2010/main" xmlns:p14="http://schemas.microsoft.com/office/powerpoint/2010/main" xmlns:a16="http://schemas.microsoft.com/office/drawing/2014/main">
                      <a:effectLst>
                        <a:outerShdw blurRad="63500" dist="38099" dir="2700000" algn="ctr" rotWithShape="0">
                          <a:srgbClr val="000000">
                            <a:alpha val="74998"/>
                          </a:srgbClr>
                        </a:outerShdw>
                      </a:effectLst>
                    </a14:hiddenEffects>
                  </a:ext>
                </a:extLst>
              </p:spPr>
              <p:txBody>
                <a:bodyPr anchor="ctr"/>
                <a:lstStyle/>
                <a:p>
                  <a:pPr algn="ctr"/>
                  <a:endParaRPr/>
                </a:p>
              </p:txBody>
            </p:sp>
            <p:sp>
              <p:nvSpPr>
                <p:cNvPr id="16" name="iSļíďè">
                  <a:extLst>
                    <a:ext uri="{FF2B5EF4-FFF2-40B4-BE49-F238E27FC236}">
                      <a16:creationId xmlns:a16="http://schemas.microsoft.com/office/drawing/2014/main" id="{D026C512-7DEE-42D8-9BE9-D67F0D9EC0ED}"/>
                    </a:ext>
                  </a:extLst>
                </p:cNvPr>
                <p:cNvSpPr/>
                <p:nvPr/>
              </p:nvSpPr>
              <p:spPr bwMode="auto">
                <a:xfrm>
                  <a:off x="973138" y="3998913"/>
                  <a:ext cx="11112" cy="9525"/>
                </a:xfrm>
                <a:custGeom>
                  <a:avLst/>
                  <a:gdLst>
                    <a:gd name="T0" fmla="*/ 28 w 29"/>
                    <a:gd name="T1" fmla="*/ 27 h 28"/>
                    <a:gd name="T2" fmla="*/ 0 w 29"/>
                    <a:gd name="T3" fmla="*/ 14 h 28"/>
                    <a:gd name="T4" fmla="*/ 0 w 29"/>
                    <a:gd name="T5" fmla="*/ 0 h 28"/>
                    <a:gd name="T6" fmla="*/ 28 w 29"/>
                    <a:gd name="T7" fmla="*/ 27 h 28"/>
                  </a:gdLst>
                  <a:ahLst/>
                  <a:cxnLst>
                    <a:cxn ang="0">
                      <a:pos x="T0" y="T1"/>
                    </a:cxn>
                    <a:cxn ang="0">
                      <a:pos x="T2" y="T3"/>
                    </a:cxn>
                    <a:cxn ang="0">
                      <a:pos x="T4" y="T5"/>
                    </a:cxn>
                    <a:cxn ang="0">
                      <a:pos x="T6" y="T7"/>
                    </a:cxn>
                  </a:cxnLst>
                  <a:rect l="0" t="0" r="r" b="b"/>
                  <a:pathLst>
                    <a:path w="29" h="28">
                      <a:moveTo>
                        <a:pt x="28" y="27"/>
                      </a:moveTo>
                      <a:lnTo>
                        <a:pt x="0" y="14"/>
                      </a:lnTo>
                      <a:lnTo>
                        <a:pt x="0" y="0"/>
                      </a:lnTo>
                      <a:lnTo>
                        <a:pt x="28" y="27"/>
                      </a:lnTo>
                    </a:path>
                  </a:pathLst>
                </a:custGeom>
                <a:solidFill>
                  <a:srgbClr val="FFFFFF"/>
                </a:solidFill>
                <a:ln>
                  <a:noFill/>
                </a:ln>
                <a:effectLst/>
                <a:extLst>
                  <a:ext uri="{91240B29-F687-4f45-9708-019B960494DF}">
                    <a14:hiddenLine xmlns="" xmlns:lc="http://schemas.openxmlformats.org/drawingml/2006/lockedCanvas" xmlns:a14="http://schemas.microsoft.com/office/drawing/2010/main" xmlns:p14="http://schemas.microsoft.com/office/powerpoint/2010/main" xmlns:a16="http://schemas.microsoft.com/office/drawing/2014/main" w="9525" cap="flat">
                      <a:solidFill>
                        <a:srgbClr val="808080"/>
                      </a:solidFill>
                      <a:round/>
                      <a:headEnd/>
                      <a:tailEnd/>
                    </a14:hiddenLine>
                  </a:ext>
                  <a:ext uri="{AF507438-7753-43e0-B8FC-AC1667EBCBE1}">
                    <a14:hiddenEffects xmlns="" xmlns:lc="http://schemas.openxmlformats.org/drawingml/2006/lockedCanvas" xmlns:a14="http://schemas.microsoft.com/office/drawing/2010/main" xmlns:p14="http://schemas.microsoft.com/office/powerpoint/2010/main" xmlns:a16="http://schemas.microsoft.com/office/drawing/2014/main">
                      <a:effectLst>
                        <a:outerShdw blurRad="63500" dist="38099" dir="2700000" algn="ctr" rotWithShape="0">
                          <a:srgbClr val="000000">
                            <a:alpha val="74998"/>
                          </a:srgbClr>
                        </a:outerShdw>
                      </a:effectLst>
                    </a14:hiddenEffects>
                  </a:ext>
                </a:extLst>
              </p:spPr>
              <p:txBody>
                <a:bodyPr anchor="ctr"/>
                <a:lstStyle/>
                <a:p>
                  <a:pPr algn="ctr"/>
                  <a:endParaRPr/>
                </a:p>
              </p:txBody>
            </p:sp>
            <p:sp>
              <p:nvSpPr>
                <p:cNvPr id="17" name="iš1iḋe">
                  <a:extLst>
                    <a:ext uri="{FF2B5EF4-FFF2-40B4-BE49-F238E27FC236}">
                      <a16:creationId xmlns:a16="http://schemas.microsoft.com/office/drawing/2014/main" id="{A14E3303-7941-4F0A-97DD-42A33B4079C3}"/>
                    </a:ext>
                  </a:extLst>
                </p:cNvPr>
                <p:cNvSpPr/>
                <p:nvPr/>
              </p:nvSpPr>
              <p:spPr bwMode="auto">
                <a:xfrm>
                  <a:off x="973138" y="3973513"/>
                  <a:ext cx="30162" cy="25400"/>
                </a:xfrm>
                <a:custGeom>
                  <a:avLst/>
                  <a:gdLst>
                    <a:gd name="T0" fmla="*/ 28 w 85"/>
                    <a:gd name="T1" fmla="*/ 0 h 71"/>
                    <a:gd name="T2" fmla="*/ 28 w 85"/>
                    <a:gd name="T3" fmla="*/ 0 h 71"/>
                    <a:gd name="T4" fmla="*/ 28 w 85"/>
                    <a:gd name="T5" fmla="*/ 0 h 71"/>
                    <a:gd name="T6" fmla="*/ 42 w 85"/>
                    <a:gd name="T7" fmla="*/ 15 h 71"/>
                    <a:gd name="T8" fmla="*/ 56 w 85"/>
                    <a:gd name="T9" fmla="*/ 28 h 71"/>
                    <a:gd name="T10" fmla="*/ 70 w 85"/>
                    <a:gd name="T11" fmla="*/ 28 h 71"/>
                    <a:gd name="T12" fmla="*/ 70 w 85"/>
                    <a:gd name="T13" fmla="*/ 28 h 71"/>
                    <a:gd name="T14" fmla="*/ 70 w 85"/>
                    <a:gd name="T15" fmla="*/ 56 h 71"/>
                    <a:gd name="T16" fmla="*/ 70 w 85"/>
                    <a:gd name="T17" fmla="*/ 70 h 71"/>
                    <a:gd name="T18" fmla="*/ 0 w 85"/>
                    <a:gd name="T19" fmla="*/ 28 h 71"/>
                    <a:gd name="T20" fmla="*/ 14 w 85"/>
                    <a:gd name="T21" fmla="*/ 15 h 71"/>
                    <a:gd name="T22" fmla="*/ 42 w 85"/>
                    <a:gd name="T23" fmla="*/ 42 h 71"/>
                    <a:gd name="T24" fmla="*/ 42 w 85"/>
                    <a:gd name="T25" fmla="*/ 28 h 71"/>
                    <a:gd name="T26" fmla="*/ 28 w 85"/>
                    <a:gd name="T27" fmla="*/ 28 h 71"/>
                    <a:gd name="T28" fmla="*/ 28 w 85"/>
                    <a:gd name="T29" fmla="*/ 15 h 71"/>
                    <a:gd name="T30" fmla="*/ 14 w 85"/>
                    <a:gd name="T31" fmla="*/ 15 h 71"/>
                    <a:gd name="T32" fmla="*/ 28 w 85"/>
                    <a:gd name="T33" fmla="*/ 0 h 71"/>
                    <a:gd name="T34" fmla="*/ 70 w 85"/>
                    <a:gd name="T35" fmla="*/ 56 h 71"/>
                    <a:gd name="T36" fmla="*/ 70 w 85"/>
                    <a:gd name="T37" fmla="*/ 56 h 71"/>
                    <a:gd name="T38" fmla="*/ 70 w 85"/>
                    <a:gd name="T39" fmla="*/ 42 h 71"/>
                    <a:gd name="T40" fmla="*/ 56 w 85"/>
                    <a:gd name="T41" fmla="*/ 42 h 71"/>
                    <a:gd name="T42" fmla="*/ 42 w 85"/>
                    <a:gd name="T43" fmla="*/ 42 h 71"/>
                    <a:gd name="T44" fmla="*/ 42 w 85"/>
                    <a:gd name="T45" fmla="*/ 42 h 71"/>
                    <a:gd name="T46" fmla="*/ 70 w 85"/>
                    <a:gd name="T47" fmla="*/ 5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5" h="71">
                      <a:moveTo>
                        <a:pt x="28" y="0"/>
                      </a:moveTo>
                      <a:lnTo>
                        <a:pt x="28" y="0"/>
                      </a:lnTo>
                      <a:lnTo>
                        <a:pt x="28" y="0"/>
                      </a:lnTo>
                      <a:cubicBezTo>
                        <a:pt x="42" y="15"/>
                        <a:pt x="42" y="15"/>
                        <a:pt x="42" y="15"/>
                      </a:cubicBezTo>
                      <a:cubicBezTo>
                        <a:pt x="42" y="15"/>
                        <a:pt x="56" y="15"/>
                        <a:pt x="56" y="28"/>
                      </a:cubicBezTo>
                      <a:cubicBezTo>
                        <a:pt x="56" y="28"/>
                        <a:pt x="56" y="28"/>
                        <a:pt x="70" y="28"/>
                      </a:cubicBezTo>
                      <a:lnTo>
                        <a:pt x="70" y="28"/>
                      </a:lnTo>
                      <a:cubicBezTo>
                        <a:pt x="84" y="42"/>
                        <a:pt x="84" y="42"/>
                        <a:pt x="70" y="56"/>
                      </a:cubicBezTo>
                      <a:cubicBezTo>
                        <a:pt x="70" y="70"/>
                        <a:pt x="70" y="70"/>
                        <a:pt x="70" y="70"/>
                      </a:cubicBezTo>
                      <a:cubicBezTo>
                        <a:pt x="0" y="28"/>
                        <a:pt x="0" y="28"/>
                        <a:pt x="0" y="28"/>
                      </a:cubicBezTo>
                      <a:cubicBezTo>
                        <a:pt x="14" y="15"/>
                        <a:pt x="14" y="15"/>
                        <a:pt x="14" y="15"/>
                      </a:cubicBezTo>
                      <a:cubicBezTo>
                        <a:pt x="42" y="42"/>
                        <a:pt x="42" y="42"/>
                        <a:pt x="42" y="42"/>
                      </a:cubicBezTo>
                      <a:cubicBezTo>
                        <a:pt x="42" y="28"/>
                        <a:pt x="42" y="28"/>
                        <a:pt x="42" y="28"/>
                      </a:cubicBezTo>
                      <a:cubicBezTo>
                        <a:pt x="42" y="28"/>
                        <a:pt x="42" y="28"/>
                        <a:pt x="28" y="28"/>
                      </a:cubicBezTo>
                      <a:cubicBezTo>
                        <a:pt x="28" y="15"/>
                        <a:pt x="28" y="15"/>
                        <a:pt x="28" y="15"/>
                      </a:cubicBezTo>
                      <a:cubicBezTo>
                        <a:pt x="14" y="15"/>
                        <a:pt x="14" y="15"/>
                        <a:pt x="14" y="15"/>
                      </a:cubicBezTo>
                      <a:lnTo>
                        <a:pt x="28" y="0"/>
                      </a:lnTo>
                      <a:close/>
                      <a:moveTo>
                        <a:pt x="70" y="56"/>
                      </a:moveTo>
                      <a:lnTo>
                        <a:pt x="70" y="56"/>
                      </a:lnTo>
                      <a:cubicBezTo>
                        <a:pt x="70" y="42"/>
                        <a:pt x="70" y="42"/>
                        <a:pt x="70" y="42"/>
                      </a:cubicBezTo>
                      <a:cubicBezTo>
                        <a:pt x="56" y="42"/>
                        <a:pt x="56" y="42"/>
                        <a:pt x="56" y="42"/>
                      </a:cubicBezTo>
                      <a:cubicBezTo>
                        <a:pt x="56" y="28"/>
                        <a:pt x="56" y="42"/>
                        <a:pt x="42" y="42"/>
                      </a:cubicBezTo>
                      <a:lnTo>
                        <a:pt x="42" y="42"/>
                      </a:lnTo>
                      <a:cubicBezTo>
                        <a:pt x="70" y="56"/>
                        <a:pt x="70" y="56"/>
                        <a:pt x="70" y="56"/>
                      </a:cubicBezTo>
                      <a:close/>
                    </a:path>
                  </a:pathLst>
                </a:custGeom>
                <a:solidFill>
                  <a:srgbClr val="FFFFFF"/>
                </a:solidFill>
                <a:ln>
                  <a:noFill/>
                </a:ln>
                <a:effectLst/>
                <a:extLst>
                  <a:ext uri="{91240B29-F687-4f45-9708-019B960494DF}">
                    <a14:hiddenLine xmlns="" xmlns:lc="http://schemas.openxmlformats.org/drawingml/2006/lockedCanvas" xmlns:a14="http://schemas.microsoft.com/office/drawing/2010/main" xmlns:p14="http://schemas.microsoft.com/office/powerpoint/2010/main" xmlns:a16="http://schemas.microsoft.com/office/drawing/2014/main" w="9525" cap="flat">
                      <a:solidFill>
                        <a:srgbClr val="808080"/>
                      </a:solidFill>
                      <a:bevel/>
                      <a:headEnd/>
                      <a:tailEnd/>
                    </a14:hiddenLine>
                  </a:ext>
                  <a:ext uri="{AF507438-7753-43e0-B8FC-AC1667EBCBE1}">
                    <a14:hiddenEffects xmlns="" xmlns:lc="http://schemas.openxmlformats.org/drawingml/2006/lockedCanvas" xmlns:a14="http://schemas.microsoft.com/office/drawing/2010/main" xmlns:p14="http://schemas.microsoft.com/office/powerpoint/2010/main" xmlns:a16="http://schemas.microsoft.com/office/drawing/2014/main">
                      <a:effectLst>
                        <a:outerShdw blurRad="63500" dist="38099" dir="2700000" algn="ctr" rotWithShape="0">
                          <a:srgbClr val="000000">
                            <a:alpha val="74998"/>
                          </a:srgbClr>
                        </a:outerShdw>
                      </a:effectLst>
                    </a14:hiddenEffects>
                  </a:ext>
                </a:extLst>
              </p:spPr>
              <p:txBody>
                <a:bodyPr anchor="ctr"/>
                <a:lstStyle/>
                <a:p>
                  <a:pPr algn="ctr"/>
                  <a:endParaRPr/>
                </a:p>
              </p:txBody>
            </p:sp>
            <p:sp>
              <p:nvSpPr>
                <p:cNvPr id="18" name="ï$ļîďé">
                  <a:extLst>
                    <a:ext uri="{FF2B5EF4-FFF2-40B4-BE49-F238E27FC236}">
                      <a16:creationId xmlns:a16="http://schemas.microsoft.com/office/drawing/2014/main" id="{B510332E-3CC3-4596-858A-BA8DA87854C1}"/>
                    </a:ext>
                  </a:extLst>
                </p:cNvPr>
                <p:cNvSpPr/>
                <p:nvPr/>
              </p:nvSpPr>
              <p:spPr bwMode="auto">
                <a:xfrm>
                  <a:off x="987425" y="3957638"/>
                  <a:ext cx="30163" cy="25400"/>
                </a:xfrm>
                <a:custGeom>
                  <a:avLst/>
                  <a:gdLst>
                    <a:gd name="T0" fmla="*/ 42 w 84"/>
                    <a:gd name="T1" fmla="*/ 69 h 70"/>
                    <a:gd name="T2" fmla="*/ 55 w 84"/>
                    <a:gd name="T3" fmla="*/ 56 h 70"/>
                    <a:gd name="T4" fmla="*/ 0 w 84"/>
                    <a:gd name="T5" fmla="*/ 14 h 70"/>
                    <a:gd name="T6" fmla="*/ 0 w 84"/>
                    <a:gd name="T7" fmla="*/ 0 h 70"/>
                    <a:gd name="T8" fmla="*/ 55 w 84"/>
                    <a:gd name="T9" fmla="*/ 41 h 70"/>
                    <a:gd name="T10" fmla="*/ 69 w 84"/>
                    <a:gd name="T11" fmla="*/ 28 h 70"/>
                    <a:gd name="T12" fmla="*/ 83 w 84"/>
                    <a:gd name="T13" fmla="*/ 41 h 70"/>
                    <a:gd name="T14" fmla="*/ 55 w 84"/>
                    <a:gd name="T15" fmla="*/ 69 h 70"/>
                    <a:gd name="T16" fmla="*/ 42 w 84"/>
                    <a:gd name="T17" fmla="*/ 6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70">
                      <a:moveTo>
                        <a:pt x="42" y="69"/>
                      </a:moveTo>
                      <a:lnTo>
                        <a:pt x="55" y="56"/>
                      </a:lnTo>
                      <a:lnTo>
                        <a:pt x="0" y="14"/>
                      </a:lnTo>
                      <a:lnTo>
                        <a:pt x="0" y="0"/>
                      </a:lnTo>
                      <a:lnTo>
                        <a:pt x="55" y="41"/>
                      </a:lnTo>
                      <a:lnTo>
                        <a:pt x="69" y="28"/>
                      </a:lnTo>
                      <a:lnTo>
                        <a:pt x="83" y="41"/>
                      </a:lnTo>
                      <a:lnTo>
                        <a:pt x="55" y="69"/>
                      </a:lnTo>
                      <a:lnTo>
                        <a:pt x="42" y="69"/>
                      </a:lnTo>
                    </a:path>
                  </a:pathLst>
                </a:custGeom>
                <a:solidFill>
                  <a:srgbClr val="FFFFFF"/>
                </a:solidFill>
                <a:ln>
                  <a:noFill/>
                </a:ln>
                <a:effectLst/>
                <a:extLst>
                  <a:ext uri="{91240B29-F687-4f45-9708-019B960494DF}">
                    <a14:hiddenLine xmlns="" xmlns:lc="http://schemas.openxmlformats.org/drawingml/2006/lockedCanvas" xmlns:a14="http://schemas.microsoft.com/office/drawing/2010/main" xmlns:p14="http://schemas.microsoft.com/office/powerpoint/2010/main" xmlns:a16="http://schemas.microsoft.com/office/drawing/2014/main" w="9525" cap="flat">
                      <a:solidFill>
                        <a:srgbClr val="808080"/>
                      </a:solidFill>
                      <a:bevel/>
                      <a:headEnd/>
                      <a:tailEnd/>
                    </a14:hiddenLine>
                  </a:ext>
                  <a:ext uri="{AF507438-7753-43e0-B8FC-AC1667EBCBE1}">
                    <a14:hiddenEffects xmlns="" xmlns:lc="http://schemas.openxmlformats.org/drawingml/2006/lockedCanvas" xmlns:a14="http://schemas.microsoft.com/office/drawing/2010/main" xmlns:p14="http://schemas.microsoft.com/office/powerpoint/2010/main" xmlns:a16="http://schemas.microsoft.com/office/drawing/2014/main">
                      <a:effectLst>
                        <a:outerShdw blurRad="63500" dist="38099" dir="2700000" algn="ctr" rotWithShape="0">
                          <a:srgbClr val="000000">
                            <a:alpha val="74998"/>
                          </a:srgbClr>
                        </a:outerShdw>
                      </a:effectLst>
                    </a14:hiddenEffects>
                  </a:ext>
                </a:extLst>
              </p:spPr>
              <p:txBody>
                <a:bodyPr anchor="ctr"/>
                <a:lstStyle/>
                <a:p>
                  <a:pPr algn="ctr"/>
                  <a:endParaRPr/>
                </a:p>
              </p:txBody>
            </p:sp>
            <p:sp>
              <p:nvSpPr>
                <p:cNvPr id="19" name="íSlïdê">
                  <a:extLst>
                    <a:ext uri="{FF2B5EF4-FFF2-40B4-BE49-F238E27FC236}">
                      <a16:creationId xmlns:a16="http://schemas.microsoft.com/office/drawing/2014/main" id="{F63F2663-C778-463F-935C-2882606CD15A}"/>
                    </a:ext>
                  </a:extLst>
                </p:cNvPr>
                <p:cNvSpPr/>
                <p:nvPr/>
              </p:nvSpPr>
              <p:spPr bwMode="auto">
                <a:xfrm>
                  <a:off x="996950" y="3938588"/>
                  <a:ext cx="30163" cy="30162"/>
                </a:xfrm>
                <a:custGeom>
                  <a:avLst/>
                  <a:gdLst>
                    <a:gd name="T0" fmla="*/ 14 w 84"/>
                    <a:gd name="T1" fmla="*/ 14 h 84"/>
                    <a:gd name="T2" fmla="*/ 14 w 84"/>
                    <a:gd name="T3" fmla="*/ 0 h 84"/>
                    <a:gd name="T4" fmla="*/ 83 w 84"/>
                    <a:gd name="T5" fmla="*/ 55 h 84"/>
                    <a:gd name="T6" fmla="*/ 69 w 84"/>
                    <a:gd name="T7" fmla="*/ 55 h 84"/>
                    <a:gd name="T8" fmla="*/ 41 w 84"/>
                    <a:gd name="T9" fmla="*/ 27 h 84"/>
                    <a:gd name="T10" fmla="*/ 69 w 84"/>
                    <a:gd name="T11" fmla="*/ 69 h 84"/>
                    <a:gd name="T12" fmla="*/ 55 w 84"/>
                    <a:gd name="T13" fmla="*/ 83 h 84"/>
                    <a:gd name="T14" fmla="*/ 0 w 84"/>
                    <a:gd name="T15" fmla="*/ 41 h 84"/>
                    <a:gd name="T16" fmla="*/ 0 w 84"/>
                    <a:gd name="T17" fmla="*/ 27 h 84"/>
                    <a:gd name="T18" fmla="*/ 55 w 84"/>
                    <a:gd name="T19" fmla="*/ 55 h 84"/>
                    <a:gd name="T20" fmla="*/ 14 w 84"/>
                    <a:gd name="T21" fmla="*/ 1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84">
                      <a:moveTo>
                        <a:pt x="14" y="14"/>
                      </a:moveTo>
                      <a:lnTo>
                        <a:pt x="14" y="0"/>
                      </a:lnTo>
                      <a:lnTo>
                        <a:pt x="83" y="55"/>
                      </a:lnTo>
                      <a:lnTo>
                        <a:pt x="69" y="55"/>
                      </a:lnTo>
                      <a:lnTo>
                        <a:pt x="41" y="27"/>
                      </a:lnTo>
                      <a:lnTo>
                        <a:pt x="69" y="69"/>
                      </a:lnTo>
                      <a:lnTo>
                        <a:pt x="55" y="83"/>
                      </a:lnTo>
                      <a:lnTo>
                        <a:pt x="0" y="41"/>
                      </a:lnTo>
                      <a:lnTo>
                        <a:pt x="0" y="27"/>
                      </a:lnTo>
                      <a:lnTo>
                        <a:pt x="55" y="55"/>
                      </a:lnTo>
                      <a:lnTo>
                        <a:pt x="14" y="14"/>
                      </a:lnTo>
                    </a:path>
                  </a:pathLst>
                </a:custGeom>
                <a:solidFill>
                  <a:srgbClr val="FFFFFF"/>
                </a:solidFill>
                <a:ln>
                  <a:noFill/>
                </a:ln>
                <a:effectLst/>
                <a:extLst>
                  <a:ext uri="{91240B29-F687-4f45-9708-019B960494DF}">
                    <a14:hiddenLine xmlns="" xmlns:lc="http://schemas.openxmlformats.org/drawingml/2006/lockedCanvas" xmlns:a14="http://schemas.microsoft.com/office/drawing/2010/main" xmlns:p14="http://schemas.microsoft.com/office/powerpoint/2010/main" xmlns:a16="http://schemas.microsoft.com/office/drawing/2014/main" w="9525" cap="flat">
                      <a:solidFill>
                        <a:srgbClr val="808080"/>
                      </a:solidFill>
                      <a:bevel/>
                      <a:headEnd/>
                      <a:tailEnd/>
                    </a14:hiddenLine>
                  </a:ext>
                  <a:ext uri="{AF507438-7753-43e0-B8FC-AC1667EBCBE1}">
                    <a14:hiddenEffects xmlns="" xmlns:lc="http://schemas.openxmlformats.org/drawingml/2006/lockedCanvas" xmlns:a14="http://schemas.microsoft.com/office/drawing/2010/main" xmlns:p14="http://schemas.microsoft.com/office/powerpoint/2010/main" xmlns:a16="http://schemas.microsoft.com/office/drawing/2014/main">
                      <a:effectLst>
                        <a:outerShdw blurRad="63500" dist="38099" dir="2700000" algn="ctr" rotWithShape="0">
                          <a:srgbClr val="000000">
                            <a:alpha val="74998"/>
                          </a:srgbClr>
                        </a:outerShdw>
                      </a:effectLst>
                    </a14:hiddenEffects>
                  </a:ext>
                </a:extLst>
              </p:spPr>
              <p:txBody>
                <a:bodyPr anchor="ctr"/>
                <a:lstStyle/>
                <a:p>
                  <a:pPr algn="ctr"/>
                  <a:endParaRPr/>
                </a:p>
              </p:txBody>
            </p:sp>
            <p:sp>
              <p:nvSpPr>
                <p:cNvPr id="20" name="íš1îdè">
                  <a:extLst>
                    <a:ext uri="{FF2B5EF4-FFF2-40B4-BE49-F238E27FC236}">
                      <a16:creationId xmlns:a16="http://schemas.microsoft.com/office/drawing/2014/main" id="{E1EF85D2-CF30-4A37-8963-BEECB087C878}"/>
                    </a:ext>
                  </a:extLst>
                </p:cNvPr>
                <p:cNvSpPr/>
                <p:nvPr/>
              </p:nvSpPr>
              <p:spPr bwMode="auto">
                <a:xfrm>
                  <a:off x="1008063" y="3922713"/>
                  <a:ext cx="30162" cy="25400"/>
                </a:xfrm>
                <a:custGeom>
                  <a:avLst/>
                  <a:gdLst>
                    <a:gd name="T0" fmla="*/ 69 w 84"/>
                    <a:gd name="T1" fmla="*/ 56 h 70"/>
                    <a:gd name="T2" fmla="*/ 83 w 84"/>
                    <a:gd name="T3" fmla="*/ 42 h 70"/>
                    <a:gd name="T4" fmla="*/ 83 w 84"/>
                    <a:gd name="T5" fmla="*/ 42 h 70"/>
                    <a:gd name="T6" fmla="*/ 69 w 84"/>
                    <a:gd name="T7" fmla="*/ 69 h 70"/>
                    <a:gd name="T8" fmla="*/ 0 w 84"/>
                    <a:gd name="T9" fmla="*/ 28 h 70"/>
                    <a:gd name="T10" fmla="*/ 28 w 84"/>
                    <a:gd name="T11" fmla="*/ 0 h 70"/>
                    <a:gd name="T12" fmla="*/ 28 w 84"/>
                    <a:gd name="T13" fmla="*/ 14 h 70"/>
                    <a:gd name="T14" fmla="*/ 14 w 84"/>
                    <a:gd name="T15" fmla="*/ 28 h 70"/>
                    <a:gd name="T16" fmla="*/ 42 w 84"/>
                    <a:gd name="T17" fmla="*/ 42 h 70"/>
                    <a:gd name="T18" fmla="*/ 42 w 84"/>
                    <a:gd name="T19" fmla="*/ 28 h 70"/>
                    <a:gd name="T20" fmla="*/ 56 w 84"/>
                    <a:gd name="T21" fmla="*/ 28 h 70"/>
                    <a:gd name="T22" fmla="*/ 42 w 84"/>
                    <a:gd name="T23" fmla="*/ 42 h 70"/>
                    <a:gd name="T24" fmla="*/ 69 w 84"/>
                    <a:gd name="T25" fmla="*/ 5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70">
                      <a:moveTo>
                        <a:pt x="69" y="56"/>
                      </a:moveTo>
                      <a:lnTo>
                        <a:pt x="83" y="42"/>
                      </a:lnTo>
                      <a:lnTo>
                        <a:pt x="83" y="42"/>
                      </a:lnTo>
                      <a:lnTo>
                        <a:pt x="69" y="69"/>
                      </a:lnTo>
                      <a:lnTo>
                        <a:pt x="0" y="28"/>
                      </a:lnTo>
                      <a:lnTo>
                        <a:pt x="28" y="0"/>
                      </a:lnTo>
                      <a:lnTo>
                        <a:pt x="28" y="14"/>
                      </a:lnTo>
                      <a:lnTo>
                        <a:pt x="14" y="28"/>
                      </a:lnTo>
                      <a:lnTo>
                        <a:pt x="42" y="42"/>
                      </a:lnTo>
                      <a:lnTo>
                        <a:pt x="42" y="28"/>
                      </a:lnTo>
                      <a:lnTo>
                        <a:pt x="56" y="28"/>
                      </a:lnTo>
                      <a:lnTo>
                        <a:pt x="42" y="42"/>
                      </a:lnTo>
                      <a:lnTo>
                        <a:pt x="69" y="56"/>
                      </a:lnTo>
                    </a:path>
                  </a:pathLst>
                </a:custGeom>
                <a:solidFill>
                  <a:srgbClr val="FFFFFF"/>
                </a:solidFill>
                <a:ln>
                  <a:noFill/>
                </a:ln>
                <a:effectLst/>
                <a:extLst>
                  <a:ext uri="{91240B29-F687-4f45-9708-019B960494DF}">
                    <a14:hiddenLine xmlns="" xmlns:lc="http://schemas.openxmlformats.org/drawingml/2006/lockedCanvas" xmlns:a14="http://schemas.microsoft.com/office/drawing/2010/main" xmlns:p14="http://schemas.microsoft.com/office/powerpoint/2010/main" xmlns:a16="http://schemas.microsoft.com/office/drawing/2014/main" w="9525" cap="flat">
                      <a:solidFill>
                        <a:srgbClr val="808080"/>
                      </a:solidFill>
                      <a:bevel/>
                      <a:headEnd/>
                      <a:tailEnd/>
                    </a14:hiddenLine>
                  </a:ext>
                  <a:ext uri="{AF507438-7753-43e0-B8FC-AC1667EBCBE1}">
                    <a14:hiddenEffects xmlns="" xmlns:lc="http://schemas.openxmlformats.org/drawingml/2006/lockedCanvas" xmlns:a14="http://schemas.microsoft.com/office/drawing/2010/main" xmlns:p14="http://schemas.microsoft.com/office/powerpoint/2010/main" xmlns:a16="http://schemas.microsoft.com/office/drawing/2014/main">
                      <a:effectLst>
                        <a:outerShdw blurRad="63500" dist="38099" dir="2700000" algn="ctr" rotWithShape="0">
                          <a:srgbClr val="000000">
                            <a:alpha val="74998"/>
                          </a:srgbClr>
                        </a:outerShdw>
                      </a:effectLst>
                    </a14:hiddenEffects>
                  </a:ext>
                </a:extLst>
              </p:spPr>
              <p:txBody>
                <a:bodyPr anchor="ctr"/>
                <a:lstStyle/>
                <a:p>
                  <a:pPr algn="ctr"/>
                  <a:endParaRPr/>
                </a:p>
              </p:txBody>
            </p:sp>
            <p:sp>
              <p:nvSpPr>
                <p:cNvPr id="21" name="îṥ1íḍe">
                  <a:extLst>
                    <a:ext uri="{FF2B5EF4-FFF2-40B4-BE49-F238E27FC236}">
                      <a16:creationId xmlns:a16="http://schemas.microsoft.com/office/drawing/2014/main" id="{12769054-3323-4DF8-877A-761EC10B901E}"/>
                    </a:ext>
                  </a:extLst>
                </p:cNvPr>
                <p:cNvSpPr/>
                <p:nvPr/>
              </p:nvSpPr>
              <p:spPr bwMode="auto">
                <a:xfrm>
                  <a:off x="1022350" y="3908425"/>
                  <a:ext cx="25400" cy="25400"/>
                </a:xfrm>
                <a:custGeom>
                  <a:avLst/>
                  <a:gdLst>
                    <a:gd name="T0" fmla="*/ 14 w 70"/>
                    <a:gd name="T1" fmla="*/ 0 h 70"/>
                    <a:gd name="T2" fmla="*/ 14 w 70"/>
                    <a:gd name="T3" fmla="*/ 0 h 70"/>
                    <a:gd name="T4" fmla="*/ 27 w 70"/>
                    <a:gd name="T5" fmla="*/ 0 h 70"/>
                    <a:gd name="T6" fmla="*/ 27 w 70"/>
                    <a:gd name="T7" fmla="*/ 13 h 70"/>
                    <a:gd name="T8" fmla="*/ 41 w 70"/>
                    <a:gd name="T9" fmla="*/ 28 h 70"/>
                    <a:gd name="T10" fmla="*/ 55 w 70"/>
                    <a:gd name="T11" fmla="*/ 28 h 70"/>
                    <a:gd name="T12" fmla="*/ 69 w 70"/>
                    <a:gd name="T13" fmla="*/ 28 h 70"/>
                    <a:gd name="T14" fmla="*/ 69 w 70"/>
                    <a:gd name="T15" fmla="*/ 55 h 70"/>
                    <a:gd name="T16" fmla="*/ 55 w 70"/>
                    <a:gd name="T17" fmla="*/ 69 h 70"/>
                    <a:gd name="T18" fmla="*/ 0 w 70"/>
                    <a:gd name="T19" fmla="*/ 28 h 70"/>
                    <a:gd name="T20" fmla="*/ 0 w 70"/>
                    <a:gd name="T21" fmla="*/ 13 h 70"/>
                    <a:gd name="T22" fmla="*/ 27 w 70"/>
                    <a:gd name="T23" fmla="*/ 41 h 70"/>
                    <a:gd name="T24" fmla="*/ 27 w 70"/>
                    <a:gd name="T25" fmla="*/ 28 h 70"/>
                    <a:gd name="T26" fmla="*/ 27 w 70"/>
                    <a:gd name="T27" fmla="*/ 13 h 70"/>
                    <a:gd name="T28" fmla="*/ 14 w 70"/>
                    <a:gd name="T29" fmla="*/ 13 h 70"/>
                    <a:gd name="T30" fmla="*/ 14 w 70"/>
                    <a:gd name="T31" fmla="*/ 0 h 70"/>
                    <a:gd name="T32" fmla="*/ 55 w 70"/>
                    <a:gd name="T33" fmla="*/ 55 h 70"/>
                    <a:gd name="T34" fmla="*/ 55 w 70"/>
                    <a:gd name="T35" fmla="*/ 55 h 70"/>
                    <a:gd name="T36" fmla="*/ 55 w 70"/>
                    <a:gd name="T37" fmla="*/ 41 h 70"/>
                    <a:gd name="T38" fmla="*/ 55 w 70"/>
                    <a:gd name="T39" fmla="*/ 41 h 70"/>
                    <a:gd name="T40" fmla="*/ 41 w 70"/>
                    <a:gd name="T41" fmla="*/ 41 h 70"/>
                    <a:gd name="T42" fmla="*/ 41 w 70"/>
                    <a:gd name="T43" fmla="*/ 41 h 70"/>
                    <a:gd name="T44" fmla="*/ 55 w 70"/>
                    <a:gd name="T45" fmla="*/ 5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 h="70">
                      <a:moveTo>
                        <a:pt x="14" y="0"/>
                      </a:moveTo>
                      <a:lnTo>
                        <a:pt x="14" y="0"/>
                      </a:lnTo>
                      <a:cubicBezTo>
                        <a:pt x="14" y="0"/>
                        <a:pt x="14" y="0"/>
                        <a:pt x="27" y="0"/>
                      </a:cubicBezTo>
                      <a:cubicBezTo>
                        <a:pt x="27" y="13"/>
                        <a:pt x="27" y="13"/>
                        <a:pt x="27" y="13"/>
                      </a:cubicBezTo>
                      <a:cubicBezTo>
                        <a:pt x="41" y="13"/>
                        <a:pt x="41" y="13"/>
                        <a:pt x="41" y="28"/>
                      </a:cubicBezTo>
                      <a:lnTo>
                        <a:pt x="55" y="28"/>
                      </a:lnTo>
                      <a:cubicBezTo>
                        <a:pt x="69" y="28"/>
                        <a:pt x="69" y="28"/>
                        <a:pt x="69" y="28"/>
                      </a:cubicBezTo>
                      <a:cubicBezTo>
                        <a:pt x="69" y="41"/>
                        <a:pt x="69" y="41"/>
                        <a:pt x="69" y="55"/>
                      </a:cubicBezTo>
                      <a:cubicBezTo>
                        <a:pt x="55" y="69"/>
                        <a:pt x="55" y="69"/>
                        <a:pt x="55" y="69"/>
                      </a:cubicBezTo>
                      <a:cubicBezTo>
                        <a:pt x="0" y="28"/>
                        <a:pt x="0" y="28"/>
                        <a:pt x="0" y="28"/>
                      </a:cubicBezTo>
                      <a:cubicBezTo>
                        <a:pt x="0" y="13"/>
                        <a:pt x="0" y="13"/>
                        <a:pt x="0" y="13"/>
                      </a:cubicBezTo>
                      <a:cubicBezTo>
                        <a:pt x="27" y="41"/>
                        <a:pt x="27" y="41"/>
                        <a:pt x="27" y="41"/>
                      </a:cubicBezTo>
                      <a:cubicBezTo>
                        <a:pt x="27" y="28"/>
                        <a:pt x="27" y="28"/>
                        <a:pt x="27" y="28"/>
                      </a:cubicBezTo>
                      <a:cubicBezTo>
                        <a:pt x="27" y="28"/>
                        <a:pt x="27" y="28"/>
                        <a:pt x="27" y="13"/>
                      </a:cubicBezTo>
                      <a:cubicBezTo>
                        <a:pt x="14" y="13"/>
                        <a:pt x="14" y="13"/>
                        <a:pt x="14" y="13"/>
                      </a:cubicBezTo>
                      <a:cubicBezTo>
                        <a:pt x="14" y="13"/>
                        <a:pt x="14" y="13"/>
                        <a:pt x="14" y="0"/>
                      </a:cubicBezTo>
                      <a:close/>
                      <a:moveTo>
                        <a:pt x="55" y="55"/>
                      </a:moveTo>
                      <a:lnTo>
                        <a:pt x="55" y="55"/>
                      </a:lnTo>
                      <a:cubicBezTo>
                        <a:pt x="55" y="41"/>
                        <a:pt x="55" y="41"/>
                        <a:pt x="55" y="41"/>
                      </a:cubicBezTo>
                      <a:lnTo>
                        <a:pt x="55" y="41"/>
                      </a:lnTo>
                      <a:cubicBezTo>
                        <a:pt x="41" y="28"/>
                        <a:pt x="41" y="28"/>
                        <a:pt x="41" y="41"/>
                      </a:cubicBezTo>
                      <a:lnTo>
                        <a:pt x="41" y="41"/>
                      </a:lnTo>
                      <a:cubicBezTo>
                        <a:pt x="55" y="55"/>
                        <a:pt x="55" y="55"/>
                        <a:pt x="55" y="55"/>
                      </a:cubicBezTo>
                      <a:close/>
                    </a:path>
                  </a:pathLst>
                </a:custGeom>
                <a:solidFill>
                  <a:srgbClr val="FFFFFF"/>
                </a:solidFill>
                <a:ln>
                  <a:noFill/>
                </a:ln>
                <a:effectLst/>
                <a:extLst>
                  <a:ext uri="{91240B29-F687-4f45-9708-019B960494DF}">
                    <a14:hiddenLine xmlns="" xmlns:lc="http://schemas.openxmlformats.org/drawingml/2006/lockedCanvas" xmlns:a14="http://schemas.microsoft.com/office/drawing/2010/main" xmlns:p14="http://schemas.microsoft.com/office/powerpoint/2010/main" xmlns:a16="http://schemas.microsoft.com/office/drawing/2014/main" w="9525" cap="flat">
                      <a:solidFill>
                        <a:srgbClr val="808080"/>
                      </a:solidFill>
                      <a:bevel/>
                      <a:headEnd/>
                      <a:tailEnd/>
                    </a14:hiddenLine>
                  </a:ext>
                  <a:ext uri="{AF507438-7753-43e0-B8FC-AC1667EBCBE1}">
                    <a14:hiddenEffects xmlns="" xmlns:lc="http://schemas.openxmlformats.org/drawingml/2006/lockedCanvas" xmlns:a14="http://schemas.microsoft.com/office/drawing/2010/main" xmlns:p14="http://schemas.microsoft.com/office/powerpoint/2010/main" xmlns:a16="http://schemas.microsoft.com/office/drawing/2014/main">
                      <a:effectLst>
                        <a:outerShdw blurRad="63500" dist="38099" dir="2700000" algn="ctr" rotWithShape="0">
                          <a:srgbClr val="000000">
                            <a:alpha val="74998"/>
                          </a:srgbClr>
                        </a:outerShdw>
                      </a:effectLst>
                    </a14:hiddenEffects>
                  </a:ext>
                </a:extLst>
              </p:spPr>
              <p:txBody>
                <a:bodyPr anchor="ctr"/>
                <a:lstStyle/>
                <a:p>
                  <a:pPr algn="ctr"/>
                  <a:endParaRPr/>
                </a:p>
              </p:txBody>
            </p:sp>
            <p:sp>
              <p:nvSpPr>
                <p:cNvPr id="57" name="ïšḻîḍe">
                  <a:extLst>
                    <a:ext uri="{FF2B5EF4-FFF2-40B4-BE49-F238E27FC236}">
                      <a16:creationId xmlns:a16="http://schemas.microsoft.com/office/drawing/2014/main" id="{C4EF1EF0-0C3C-4623-BEFC-9EC3964CB00C}"/>
                    </a:ext>
                  </a:extLst>
                </p:cNvPr>
                <p:cNvSpPr/>
                <p:nvPr/>
              </p:nvSpPr>
              <p:spPr bwMode="auto">
                <a:xfrm>
                  <a:off x="1003300" y="4206875"/>
                  <a:ext cx="4763" cy="4763"/>
                </a:xfrm>
                <a:custGeom>
                  <a:avLst/>
                  <a:gdLst>
                    <a:gd name="T0" fmla="*/ 13 w 14"/>
                    <a:gd name="T1" fmla="*/ 0 h 15"/>
                    <a:gd name="T2" fmla="*/ 13 w 14"/>
                    <a:gd name="T3" fmla="*/ 14 h 15"/>
                    <a:gd name="T4" fmla="*/ 0 w 14"/>
                    <a:gd name="T5" fmla="*/ 14 h 15"/>
                    <a:gd name="T6" fmla="*/ 13 w 14"/>
                    <a:gd name="T7" fmla="*/ 0 h 15"/>
                    <a:gd name="T8" fmla="*/ 13 w 14"/>
                    <a:gd name="T9" fmla="*/ 0 h 15"/>
                  </a:gdLst>
                  <a:ahLst/>
                  <a:cxnLst>
                    <a:cxn ang="0">
                      <a:pos x="T0" y="T1"/>
                    </a:cxn>
                    <a:cxn ang="0">
                      <a:pos x="T2" y="T3"/>
                    </a:cxn>
                    <a:cxn ang="0">
                      <a:pos x="T4" y="T5"/>
                    </a:cxn>
                    <a:cxn ang="0">
                      <a:pos x="T6" y="T7"/>
                    </a:cxn>
                    <a:cxn ang="0">
                      <a:pos x="T8" y="T9"/>
                    </a:cxn>
                  </a:cxnLst>
                  <a:rect l="0" t="0" r="r" b="b"/>
                  <a:pathLst>
                    <a:path w="14" h="15">
                      <a:moveTo>
                        <a:pt x="13" y="0"/>
                      </a:moveTo>
                      <a:cubicBezTo>
                        <a:pt x="13" y="14"/>
                        <a:pt x="13" y="14"/>
                        <a:pt x="13" y="14"/>
                      </a:cubicBezTo>
                      <a:cubicBezTo>
                        <a:pt x="13" y="14"/>
                        <a:pt x="13" y="14"/>
                        <a:pt x="0" y="14"/>
                      </a:cubicBezTo>
                      <a:cubicBezTo>
                        <a:pt x="0" y="14"/>
                        <a:pt x="13" y="14"/>
                        <a:pt x="13" y="0"/>
                      </a:cubicBezTo>
                      <a:lnTo>
                        <a:pt x="13" y="0"/>
                      </a:lnTo>
                    </a:path>
                  </a:pathLst>
                </a:custGeom>
                <a:solidFill>
                  <a:srgbClr val="EEC4A8"/>
                </a:solidFill>
                <a:ln>
                  <a:noFill/>
                </a:ln>
                <a:effectLst/>
                <a:extLst>
                  <a:ext uri="{91240B29-F687-4f45-9708-019B960494DF}">
                    <a14:hiddenLine xmlns="" xmlns:lc="http://schemas.openxmlformats.org/drawingml/2006/lockedCanvas" xmlns:a14="http://schemas.microsoft.com/office/drawing/2010/main" xmlns:p14="http://schemas.microsoft.com/office/powerpoint/2010/main" xmlns:a16="http://schemas.microsoft.com/office/drawing/2014/main" w="9525" cap="flat">
                      <a:solidFill>
                        <a:srgbClr val="808080"/>
                      </a:solidFill>
                      <a:bevel/>
                      <a:headEnd/>
                      <a:tailEnd/>
                    </a14:hiddenLine>
                  </a:ext>
                  <a:ext uri="{AF507438-7753-43e0-B8FC-AC1667EBCBE1}">
                    <a14:hiddenEffects xmlns="" xmlns:lc="http://schemas.openxmlformats.org/drawingml/2006/lockedCanvas" xmlns:a14="http://schemas.microsoft.com/office/drawing/2010/main" xmlns:p14="http://schemas.microsoft.com/office/powerpoint/2010/main" xmlns:a16="http://schemas.microsoft.com/office/drawing/2014/main">
                      <a:effectLst>
                        <a:outerShdw blurRad="63500" dist="38099" dir="2700000" algn="ctr" rotWithShape="0">
                          <a:srgbClr val="000000">
                            <a:alpha val="74998"/>
                          </a:srgbClr>
                        </a:outerShdw>
                      </a:effectLst>
                    </a14:hiddenEffects>
                  </a:ext>
                </a:extLst>
              </p:spPr>
              <p:txBody>
                <a:bodyPr anchor="ctr"/>
                <a:lstStyle/>
                <a:p>
                  <a:pPr algn="ctr"/>
                  <a:endParaRPr/>
                </a:p>
              </p:txBody>
            </p:sp>
            <p:sp>
              <p:nvSpPr>
                <p:cNvPr id="59" name="îṣḻiḋe">
                  <a:extLst>
                    <a:ext uri="{FF2B5EF4-FFF2-40B4-BE49-F238E27FC236}">
                      <a16:creationId xmlns:a16="http://schemas.microsoft.com/office/drawing/2014/main" id="{380118CD-8D71-4484-A656-C779E32C5C67}"/>
                    </a:ext>
                  </a:extLst>
                </p:cNvPr>
                <p:cNvSpPr/>
                <p:nvPr/>
              </p:nvSpPr>
              <p:spPr bwMode="auto">
                <a:xfrm>
                  <a:off x="1087438" y="4197350"/>
                  <a:ext cx="50800" cy="69850"/>
                </a:xfrm>
                <a:custGeom>
                  <a:avLst/>
                  <a:gdLst>
                    <a:gd name="T0" fmla="*/ 138 w 139"/>
                    <a:gd name="T1" fmla="*/ 180 h 195"/>
                    <a:gd name="T2" fmla="*/ 138 w 139"/>
                    <a:gd name="T3" fmla="*/ 194 h 195"/>
                    <a:gd name="T4" fmla="*/ 137 w 139"/>
                    <a:gd name="T5" fmla="*/ 194 h 195"/>
                    <a:gd name="T6" fmla="*/ 138 w 139"/>
                    <a:gd name="T7" fmla="*/ 180 h 195"/>
                    <a:gd name="T8" fmla="*/ 13 w 139"/>
                    <a:gd name="T9" fmla="*/ 14 h 195"/>
                    <a:gd name="T10" fmla="*/ 0 w 139"/>
                    <a:gd name="T11" fmla="*/ 14 h 195"/>
                    <a:gd name="T12" fmla="*/ 13 w 139"/>
                    <a:gd name="T13" fmla="*/ 0 h 195"/>
                    <a:gd name="T14" fmla="*/ 13 w 139"/>
                    <a:gd name="T15" fmla="*/ 14 h 1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 h="195">
                      <a:moveTo>
                        <a:pt x="138" y="180"/>
                      </a:moveTo>
                      <a:lnTo>
                        <a:pt x="138" y="194"/>
                      </a:lnTo>
                      <a:lnTo>
                        <a:pt x="137" y="194"/>
                      </a:lnTo>
                      <a:cubicBezTo>
                        <a:pt x="138" y="190"/>
                        <a:pt x="138" y="185"/>
                        <a:pt x="138" y="180"/>
                      </a:cubicBezTo>
                      <a:close/>
                      <a:moveTo>
                        <a:pt x="13" y="14"/>
                      </a:moveTo>
                      <a:lnTo>
                        <a:pt x="0" y="14"/>
                      </a:lnTo>
                      <a:lnTo>
                        <a:pt x="13" y="0"/>
                      </a:lnTo>
                      <a:lnTo>
                        <a:pt x="13" y="14"/>
                      </a:lnTo>
                      <a:close/>
                    </a:path>
                  </a:pathLst>
                </a:custGeom>
                <a:solidFill>
                  <a:srgbClr val="EEC4A8"/>
                </a:solidFill>
                <a:ln>
                  <a:noFill/>
                </a:ln>
                <a:effectLst/>
                <a:extLst>
                  <a:ext uri="{91240B29-F687-4f45-9708-019B960494DF}">
                    <a14:hiddenLine xmlns="" xmlns:lc="http://schemas.openxmlformats.org/drawingml/2006/lockedCanvas" xmlns:a14="http://schemas.microsoft.com/office/drawing/2010/main" xmlns:p14="http://schemas.microsoft.com/office/powerpoint/2010/main" xmlns:a16="http://schemas.microsoft.com/office/drawing/2014/main" w="9525" cap="flat">
                      <a:solidFill>
                        <a:srgbClr val="808080"/>
                      </a:solidFill>
                      <a:bevel/>
                      <a:headEnd/>
                      <a:tailEnd/>
                    </a14:hiddenLine>
                  </a:ext>
                  <a:ext uri="{AF507438-7753-43e0-B8FC-AC1667EBCBE1}">
                    <a14:hiddenEffects xmlns="" xmlns:lc="http://schemas.openxmlformats.org/drawingml/2006/lockedCanvas" xmlns:a14="http://schemas.microsoft.com/office/drawing/2010/main" xmlns:p14="http://schemas.microsoft.com/office/powerpoint/2010/main" xmlns:a16="http://schemas.microsoft.com/office/drawing/2014/main">
                      <a:effectLst>
                        <a:outerShdw blurRad="63500" dist="38099" dir="2700000" algn="ctr" rotWithShape="0">
                          <a:srgbClr val="000000">
                            <a:alpha val="74998"/>
                          </a:srgbClr>
                        </a:outerShdw>
                      </a:effectLst>
                    </a14:hiddenEffects>
                  </a:ext>
                </a:extLst>
              </p:spPr>
              <p:txBody>
                <a:bodyPr anchor="ctr"/>
                <a:lstStyle/>
                <a:p>
                  <a:pPr algn="ctr"/>
                  <a:endParaRPr/>
                </a:p>
              </p:txBody>
            </p:sp>
            <p:sp>
              <p:nvSpPr>
                <p:cNvPr id="61" name="íśļíḑê">
                  <a:extLst>
                    <a:ext uri="{FF2B5EF4-FFF2-40B4-BE49-F238E27FC236}">
                      <a16:creationId xmlns:a16="http://schemas.microsoft.com/office/drawing/2014/main" id="{3D6E84A0-B95A-4128-BB5F-886AC73E6663}"/>
                    </a:ext>
                  </a:extLst>
                </p:cNvPr>
                <p:cNvSpPr/>
                <p:nvPr/>
              </p:nvSpPr>
              <p:spPr bwMode="auto">
                <a:xfrm>
                  <a:off x="1262063" y="4316413"/>
                  <a:ext cx="9525" cy="11112"/>
                </a:xfrm>
                <a:custGeom>
                  <a:avLst/>
                  <a:gdLst>
                    <a:gd name="T0" fmla="*/ 14 w 28"/>
                    <a:gd name="T1" fmla="*/ 0 h 29"/>
                    <a:gd name="T2" fmla="*/ 27 w 28"/>
                    <a:gd name="T3" fmla="*/ 14 h 29"/>
                    <a:gd name="T4" fmla="*/ 0 w 28"/>
                    <a:gd name="T5" fmla="*/ 28 h 29"/>
                    <a:gd name="T6" fmla="*/ 14 w 28"/>
                    <a:gd name="T7" fmla="*/ 0 h 29"/>
                    <a:gd name="T8" fmla="*/ 14 w 28"/>
                    <a:gd name="T9" fmla="*/ 0 h 29"/>
                  </a:gdLst>
                  <a:ahLst/>
                  <a:cxnLst>
                    <a:cxn ang="0">
                      <a:pos x="T0" y="T1"/>
                    </a:cxn>
                    <a:cxn ang="0">
                      <a:pos x="T2" y="T3"/>
                    </a:cxn>
                    <a:cxn ang="0">
                      <a:pos x="T4" y="T5"/>
                    </a:cxn>
                    <a:cxn ang="0">
                      <a:pos x="T6" y="T7"/>
                    </a:cxn>
                    <a:cxn ang="0">
                      <a:pos x="T8" y="T9"/>
                    </a:cxn>
                  </a:cxnLst>
                  <a:rect l="0" t="0" r="r" b="b"/>
                  <a:pathLst>
                    <a:path w="28" h="29">
                      <a:moveTo>
                        <a:pt x="14" y="0"/>
                      </a:moveTo>
                      <a:cubicBezTo>
                        <a:pt x="14" y="14"/>
                        <a:pt x="27" y="14"/>
                        <a:pt x="27" y="14"/>
                      </a:cubicBezTo>
                      <a:cubicBezTo>
                        <a:pt x="27" y="14"/>
                        <a:pt x="27" y="14"/>
                        <a:pt x="0" y="28"/>
                      </a:cubicBezTo>
                      <a:cubicBezTo>
                        <a:pt x="14" y="14"/>
                        <a:pt x="14" y="14"/>
                        <a:pt x="14" y="0"/>
                      </a:cubicBezTo>
                      <a:lnTo>
                        <a:pt x="14" y="0"/>
                      </a:lnTo>
                    </a:path>
                  </a:pathLst>
                </a:custGeom>
                <a:solidFill>
                  <a:srgbClr val="EEC4A8"/>
                </a:solidFill>
                <a:ln>
                  <a:noFill/>
                </a:ln>
                <a:effectLst/>
                <a:extLst>
                  <a:ext uri="{91240B29-F687-4f45-9708-019B960494DF}">
                    <a14:hiddenLine xmlns="" xmlns:lc="http://schemas.openxmlformats.org/drawingml/2006/lockedCanvas" xmlns:a14="http://schemas.microsoft.com/office/drawing/2010/main" xmlns:p14="http://schemas.microsoft.com/office/powerpoint/2010/main" xmlns:a16="http://schemas.microsoft.com/office/drawing/2014/main" w="9525" cap="flat">
                      <a:solidFill>
                        <a:srgbClr val="808080"/>
                      </a:solidFill>
                      <a:bevel/>
                      <a:headEnd/>
                      <a:tailEnd/>
                    </a14:hiddenLine>
                  </a:ext>
                  <a:ext uri="{AF507438-7753-43e0-B8FC-AC1667EBCBE1}">
                    <a14:hiddenEffects xmlns="" xmlns:lc="http://schemas.openxmlformats.org/drawingml/2006/lockedCanvas" xmlns:a14="http://schemas.microsoft.com/office/drawing/2010/main" xmlns:p14="http://schemas.microsoft.com/office/powerpoint/2010/main" xmlns:a16="http://schemas.microsoft.com/office/drawing/2014/main">
                      <a:effectLst>
                        <a:outerShdw blurRad="63500" dist="38099" dir="2700000" algn="ctr" rotWithShape="0">
                          <a:srgbClr val="000000">
                            <a:alpha val="74998"/>
                          </a:srgbClr>
                        </a:outerShdw>
                      </a:effectLst>
                    </a14:hiddenEffects>
                  </a:ext>
                </a:extLst>
              </p:spPr>
              <p:txBody>
                <a:bodyPr anchor="ctr"/>
                <a:lstStyle/>
                <a:p>
                  <a:pPr algn="ctr"/>
                  <a:endParaRPr/>
                </a:p>
              </p:txBody>
            </p:sp>
          </p:grpSp>
          <p:sp>
            <p:nvSpPr>
              <p:cNvPr id="10" name="îşḷíḍe">
                <a:extLst>
                  <a:ext uri="{FF2B5EF4-FFF2-40B4-BE49-F238E27FC236}">
                    <a16:creationId xmlns:a16="http://schemas.microsoft.com/office/drawing/2014/main" id="{034DA557-B2B6-4AEF-8709-9CDA2F9CE878}"/>
                  </a:ext>
                </a:extLst>
              </p:cNvPr>
              <p:cNvSpPr txBox="1"/>
              <p:nvPr/>
            </p:nvSpPr>
            <p:spPr>
              <a:xfrm>
                <a:off x="8105326" y="4277667"/>
                <a:ext cx="3079888" cy="492493"/>
              </a:xfrm>
              <a:prstGeom prst="rect">
                <a:avLst/>
              </a:prstGeom>
            </p:spPr>
            <p:txBody>
              <a:bodyPr vert="horz" wrap="none" lIns="90000" tIns="46800" rIns="90000" bIns="46800" anchor="ctr">
                <a:normAutofit/>
              </a:bodyPr>
              <a:lstStyle/>
              <a:p>
                <a:pPr algn="ctr"/>
                <a:r>
                  <a:rPr lang="zh-CN" altLang="en-US" sz="2000" b="1" dirty="0" smtClean="0"/>
                  <a:t>牙线</a:t>
                </a:r>
                <a:endParaRPr lang="zh-CN" altLang="en-US" sz="2000" b="1" dirty="0"/>
              </a:p>
            </p:txBody>
          </p:sp>
          <p:sp>
            <p:nvSpPr>
              <p:cNvPr id="11" name="îsľiďé">
                <a:extLst>
                  <a:ext uri="{FF2B5EF4-FFF2-40B4-BE49-F238E27FC236}">
                    <a16:creationId xmlns:a16="http://schemas.microsoft.com/office/drawing/2014/main" id="{CEFDA441-480C-4D83-93CB-2B1AD3AA2A20}"/>
                  </a:ext>
                </a:extLst>
              </p:cNvPr>
              <p:cNvSpPr txBox="1"/>
              <p:nvPr/>
            </p:nvSpPr>
            <p:spPr>
              <a:xfrm>
                <a:off x="8151088" y="4770160"/>
                <a:ext cx="3031262" cy="953840"/>
              </a:xfrm>
              <a:prstGeom prst="rect">
                <a:avLst/>
              </a:prstGeom>
            </p:spPr>
            <p:txBody>
              <a:bodyPr vert="horz" wrap="square" lIns="90000" tIns="46800" rIns="90000" bIns="46800" anchor="t" anchorCtr="0">
                <a:normAutofit/>
              </a:bodyPr>
              <a:lstStyle/>
              <a:p>
                <a:pPr algn="ctr">
                  <a:lnSpc>
                    <a:spcPct val="150000"/>
                  </a:lnSpc>
                </a:pPr>
                <a:r>
                  <a:rPr lang="zh-CN" altLang="en-US" sz="1100" dirty="0" smtClean="0"/>
                  <a:t>卫生，效果佳。无损伤</a:t>
                </a:r>
                <a:endParaRPr lang="en-US" altLang="zh-CN" sz="1100" dirty="0"/>
              </a:p>
            </p:txBody>
          </p:sp>
        </p:grpSp>
        <p:cxnSp>
          <p:nvCxnSpPr>
            <p:cNvPr id="7" name="直接连接符 6">
              <a:extLst>
                <a:ext uri="{FF2B5EF4-FFF2-40B4-BE49-F238E27FC236}">
                  <a16:creationId xmlns:a16="http://schemas.microsoft.com/office/drawing/2014/main" id="{0D704083-120B-41DD-8369-CBF36D51F2ED}"/>
                </a:ext>
              </a:extLst>
            </p:cNvPr>
            <p:cNvCxnSpPr/>
            <p:nvPr/>
          </p:nvCxnSpPr>
          <p:spPr>
            <a:xfrm>
              <a:off x="4071000" y="1123950"/>
              <a:ext cx="0" cy="5019675"/>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8" name="直接连接符 7">
              <a:extLst>
                <a:ext uri="{FF2B5EF4-FFF2-40B4-BE49-F238E27FC236}">
                  <a16:creationId xmlns:a16="http://schemas.microsoft.com/office/drawing/2014/main" id="{580EE66F-201C-4DED-A077-0AA415D0D050}"/>
                </a:ext>
              </a:extLst>
            </p:cNvPr>
            <p:cNvCxnSpPr/>
            <p:nvPr/>
          </p:nvCxnSpPr>
          <p:spPr>
            <a:xfrm>
              <a:off x="8076000" y="1123950"/>
              <a:ext cx="0" cy="5019675"/>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pic>
        <p:nvPicPr>
          <p:cNvPr id="112" name="图片 111"/>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backgroundMark x1="52000" y1="19000" x2="52000" y2="19000"/>
                        <a14:backgroundMark x1="50500" y1="14500" x2="50500" y2="14500"/>
                        <a14:backgroundMark x1="69500" y1="19500" x2="69500" y2="19500"/>
                        <a14:backgroundMark x1="56000" y1="23500" x2="56000" y2="23500"/>
                      </a14:backgroundRemoval>
                    </a14:imgEffect>
                  </a14:imgLayer>
                </a14:imgProps>
              </a:ext>
              <a:ext uri="{28A0092B-C50C-407E-A947-70E740481C1C}">
                <a14:useLocalDpi xmlns:a14="http://schemas.microsoft.com/office/drawing/2010/main" val="0"/>
              </a:ext>
            </a:extLst>
          </a:blip>
          <a:stretch>
            <a:fillRect/>
          </a:stretch>
        </p:blipFill>
        <p:spPr>
          <a:xfrm>
            <a:off x="1228822" y="1749407"/>
            <a:ext cx="1972337" cy="1905000"/>
          </a:xfrm>
          <a:prstGeom prst="rect">
            <a:avLst/>
          </a:prstGeom>
        </p:spPr>
      </p:pic>
      <p:sp>
        <p:nvSpPr>
          <p:cNvPr id="113" name="íṥľíďè">
            <a:extLst>
              <a:ext uri="{FF2B5EF4-FFF2-40B4-BE49-F238E27FC236}">
                <a16:creationId xmlns:a16="http://schemas.microsoft.com/office/drawing/2014/main" id="{0FBEDB24-33A9-4EE0-B741-BAE524C0DC71}"/>
              </a:ext>
            </a:extLst>
          </p:cNvPr>
          <p:cNvSpPr txBox="1"/>
          <p:nvPr/>
        </p:nvSpPr>
        <p:spPr>
          <a:xfrm>
            <a:off x="641438" y="4234971"/>
            <a:ext cx="3079888" cy="492493"/>
          </a:xfrm>
          <a:prstGeom prst="rect">
            <a:avLst/>
          </a:prstGeom>
        </p:spPr>
        <p:txBody>
          <a:bodyPr vert="horz" wrap="none" lIns="90000" tIns="46800" rIns="90000" bIns="46800" anchor="ctr">
            <a:normAutofit/>
          </a:bodyPr>
          <a:lstStyle/>
          <a:p>
            <a:pPr algn="ctr"/>
            <a:r>
              <a:rPr lang="zh-CN" altLang="en-US" sz="2000" b="1" dirty="0"/>
              <a:t>指甲</a:t>
            </a:r>
          </a:p>
        </p:txBody>
      </p:sp>
      <p:pic>
        <p:nvPicPr>
          <p:cNvPr id="4098" name="Picture 2" descr="ççº¿ä¾åºå"/>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437330" y="1505558"/>
            <a:ext cx="3446127" cy="2251470"/>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åæ¢¦æ¢¦å°çç­¾"/>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731698" y="969154"/>
            <a:ext cx="2996427" cy="2894651"/>
          </a:xfrm>
          <a:prstGeom prst="rect">
            <a:avLst/>
          </a:prstGeom>
          <a:noFill/>
          <a:extLst>
            <a:ext uri="{909E8E84-426E-40DD-AFC4-6F175D3DCCD1}">
              <a14:hiddenFill xmlns:a14="http://schemas.microsoft.com/office/drawing/2010/main">
                <a:solidFill>
                  <a:srgbClr val="FFFFFF"/>
                </a:solidFill>
              </a14:hiddenFill>
            </a:ext>
          </a:extLst>
        </p:spPr>
      </p:pic>
      <p:grpSp>
        <p:nvGrpSpPr>
          <p:cNvPr id="33" name="组合 32">
            <a:extLst>
              <a:ext uri="{FF2B5EF4-FFF2-40B4-BE49-F238E27FC236}">
                <a16:creationId xmlns:a16="http://schemas.microsoft.com/office/drawing/2014/main" id="{0853A8D8-448C-4E50-AD38-219140CD6184}"/>
              </a:ext>
            </a:extLst>
          </p:cNvPr>
          <p:cNvGrpSpPr/>
          <p:nvPr/>
        </p:nvGrpSpPr>
        <p:grpSpPr>
          <a:xfrm>
            <a:off x="669925" y="210537"/>
            <a:ext cx="468000" cy="468000"/>
            <a:chOff x="669925" y="48611"/>
            <a:chExt cx="468000" cy="468000"/>
          </a:xfrm>
        </p:grpSpPr>
        <p:sp>
          <p:nvSpPr>
            <p:cNvPr id="34" name="椭圆 33">
              <a:extLst>
                <a:ext uri="{FF2B5EF4-FFF2-40B4-BE49-F238E27FC236}">
                  <a16:creationId xmlns:a16="http://schemas.microsoft.com/office/drawing/2014/main" id="{18765B3C-06BD-445D-B72B-512E55DEF34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35" name="椭圆 34">
              <a:extLst>
                <a:ext uri="{FF2B5EF4-FFF2-40B4-BE49-F238E27FC236}">
                  <a16:creationId xmlns:a16="http://schemas.microsoft.com/office/drawing/2014/main" id="{A6AA7771-0E3D-4241-9DE3-825324394A29}"/>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grpSp>
      <p:sp>
        <p:nvSpPr>
          <p:cNvPr id="36" name="标题 1">
            <a:extLst>
              <a:ext uri="{FF2B5EF4-FFF2-40B4-BE49-F238E27FC236}">
                <a16:creationId xmlns:a16="http://schemas.microsoft.com/office/drawing/2014/main" id="{62930304-3D14-4FEB-B45D-709CE5948953}"/>
              </a:ext>
            </a:extLst>
          </p:cNvPr>
          <p:cNvSpPr txBox="1">
            <a:spLocks/>
          </p:cNvSpPr>
          <p:nvPr/>
        </p:nvSpPr>
        <p:spPr>
          <a:xfrm>
            <a:off x="1149782" y="198392"/>
            <a:ext cx="7347103" cy="57784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3200" b="0" dirty="0" smtClean="0">
                <a:latin typeface="Arial" panose="020B0604020202020204" pitchFamily="34" charset="0"/>
                <a:ea typeface="Microsoft YaHei" panose="020B0503020204020204" pitchFamily="34" charset="-122"/>
                <a:cs typeface="+mn-ea"/>
                <a:sym typeface="Arial" panose="020B0604020202020204" pitchFamily="34" charset="0"/>
              </a:rPr>
              <a:t>合适数据结构的好处</a:t>
            </a:r>
            <a:endParaRPr lang="zh-CN" altLang="en-US" sz="3200" b="0" dirty="0">
              <a:latin typeface="Arial" panose="020B0604020202020204" pitchFamily="34" charset="0"/>
              <a:ea typeface="Microsoft YaHei" panose="020B0503020204020204" pitchFamily="34" charset="-122"/>
              <a:cs typeface="+mn-ea"/>
              <a:sym typeface="Arial" panose="020B0604020202020204" pitchFamily="34" charset="0"/>
            </a:endParaRPr>
          </a:p>
        </p:txBody>
      </p:sp>
    </p:spTree>
    <p:extLst>
      <p:ext uri="{BB962C8B-B14F-4D97-AF65-F5344CB8AC3E}">
        <p14:creationId xmlns:p14="http://schemas.microsoft.com/office/powerpoint/2010/main" val="27062858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0" name="表格 29"/>
          <p:cNvGraphicFramePr>
            <a:graphicFrameLocks noGrp="1"/>
          </p:cNvGraphicFramePr>
          <p:nvPr>
            <p:extLst>
              <p:ext uri="{D42A27DB-BD31-4B8C-83A1-F6EECF244321}">
                <p14:modId xmlns:p14="http://schemas.microsoft.com/office/powerpoint/2010/main" val="417582788"/>
              </p:ext>
            </p:extLst>
          </p:nvPr>
        </p:nvGraphicFramePr>
        <p:xfrm>
          <a:off x="838197" y="1087656"/>
          <a:ext cx="10970943" cy="4666375"/>
        </p:xfrm>
        <a:graphic>
          <a:graphicData uri="http://schemas.openxmlformats.org/drawingml/2006/table">
            <a:tbl>
              <a:tblPr firstRow="1" bandRow="1">
                <a:tableStyleId>{5C22544A-7EE6-4342-B048-85BDC9FD1C3A}</a:tableStyleId>
              </a:tblPr>
              <a:tblGrid>
                <a:gridCol w="2707891">
                  <a:extLst>
                    <a:ext uri="{9D8B030D-6E8A-4147-A177-3AD203B41FA5}">
                      <a16:colId xmlns:a16="http://schemas.microsoft.com/office/drawing/2014/main" val="4115026382"/>
                    </a:ext>
                  </a:extLst>
                </a:gridCol>
                <a:gridCol w="4606071">
                  <a:extLst>
                    <a:ext uri="{9D8B030D-6E8A-4147-A177-3AD203B41FA5}">
                      <a16:colId xmlns:a16="http://schemas.microsoft.com/office/drawing/2014/main" val="2607293081"/>
                    </a:ext>
                  </a:extLst>
                </a:gridCol>
                <a:gridCol w="3656981">
                  <a:extLst>
                    <a:ext uri="{9D8B030D-6E8A-4147-A177-3AD203B41FA5}">
                      <a16:colId xmlns:a16="http://schemas.microsoft.com/office/drawing/2014/main" val="3783136865"/>
                    </a:ext>
                  </a:extLst>
                </a:gridCol>
              </a:tblGrid>
              <a:tr h="666625">
                <a:tc>
                  <a:txBody>
                    <a:bodyPr/>
                    <a:lstStyle/>
                    <a:p>
                      <a:pPr algn="ctr"/>
                      <a:r>
                        <a:rPr lang="zh-CN" altLang="en-US" dirty="0" smtClean="0"/>
                        <a:t>数据结构</a:t>
                      </a:r>
                      <a:endParaRPr lang="zh-CN" altLang="en-US" dirty="0"/>
                    </a:p>
                  </a:txBody>
                  <a:tcPr anchor="ctr"/>
                </a:tc>
                <a:tc>
                  <a:txBody>
                    <a:bodyPr/>
                    <a:lstStyle/>
                    <a:p>
                      <a:pPr algn="ctr"/>
                      <a:r>
                        <a:rPr lang="zh-CN" altLang="en-US" dirty="0" smtClean="0"/>
                        <a:t>优点</a:t>
                      </a:r>
                      <a:endParaRPr lang="zh-CN" altLang="en-US" dirty="0"/>
                    </a:p>
                  </a:txBody>
                  <a:tcPr anchor="ctr"/>
                </a:tc>
                <a:tc>
                  <a:txBody>
                    <a:bodyPr/>
                    <a:lstStyle/>
                    <a:p>
                      <a:pPr algn="ctr"/>
                      <a:r>
                        <a:rPr lang="zh-CN" altLang="en-US" dirty="0" smtClean="0"/>
                        <a:t>缺点</a:t>
                      </a:r>
                      <a:endParaRPr lang="zh-CN" altLang="en-US" dirty="0"/>
                    </a:p>
                  </a:txBody>
                  <a:tcPr anchor="ctr"/>
                </a:tc>
                <a:extLst>
                  <a:ext uri="{0D108BD9-81ED-4DB2-BD59-A6C34878D82A}">
                    <a16:rowId xmlns:a16="http://schemas.microsoft.com/office/drawing/2014/main" val="2007817422"/>
                  </a:ext>
                </a:extLst>
              </a:tr>
              <a:tr h="666625">
                <a:tc>
                  <a:txBody>
                    <a:bodyPr/>
                    <a:lstStyle/>
                    <a:p>
                      <a:pPr algn="ctr"/>
                      <a:r>
                        <a:rPr lang="zh-CN" altLang="en-US" dirty="0" smtClean="0"/>
                        <a:t>数组</a:t>
                      </a:r>
                      <a:endParaRPr lang="zh-CN" altLang="en-US" dirty="0"/>
                    </a:p>
                  </a:txBody>
                  <a:tcPr anchor="ctr"/>
                </a:tc>
                <a:tc>
                  <a:txBody>
                    <a:bodyPr/>
                    <a:lstStyle/>
                    <a:p>
                      <a:r>
                        <a:rPr lang="zh-CN" altLang="en-US" dirty="0" smtClean="0"/>
                        <a:t>插入快，如果知道下标可以非常快的存取</a:t>
                      </a:r>
                      <a:endParaRPr lang="zh-CN" altLang="en-US" dirty="0"/>
                    </a:p>
                  </a:txBody>
                  <a:tcPr anchor="ctr"/>
                </a:tc>
                <a:tc>
                  <a:txBody>
                    <a:bodyPr/>
                    <a:lstStyle/>
                    <a:p>
                      <a:r>
                        <a:rPr lang="zh-CN" altLang="en-US" dirty="0" smtClean="0"/>
                        <a:t>查找慢，删除慢，大小固定</a:t>
                      </a:r>
                      <a:endParaRPr lang="zh-CN" altLang="en-US" dirty="0"/>
                    </a:p>
                  </a:txBody>
                  <a:tcPr anchor="ctr"/>
                </a:tc>
                <a:extLst>
                  <a:ext uri="{0D108BD9-81ED-4DB2-BD59-A6C34878D82A}">
                    <a16:rowId xmlns:a16="http://schemas.microsoft.com/office/drawing/2014/main" val="1225463379"/>
                  </a:ext>
                </a:extLst>
              </a:tr>
              <a:tr h="666625">
                <a:tc>
                  <a:txBody>
                    <a:bodyPr/>
                    <a:lstStyle/>
                    <a:p>
                      <a:pPr algn="ctr"/>
                      <a:r>
                        <a:rPr lang="zh-CN" altLang="en-US" dirty="0" smtClean="0"/>
                        <a:t>有序数组</a:t>
                      </a:r>
                      <a:endParaRPr lang="zh-CN" altLang="en-US" dirty="0"/>
                    </a:p>
                  </a:txBody>
                  <a:tcPr anchor="ctr"/>
                </a:tc>
                <a:tc>
                  <a:txBody>
                    <a:bodyPr/>
                    <a:lstStyle/>
                    <a:p>
                      <a:r>
                        <a:rPr lang="zh-CN" altLang="en-US" dirty="0" smtClean="0"/>
                        <a:t>比无序数组查询快</a:t>
                      </a:r>
                      <a:endParaRPr lang="zh-CN" altLang="en-US" dirty="0"/>
                    </a:p>
                  </a:txBody>
                  <a:tcPr anchor="ctr"/>
                </a:tc>
                <a:tc>
                  <a:txBody>
                    <a:bodyPr/>
                    <a:lstStyle/>
                    <a:p>
                      <a:r>
                        <a:rPr lang="zh-CN" altLang="en-US" dirty="0" smtClean="0"/>
                        <a:t>删除，插入慢，大小固定</a:t>
                      </a:r>
                      <a:endParaRPr lang="zh-CN" altLang="en-US" dirty="0"/>
                    </a:p>
                  </a:txBody>
                  <a:tcPr anchor="ctr"/>
                </a:tc>
                <a:extLst>
                  <a:ext uri="{0D108BD9-81ED-4DB2-BD59-A6C34878D82A}">
                    <a16:rowId xmlns:a16="http://schemas.microsoft.com/office/drawing/2014/main" val="490133912"/>
                  </a:ext>
                </a:extLst>
              </a:tr>
              <a:tr h="666625">
                <a:tc>
                  <a:txBody>
                    <a:bodyPr/>
                    <a:lstStyle/>
                    <a:p>
                      <a:pPr algn="ctr"/>
                      <a:r>
                        <a:rPr lang="zh-CN" altLang="en-US" dirty="0" smtClean="0"/>
                        <a:t>栈</a:t>
                      </a:r>
                      <a:endParaRPr lang="zh-CN" altLang="en-US" dirty="0"/>
                    </a:p>
                  </a:txBody>
                  <a:tcPr anchor="ctr"/>
                </a:tc>
                <a:tc>
                  <a:txBody>
                    <a:bodyPr/>
                    <a:lstStyle/>
                    <a:p>
                      <a:r>
                        <a:rPr lang="zh-CN" altLang="en-US" dirty="0" smtClean="0"/>
                        <a:t>提供后进先出方式的存取</a:t>
                      </a:r>
                      <a:endParaRPr lang="zh-CN" altLang="en-US" dirty="0"/>
                    </a:p>
                  </a:txBody>
                  <a:tcPr anchor="ctr"/>
                </a:tc>
                <a:tc>
                  <a:txBody>
                    <a:bodyPr/>
                    <a:lstStyle/>
                    <a:p>
                      <a:r>
                        <a:rPr lang="zh-CN" altLang="en-US" dirty="0" smtClean="0"/>
                        <a:t>存取其他项很慢</a:t>
                      </a:r>
                      <a:endParaRPr lang="zh-CN" altLang="en-US" dirty="0"/>
                    </a:p>
                  </a:txBody>
                  <a:tcPr anchor="ctr"/>
                </a:tc>
                <a:extLst>
                  <a:ext uri="{0D108BD9-81ED-4DB2-BD59-A6C34878D82A}">
                    <a16:rowId xmlns:a16="http://schemas.microsoft.com/office/drawing/2014/main" val="498553024"/>
                  </a:ext>
                </a:extLst>
              </a:tr>
              <a:tr h="666625">
                <a:tc>
                  <a:txBody>
                    <a:bodyPr/>
                    <a:lstStyle/>
                    <a:p>
                      <a:pPr algn="ctr"/>
                      <a:r>
                        <a:rPr lang="zh-CN" altLang="en-US" dirty="0" smtClean="0"/>
                        <a:t>队列</a:t>
                      </a:r>
                      <a:endParaRPr lang="zh-CN" altLang="en-US" dirty="0"/>
                    </a:p>
                  </a:txBody>
                  <a:tcPr anchor="ctr"/>
                </a:tc>
                <a:tc>
                  <a:txBody>
                    <a:bodyPr/>
                    <a:lstStyle/>
                    <a:p>
                      <a:r>
                        <a:rPr lang="zh-CN" altLang="en-US" dirty="0" smtClean="0"/>
                        <a:t>提供先进先出方式的存取</a:t>
                      </a:r>
                      <a:endParaRPr lang="zh-CN" altLang="en-US" dirty="0"/>
                    </a:p>
                  </a:txBody>
                  <a:tcPr anchor="ctr"/>
                </a:tc>
                <a:tc>
                  <a:txBody>
                    <a:bodyPr/>
                    <a:lstStyle/>
                    <a:p>
                      <a:r>
                        <a:rPr lang="zh-CN" altLang="en-US" dirty="0" smtClean="0"/>
                        <a:t>存取其他项很慢</a:t>
                      </a:r>
                      <a:endParaRPr lang="zh-CN" altLang="en-US" dirty="0"/>
                    </a:p>
                  </a:txBody>
                  <a:tcPr anchor="ctr"/>
                </a:tc>
                <a:extLst>
                  <a:ext uri="{0D108BD9-81ED-4DB2-BD59-A6C34878D82A}">
                    <a16:rowId xmlns:a16="http://schemas.microsoft.com/office/drawing/2014/main" val="1957079125"/>
                  </a:ext>
                </a:extLst>
              </a:tr>
              <a:tr h="666625">
                <a:tc>
                  <a:txBody>
                    <a:bodyPr/>
                    <a:lstStyle/>
                    <a:p>
                      <a:pPr algn="ctr"/>
                      <a:r>
                        <a:rPr lang="zh-CN" altLang="en-US" dirty="0" smtClean="0"/>
                        <a:t>链表</a:t>
                      </a:r>
                      <a:endParaRPr lang="zh-CN" altLang="en-US" dirty="0"/>
                    </a:p>
                  </a:txBody>
                  <a:tcPr anchor="ctr"/>
                </a:tc>
                <a:tc>
                  <a:txBody>
                    <a:bodyPr/>
                    <a:lstStyle/>
                    <a:p>
                      <a:r>
                        <a:rPr lang="zh-CN" altLang="en-US" dirty="0" smtClean="0"/>
                        <a:t>插入快，删除快</a:t>
                      </a:r>
                      <a:endParaRPr lang="zh-CN" altLang="en-US" dirty="0"/>
                    </a:p>
                  </a:txBody>
                  <a:tcPr anchor="ctr"/>
                </a:tc>
                <a:tc>
                  <a:txBody>
                    <a:bodyPr/>
                    <a:lstStyle/>
                    <a:p>
                      <a:r>
                        <a:rPr lang="zh-CN" altLang="en-US" dirty="0" smtClean="0"/>
                        <a:t>查找慢</a:t>
                      </a:r>
                      <a:endParaRPr lang="zh-CN" altLang="en-US" dirty="0"/>
                    </a:p>
                  </a:txBody>
                  <a:tcPr anchor="ctr"/>
                </a:tc>
                <a:extLst>
                  <a:ext uri="{0D108BD9-81ED-4DB2-BD59-A6C34878D82A}">
                    <a16:rowId xmlns:a16="http://schemas.microsoft.com/office/drawing/2014/main" val="3023640600"/>
                  </a:ext>
                </a:extLst>
              </a:tr>
              <a:tr h="666625">
                <a:tc>
                  <a:txBody>
                    <a:bodyPr/>
                    <a:lstStyle/>
                    <a:p>
                      <a:pPr algn="ctr"/>
                      <a:r>
                        <a:rPr lang="zh-CN" altLang="en-US" dirty="0" smtClean="0"/>
                        <a:t>二叉树</a:t>
                      </a:r>
                      <a:endParaRPr lang="zh-CN" altLang="en-US" dirty="0"/>
                    </a:p>
                  </a:txBody>
                  <a:tcPr anchor="ctr"/>
                </a:tc>
                <a:tc>
                  <a:txBody>
                    <a:bodyPr/>
                    <a:lstStyle/>
                    <a:p>
                      <a:r>
                        <a:rPr lang="zh-CN" altLang="en-US" dirty="0" smtClean="0"/>
                        <a:t>插入，查找，删除都快（如果树保持平衡）</a:t>
                      </a:r>
                      <a:endParaRPr lang="zh-CN" altLang="en-US" dirty="0"/>
                    </a:p>
                  </a:txBody>
                  <a:tcPr anchor="ctr"/>
                </a:tc>
                <a:tc>
                  <a:txBody>
                    <a:bodyPr/>
                    <a:lstStyle/>
                    <a:p>
                      <a:r>
                        <a:rPr lang="zh-CN" altLang="en-US" dirty="0" smtClean="0"/>
                        <a:t>删除算法复杂</a:t>
                      </a:r>
                      <a:endParaRPr lang="zh-CN" altLang="en-US" dirty="0"/>
                    </a:p>
                  </a:txBody>
                  <a:tcPr anchor="ctr"/>
                </a:tc>
                <a:extLst>
                  <a:ext uri="{0D108BD9-81ED-4DB2-BD59-A6C34878D82A}">
                    <a16:rowId xmlns:a16="http://schemas.microsoft.com/office/drawing/2014/main" val="1391567644"/>
                  </a:ext>
                </a:extLst>
              </a:tr>
            </a:tbl>
          </a:graphicData>
        </a:graphic>
      </p:graphicFrame>
      <p:grpSp>
        <p:nvGrpSpPr>
          <p:cNvPr id="9" name="组合 8">
            <a:extLst>
              <a:ext uri="{FF2B5EF4-FFF2-40B4-BE49-F238E27FC236}">
                <a16:creationId xmlns:a16="http://schemas.microsoft.com/office/drawing/2014/main" id="{0853A8D8-448C-4E50-AD38-219140CD6184}"/>
              </a:ext>
            </a:extLst>
          </p:cNvPr>
          <p:cNvGrpSpPr/>
          <p:nvPr/>
        </p:nvGrpSpPr>
        <p:grpSpPr>
          <a:xfrm>
            <a:off x="669925" y="210537"/>
            <a:ext cx="468000" cy="468000"/>
            <a:chOff x="669925" y="48611"/>
            <a:chExt cx="468000" cy="468000"/>
          </a:xfrm>
        </p:grpSpPr>
        <p:sp>
          <p:nvSpPr>
            <p:cNvPr id="10" name="椭圆 9">
              <a:extLst>
                <a:ext uri="{FF2B5EF4-FFF2-40B4-BE49-F238E27FC236}">
                  <a16:creationId xmlns:a16="http://schemas.microsoft.com/office/drawing/2014/main" id="{18765B3C-06BD-445D-B72B-512E55DEF34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11" name="椭圆 10">
              <a:extLst>
                <a:ext uri="{FF2B5EF4-FFF2-40B4-BE49-F238E27FC236}">
                  <a16:creationId xmlns:a16="http://schemas.microsoft.com/office/drawing/2014/main" id="{A6AA7771-0E3D-4241-9DE3-825324394A29}"/>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grpSp>
      <p:sp>
        <p:nvSpPr>
          <p:cNvPr id="12" name="标题 1">
            <a:extLst>
              <a:ext uri="{FF2B5EF4-FFF2-40B4-BE49-F238E27FC236}">
                <a16:creationId xmlns:a16="http://schemas.microsoft.com/office/drawing/2014/main" id="{62930304-3D14-4FEB-B45D-709CE5948953}"/>
              </a:ext>
            </a:extLst>
          </p:cNvPr>
          <p:cNvSpPr txBox="1">
            <a:spLocks/>
          </p:cNvSpPr>
          <p:nvPr/>
        </p:nvSpPr>
        <p:spPr>
          <a:xfrm>
            <a:off x="1149782" y="198392"/>
            <a:ext cx="7347103" cy="57784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3200" b="0" dirty="0" smtClean="0">
                <a:latin typeface="Arial" panose="020B0604020202020204" pitchFamily="34" charset="0"/>
                <a:ea typeface="Microsoft YaHei" panose="020B0503020204020204" pitchFamily="34" charset="-122"/>
                <a:cs typeface="+mn-ea"/>
                <a:sym typeface="Arial" panose="020B0604020202020204" pitchFamily="34" charset="0"/>
              </a:rPr>
              <a:t>基础数据结构</a:t>
            </a:r>
            <a:endParaRPr lang="zh-CN" altLang="en-US" sz="3200" b="0" dirty="0">
              <a:latin typeface="Arial" panose="020B0604020202020204" pitchFamily="34" charset="0"/>
              <a:ea typeface="Microsoft YaHei" panose="020B0503020204020204" pitchFamily="34" charset="-122"/>
              <a:cs typeface="+mn-ea"/>
              <a:sym typeface="Arial" panose="020B0604020202020204" pitchFamily="34" charset="0"/>
            </a:endParaRPr>
          </a:p>
        </p:txBody>
      </p:sp>
    </p:spTree>
    <p:extLst>
      <p:ext uri="{BB962C8B-B14F-4D97-AF65-F5344CB8AC3E}">
        <p14:creationId xmlns:p14="http://schemas.microsoft.com/office/powerpoint/2010/main" val="41414740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标题 1">
            <a:extLst>
              <a:ext uri="{FF2B5EF4-FFF2-40B4-BE49-F238E27FC236}">
                <a16:creationId xmlns:a16="http://schemas.microsoft.com/office/drawing/2014/main" id="{62930304-3D14-4FEB-B45D-709CE5948953}"/>
              </a:ext>
            </a:extLst>
          </p:cNvPr>
          <p:cNvSpPr txBox="1">
            <a:spLocks/>
          </p:cNvSpPr>
          <p:nvPr/>
        </p:nvSpPr>
        <p:spPr>
          <a:xfrm>
            <a:off x="1606981" y="1550113"/>
            <a:ext cx="7347103" cy="57784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3200" b="0" dirty="0" smtClean="0">
                <a:latin typeface="Arial" panose="020B0604020202020204" pitchFamily="34" charset="0"/>
                <a:ea typeface="Microsoft YaHei" panose="020B0503020204020204" pitchFamily="34" charset="-122"/>
                <a:cs typeface="+mn-ea"/>
                <a:sym typeface="Arial" panose="020B0604020202020204" pitchFamily="34" charset="0"/>
              </a:rPr>
              <a:t>那我们如何选择？</a:t>
            </a:r>
            <a:endParaRPr lang="zh-CN" altLang="en-US" sz="3200" b="0" dirty="0">
              <a:latin typeface="Arial" panose="020B0604020202020204" pitchFamily="34" charset="0"/>
              <a:ea typeface="Microsoft YaHei" panose="020B0503020204020204" pitchFamily="34" charset="-122"/>
              <a:cs typeface="+mn-ea"/>
              <a:sym typeface="Arial" panose="020B0604020202020204" pitchFamily="34" charset="0"/>
            </a:endParaRPr>
          </a:p>
        </p:txBody>
      </p:sp>
      <p:grpSp>
        <p:nvGrpSpPr>
          <p:cNvPr id="9" name="5fa77efe-9d30-439c-a355-e0da6dbf280d"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flipH="1">
            <a:off x="7593496" y="3286036"/>
            <a:ext cx="4368824" cy="3278886"/>
            <a:chOff x="2755106" y="1123950"/>
            <a:chExt cx="6681788" cy="5014809"/>
          </a:xfrm>
        </p:grpSpPr>
        <p:sp>
          <p:nvSpPr>
            <p:cNvPr id="10" name="íśḻîďé">
              <a:extLst>
                <a:ext uri="{FF2B5EF4-FFF2-40B4-BE49-F238E27FC236}">
                  <a16:creationId xmlns:a16="http://schemas.microsoft.com/office/drawing/2014/main" id="{6AA27303-EB28-4AD6-898F-05D0F12DF859}"/>
                </a:ext>
              </a:extLst>
            </p:cNvPr>
            <p:cNvSpPr/>
            <p:nvPr/>
          </p:nvSpPr>
          <p:spPr bwMode="auto">
            <a:xfrm>
              <a:off x="2755106" y="4776969"/>
              <a:ext cx="6681788" cy="1361790"/>
            </a:xfrm>
            <a:prstGeom prst="rect">
              <a:avLst/>
            </a:prstGeom>
            <a:solidFill>
              <a:srgbClr val="9AE8E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 name="išľîḓé">
              <a:extLst>
                <a:ext uri="{FF2B5EF4-FFF2-40B4-BE49-F238E27FC236}">
                  <a16:creationId xmlns:a16="http://schemas.microsoft.com/office/drawing/2014/main" id="{CA5FA246-D692-4D63-9739-4135238F0F01}"/>
                </a:ext>
              </a:extLst>
            </p:cNvPr>
            <p:cNvSpPr/>
            <p:nvPr/>
          </p:nvSpPr>
          <p:spPr bwMode="auto">
            <a:xfrm>
              <a:off x="2755106" y="3520377"/>
              <a:ext cx="1849630" cy="194211"/>
            </a:xfrm>
            <a:prstGeom prst="rect">
              <a:avLst/>
            </a:prstGeom>
            <a:solidFill>
              <a:srgbClr val="9AE8E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2" name="ïŝlïdè">
              <a:extLst>
                <a:ext uri="{FF2B5EF4-FFF2-40B4-BE49-F238E27FC236}">
                  <a16:creationId xmlns:a16="http://schemas.microsoft.com/office/drawing/2014/main" id="{7BE683FD-D046-4753-B31D-4FBEFE52AEBF}"/>
                </a:ext>
              </a:extLst>
            </p:cNvPr>
            <p:cNvSpPr/>
            <p:nvPr/>
          </p:nvSpPr>
          <p:spPr bwMode="auto">
            <a:xfrm>
              <a:off x="7020815" y="1753980"/>
              <a:ext cx="1735184" cy="1086658"/>
            </a:xfrm>
            <a:prstGeom prst="rect">
              <a:avLst/>
            </a:prstGeom>
            <a:solidFill>
              <a:srgbClr val="FAFE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3" name="i$ḷïdè">
              <a:extLst>
                <a:ext uri="{FF2B5EF4-FFF2-40B4-BE49-F238E27FC236}">
                  <a16:creationId xmlns:a16="http://schemas.microsoft.com/office/drawing/2014/main" id="{0406678F-9570-4447-A526-895398C602A6}"/>
                </a:ext>
              </a:extLst>
            </p:cNvPr>
            <p:cNvSpPr/>
            <p:nvPr/>
          </p:nvSpPr>
          <p:spPr bwMode="auto">
            <a:xfrm>
              <a:off x="7167629" y="1893858"/>
              <a:ext cx="223112" cy="223112"/>
            </a:xfrm>
            <a:prstGeom prst="rect">
              <a:avLst/>
            </a:prstGeom>
            <a:solidFill>
              <a:srgbClr val="E1EFF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4" name="ïṧlîďè">
              <a:extLst>
                <a:ext uri="{FF2B5EF4-FFF2-40B4-BE49-F238E27FC236}">
                  <a16:creationId xmlns:a16="http://schemas.microsoft.com/office/drawing/2014/main" id="{F8AFA89A-11E8-460C-8E7B-814A59B07711}"/>
                </a:ext>
              </a:extLst>
            </p:cNvPr>
            <p:cNvSpPr/>
            <p:nvPr/>
          </p:nvSpPr>
          <p:spPr bwMode="auto">
            <a:xfrm>
              <a:off x="7468194" y="1893858"/>
              <a:ext cx="223112" cy="223112"/>
            </a:xfrm>
            <a:prstGeom prst="rect">
              <a:avLst/>
            </a:prstGeom>
            <a:solidFill>
              <a:srgbClr val="E1EFF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5" name="í$1ïde">
              <a:extLst>
                <a:ext uri="{FF2B5EF4-FFF2-40B4-BE49-F238E27FC236}">
                  <a16:creationId xmlns:a16="http://schemas.microsoft.com/office/drawing/2014/main" id="{A5DDC98D-D83F-46C2-891C-BDEB987DE392}"/>
                </a:ext>
              </a:extLst>
            </p:cNvPr>
            <p:cNvSpPr/>
            <p:nvPr/>
          </p:nvSpPr>
          <p:spPr bwMode="auto">
            <a:xfrm>
              <a:off x="7768759" y="1893858"/>
              <a:ext cx="220800" cy="223112"/>
            </a:xfrm>
            <a:prstGeom prst="rect">
              <a:avLst/>
            </a:prstGeom>
            <a:solidFill>
              <a:srgbClr val="E1EFF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6" name="ïşḻiďe">
              <a:extLst>
                <a:ext uri="{FF2B5EF4-FFF2-40B4-BE49-F238E27FC236}">
                  <a16:creationId xmlns:a16="http://schemas.microsoft.com/office/drawing/2014/main" id="{B06CD92C-50C8-4BAF-BB29-FBC46738351B}"/>
                </a:ext>
              </a:extLst>
            </p:cNvPr>
            <p:cNvSpPr/>
            <p:nvPr/>
          </p:nvSpPr>
          <p:spPr bwMode="auto">
            <a:xfrm>
              <a:off x="8067012" y="1893858"/>
              <a:ext cx="224268" cy="223112"/>
            </a:xfrm>
            <a:prstGeom prst="rect">
              <a:avLst/>
            </a:prstGeom>
            <a:solidFill>
              <a:srgbClr val="FF4547"/>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 name="ïṡḻïḋê">
              <a:extLst>
                <a:ext uri="{FF2B5EF4-FFF2-40B4-BE49-F238E27FC236}">
                  <a16:creationId xmlns:a16="http://schemas.microsoft.com/office/drawing/2014/main" id="{13125833-C91C-408E-946B-AEACB669D1F5}"/>
                </a:ext>
              </a:extLst>
            </p:cNvPr>
            <p:cNvSpPr/>
            <p:nvPr/>
          </p:nvSpPr>
          <p:spPr bwMode="auto">
            <a:xfrm>
              <a:off x="8367577" y="1893858"/>
              <a:ext cx="224268" cy="223112"/>
            </a:xfrm>
            <a:prstGeom prst="rect">
              <a:avLst/>
            </a:prstGeom>
            <a:solidFill>
              <a:srgbClr val="E1EFF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 name="iśľïḍe">
              <a:extLst>
                <a:ext uri="{FF2B5EF4-FFF2-40B4-BE49-F238E27FC236}">
                  <a16:creationId xmlns:a16="http://schemas.microsoft.com/office/drawing/2014/main" id="{62933C1D-722C-45D8-A901-1D94FEC10B9E}"/>
                </a:ext>
              </a:extLst>
            </p:cNvPr>
            <p:cNvSpPr/>
            <p:nvPr/>
          </p:nvSpPr>
          <p:spPr bwMode="auto">
            <a:xfrm>
              <a:off x="7167629" y="2181707"/>
              <a:ext cx="223112" cy="223112"/>
            </a:xfrm>
            <a:prstGeom prst="rect">
              <a:avLst/>
            </a:prstGeom>
            <a:solidFill>
              <a:srgbClr val="E1EFF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 name="íṩ1îḓe">
              <a:extLst>
                <a:ext uri="{FF2B5EF4-FFF2-40B4-BE49-F238E27FC236}">
                  <a16:creationId xmlns:a16="http://schemas.microsoft.com/office/drawing/2014/main" id="{4D014096-E563-4E6C-872A-5E21FE1D8226}"/>
                </a:ext>
              </a:extLst>
            </p:cNvPr>
            <p:cNvSpPr/>
            <p:nvPr/>
          </p:nvSpPr>
          <p:spPr bwMode="auto">
            <a:xfrm>
              <a:off x="7468194" y="2181707"/>
              <a:ext cx="223112" cy="223112"/>
            </a:xfrm>
            <a:prstGeom prst="rect">
              <a:avLst/>
            </a:prstGeom>
            <a:solidFill>
              <a:srgbClr val="E1EFF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0" name="íṡ1iḋé">
              <a:extLst>
                <a:ext uri="{FF2B5EF4-FFF2-40B4-BE49-F238E27FC236}">
                  <a16:creationId xmlns:a16="http://schemas.microsoft.com/office/drawing/2014/main" id="{4C6D8A0B-F3DD-4160-B047-A428C05D00CE}"/>
                </a:ext>
              </a:extLst>
            </p:cNvPr>
            <p:cNvSpPr/>
            <p:nvPr/>
          </p:nvSpPr>
          <p:spPr bwMode="auto">
            <a:xfrm>
              <a:off x="7768759" y="2181707"/>
              <a:ext cx="220800" cy="223112"/>
            </a:xfrm>
            <a:prstGeom prst="rect">
              <a:avLst/>
            </a:prstGeom>
            <a:solidFill>
              <a:srgbClr val="E1EFF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1" name="îşḷide">
              <a:extLst>
                <a:ext uri="{FF2B5EF4-FFF2-40B4-BE49-F238E27FC236}">
                  <a16:creationId xmlns:a16="http://schemas.microsoft.com/office/drawing/2014/main" id="{BFD38540-F4D7-4196-9AFF-292A342F653F}"/>
                </a:ext>
              </a:extLst>
            </p:cNvPr>
            <p:cNvSpPr/>
            <p:nvPr/>
          </p:nvSpPr>
          <p:spPr bwMode="auto">
            <a:xfrm>
              <a:off x="8067012" y="2181707"/>
              <a:ext cx="224268" cy="223112"/>
            </a:xfrm>
            <a:prstGeom prst="rect">
              <a:avLst/>
            </a:prstGeom>
            <a:solidFill>
              <a:srgbClr val="E1EFF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2" name="íšlîdé">
              <a:extLst>
                <a:ext uri="{FF2B5EF4-FFF2-40B4-BE49-F238E27FC236}">
                  <a16:creationId xmlns:a16="http://schemas.microsoft.com/office/drawing/2014/main" id="{1DC32DB9-E259-42D7-BC6C-85BE724B9BC2}"/>
                </a:ext>
              </a:extLst>
            </p:cNvPr>
            <p:cNvSpPr/>
            <p:nvPr/>
          </p:nvSpPr>
          <p:spPr bwMode="auto">
            <a:xfrm>
              <a:off x="8367577" y="2181707"/>
              <a:ext cx="224268" cy="223112"/>
            </a:xfrm>
            <a:prstGeom prst="rect">
              <a:avLst/>
            </a:prstGeom>
            <a:solidFill>
              <a:srgbClr val="E1EFF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3" name="îšļíḑé">
              <a:extLst>
                <a:ext uri="{FF2B5EF4-FFF2-40B4-BE49-F238E27FC236}">
                  <a16:creationId xmlns:a16="http://schemas.microsoft.com/office/drawing/2014/main" id="{2359C062-83EA-4378-8CCA-255C4938A409}"/>
                </a:ext>
              </a:extLst>
            </p:cNvPr>
            <p:cNvSpPr/>
            <p:nvPr/>
          </p:nvSpPr>
          <p:spPr bwMode="auto">
            <a:xfrm>
              <a:off x="7167629" y="2469556"/>
              <a:ext cx="223112" cy="220800"/>
            </a:xfrm>
            <a:prstGeom prst="rect">
              <a:avLst/>
            </a:prstGeom>
            <a:solidFill>
              <a:srgbClr val="E1EFF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4" name="iṥḷiḑé">
              <a:extLst>
                <a:ext uri="{FF2B5EF4-FFF2-40B4-BE49-F238E27FC236}">
                  <a16:creationId xmlns:a16="http://schemas.microsoft.com/office/drawing/2014/main" id="{24927A50-7056-4C75-A3C2-0F7CE294BF29}"/>
                </a:ext>
              </a:extLst>
            </p:cNvPr>
            <p:cNvSpPr/>
            <p:nvPr/>
          </p:nvSpPr>
          <p:spPr bwMode="auto">
            <a:xfrm>
              <a:off x="7468194" y="2469556"/>
              <a:ext cx="223112" cy="220800"/>
            </a:xfrm>
            <a:prstGeom prst="rect">
              <a:avLst/>
            </a:prstGeom>
            <a:solidFill>
              <a:srgbClr val="E1EFF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5" name="ï$1ïḓé">
              <a:extLst>
                <a:ext uri="{FF2B5EF4-FFF2-40B4-BE49-F238E27FC236}">
                  <a16:creationId xmlns:a16="http://schemas.microsoft.com/office/drawing/2014/main" id="{A3862DAF-D84C-4561-B76D-9C29D4712E0F}"/>
                </a:ext>
              </a:extLst>
            </p:cNvPr>
            <p:cNvSpPr/>
            <p:nvPr/>
          </p:nvSpPr>
          <p:spPr bwMode="auto">
            <a:xfrm>
              <a:off x="7768759" y="2469556"/>
              <a:ext cx="220800" cy="220800"/>
            </a:xfrm>
            <a:prstGeom prst="rect">
              <a:avLst/>
            </a:prstGeom>
            <a:solidFill>
              <a:srgbClr val="E1EFF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6" name="iṧ1iḍè">
              <a:extLst>
                <a:ext uri="{FF2B5EF4-FFF2-40B4-BE49-F238E27FC236}">
                  <a16:creationId xmlns:a16="http://schemas.microsoft.com/office/drawing/2014/main" id="{ABB53403-E10B-4D09-B500-3C3F16B88F7A}"/>
                </a:ext>
              </a:extLst>
            </p:cNvPr>
            <p:cNvSpPr/>
            <p:nvPr/>
          </p:nvSpPr>
          <p:spPr bwMode="auto">
            <a:xfrm>
              <a:off x="8067012" y="2469556"/>
              <a:ext cx="224268" cy="220800"/>
            </a:xfrm>
            <a:prstGeom prst="rect">
              <a:avLst/>
            </a:prstGeom>
            <a:solidFill>
              <a:srgbClr val="E1EFF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7" name="išliḋé">
              <a:extLst>
                <a:ext uri="{FF2B5EF4-FFF2-40B4-BE49-F238E27FC236}">
                  <a16:creationId xmlns:a16="http://schemas.microsoft.com/office/drawing/2014/main" id="{A3E87209-8C7A-43CC-B888-2C26913696AA}"/>
                </a:ext>
              </a:extLst>
            </p:cNvPr>
            <p:cNvSpPr/>
            <p:nvPr/>
          </p:nvSpPr>
          <p:spPr bwMode="auto">
            <a:xfrm>
              <a:off x="8367577" y="2469556"/>
              <a:ext cx="224268" cy="220800"/>
            </a:xfrm>
            <a:prstGeom prst="rect">
              <a:avLst/>
            </a:prstGeom>
            <a:solidFill>
              <a:srgbClr val="E1EFF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8" name="îṣľíďê">
              <a:extLst>
                <a:ext uri="{FF2B5EF4-FFF2-40B4-BE49-F238E27FC236}">
                  <a16:creationId xmlns:a16="http://schemas.microsoft.com/office/drawing/2014/main" id="{A91C5EA5-70E3-44E0-8B3E-CAC3EE41EFFD}"/>
                </a:ext>
              </a:extLst>
            </p:cNvPr>
            <p:cNvSpPr/>
            <p:nvPr/>
          </p:nvSpPr>
          <p:spPr bwMode="auto">
            <a:xfrm>
              <a:off x="7020815" y="1416423"/>
              <a:ext cx="1735184" cy="337557"/>
            </a:xfrm>
            <a:custGeom>
              <a:avLst/>
              <a:gdLst>
                <a:gd name="T0" fmla="*/ 0 w 831"/>
                <a:gd name="T1" fmla="*/ 0 h 162"/>
                <a:gd name="T2" fmla="*/ 0 w 831"/>
                <a:gd name="T3" fmla="*/ 162 h 162"/>
                <a:gd name="T4" fmla="*/ 831 w 831"/>
                <a:gd name="T5" fmla="*/ 162 h 162"/>
                <a:gd name="T6" fmla="*/ 831 w 831"/>
                <a:gd name="T7" fmla="*/ 0 h 162"/>
                <a:gd name="T8" fmla="*/ 0 w 831"/>
                <a:gd name="T9" fmla="*/ 0 h 162"/>
                <a:gd name="T10" fmla="*/ 118 w 831"/>
                <a:gd name="T11" fmla="*/ 128 h 162"/>
                <a:gd name="T12" fmla="*/ 73 w 831"/>
                <a:gd name="T13" fmla="*/ 83 h 162"/>
                <a:gd name="T14" fmla="*/ 118 w 831"/>
                <a:gd name="T15" fmla="*/ 38 h 162"/>
                <a:gd name="T16" fmla="*/ 164 w 831"/>
                <a:gd name="T17" fmla="*/ 83 h 162"/>
                <a:gd name="T18" fmla="*/ 118 w 831"/>
                <a:gd name="T19" fmla="*/ 128 h 162"/>
                <a:gd name="T20" fmla="*/ 267 w 831"/>
                <a:gd name="T21" fmla="*/ 128 h 162"/>
                <a:gd name="T22" fmla="*/ 222 w 831"/>
                <a:gd name="T23" fmla="*/ 83 h 162"/>
                <a:gd name="T24" fmla="*/ 267 w 831"/>
                <a:gd name="T25" fmla="*/ 38 h 162"/>
                <a:gd name="T26" fmla="*/ 313 w 831"/>
                <a:gd name="T27" fmla="*/ 83 h 162"/>
                <a:gd name="T28" fmla="*/ 267 w 831"/>
                <a:gd name="T29" fmla="*/ 128 h 162"/>
                <a:gd name="T30" fmla="*/ 411 w 831"/>
                <a:gd name="T31" fmla="*/ 128 h 162"/>
                <a:gd name="T32" fmla="*/ 366 w 831"/>
                <a:gd name="T33" fmla="*/ 83 h 162"/>
                <a:gd name="T34" fmla="*/ 411 w 831"/>
                <a:gd name="T35" fmla="*/ 38 h 162"/>
                <a:gd name="T36" fmla="*/ 456 w 831"/>
                <a:gd name="T37" fmla="*/ 83 h 162"/>
                <a:gd name="T38" fmla="*/ 411 w 831"/>
                <a:gd name="T39" fmla="*/ 128 h 162"/>
                <a:gd name="T40" fmla="*/ 555 w 831"/>
                <a:gd name="T41" fmla="*/ 128 h 162"/>
                <a:gd name="T42" fmla="*/ 510 w 831"/>
                <a:gd name="T43" fmla="*/ 83 h 162"/>
                <a:gd name="T44" fmla="*/ 555 w 831"/>
                <a:gd name="T45" fmla="*/ 38 h 162"/>
                <a:gd name="T46" fmla="*/ 600 w 831"/>
                <a:gd name="T47" fmla="*/ 83 h 162"/>
                <a:gd name="T48" fmla="*/ 555 w 831"/>
                <a:gd name="T49" fmla="*/ 128 h 162"/>
                <a:gd name="T50" fmla="*/ 699 w 831"/>
                <a:gd name="T51" fmla="*/ 128 h 162"/>
                <a:gd name="T52" fmla="*/ 653 w 831"/>
                <a:gd name="T53" fmla="*/ 83 h 162"/>
                <a:gd name="T54" fmla="*/ 699 w 831"/>
                <a:gd name="T55" fmla="*/ 38 h 162"/>
                <a:gd name="T56" fmla="*/ 744 w 831"/>
                <a:gd name="T57" fmla="*/ 83 h 162"/>
                <a:gd name="T58" fmla="*/ 699 w 831"/>
                <a:gd name="T59" fmla="*/ 12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31" h="162">
                  <a:moveTo>
                    <a:pt x="0" y="0"/>
                  </a:moveTo>
                  <a:cubicBezTo>
                    <a:pt x="0" y="162"/>
                    <a:pt x="0" y="162"/>
                    <a:pt x="0" y="162"/>
                  </a:cubicBezTo>
                  <a:cubicBezTo>
                    <a:pt x="831" y="162"/>
                    <a:pt x="831" y="162"/>
                    <a:pt x="831" y="162"/>
                  </a:cubicBezTo>
                  <a:cubicBezTo>
                    <a:pt x="831" y="0"/>
                    <a:pt x="831" y="0"/>
                    <a:pt x="831" y="0"/>
                  </a:cubicBezTo>
                  <a:lnTo>
                    <a:pt x="0" y="0"/>
                  </a:lnTo>
                  <a:close/>
                  <a:moveTo>
                    <a:pt x="118" y="128"/>
                  </a:moveTo>
                  <a:cubicBezTo>
                    <a:pt x="93" y="128"/>
                    <a:pt x="73" y="108"/>
                    <a:pt x="73" y="83"/>
                  </a:cubicBezTo>
                  <a:cubicBezTo>
                    <a:pt x="73" y="58"/>
                    <a:pt x="93" y="38"/>
                    <a:pt x="118" y="38"/>
                  </a:cubicBezTo>
                  <a:cubicBezTo>
                    <a:pt x="144" y="38"/>
                    <a:pt x="164" y="58"/>
                    <a:pt x="164" y="83"/>
                  </a:cubicBezTo>
                  <a:cubicBezTo>
                    <a:pt x="164" y="108"/>
                    <a:pt x="144" y="128"/>
                    <a:pt x="118" y="128"/>
                  </a:cubicBezTo>
                  <a:close/>
                  <a:moveTo>
                    <a:pt x="267" y="128"/>
                  </a:moveTo>
                  <a:cubicBezTo>
                    <a:pt x="242" y="128"/>
                    <a:pt x="222" y="108"/>
                    <a:pt x="222" y="83"/>
                  </a:cubicBezTo>
                  <a:cubicBezTo>
                    <a:pt x="222" y="58"/>
                    <a:pt x="242" y="38"/>
                    <a:pt x="267" y="38"/>
                  </a:cubicBezTo>
                  <a:cubicBezTo>
                    <a:pt x="292" y="38"/>
                    <a:pt x="313" y="58"/>
                    <a:pt x="313" y="83"/>
                  </a:cubicBezTo>
                  <a:cubicBezTo>
                    <a:pt x="313" y="108"/>
                    <a:pt x="292" y="128"/>
                    <a:pt x="267" y="128"/>
                  </a:cubicBezTo>
                  <a:close/>
                  <a:moveTo>
                    <a:pt x="411" y="128"/>
                  </a:moveTo>
                  <a:cubicBezTo>
                    <a:pt x="386" y="128"/>
                    <a:pt x="366" y="108"/>
                    <a:pt x="366" y="83"/>
                  </a:cubicBezTo>
                  <a:cubicBezTo>
                    <a:pt x="366" y="58"/>
                    <a:pt x="386" y="38"/>
                    <a:pt x="411" y="38"/>
                  </a:cubicBezTo>
                  <a:cubicBezTo>
                    <a:pt x="436" y="38"/>
                    <a:pt x="456" y="58"/>
                    <a:pt x="456" y="83"/>
                  </a:cubicBezTo>
                  <a:cubicBezTo>
                    <a:pt x="456" y="108"/>
                    <a:pt x="436" y="128"/>
                    <a:pt x="411" y="128"/>
                  </a:cubicBezTo>
                  <a:close/>
                  <a:moveTo>
                    <a:pt x="555" y="128"/>
                  </a:moveTo>
                  <a:cubicBezTo>
                    <a:pt x="530" y="128"/>
                    <a:pt x="510" y="108"/>
                    <a:pt x="510" y="83"/>
                  </a:cubicBezTo>
                  <a:cubicBezTo>
                    <a:pt x="510" y="58"/>
                    <a:pt x="530" y="38"/>
                    <a:pt x="555" y="38"/>
                  </a:cubicBezTo>
                  <a:cubicBezTo>
                    <a:pt x="580" y="38"/>
                    <a:pt x="600" y="58"/>
                    <a:pt x="600" y="83"/>
                  </a:cubicBezTo>
                  <a:cubicBezTo>
                    <a:pt x="600" y="108"/>
                    <a:pt x="580" y="128"/>
                    <a:pt x="555" y="128"/>
                  </a:cubicBezTo>
                  <a:close/>
                  <a:moveTo>
                    <a:pt x="699" y="128"/>
                  </a:moveTo>
                  <a:cubicBezTo>
                    <a:pt x="674" y="128"/>
                    <a:pt x="653" y="108"/>
                    <a:pt x="653" y="83"/>
                  </a:cubicBezTo>
                  <a:cubicBezTo>
                    <a:pt x="653" y="58"/>
                    <a:pt x="674" y="38"/>
                    <a:pt x="699" y="38"/>
                  </a:cubicBezTo>
                  <a:cubicBezTo>
                    <a:pt x="724" y="38"/>
                    <a:pt x="744" y="58"/>
                    <a:pt x="744" y="83"/>
                  </a:cubicBezTo>
                  <a:cubicBezTo>
                    <a:pt x="744" y="108"/>
                    <a:pt x="724" y="128"/>
                    <a:pt x="699" y="128"/>
                  </a:cubicBezTo>
                  <a:close/>
                </a:path>
              </a:pathLst>
            </a:custGeom>
            <a:solidFill>
              <a:srgbClr val="FF45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Sḷíďê">
              <a:extLst>
                <a:ext uri="{FF2B5EF4-FFF2-40B4-BE49-F238E27FC236}">
                  <a16:creationId xmlns:a16="http://schemas.microsoft.com/office/drawing/2014/main" id="{74DE6C11-EB54-42AA-8387-09639941BAA2}"/>
                </a:ext>
              </a:extLst>
            </p:cNvPr>
            <p:cNvSpPr/>
            <p:nvPr/>
          </p:nvSpPr>
          <p:spPr bwMode="auto">
            <a:xfrm>
              <a:off x="7196530" y="1271920"/>
              <a:ext cx="144502" cy="347962"/>
            </a:xfrm>
            <a:custGeom>
              <a:avLst/>
              <a:gdLst>
                <a:gd name="T0" fmla="*/ 69 w 69"/>
                <a:gd name="T1" fmla="*/ 130 h 167"/>
                <a:gd name="T2" fmla="*/ 34 w 69"/>
                <a:gd name="T3" fmla="*/ 167 h 167"/>
                <a:gd name="T4" fmla="*/ 0 w 69"/>
                <a:gd name="T5" fmla="*/ 130 h 167"/>
                <a:gd name="T6" fmla="*/ 0 w 69"/>
                <a:gd name="T7" fmla="*/ 37 h 167"/>
                <a:gd name="T8" fmla="*/ 34 w 69"/>
                <a:gd name="T9" fmla="*/ 0 h 167"/>
                <a:gd name="T10" fmla="*/ 69 w 69"/>
                <a:gd name="T11" fmla="*/ 37 h 167"/>
                <a:gd name="T12" fmla="*/ 69 w 69"/>
                <a:gd name="T13" fmla="*/ 130 h 167"/>
              </a:gdLst>
              <a:ahLst/>
              <a:cxnLst>
                <a:cxn ang="0">
                  <a:pos x="T0" y="T1"/>
                </a:cxn>
                <a:cxn ang="0">
                  <a:pos x="T2" y="T3"/>
                </a:cxn>
                <a:cxn ang="0">
                  <a:pos x="T4" y="T5"/>
                </a:cxn>
                <a:cxn ang="0">
                  <a:pos x="T6" y="T7"/>
                </a:cxn>
                <a:cxn ang="0">
                  <a:pos x="T8" y="T9"/>
                </a:cxn>
                <a:cxn ang="0">
                  <a:pos x="T10" y="T11"/>
                </a:cxn>
                <a:cxn ang="0">
                  <a:pos x="T12" y="T13"/>
                </a:cxn>
              </a:cxnLst>
              <a:rect l="0" t="0" r="r" b="b"/>
              <a:pathLst>
                <a:path w="69" h="167">
                  <a:moveTo>
                    <a:pt x="69" y="130"/>
                  </a:moveTo>
                  <a:cubicBezTo>
                    <a:pt x="69" y="150"/>
                    <a:pt x="54" y="167"/>
                    <a:pt x="34" y="167"/>
                  </a:cubicBezTo>
                  <a:cubicBezTo>
                    <a:pt x="15" y="167"/>
                    <a:pt x="0" y="150"/>
                    <a:pt x="0" y="130"/>
                  </a:cubicBezTo>
                  <a:cubicBezTo>
                    <a:pt x="0" y="37"/>
                    <a:pt x="0" y="37"/>
                    <a:pt x="0" y="37"/>
                  </a:cubicBezTo>
                  <a:cubicBezTo>
                    <a:pt x="0" y="17"/>
                    <a:pt x="15" y="0"/>
                    <a:pt x="34" y="0"/>
                  </a:cubicBezTo>
                  <a:cubicBezTo>
                    <a:pt x="54" y="0"/>
                    <a:pt x="69" y="17"/>
                    <a:pt x="69" y="37"/>
                  </a:cubicBezTo>
                  <a:lnTo>
                    <a:pt x="69" y="130"/>
                  </a:lnTo>
                  <a:close/>
                </a:path>
              </a:pathLst>
            </a:custGeom>
            <a:solidFill>
              <a:srgbClr val="3A2F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ïṩlidê">
              <a:extLst>
                <a:ext uri="{FF2B5EF4-FFF2-40B4-BE49-F238E27FC236}">
                  <a16:creationId xmlns:a16="http://schemas.microsoft.com/office/drawing/2014/main" id="{1C22EB5F-B416-4F51-8CFE-9E5E43F76495}"/>
                </a:ext>
              </a:extLst>
            </p:cNvPr>
            <p:cNvSpPr/>
            <p:nvPr/>
          </p:nvSpPr>
          <p:spPr bwMode="auto">
            <a:xfrm>
              <a:off x="7507499" y="1271920"/>
              <a:ext cx="144502" cy="347962"/>
            </a:xfrm>
            <a:custGeom>
              <a:avLst/>
              <a:gdLst>
                <a:gd name="T0" fmla="*/ 69 w 69"/>
                <a:gd name="T1" fmla="*/ 130 h 167"/>
                <a:gd name="T2" fmla="*/ 34 w 69"/>
                <a:gd name="T3" fmla="*/ 167 h 167"/>
                <a:gd name="T4" fmla="*/ 0 w 69"/>
                <a:gd name="T5" fmla="*/ 130 h 167"/>
                <a:gd name="T6" fmla="*/ 0 w 69"/>
                <a:gd name="T7" fmla="*/ 37 h 167"/>
                <a:gd name="T8" fmla="*/ 34 w 69"/>
                <a:gd name="T9" fmla="*/ 0 h 167"/>
                <a:gd name="T10" fmla="*/ 69 w 69"/>
                <a:gd name="T11" fmla="*/ 37 h 167"/>
                <a:gd name="T12" fmla="*/ 69 w 69"/>
                <a:gd name="T13" fmla="*/ 130 h 167"/>
              </a:gdLst>
              <a:ahLst/>
              <a:cxnLst>
                <a:cxn ang="0">
                  <a:pos x="T0" y="T1"/>
                </a:cxn>
                <a:cxn ang="0">
                  <a:pos x="T2" y="T3"/>
                </a:cxn>
                <a:cxn ang="0">
                  <a:pos x="T4" y="T5"/>
                </a:cxn>
                <a:cxn ang="0">
                  <a:pos x="T6" y="T7"/>
                </a:cxn>
                <a:cxn ang="0">
                  <a:pos x="T8" y="T9"/>
                </a:cxn>
                <a:cxn ang="0">
                  <a:pos x="T10" y="T11"/>
                </a:cxn>
                <a:cxn ang="0">
                  <a:pos x="T12" y="T13"/>
                </a:cxn>
              </a:cxnLst>
              <a:rect l="0" t="0" r="r" b="b"/>
              <a:pathLst>
                <a:path w="69" h="167">
                  <a:moveTo>
                    <a:pt x="69" y="130"/>
                  </a:moveTo>
                  <a:cubicBezTo>
                    <a:pt x="69" y="150"/>
                    <a:pt x="53" y="167"/>
                    <a:pt x="34" y="167"/>
                  </a:cubicBezTo>
                  <a:cubicBezTo>
                    <a:pt x="15" y="167"/>
                    <a:pt x="0" y="150"/>
                    <a:pt x="0" y="130"/>
                  </a:cubicBezTo>
                  <a:cubicBezTo>
                    <a:pt x="0" y="37"/>
                    <a:pt x="0" y="37"/>
                    <a:pt x="0" y="37"/>
                  </a:cubicBezTo>
                  <a:cubicBezTo>
                    <a:pt x="0" y="17"/>
                    <a:pt x="15" y="0"/>
                    <a:pt x="34" y="0"/>
                  </a:cubicBezTo>
                  <a:cubicBezTo>
                    <a:pt x="53" y="0"/>
                    <a:pt x="69" y="17"/>
                    <a:pt x="69" y="37"/>
                  </a:cubicBezTo>
                  <a:lnTo>
                    <a:pt x="69" y="130"/>
                  </a:lnTo>
                  <a:close/>
                </a:path>
              </a:pathLst>
            </a:custGeom>
            <a:solidFill>
              <a:srgbClr val="3A2F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iṣ1ïḑe">
              <a:extLst>
                <a:ext uri="{FF2B5EF4-FFF2-40B4-BE49-F238E27FC236}">
                  <a16:creationId xmlns:a16="http://schemas.microsoft.com/office/drawing/2014/main" id="{87BA57E4-147C-48FE-8E20-6229F84CB793}"/>
                </a:ext>
              </a:extLst>
            </p:cNvPr>
            <p:cNvSpPr/>
            <p:nvPr/>
          </p:nvSpPr>
          <p:spPr bwMode="auto">
            <a:xfrm>
              <a:off x="7808064" y="1271920"/>
              <a:ext cx="142190" cy="347962"/>
            </a:xfrm>
            <a:custGeom>
              <a:avLst/>
              <a:gdLst>
                <a:gd name="T0" fmla="*/ 68 w 68"/>
                <a:gd name="T1" fmla="*/ 130 h 167"/>
                <a:gd name="T2" fmla="*/ 34 w 68"/>
                <a:gd name="T3" fmla="*/ 167 h 167"/>
                <a:gd name="T4" fmla="*/ 0 w 68"/>
                <a:gd name="T5" fmla="*/ 130 h 167"/>
                <a:gd name="T6" fmla="*/ 0 w 68"/>
                <a:gd name="T7" fmla="*/ 37 h 167"/>
                <a:gd name="T8" fmla="*/ 34 w 68"/>
                <a:gd name="T9" fmla="*/ 0 h 167"/>
                <a:gd name="T10" fmla="*/ 68 w 68"/>
                <a:gd name="T11" fmla="*/ 37 h 167"/>
                <a:gd name="T12" fmla="*/ 68 w 68"/>
                <a:gd name="T13" fmla="*/ 130 h 167"/>
              </a:gdLst>
              <a:ahLst/>
              <a:cxnLst>
                <a:cxn ang="0">
                  <a:pos x="T0" y="T1"/>
                </a:cxn>
                <a:cxn ang="0">
                  <a:pos x="T2" y="T3"/>
                </a:cxn>
                <a:cxn ang="0">
                  <a:pos x="T4" y="T5"/>
                </a:cxn>
                <a:cxn ang="0">
                  <a:pos x="T6" y="T7"/>
                </a:cxn>
                <a:cxn ang="0">
                  <a:pos x="T8" y="T9"/>
                </a:cxn>
                <a:cxn ang="0">
                  <a:pos x="T10" y="T11"/>
                </a:cxn>
                <a:cxn ang="0">
                  <a:pos x="T12" y="T13"/>
                </a:cxn>
              </a:cxnLst>
              <a:rect l="0" t="0" r="r" b="b"/>
              <a:pathLst>
                <a:path w="68" h="167">
                  <a:moveTo>
                    <a:pt x="68" y="130"/>
                  </a:moveTo>
                  <a:cubicBezTo>
                    <a:pt x="68" y="150"/>
                    <a:pt x="53" y="167"/>
                    <a:pt x="34" y="167"/>
                  </a:cubicBezTo>
                  <a:cubicBezTo>
                    <a:pt x="15" y="167"/>
                    <a:pt x="0" y="150"/>
                    <a:pt x="0" y="130"/>
                  </a:cubicBezTo>
                  <a:cubicBezTo>
                    <a:pt x="0" y="37"/>
                    <a:pt x="0" y="37"/>
                    <a:pt x="0" y="37"/>
                  </a:cubicBezTo>
                  <a:cubicBezTo>
                    <a:pt x="0" y="17"/>
                    <a:pt x="15" y="0"/>
                    <a:pt x="34" y="0"/>
                  </a:cubicBezTo>
                  <a:cubicBezTo>
                    <a:pt x="53" y="0"/>
                    <a:pt x="68" y="17"/>
                    <a:pt x="68" y="37"/>
                  </a:cubicBezTo>
                  <a:lnTo>
                    <a:pt x="68" y="130"/>
                  </a:lnTo>
                  <a:close/>
                </a:path>
              </a:pathLst>
            </a:custGeom>
            <a:solidFill>
              <a:srgbClr val="3A2F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îṡľíḋê">
              <a:extLst>
                <a:ext uri="{FF2B5EF4-FFF2-40B4-BE49-F238E27FC236}">
                  <a16:creationId xmlns:a16="http://schemas.microsoft.com/office/drawing/2014/main" id="{EF6F0E77-81D1-4039-A1A5-C7A3E67C57AF}"/>
                </a:ext>
              </a:extLst>
            </p:cNvPr>
            <p:cNvSpPr/>
            <p:nvPr/>
          </p:nvSpPr>
          <p:spPr bwMode="auto">
            <a:xfrm>
              <a:off x="8107473" y="1271920"/>
              <a:ext cx="141034" cy="347962"/>
            </a:xfrm>
            <a:custGeom>
              <a:avLst/>
              <a:gdLst>
                <a:gd name="T0" fmla="*/ 68 w 68"/>
                <a:gd name="T1" fmla="*/ 130 h 167"/>
                <a:gd name="T2" fmla="*/ 34 w 68"/>
                <a:gd name="T3" fmla="*/ 167 h 167"/>
                <a:gd name="T4" fmla="*/ 0 w 68"/>
                <a:gd name="T5" fmla="*/ 130 h 167"/>
                <a:gd name="T6" fmla="*/ 0 w 68"/>
                <a:gd name="T7" fmla="*/ 37 h 167"/>
                <a:gd name="T8" fmla="*/ 34 w 68"/>
                <a:gd name="T9" fmla="*/ 0 h 167"/>
                <a:gd name="T10" fmla="*/ 68 w 68"/>
                <a:gd name="T11" fmla="*/ 37 h 167"/>
                <a:gd name="T12" fmla="*/ 68 w 68"/>
                <a:gd name="T13" fmla="*/ 130 h 167"/>
              </a:gdLst>
              <a:ahLst/>
              <a:cxnLst>
                <a:cxn ang="0">
                  <a:pos x="T0" y="T1"/>
                </a:cxn>
                <a:cxn ang="0">
                  <a:pos x="T2" y="T3"/>
                </a:cxn>
                <a:cxn ang="0">
                  <a:pos x="T4" y="T5"/>
                </a:cxn>
                <a:cxn ang="0">
                  <a:pos x="T6" y="T7"/>
                </a:cxn>
                <a:cxn ang="0">
                  <a:pos x="T8" y="T9"/>
                </a:cxn>
                <a:cxn ang="0">
                  <a:pos x="T10" y="T11"/>
                </a:cxn>
                <a:cxn ang="0">
                  <a:pos x="T12" y="T13"/>
                </a:cxn>
              </a:cxnLst>
              <a:rect l="0" t="0" r="r" b="b"/>
              <a:pathLst>
                <a:path w="68" h="167">
                  <a:moveTo>
                    <a:pt x="68" y="130"/>
                  </a:moveTo>
                  <a:cubicBezTo>
                    <a:pt x="68" y="150"/>
                    <a:pt x="53" y="167"/>
                    <a:pt x="34" y="167"/>
                  </a:cubicBezTo>
                  <a:cubicBezTo>
                    <a:pt x="15" y="167"/>
                    <a:pt x="0" y="150"/>
                    <a:pt x="0" y="130"/>
                  </a:cubicBezTo>
                  <a:cubicBezTo>
                    <a:pt x="0" y="37"/>
                    <a:pt x="0" y="37"/>
                    <a:pt x="0" y="37"/>
                  </a:cubicBezTo>
                  <a:cubicBezTo>
                    <a:pt x="0" y="17"/>
                    <a:pt x="15" y="0"/>
                    <a:pt x="34" y="0"/>
                  </a:cubicBezTo>
                  <a:cubicBezTo>
                    <a:pt x="53" y="0"/>
                    <a:pt x="68" y="17"/>
                    <a:pt x="68" y="37"/>
                  </a:cubicBezTo>
                  <a:lnTo>
                    <a:pt x="68" y="130"/>
                  </a:lnTo>
                  <a:close/>
                </a:path>
              </a:pathLst>
            </a:custGeom>
            <a:solidFill>
              <a:srgbClr val="3A2F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íšliḍe">
              <a:extLst>
                <a:ext uri="{FF2B5EF4-FFF2-40B4-BE49-F238E27FC236}">
                  <a16:creationId xmlns:a16="http://schemas.microsoft.com/office/drawing/2014/main" id="{DF8A475E-0019-4148-9FA8-09B650644950}"/>
                </a:ext>
              </a:extLst>
            </p:cNvPr>
            <p:cNvSpPr/>
            <p:nvPr/>
          </p:nvSpPr>
          <p:spPr bwMode="auto">
            <a:xfrm>
              <a:off x="8408037" y="1271920"/>
              <a:ext cx="143346" cy="347962"/>
            </a:xfrm>
            <a:custGeom>
              <a:avLst/>
              <a:gdLst>
                <a:gd name="T0" fmla="*/ 69 w 69"/>
                <a:gd name="T1" fmla="*/ 130 h 167"/>
                <a:gd name="T2" fmla="*/ 35 w 69"/>
                <a:gd name="T3" fmla="*/ 167 h 167"/>
                <a:gd name="T4" fmla="*/ 0 w 69"/>
                <a:gd name="T5" fmla="*/ 130 h 167"/>
                <a:gd name="T6" fmla="*/ 0 w 69"/>
                <a:gd name="T7" fmla="*/ 37 h 167"/>
                <a:gd name="T8" fmla="*/ 35 w 69"/>
                <a:gd name="T9" fmla="*/ 0 h 167"/>
                <a:gd name="T10" fmla="*/ 69 w 69"/>
                <a:gd name="T11" fmla="*/ 37 h 167"/>
                <a:gd name="T12" fmla="*/ 69 w 69"/>
                <a:gd name="T13" fmla="*/ 130 h 167"/>
              </a:gdLst>
              <a:ahLst/>
              <a:cxnLst>
                <a:cxn ang="0">
                  <a:pos x="T0" y="T1"/>
                </a:cxn>
                <a:cxn ang="0">
                  <a:pos x="T2" y="T3"/>
                </a:cxn>
                <a:cxn ang="0">
                  <a:pos x="T4" y="T5"/>
                </a:cxn>
                <a:cxn ang="0">
                  <a:pos x="T6" y="T7"/>
                </a:cxn>
                <a:cxn ang="0">
                  <a:pos x="T8" y="T9"/>
                </a:cxn>
                <a:cxn ang="0">
                  <a:pos x="T10" y="T11"/>
                </a:cxn>
                <a:cxn ang="0">
                  <a:pos x="T12" y="T13"/>
                </a:cxn>
              </a:cxnLst>
              <a:rect l="0" t="0" r="r" b="b"/>
              <a:pathLst>
                <a:path w="69" h="167">
                  <a:moveTo>
                    <a:pt x="69" y="130"/>
                  </a:moveTo>
                  <a:cubicBezTo>
                    <a:pt x="69" y="150"/>
                    <a:pt x="54" y="167"/>
                    <a:pt x="35" y="167"/>
                  </a:cubicBezTo>
                  <a:cubicBezTo>
                    <a:pt x="16" y="167"/>
                    <a:pt x="0" y="150"/>
                    <a:pt x="0" y="130"/>
                  </a:cubicBezTo>
                  <a:cubicBezTo>
                    <a:pt x="0" y="37"/>
                    <a:pt x="0" y="37"/>
                    <a:pt x="0" y="37"/>
                  </a:cubicBezTo>
                  <a:cubicBezTo>
                    <a:pt x="0" y="17"/>
                    <a:pt x="16" y="0"/>
                    <a:pt x="35" y="0"/>
                  </a:cubicBezTo>
                  <a:cubicBezTo>
                    <a:pt x="54" y="0"/>
                    <a:pt x="69" y="17"/>
                    <a:pt x="69" y="37"/>
                  </a:cubicBezTo>
                  <a:lnTo>
                    <a:pt x="69" y="130"/>
                  </a:lnTo>
                  <a:close/>
                </a:path>
              </a:pathLst>
            </a:custGeom>
            <a:solidFill>
              <a:srgbClr val="3A2F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iṥliḍê">
              <a:extLst>
                <a:ext uri="{FF2B5EF4-FFF2-40B4-BE49-F238E27FC236}">
                  <a16:creationId xmlns:a16="http://schemas.microsoft.com/office/drawing/2014/main" id="{0428F579-6EB8-42A0-B98F-0F75A3548EEF}"/>
                </a:ext>
              </a:extLst>
            </p:cNvPr>
            <p:cNvSpPr/>
            <p:nvPr/>
          </p:nvSpPr>
          <p:spPr bwMode="auto">
            <a:xfrm>
              <a:off x="5049803" y="5091406"/>
              <a:ext cx="2364058" cy="401138"/>
            </a:xfrm>
            <a:custGeom>
              <a:avLst/>
              <a:gdLst>
                <a:gd name="T0" fmla="*/ 0 w 2045"/>
                <a:gd name="T1" fmla="*/ 0 h 347"/>
                <a:gd name="T2" fmla="*/ 1023 w 2045"/>
                <a:gd name="T3" fmla="*/ 5 h 347"/>
                <a:gd name="T4" fmla="*/ 2045 w 2045"/>
                <a:gd name="T5" fmla="*/ 347 h 347"/>
                <a:gd name="T6" fmla="*/ 907 w 2045"/>
                <a:gd name="T7" fmla="*/ 347 h 347"/>
                <a:gd name="T8" fmla="*/ 0 w 2045"/>
                <a:gd name="T9" fmla="*/ 0 h 347"/>
              </a:gdLst>
              <a:ahLst/>
              <a:cxnLst>
                <a:cxn ang="0">
                  <a:pos x="T0" y="T1"/>
                </a:cxn>
                <a:cxn ang="0">
                  <a:pos x="T2" y="T3"/>
                </a:cxn>
                <a:cxn ang="0">
                  <a:pos x="T4" y="T5"/>
                </a:cxn>
                <a:cxn ang="0">
                  <a:pos x="T6" y="T7"/>
                </a:cxn>
                <a:cxn ang="0">
                  <a:pos x="T8" y="T9"/>
                </a:cxn>
              </a:cxnLst>
              <a:rect l="0" t="0" r="r" b="b"/>
              <a:pathLst>
                <a:path w="2045" h="347">
                  <a:moveTo>
                    <a:pt x="0" y="0"/>
                  </a:moveTo>
                  <a:lnTo>
                    <a:pt x="1023" y="5"/>
                  </a:lnTo>
                  <a:lnTo>
                    <a:pt x="2045" y="347"/>
                  </a:lnTo>
                  <a:lnTo>
                    <a:pt x="907" y="347"/>
                  </a:lnTo>
                  <a:lnTo>
                    <a:pt x="0" y="0"/>
                  </a:lnTo>
                  <a:close/>
                </a:path>
              </a:pathLst>
            </a:custGeom>
            <a:solidFill>
              <a:srgbClr val="FAFE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ïṣḻíḍê">
              <a:extLst>
                <a:ext uri="{FF2B5EF4-FFF2-40B4-BE49-F238E27FC236}">
                  <a16:creationId xmlns:a16="http://schemas.microsoft.com/office/drawing/2014/main" id="{F6759BD9-2C77-48CC-A285-901AD91ED155}"/>
                </a:ext>
              </a:extLst>
            </p:cNvPr>
            <p:cNvSpPr/>
            <p:nvPr/>
          </p:nvSpPr>
          <p:spPr bwMode="auto">
            <a:xfrm>
              <a:off x="4676409" y="5037073"/>
              <a:ext cx="2364058" cy="398826"/>
            </a:xfrm>
            <a:custGeom>
              <a:avLst/>
              <a:gdLst>
                <a:gd name="T0" fmla="*/ 0 w 2045"/>
                <a:gd name="T1" fmla="*/ 0 h 345"/>
                <a:gd name="T2" fmla="*/ 1022 w 2045"/>
                <a:gd name="T3" fmla="*/ 4 h 345"/>
                <a:gd name="T4" fmla="*/ 2045 w 2045"/>
                <a:gd name="T5" fmla="*/ 345 h 345"/>
                <a:gd name="T6" fmla="*/ 905 w 2045"/>
                <a:gd name="T7" fmla="*/ 345 h 345"/>
                <a:gd name="T8" fmla="*/ 0 w 2045"/>
                <a:gd name="T9" fmla="*/ 0 h 345"/>
              </a:gdLst>
              <a:ahLst/>
              <a:cxnLst>
                <a:cxn ang="0">
                  <a:pos x="T0" y="T1"/>
                </a:cxn>
                <a:cxn ang="0">
                  <a:pos x="T2" y="T3"/>
                </a:cxn>
                <a:cxn ang="0">
                  <a:pos x="T4" y="T5"/>
                </a:cxn>
                <a:cxn ang="0">
                  <a:pos x="T6" y="T7"/>
                </a:cxn>
                <a:cxn ang="0">
                  <a:pos x="T8" y="T9"/>
                </a:cxn>
              </a:cxnLst>
              <a:rect l="0" t="0" r="r" b="b"/>
              <a:pathLst>
                <a:path w="2045" h="345">
                  <a:moveTo>
                    <a:pt x="0" y="0"/>
                  </a:moveTo>
                  <a:lnTo>
                    <a:pt x="1022" y="4"/>
                  </a:lnTo>
                  <a:lnTo>
                    <a:pt x="2045" y="345"/>
                  </a:lnTo>
                  <a:lnTo>
                    <a:pt x="905" y="345"/>
                  </a:lnTo>
                  <a:lnTo>
                    <a:pt x="0" y="0"/>
                  </a:lnTo>
                  <a:close/>
                </a:path>
              </a:pathLst>
            </a:custGeom>
            <a:solidFill>
              <a:srgbClr val="E1EFF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ïşḷídé">
              <a:extLst>
                <a:ext uri="{FF2B5EF4-FFF2-40B4-BE49-F238E27FC236}">
                  <a16:creationId xmlns:a16="http://schemas.microsoft.com/office/drawing/2014/main" id="{C69FC21D-5B8A-4887-88FF-CE59257DF55A}"/>
                </a:ext>
              </a:extLst>
            </p:cNvPr>
            <p:cNvSpPr/>
            <p:nvPr/>
          </p:nvSpPr>
          <p:spPr bwMode="auto">
            <a:xfrm>
              <a:off x="4604736" y="5023201"/>
              <a:ext cx="2364058" cy="397670"/>
            </a:xfrm>
            <a:custGeom>
              <a:avLst/>
              <a:gdLst>
                <a:gd name="T0" fmla="*/ 0 w 2045"/>
                <a:gd name="T1" fmla="*/ 0 h 344"/>
                <a:gd name="T2" fmla="*/ 1023 w 2045"/>
                <a:gd name="T3" fmla="*/ 3 h 344"/>
                <a:gd name="T4" fmla="*/ 2045 w 2045"/>
                <a:gd name="T5" fmla="*/ 344 h 344"/>
                <a:gd name="T6" fmla="*/ 905 w 2045"/>
                <a:gd name="T7" fmla="*/ 344 h 344"/>
                <a:gd name="T8" fmla="*/ 0 w 2045"/>
                <a:gd name="T9" fmla="*/ 0 h 344"/>
              </a:gdLst>
              <a:ahLst/>
              <a:cxnLst>
                <a:cxn ang="0">
                  <a:pos x="T0" y="T1"/>
                </a:cxn>
                <a:cxn ang="0">
                  <a:pos x="T2" y="T3"/>
                </a:cxn>
                <a:cxn ang="0">
                  <a:pos x="T4" y="T5"/>
                </a:cxn>
                <a:cxn ang="0">
                  <a:pos x="T6" y="T7"/>
                </a:cxn>
                <a:cxn ang="0">
                  <a:pos x="T8" y="T9"/>
                </a:cxn>
              </a:cxnLst>
              <a:rect l="0" t="0" r="r" b="b"/>
              <a:pathLst>
                <a:path w="2045" h="344">
                  <a:moveTo>
                    <a:pt x="0" y="0"/>
                  </a:moveTo>
                  <a:lnTo>
                    <a:pt x="1023" y="3"/>
                  </a:lnTo>
                  <a:lnTo>
                    <a:pt x="2045" y="344"/>
                  </a:lnTo>
                  <a:lnTo>
                    <a:pt x="905" y="344"/>
                  </a:lnTo>
                  <a:lnTo>
                    <a:pt x="0" y="0"/>
                  </a:lnTo>
                  <a:close/>
                </a:path>
              </a:pathLst>
            </a:custGeom>
            <a:solidFill>
              <a:srgbClr val="FAFE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íşḻiḓé">
              <a:extLst>
                <a:ext uri="{FF2B5EF4-FFF2-40B4-BE49-F238E27FC236}">
                  <a16:creationId xmlns:a16="http://schemas.microsoft.com/office/drawing/2014/main" id="{06A0059D-D85A-4440-8145-8005171202DB}"/>
                </a:ext>
              </a:extLst>
            </p:cNvPr>
            <p:cNvSpPr/>
            <p:nvPr/>
          </p:nvSpPr>
          <p:spPr bwMode="auto">
            <a:xfrm>
              <a:off x="4518034" y="5257873"/>
              <a:ext cx="793029" cy="225424"/>
            </a:xfrm>
            <a:custGeom>
              <a:avLst/>
              <a:gdLst>
                <a:gd name="T0" fmla="*/ 359 w 380"/>
                <a:gd name="T1" fmla="*/ 68 h 108"/>
                <a:gd name="T2" fmla="*/ 219 w 380"/>
                <a:gd name="T3" fmla="*/ 37 h 108"/>
                <a:gd name="T4" fmla="*/ 217 w 380"/>
                <a:gd name="T5" fmla="*/ 40 h 108"/>
                <a:gd name="T6" fmla="*/ 29 w 380"/>
                <a:gd name="T7" fmla="*/ 0 h 108"/>
                <a:gd name="T8" fmla="*/ 0 w 380"/>
                <a:gd name="T9" fmla="*/ 2 h 108"/>
                <a:gd name="T10" fmla="*/ 25 w 380"/>
                <a:gd name="T11" fmla="*/ 20 h 108"/>
                <a:gd name="T12" fmla="*/ 206 w 380"/>
                <a:gd name="T13" fmla="*/ 63 h 108"/>
                <a:gd name="T14" fmla="*/ 204 w 380"/>
                <a:gd name="T15" fmla="*/ 67 h 108"/>
                <a:gd name="T16" fmla="*/ 341 w 380"/>
                <a:gd name="T17" fmla="*/ 101 h 108"/>
                <a:gd name="T18" fmla="*/ 371 w 380"/>
                <a:gd name="T19" fmla="*/ 91 h 108"/>
                <a:gd name="T20" fmla="*/ 359 w 380"/>
                <a:gd name="T21" fmla="*/ 6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0" h="108">
                  <a:moveTo>
                    <a:pt x="359" y="68"/>
                  </a:moveTo>
                  <a:cubicBezTo>
                    <a:pt x="219" y="37"/>
                    <a:pt x="219" y="37"/>
                    <a:pt x="219" y="37"/>
                  </a:cubicBezTo>
                  <a:cubicBezTo>
                    <a:pt x="217" y="40"/>
                    <a:pt x="217" y="40"/>
                    <a:pt x="217" y="40"/>
                  </a:cubicBezTo>
                  <a:cubicBezTo>
                    <a:pt x="29" y="0"/>
                    <a:pt x="29" y="0"/>
                    <a:pt x="29" y="0"/>
                  </a:cubicBezTo>
                  <a:cubicBezTo>
                    <a:pt x="0" y="2"/>
                    <a:pt x="0" y="2"/>
                    <a:pt x="0" y="2"/>
                  </a:cubicBezTo>
                  <a:cubicBezTo>
                    <a:pt x="25" y="20"/>
                    <a:pt x="25" y="20"/>
                    <a:pt x="25" y="20"/>
                  </a:cubicBezTo>
                  <a:cubicBezTo>
                    <a:pt x="206" y="63"/>
                    <a:pt x="206" y="63"/>
                    <a:pt x="206" y="63"/>
                  </a:cubicBezTo>
                  <a:cubicBezTo>
                    <a:pt x="204" y="67"/>
                    <a:pt x="204" y="67"/>
                    <a:pt x="204" y="67"/>
                  </a:cubicBezTo>
                  <a:cubicBezTo>
                    <a:pt x="341" y="101"/>
                    <a:pt x="341" y="101"/>
                    <a:pt x="341" y="101"/>
                  </a:cubicBezTo>
                  <a:cubicBezTo>
                    <a:pt x="341" y="101"/>
                    <a:pt x="363" y="108"/>
                    <a:pt x="371" y="91"/>
                  </a:cubicBezTo>
                  <a:cubicBezTo>
                    <a:pt x="380" y="72"/>
                    <a:pt x="359" y="68"/>
                    <a:pt x="359" y="68"/>
                  </a:cubicBezTo>
                  <a:close/>
                </a:path>
              </a:pathLst>
            </a:custGeom>
            <a:solidFill>
              <a:srgbClr val="355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îsḷïde">
              <a:extLst>
                <a:ext uri="{FF2B5EF4-FFF2-40B4-BE49-F238E27FC236}">
                  <a16:creationId xmlns:a16="http://schemas.microsoft.com/office/drawing/2014/main" id="{996F0B15-C711-4FD5-B71B-45998530D5CC}"/>
                </a:ext>
              </a:extLst>
            </p:cNvPr>
            <p:cNvSpPr/>
            <p:nvPr/>
          </p:nvSpPr>
          <p:spPr bwMode="auto">
            <a:xfrm>
              <a:off x="2775914" y="2342394"/>
              <a:ext cx="546797" cy="1177983"/>
            </a:xfrm>
            <a:custGeom>
              <a:avLst/>
              <a:gdLst>
                <a:gd name="T0" fmla="*/ 197 w 473"/>
                <a:gd name="T1" fmla="*/ 0 h 1019"/>
                <a:gd name="T2" fmla="*/ 0 w 473"/>
                <a:gd name="T3" fmla="*/ 56 h 1019"/>
                <a:gd name="T4" fmla="*/ 276 w 473"/>
                <a:gd name="T5" fmla="*/ 1019 h 1019"/>
                <a:gd name="T6" fmla="*/ 473 w 473"/>
                <a:gd name="T7" fmla="*/ 963 h 1019"/>
                <a:gd name="T8" fmla="*/ 197 w 473"/>
                <a:gd name="T9" fmla="*/ 0 h 1019"/>
              </a:gdLst>
              <a:ahLst/>
              <a:cxnLst>
                <a:cxn ang="0">
                  <a:pos x="T0" y="T1"/>
                </a:cxn>
                <a:cxn ang="0">
                  <a:pos x="T2" y="T3"/>
                </a:cxn>
                <a:cxn ang="0">
                  <a:pos x="T4" y="T5"/>
                </a:cxn>
                <a:cxn ang="0">
                  <a:pos x="T6" y="T7"/>
                </a:cxn>
                <a:cxn ang="0">
                  <a:pos x="T8" y="T9"/>
                </a:cxn>
              </a:cxnLst>
              <a:rect l="0" t="0" r="r" b="b"/>
              <a:pathLst>
                <a:path w="473" h="1019">
                  <a:moveTo>
                    <a:pt x="197" y="0"/>
                  </a:moveTo>
                  <a:lnTo>
                    <a:pt x="0" y="56"/>
                  </a:lnTo>
                  <a:lnTo>
                    <a:pt x="276" y="1019"/>
                  </a:lnTo>
                  <a:lnTo>
                    <a:pt x="473" y="963"/>
                  </a:lnTo>
                  <a:lnTo>
                    <a:pt x="197" y="0"/>
                  </a:lnTo>
                  <a:close/>
                </a:path>
              </a:pathLst>
            </a:custGeom>
            <a:solidFill>
              <a:srgbClr val="355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íŝ1idé">
              <a:extLst>
                <a:ext uri="{FF2B5EF4-FFF2-40B4-BE49-F238E27FC236}">
                  <a16:creationId xmlns:a16="http://schemas.microsoft.com/office/drawing/2014/main" id="{DEEC8801-6218-484B-8300-22463E5C83AE}"/>
                </a:ext>
              </a:extLst>
            </p:cNvPr>
            <p:cNvSpPr/>
            <p:nvPr/>
          </p:nvSpPr>
          <p:spPr bwMode="auto">
            <a:xfrm>
              <a:off x="3019834" y="2368982"/>
              <a:ext cx="452003" cy="1151395"/>
            </a:xfrm>
            <a:custGeom>
              <a:avLst/>
              <a:gdLst>
                <a:gd name="T0" fmla="*/ 112 w 391"/>
                <a:gd name="T1" fmla="*/ 0 h 996"/>
                <a:gd name="T2" fmla="*/ 0 w 391"/>
                <a:gd name="T3" fmla="*/ 33 h 996"/>
                <a:gd name="T4" fmla="*/ 277 w 391"/>
                <a:gd name="T5" fmla="*/ 996 h 996"/>
                <a:gd name="T6" fmla="*/ 391 w 391"/>
                <a:gd name="T7" fmla="*/ 964 h 996"/>
                <a:gd name="T8" fmla="*/ 112 w 391"/>
                <a:gd name="T9" fmla="*/ 0 h 996"/>
              </a:gdLst>
              <a:ahLst/>
              <a:cxnLst>
                <a:cxn ang="0">
                  <a:pos x="T0" y="T1"/>
                </a:cxn>
                <a:cxn ang="0">
                  <a:pos x="T2" y="T3"/>
                </a:cxn>
                <a:cxn ang="0">
                  <a:pos x="T4" y="T5"/>
                </a:cxn>
                <a:cxn ang="0">
                  <a:pos x="T6" y="T7"/>
                </a:cxn>
                <a:cxn ang="0">
                  <a:pos x="T8" y="T9"/>
                </a:cxn>
              </a:cxnLst>
              <a:rect l="0" t="0" r="r" b="b"/>
              <a:pathLst>
                <a:path w="391" h="996">
                  <a:moveTo>
                    <a:pt x="112" y="0"/>
                  </a:moveTo>
                  <a:lnTo>
                    <a:pt x="0" y="33"/>
                  </a:lnTo>
                  <a:lnTo>
                    <a:pt x="277" y="996"/>
                  </a:lnTo>
                  <a:lnTo>
                    <a:pt x="391" y="964"/>
                  </a:lnTo>
                  <a:lnTo>
                    <a:pt x="112" y="0"/>
                  </a:lnTo>
                  <a:close/>
                </a:path>
              </a:pathLst>
            </a:custGeom>
            <a:solidFill>
              <a:srgbClr val="FF45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îşlíďe">
              <a:extLst>
                <a:ext uri="{FF2B5EF4-FFF2-40B4-BE49-F238E27FC236}">
                  <a16:creationId xmlns:a16="http://schemas.microsoft.com/office/drawing/2014/main" id="{1CD2460A-03A9-42C9-8D79-5EB05CAA0C82}"/>
                </a:ext>
              </a:extLst>
            </p:cNvPr>
            <p:cNvSpPr/>
            <p:nvPr/>
          </p:nvSpPr>
          <p:spPr bwMode="auto">
            <a:xfrm>
              <a:off x="3314619" y="2892659"/>
              <a:ext cx="298253" cy="627718"/>
            </a:xfrm>
            <a:custGeom>
              <a:avLst/>
              <a:gdLst>
                <a:gd name="T0" fmla="*/ 112 w 258"/>
                <a:gd name="T1" fmla="*/ 0 h 543"/>
                <a:gd name="T2" fmla="*/ 0 w 258"/>
                <a:gd name="T3" fmla="*/ 33 h 543"/>
                <a:gd name="T4" fmla="*/ 146 w 258"/>
                <a:gd name="T5" fmla="*/ 543 h 543"/>
                <a:gd name="T6" fmla="*/ 258 w 258"/>
                <a:gd name="T7" fmla="*/ 511 h 543"/>
                <a:gd name="T8" fmla="*/ 112 w 258"/>
                <a:gd name="T9" fmla="*/ 0 h 543"/>
              </a:gdLst>
              <a:ahLst/>
              <a:cxnLst>
                <a:cxn ang="0">
                  <a:pos x="T0" y="T1"/>
                </a:cxn>
                <a:cxn ang="0">
                  <a:pos x="T2" y="T3"/>
                </a:cxn>
                <a:cxn ang="0">
                  <a:pos x="T4" y="T5"/>
                </a:cxn>
                <a:cxn ang="0">
                  <a:pos x="T6" y="T7"/>
                </a:cxn>
                <a:cxn ang="0">
                  <a:pos x="T8" y="T9"/>
                </a:cxn>
              </a:cxnLst>
              <a:rect l="0" t="0" r="r" b="b"/>
              <a:pathLst>
                <a:path w="258" h="543">
                  <a:moveTo>
                    <a:pt x="112" y="0"/>
                  </a:moveTo>
                  <a:lnTo>
                    <a:pt x="0" y="33"/>
                  </a:lnTo>
                  <a:lnTo>
                    <a:pt x="146" y="543"/>
                  </a:lnTo>
                  <a:lnTo>
                    <a:pt x="258" y="511"/>
                  </a:lnTo>
                  <a:lnTo>
                    <a:pt x="112" y="0"/>
                  </a:lnTo>
                  <a:close/>
                </a:path>
              </a:pathLst>
            </a:custGeom>
            <a:solidFill>
              <a:srgbClr val="FAFE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íś1íḍè">
              <a:extLst>
                <a:ext uri="{FF2B5EF4-FFF2-40B4-BE49-F238E27FC236}">
                  <a16:creationId xmlns:a16="http://schemas.microsoft.com/office/drawing/2014/main" id="{C3A9AE8B-8921-4E0E-A0E2-3CE4252C7777}"/>
                </a:ext>
              </a:extLst>
            </p:cNvPr>
            <p:cNvSpPr/>
            <p:nvPr/>
          </p:nvSpPr>
          <p:spPr bwMode="auto">
            <a:xfrm>
              <a:off x="7181502" y="5031293"/>
              <a:ext cx="1216132" cy="277444"/>
            </a:xfrm>
            <a:custGeom>
              <a:avLst/>
              <a:gdLst>
                <a:gd name="T0" fmla="*/ 525 w 582"/>
                <a:gd name="T1" fmla="*/ 133 h 133"/>
                <a:gd name="T2" fmla="*/ 521 w 582"/>
                <a:gd name="T3" fmla="*/ 133 h 133"/>
                <a:gd name="T4" fmla="*/ 0 w 582"/>
                <a:gd name="T5" fmla="*/ 133 h 133"/>
                <a:gd name="T6" fmla="*/ 0 w 582"/>
                <a:gd name="T7" fmla="*/ 125 h 133"/>
                <a:gd name="T8" fmla="*/ 522 w 582"/>
                <a:gd name="T9" fmla="*/ 125 h 133"/>
                <a:gd name="T10" fmla="*/ 522 w 582"/>
                <a:gd name="T11" fmla="*/ 125 h 133"/>
                <a:gd name="T12" fmla="*/ 557 w 582"/>
                <a:gd name="T13" fmla="*/ 114 h 133"/>
                <a:gd name="T14" fmla="*/ 574 w 582"/>
                <a:gd name="T15" fmla="*/ 66 h 133"/>
                <a:gd name="T16" fmla="*/ 558 w 582"/>
                <a:gd name="T17" fmla="*/ 23 h 133"/>
                <a:gd name="T18" fmla="*/ 515 w 582"/>
                <a:gd name="T19" fmla="*/ 10 h 133"/>
                <a:gd name="T20" fmla="*/ 514 w 582"/>
                <a:gd name="T21" fmla="*/ 10 h 133"/>
                <a:gd name="T22" fmla="*/ 0 w 582"/>
                <a:gd name="T23" fmla="*/ 10 h 133"/>
                <a:gd name="T24" fmla="*/ 0 w 582"/>
                <a:gd name="T25" fmla="*/ 2 h 133"/>
                <a:gd name="T26" fmla="*/ 514 w 582"/>
                <a:gd name="T27" fmla="*/ 2 h 133"/>
                <a:gd name="T28" fmla="*/ 564 w 582"/>
                <a:gd name="T29" fmla="*/ 17 h 133"/>
                <a:gd name="T30" fmla="*/ 582 w 582"/>
                <a:gd name="T31" fmla="*/ 66 h 133"/>
                <a:gd name="T32" fmla="*/ 563 w 582"/>
                <a:gd name="T33" fmla="*/ 120 h 133"/>
                <a:gd name="T34" fmla="*/ 525 w 582"/>
                <a:gd name="T35"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2" h="133">
                  <a:moveTo>
                    <a:pt x="525" y="133"/>
                  </a:moveTo>
                  <a:cubicBezTo>
                    <a:pt x="523" y="133"/>
                    <a:pt x="522" y="133"/>
                    <a:pt x="521" y="133"/>
                  </a:cubicBezTo>
                  <a:cubicBezTo>
                    <a:pt x="0" y="133"/>
                    <a:pt x="0" y="133"/>
                    <a:pt x="0" y="133"/>
                  </a:cubicBezTo>
                  <a:cubicBezTo>
                    <a:pt x="0" y="125"/>
                    <a:pt x="0" y="125"/>
                    <a:pt x="0" y="125"/>
                  </a:cubicBezTo>
                  <a:cubicBezTo>
                    <a:pt x="522" y="125"/>
                    <a:pt x="522" y="125"/>
                    <a:pt x="522" y="125"/>
                  </a:cubicBezTo>
                  <a:cubicBezTo>
                    <a:pt x="522" y="125"/>
                    <a:pt x="522" y="125"/>
                    <a:pt x="522" y="125"/>
                  </a:cubicBezTo>
                  <a:cubicBezTo>
                    <a:pt x="522" y="125"/>
                    <a:pt x="542" y="127"/>
                    <a:pt x="557" y="114"/>
                  </a:cubicBezTo>
                  <a:cubicBezTo>
                    <a:pt x="569" y="104"/>
                    <a:pt x="574" y="88"/>
                    <a:pt x="574" y="66"/>
                  </a:cubicBezTo>
                  <a:cubicBezTo>
                    <a:pt x="574" y="47"/>
                    <a:pt x="569" y="32"/>
                    <a:pt x="558" y="23"/>
                  </a:cubicBezTo>
                  <a:cubicBezTo>
                    <a:pt x="541" y="7"/>
                    <a:pt x="515" y="10"/>
                    <a:pt x="515" y="10"/>
                  </a:cubicBezTo>
                  <a:cubicBezTo>
                    <a:pt x="514" y="10"/>
                    <a:pt x="514" y="10"/>
                    <a:pt x="514" y="10"/>
                  </a:cubicBezTo>
                  <a:cubicBezTo>
                    <a:pt x="0" y="10"/>
                    <a:pt x="0" y="10"/>
                    <a:pt x="0" y="10"/>
                  </a:cubicBezTo>
                  <a:cubicBezTo>
                    <a:pt x="0" y="2"/>
                    <a:pt x="0" y="2"/>
                    <a:pt x="0" y="2"/>
                  </a:cubicBezTo>
                  <a:cubicBezTo>
                    <a:pt x="514" y="2"/>
                    <a:pt x="514" y="2"/>
                    <a:pt x="514" y="2"/>
                  </a:cubicBezTo>
                  <a:cubicBezTo>
                    <a:pt x="517" y="2"/>
                    <a:pt x="544" y="0"/>
                    <a:pt x="564" y="17"/>
                  </a:cubicBezTo>
                  <a:cubicBezTo>
                    <a:pt x="576" y="28"/>
                    <a:pt x="582" y="45"/>
                    <a:pt x="582" y="66"/>
                  </a:cubicBezTo>
                  <a:cubicBezTo>
                    <a:pt x="582" y="90"/>
                    <a:pt x="576" y="108"/>
                    <a:pt x="563" y="120"/>
                  </a:cubicBezTo>
                  <a:cubicBezTo>
                    <a:pt x="549" y="131"/>
                    <a:pt x="533" y="133"/>
                    <a:pt x="525" y="133"/>
                  </a:cubicBezTo>
                  <a:close/>
                </a:path>
              </a:pathLst>
            </a:custGeom>
            <a:solidFill>
              <a:srgbClr val="FF45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ïsḻîḓè">
              <a:extLst>
                <a:ext uri="{FF2B5EF4-FFF2-40B4-BE49-F238E27FC236}">
                  <a16:creationId xmlns:a16="http://schemas.microsoft.com/office/drawing/2014/main" id="{250FC6FD-A038-470A-9607-E1F39DB21628}"/>
                </a:ext>
              </a:extLst>
            </p:cNvPr>
            <p:cNvSpPr/>
            <p:nvPr/>
          </p:nvSpPr>
          <p:spPr bwMode="auto">
            <a:xfrm>
              <a:off x="7954878" y="5352666"/>
              <a:ext cx="1186075" cy="241608"/>
            </a:xfrm>
            <a:custGeom>
              <a:avLst/>
              <a:gdLst>
                <a:gd name="T0" fmla="*/ 568 w 568"/>
                <a:gd name="T1" fmla="*/ 56 h 116"/>
                <a:gd name="T2" fmla="*/ 544 w 568"/>
                <a:gd name="T3" fmla="*/ 110 h 116"/>
                <a:gd name="T4" fmla="*/ 536 w 568"/>
                <a:gd name="T5" fmla="*/ 116 h 116"/>
                <a:gd name="T6" fmla="*/ 4 w 568"/>
                <a:gd name="T7" fmla="*/ 116 h 116"/>
                <a:gd name="T8" fmla="*/ 5 w 568"/>
                <a:gd name="T9" fmla="*/ 115 h 116"/>
                <a:gd name="T10" fmla="*/ 30 w 568"/>
                <a:gd name="T11" fmla="*/ 58 h 116"/>
                <a:gd name="T12" fmla="*/ 1 w 568"/>
                <a:gd name="T13" fmla="*/ 0 h 116"/>
                <a:gd name="T14" fmla="*/ 0 w 568"/>
                <a:gd name="T15" fmla="*/ 0 h 116"/>
                <a:gd name="T16" fmla="*/ 534 w 568"/>
                <a:gd name="T17" fmla="*/ 0 h 116"/>
                <a:gd name="T18" fmla="*/ 545 w 568"/>
                <a:gd name="T19" fmla="*/ 7 h 116"/>
                <a:gd name="T20" fmla="*/ 568 w 568"/>
                <a:gd name="T21" fmla="*/ 5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8" h="116">
                  <a:moveTo>
                    <a:pt x="568" y="56"/>
                  </a:moveTo>
                  <a:cubicBezTo>
                    <a:pt x="568" y="91"/>
                    <a:pt x="557" y="98"/>
                    <a:pt x="544" y="110"/>
                  </a:cubicBezTo>
                  <a:cubicBezTo>
                    <a:pt x="541" y="112"/>
                    <a:pt x="539" y="114"/>
                    <a:pt x="536" y="116"/>
                  </a:cubicBezTo>
                  <a:cubicBezTo>
                    <a:pt x="4" y="116"/>
                    <a:pt x="4" y="116"/>
                    <a:pt x="4" y="116"/>
                  </a:cubicBezTo>
                  <a:cubicBezTo>
                    <a:pt x="5" y="115"/>
                    <a:pt x="5" y="115"/>
                    <a:pt x="5" y="115"/>
                  </a:cubicBezTo>
                  <a:cubicBezTo>
                    <a:pt x="9" y="113"/>
                    <a:pt x="30" y="96"/>
                    <a:pt x="30" y="58"/>
                  </a:cubicBezTo>
                  <a:cubicBezTo>
                    <a:pt x="30" y="21"/>
                    <a:pt x="6" y="4"/>
                    <a:pt x="1" y="0"/>
                  </a:cubicBezTo>
                  <a:cubicBezTo>
                    <a:pt x="1" y="0"/>
                    <a:pt x="0" y="0"/>
                    <a:pt x="0" y="0"/>
                  </a:cubicBezTo>
                  <a:cubicBezTo>
                    <a:pt x="534" y="0"/>
                    <a:pt x="534" y="0"/>
                    <a:pt x="534" y="0"/>
                  </a:cubicBezTo>
                  <a:cubicBezTo>
                    <a:pt x="538" y="2"/>
                    <a:pt x="542" y="4"/>
                    <a:pt x="545" y="7"/>
                  </a:cubicBezTo>
                  <a:cubicBezTo>
                    <a:pt x="557" y="18"/>
                    <a:pt x="568" y="26"/>
                    <a:pt x="568" y="56"/>
                  </a:cubicBezTo>
                  <a:close/>
                </a:path>
              </a:pathLst>
            </a:cu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išḷîḑè">
              <a:extLst>
                <a:ext uri="{FF2B5EF4-FFF2-40B4-BE49-F238E27FC236}">
                  <a16:creationId xmlns:a16="http://schemas.microsoft.com/office/drawing/2014/main" id="{852926D1-1BB0-400C-A80A-89529309B7B4}"/>
                </a:ext>
              </a:extLst>
            </p:cNvPr>
            <p:cNvSpPr/>
            <p:nvPr/>
          </p:nvSpPr>
          <p:spPr bwMode="auto">
            <a:xfrm>
              <a:off x="9107429" y="5360758"/>
              <a:ext cx="24276" cy="35837"/>
            </a:xfrm>
            <a:custGeom>
              <a:avLst/>
              <a:gdLst>
                <a:gd name="T0" fmla="*/ 12 w 12"/>
                <a:gd name="T1" fmla="*/ 17 h 17"/>
                <a:gd name="T2" fmla="*/ 0 w 12"/>
                <a:gd name="T3" fmla="*/ 0 h 17"/>
                <a:gd name="T4" fmla="*/ 12 w 12"/>
                <a:gd name="T5" fmla="*/ 17 h 17"/>
              </a:gdLst>
              <a:ahLst/>
              <a:cxnLst>
                <a:cxn ang="0">
                  <a:pos x="T0" y="T1"/>
                </a:cxn>
                <a:cxn ang="0">
                  <a:pos x="T2" y="T3"/>
                </a:cxn>
                <a:cxn ang="0">
                  <a:pos x="T4" y="T5"/>
                </a:cxn>
              </a:cxnLst>
              <a:rect l="0" t="0" r="r" b="b"/>
              <a:pathLst>
                <a:path w="12" h="17">
                  <a:moveTo>
                    <a:pt x="12" y="17"/>
                  </a:moveTo>
                  <a:cubicBezTo>
                    <a:pt x="0" y="0"/>
                    <a:pt x="0" y="0"/>
                    <a:pt x="0" y="0"/>
                  </a:cubicBezTo>
                  <a:cubicBezTo>
                    <a:pt x="6" y="4"/>
                    <a:pt x="11" y="9"/>
                    <a:pt x="12" y="17"/>
                  </a:cubicBezTo>
                  <a:close/>
                </a:path>
              </a:pathLst>
            </a:custGeom>
            <a:solidFill>
              <a:srgbClr val="F210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išļïďé">
              <a:extLst>
                <a:ext uri="{FF2B5EF4-FFF2-40B4-BE49-F238E27FC236}">
                  <a16:creationId xmlns:a16="http://schemas.microsoft.com/office/drawing/2014/main" id="{BF77046F-CC06-4F45-B1FF-A059D3FA8C23}"/>
                </a:ext>
              </a:extLst>
            </p:cNvPr>
            <p:cNvSpPr/>
            <p:nvPr/>
          </p:nvSpPr>
          <p:spPr bwMode="auto">
            <a:xfrm>
              <a:off x="7206934" y="5064818"/>
              <a:ext cx="810369" cy="529457"/>
            </a:xfrm>
            <a:custGeom>
              <a:avLst/>
              <a:gdLst>
                <a:gd name="T0" fmla="*/ 388 w 388"/>
                <a:gd name="T1" fmla="*/ 196 h 254"/>
                <a:gd name="T2" fmla="*/ 363 w 388"/>
                <a:gd name="T3" fmla="*/ 253 h 254"/>
                <a:gd name="T4" fmla="*/ 362 w 388"/>
                <a:gd name="T5" fmla="*/ 254 h 254"/>
                <a:gd name="T6" fmla="*/ 1 w 388"/>
                <a:gd name="T7" fmla="*/ 109 h 254"/>
                <a:gd name="T8" fmla="*/ 0 w 388"/>
                <a:gd name="T9" fmla="*/ 109 h 254"/>
                <a:gd name="T10" fmla="*/ 25 w 388"/>
                <a:gd name="T11" fmla="*/ 52 h 254"/>
                <a:gd name="T12" fmla="*/ 3 w 388"/>
                <a:gd name="T13" fmla="*/ 0 h 254"/>
                <a:gd name="T14" fmla="*/ 281 w 388"/>
                <a:gd name="T15" fmla="*/ 109 h 254"/>
                <a:gd name="T16" fmla="*/ 352 w 388"/>
                <a:gd name="T17" fmla="*/ 138 h 254"/>
                <a:gd name="T18" fmla="*/ 358 w 388"/>
                <a:gd name="T19" fmla="*/ 138 h 254"/>
                <a:gd name="T20" fmla="*/ 359 w 388"/>
                <a:gd name="T21" fmla="*/ 138 h 254"/>
                <a:gd name="T22" fmla="*/ 388 w 388"/>
                <a:gd name="T23" fmla="*/ 19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8" h="254">
                  <a:moveTo>
                    <a:pt x="388" y="196"/>
                  </a:moveTo>
                  <a:cubicBezTo>
                    <a:pt x="388" y="234"/>
                    <a:pt x="367" y="251"/>
                    <a:pt x="363" y="253"/>
                  </a:cubicBezTo>
                  <a:cubicBezTo>
                    <a:pt x="362" y="254"/>
                    <a:pt x="362" y="254"/>
                    <a:pt x="362" y="254"/>
                  </a:cubicBezTo>
                  <a:cubicBezTo>
                    <a:pt x="1" y="109"/>
                    <a:pt x="1" y="109"/>
                    <a:pt x="1" y="109"/>
                  </a:cubicBezTo>
                  <a:cubicBezTo>
                    <a:pt x="0" y="109"/>
                    <a:pt x="0" y="109"/>
                    <a:pt x="0" y="109"/>
                  </a:cubicBezTo>
                  <a:cubicBezTo>
                    <a:pt x="3" y="106"/>
                    <a:pt x="25" y="89"/>
                    <a:pt x="25" y="52"/>
                  </a:cubicBezTo>
                  <a:cubicBezTo>
                    <a:pt x="25" y="25"/>
                    <a:pt x="12" y="8"/>
                    <a:pt x="3" y="0"/>
                  </a:cubicBezTo>
                  <a:cubicBezTo>
                    <a:pt x="281" y="109"/>
                    <a:pt x="281" y="109"/>
                    <a:pt x="281" y="109"/>
                  </a:cubicBezTo>
                  <a:cubicBezTo>
                    <a:pt x="352" y="138"/>
                    <a:pt x="352" y="138"/>
                    <a:pt x="352" y="138"/>
                  </a:cubicBezTo>
                  <a:cubicBezTo>
                    <a:pt x="358" y="138"/>
                    <a:pt x="358" y="138"/>
                    <a:pt x="358" y="138"/>
                  </a:cubicBezTo>
                  <a:cubicBezTo>
                    <a:pt x="358" y="138"/>
                    <a:pt x="359" y="138"/>
                    <a:pt x="359" y="138"/>
                  </a:cubicBezTo>
                  <a:cubicBezTo>
                    <a:pt x="364" y="142"/>
                    <a:pt x="388" y="159"/>
                    <a:pt x="388" y="196"/>
                  </a:cubicBezTo>
                  <a:close/>
                </a:path>
              </a:pathLst>
            </a:custGeom>
            <a:solidFill>
              <a:srgbClr val="D3DE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ïŝḷiḓe">
              <a:extLst>
                <a:ext uri="{FF2B5EF4-FFF2-40B4-BE49-F238E27FC236}">
                  <a16:creationId xmlns:a16="http://schemas.microsoft.com/office/drawing/2014/main" id="{0C3948EC-C046-4403-9EE3-CDDC9E3D3191}"/>
                </a:ext>
              </a:extLst>
            </p:cNvPr>
            <p:cNvSpPr/>
            <p:nvPr/>
          </p:nvSpPr>
          <p:spPr bwMode="auto">
            <a:xfrm>
              <a:off x="7181502" y="5044009"/>
              <a:ext cx="1975636" cy="565293"/>
            </a:xfrm>
            <a:custGeom>
              <a:avLst/>
              <a:gdLst>
                <a:gd name="T0" fmla="*/ 928 w 946"/>
                <a:gd name="T1" fmla="*/ 155 h 271"/>
                <a:gd name="T2" fmla="*/ 920 w 946"/>
                <a:gd name="T3" fmla="*/ 150 h 271"/>
                <a:gd name="T4" fmla="*/ 919 w 946"/>
                <a:gd name="T5" fmla="*/ 149 h 271"/>
                <a:gd name="T6" fmla="*/ 916 w 946"/>
                <a:gd name="T7" fmla="*/ 147 h 271"/>
                <a:gd name="T8" fmla="*/ 906 w 946"/>
                <a:gd name="T9" fmla="*/ 143 h 271"/>
                <a:gd name="T10" fmla="*/ 546 w 946"/>
                <a:gd name="T11" fmla="*/ 0 h 271"/>
                <a:gd name="T12" fmla="*/ 51 w 946"/>
                <a:gd name="T13" fmla="*/ 4 h 271"/>
                <a:gd name="T14" fmla="*/ 35 w 946"/>
                <a:gd name="T15" fmla="*/ 4 h 271"/>
                <a:gd name="T16" fmla="*/ 8 w 946"/>
                <a:gd name="T17" fmla="*/ 4 h 271"/>
                <a:gd name="T18" fmla="*/ 0 w 946"/>
                <a:gd name="T19" fmla="*/ 4 h 271"/>
                <a:gd name="T20" fmla="*/ 15 w 946"/>
                <a:gd name="T21" fmla="*/ 10 h 271"/>
                <a:gd name="T22" fmla="*/ 293 w 946"/>
                <a:gd name="T23" fmla="*/ 119 h 271"/>
                <a:gd name="T24" fmla="*/ 364 w 946"/>
                <a:gd name="T25" fmla="*/ 148 h 271"/>
                <a:gd name="T26" fmla="*/ 364 w 946"/>
                <a:gd name="T27" fmla="*/ 148 h 271"/>
                <a:gd name="T28" fmla="*/ 879 w 946"/>
                <a:gd name="T29" fmla="*/ 148 h 271"/>
                <a:gd name="T30" fmla="*/ 922 w 946"/>
                <a:gd name="T31" fmla="*/ 161 h 271"/>
                <a:gd name="T32" fmla="*/ 938 w 946"/>
                <a:gd name="T33" fmla="*/ 204 h 271"/>
                <a:gd name="T34" fmla="*/ 922 w 946"/>
                <a:gd name="T35" fmla="*/ 252 h 271"/>
                <a:gd name="T36" fmla="*/ 886 w 946"/>
                <a:gd name="T37" fmla="*/ 263 h 271"/>
                <a:gd name="T38" fmla="*/ 886 w 946"/>
                <a:gd name="T39" fmla="*/ 263 h 271"/>
                <a:gd name="T40" fmla="*/ 388 w 946"/>
                <a:gd name="T41" fmla="*/ 263 h 271"/>
                <a:gd name="T42" fmla="*/ 375 w 946"/>
                <a:gd name="T43" fmla="*/ 263 h 271"/>
                <a:gd name="T44" fmla="*/ 32 w 946"/>
                <a:gd name="T45" fmla="*/ 127 h 271"/>
                <a:gd name="T46" fmla="*/ 0 w 946"/>
                <a:gd name="T47" fmla="*/ 127 h 271"/>
                <a:gd name="T48" fmla="*/ 364 w 946"/>
                <a:gd name="T49" fmla="*/ 271 h 271"/>
                <a:gd name="T50" fmla="*/ 395 w 946"/>
                <a:gd name="T51" fmla="*/ 271 h 271"/>
                <a:gd name="T52" fmla="*/ 395 w 946"/>
                <a:gd name="T53" fmla="*/ 271 h 271"/>
                <a:gd name="T54" fmla="*/ 885 w 946"/>
                <a:gd name="T55" fmla="*/ 271 h 271"/>
                <a:gd name="T56" fmla="*/ 889 w 946"/>
                <a:gd name="T57" fmla="*/ 271 h 271"/>
                <a:gd name="T58" fmla="*/ 919 w 946"/>
                <a:gd name="T59" fmla="*/ 264 h 271"/>
                <a:gd name="T60" fmla="*/ 927 w 946"/>
                <a:gd name="T61" fmla="*/ 258 h 271"/>
                <a:gd name="T62" fmla="*/ 946 w 946"/>
                <a:gd name="T63" fmla="*/ 204 h 271"/>
                <a:gd name="T64" fmla="*/ 928 w 946"/>
                <a:gd name="T65" fmla="*/ 15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46" h="271">
                  <a:moveTo>
                    <a:pt x="928" y="155"/>
                  </a:moveTo>
                  <a:cubicBezTo>
                    <a:pt x="925" y="153"/>
                    <a:pt x="923" y="151"/>
                    <a:pt x="920" y="150"/>
                  </a:cubicBezTo>
                  <a:cubicBezTo>
                    <a:pt x="919" y="149"/>
                    <a:pt x="919" y="149"/>
                    <a:pt x="919" y="149"/>
                  </a:cubicBezTo>
                  <a:cubicBezTo>
                    <a:pt x="916" y="147"/>
                    <a:pt x="916" y="147"/>
                    <a:pt x="916" y="147"/>
                  </a:cubicBezTo>
                  <a:cubicBezTo>
                    <a:pt x="913" y="146"/>
                    <a:pt x="909" y="144"/>
                    <a:pt x="906" y="143"/>
                  </a:cubicBezTo>
                  <a:cubicBezTo>
                    <a:pt x="546" y="0"/>
                    <a:pt x="546" y="0"/>
                    <a:pt x="546" y="0"/>
                  </a:cubicBezTo>
                  <a:cubicBezTo>
                    <a:pt x="51" y="4"/>
                    <a:pt x="51" y="4"/>
                    <a:pt x="51" y="4"/>
                  </a:cubicBezTo>
                  <a:cubicBezTo>
                    <a:pt x="35" y="4"/>
                    <a:pt x="35" y="4"/>
                    <a:pt x="35" y="4"/>
                  </a:cubicBezTo>
                  <a:cubicBezTo>
                    <a:pt x="8" y="4"/>
                    <a:pt x="8" y="4"/>
                    <a:pt x="8" y="4"/>
                  </a:cubicBezTo>
                  <a:cubicBezTo>
                    <a:pt x="0" y="4"/>
                    <a:pt x="0" y="4"/>
                    <a:pt x="0" y="4"/>
                  </a:cubicBezTo>
                  <a:cubicBezTo>
                    <a:pt x="15" y="10"/>
                    <a:pt x="15" y="10"/>
                    <a:pt x="15" y="10"/>
                  </a:cubicBezTo>
                  <a:cubicBezTo>
                    <a:pt x="293" y="119"/>
                    <a:pt x="293" y="119"/>
                    <a:pt x="293" y="119"/>
                  </a:cubicBezTo>
                  <a:cubicBezTo>
                    <a:pt x="364" y="148"/>
                    <a:pt x="364" y="148"/>
                    <a:pt x="364" y="148"/>
                  </a:cubicBezTo>
                  <a:cubicBezTo>
                    <a:pt x="364" y="148"/>
                    <a:pt x="364" y="148"/>
                    <a:pt x="364" y="148"/>
                  </a:cubicBezTo>
                  <a:cubicBezTo>
                    <a:pt x="879" y="148"/>
                    <a:pt x="879" y="148"/>
                    <a:pt x="879" y="148"/>
                  </a:cubicBezTo>
                  <a:cubicBezTo>
                    <a:pt x="879" y="148"/>
                    <a:pt x="905" y="146"/>
                    <a:pt x="922" y="161"/>
                  </a:cubicBezTo>
                  <a:cubicBezTo>
                    <a:pt x="933" y="171"/>
                    <a:pt x="938" y="185"/>
                    <a:pt x="938" y="204"/>
                  </a:cubicBezTo>
                  <a:cubicBezTo>
                    <a:pt x="938" y="226"/>
                    <a:pt x="933" y="242"/>
                    <a:pt x="922" y="252"/>
                  </a:cubicBezTo>
                  <a:cubicBezTo>
                    <a:pt x="906" y="265"/>
                    <a:pt x="886" y="263"/>
                    <a:pt x="886" y="263"/>
                  </a:cubicBezTo>
                  <a:cubicBezTo>
                    <a:pt x="886" y="263"/>
                    <a:pt x="886" y="263"/>
                    <a:pt x="886" y="263"/>
                  </a:cubicBezTo>
                  <a:cubicBezTo>
                    <a:pt x="388" y="263"/>
                    <a:pt x="388" y="263"/>
                    <a:pt x="388" y="263"/>
                  </a:cubicBezTo>
                  <a:cubicBezTo>
                    <a:pt x="375" y="263"/>
                    <a:pt x="375" y="263"/>
                    <a:pt x="375" y="263"/>
                  </a:cubicBezTo>
                  <a:cubicBezTo>
                    <a:pt x="32" y="127"/>
                    <a:pt x="32" y="127"/>
                    <a:pt x="32" y="127"/>
                  </a:cubicBezTo>
                  <a:cubicBezTo>
                    <a:pt x="0" y="127"/>
                    <a:pt x="0" y="127"/>
                    <a:pt x="0" y="127"/>
                  </a:cubicBezTo>
                  <a:cubicBezTo>
                    <a:pt x="364" y="271"/>
                    <a:pt x="364" y="271"/>
                    <a:pt x="364" y="271"/>
                  </a:cubicBezTo>
                  <a:cubicBezTo>
                    <a:pt x="395" y="271"/>
                    <a:pt x="395" y="271"/>
                    <a:pt x="395" y="271"/>
                  </a:cubicBezTo>
                  <a:cubicBezTo>
                    <a:pt x="395" y="271"/>
                    <a:pt x="395" y="271"/>
                    <a:pt x="395" y="271"/>
                  </a:cubicBezTo>
                  <a:cubicBezTo>
                    <a:pt x="885" y="271"/>
                    <a:pt x="885" y="271"/>
                    <a:pt x="885" y="271"/>
                  </a:cubicBezTo>
                  <a:cubicBezTo>
                    <a:pt x="886" y="271"/>
                    <a:pt x="887" y="271"/>
                    <a:pt x="889" y="271"/>
                  </a:cubicBezTo>
                  <a:cubicBezTo>
                    <a:pt x="896" y="271"/>
                    <a:pt x="907" y="270"/>
                    <a:pt x="919" y="264"/>
                  </a:cubicBezTo>
                  <a:cubicBezTo>
                    <a:pt x="921" y="262"/>
                    <a:pt x="924" y="260"/>
                    <a:pt x="927" y="258"/>
                  </a:cubicBezTo>
                  <a:cubicBezTo>
                    <a:pt x="940" y="246"/>
                    <a:pt x="946" y="228"/>
                    <a:pt x="946" y="204"/>
                  </a:cubicBezTo>
                  <a:cubicBezTo>
                    <a:pt x="946" y="183"/>
                    <a:pt x="940" y="166"/>
                    <a:pt x="928" y="155"/>
                  </a:cubicBezTo>
                  <a:close/>
                </a:path>
              </a:pathLst>
            </a:custGeom>
            <a:solidFill>
              <a:srgbClr val="FF45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î$1ïḓè">
              <a:extLst>
                <a:ext uri="{FF2B5EF4-FFF2-40B4-BE49-F238E27FC236}">
                  <a16:creationId xmlns:a16="http://schemas.microsoft.com/office/drawing/2014/main" id="{4E1A9098-43B1-44D8-B374-5C00FFC9D36C}"/>
                </a:ext>
              </a:extLst>
            </p:cNvPr>
            <p:cNvSpPr/>
            <p:nvPr/>
          </p:nvSpPr>
          <p:spPr bwMode="auto">
            <a:xfrm>
              <a:off x="3970082" y="2999012"/>
              <a:ext cx="2276201" cy="1777957"/>
            </a:xfrm>
            <a:custGeom>
              <a:avLst/>
              <a:gdLst>
                <a:gd name="T0" fmla="*/ 1090 w 1090"/>
                <a:gd name="T1" fmla="*/ 423 h 852"/>
                <a:gd name="T2" fmla="*/ 946 w 1090"/>
                <a:gd name="T3" fmla="*/ 852 h 852"/>
                <a:gd name="T4" fmla="*/ 0 w 1090"/>
                <a:gd name="T5" fmla="*/ 852 h 852"/>
                <a:gd name="T6" fmla="*/ 7 w 1090"/>
                <a:gd name="T7" fmla="*/ 767 h 852"/>
                <a:gd name="T8" fmla="*/ 533 w 1090"/>
                <a:gd name="T9" fmla="*/ 0 h 852"/>
                <a:gd name="T10" fmla="*/ 1090 w 1090"/>
                <a:gd name="T11" fmla="*/ 423 h 852"/>
              </a:gdLst>
              <a:ahLst/>
              <a:cxnLst>
                <a:cxn ang="0">
                  <a:pos x="T0" y="T1"/>
                </a:cxn>
                <a:cxn ang="0">
                  <a:pos x="T2" y="T3"/>
                </a:cxn>
                <a:cxn ang="0">
                  <a:pos x="T4" y="T5"/>
                </a:cxn>
                <a:cxn ang="0">
                  <a:pos x="T6" y="T7"/>
                </a:cxn>
                <a:cxn ang="0">
                  <a:pos x="T8" y="T9"/>
                </a:cxn>
                <a:cxn ang="0">
                  <a:pos x="T10" y="T11"/>
                </a:cxn>
              </a:cxnLst>
              <a:rect l="0" t="0" r="r" b="b"/>
              <a:pathLst>
                <a:path w="1090" h="852">
                  <a:moveTo>
                    <a:pt x="1090" y="423"/>
                  </a:moveTo>
                  <a:cubicBezTo>
                    <a:pt x="1090" y="423"/>
                    <a:pt x="1013" y="654"/>
                    <a:pt x="946" y="852"/>
                  </a:cubicBezTo>
                  <a:cubicBezTo>
                    <a:pt x="0" y="852"/>
                    <a:pt x="0" y="852"/>
                    <a:pt x="0" y="852"/>
                  </a:cubicBezTo>
                  <a:cubicBezTo>
                    <a:pt x="1" y="825"/>
                    <a:pt x="3" y="797"/>
                    <a:pt x="7" y="767"/>
                  </a:cubicBezTo>
                  <a:cubicBezTo>
                    <a:pt x="55" y="386"/>
                    <a:pt x="533" y="0"/>
                    <a:pt x="533" y="0"/>
                  </a:cubicBezTo>
                  <a:cubicBezTo>
                    <a:pt x="595" y="428"/>
                    <a:pt x="1090" y="423"/>
                    <a:pt x="1090" y="423"/>
                  </a:cubicBezTo>
                  <a:close/>
                </a:path>
              </a:pathLst>
            </a:custGeom>
            <a:solidFill>
              <a:srgbClr val="355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îSḷíďê">
              <a:extLst>
                <a:ext uri="{FF2B5EF4-FFF2-40B4-BE49-F238E27FC236}">
                  <a16:creationId xmlns:a16="http://schemas.microsoft.com/office/drawing/2014/main" id="{7E420084-E3E1-4CA5-BE82-5DEC398505C4}"/>
                </a:ext>
              </a:extLst>
            </p:cNvPr>
            <p:cNvSpPr/>
            <p:nvPr/>
          </p:nvSpPr>
          <p:spPr bwMode="auto">
            <a:xfrm>
              <a:off x="5502962" y="2889191"/>
              <a:ext cx="2307413" cy="1898183"/>
            </a:xfrm>
            <a:custGeom>
              <a:avLst/>
              <a:gdLst>
                <a:gd name="T0" fmla="*/ 939 w 1105"/>
                <a:gd name="T1" fmla="*/ 910 h 910"/>
                <a:gd name="T2" fmla="*/ 273 w 1105"/>
                <a:gd name="T3" fmla="*/ 678 h 910"/>
                <a:gd name="T4" fmla="*/ 357 w 1105"/>
                <a:gd name="T5" fmla="*/ 340 h 910"/>
                <a:gd name="T6" fmla="*/ 820 w 1105"/>
                <a:gd name="T7" fmla="*/ 666 h 910"/>
                <a:gd name="T8" fmla="*/ 725 w 1105"/>
                <a:gd name="T9" fmla="*/ 34 h 910"/>
                <a:gd name="T10" fmla="*/ 744 w 1105"/>
                <a:gd name="T11" fmla="*/ 30 h 910"/>
                <a:gd name="T12" fmla="*/ 873 w 1105"/>
                <a:gd name="T13" fmla="*/ 4 h 910"/>
                <a:gd name="T14" fmla="*/ 888 w 1105"/>
                <a:gd name="T15" fmla="*/ 0 h 910"/>
                <a:gd name="T16" fmla="*/ 939 w 1105"/>
                <a:gd name="T17" fmla="*/ 910 h 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5" h="910">
                  <a:moveTo>
                    <a:pt x="939" y="910"/>
                  </a:moveTo>
                  <a:cubicBezTo>
                    <a:pt x="746" y="910"/>
                    <a:pt x="309" y="740"/>
                    <a:pt x="273" y="678"/>
                  </a:cubicBezTo>
                  <a:cubicBezTo>
                    <a:pt x="0" y="225"/>
                    <a:pt x="357" y="340"/>
                    <a:pt x="357" y="340"/>
                  </a:cubicBezTo>
                  <a:cubicBezTo>
                    <a:pt x="357" y="340"/>
                    <a:pt x="740" y="666"/>
                    <a:pt x="820" y="666"/>
                  </a:cubicBezTo>
                  <a:cubicBezTo>
                    <a:pt x="836" y="666"/>
                    <a:pt x="725" y="34"/>
                    <a:pt x="725" y="34"/>
                  </a:cubicBezTo>
                  <a:cubicBezTo>
                    <a:pt x="744" y="30"/>
                    <a:pt x="744" y="30"/>
                    <a:pt x="744" y="30"/>
                  </a:cubicBezTo>
                  <a:cubicBezTo>
                    <a:pt x="873" y="4"/>
                    <a:pt x="873" y="4"/>
                    <a:pt x="873" y="4"/>
                  </a:cubicBezTo>
                  <a:cubicBezTo>
                    <a:pt x="888" y="0"/>
                    <a:pt x="888" y="0"/>
                    <a:pt x="888" y="0"/>
                  </a:cubicBezTo>
                  <a:cubicBezTo>
                    <a:pt x="888" y="0"/>
                    <a:pt x="1105" y="910"/>
                    <a:pt x="939" y="910"/>
                  </a:cubicBezTo>
                  <a:close/>
                </a:path>
              </a:pathLst>
            </a:custGeom>
            <a:solidFill>
              <a:srgbClr val="355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iş1îde">
              <a:extLst>
                <a:ext uri="{FF2B5EF4-FFF2-40B4-BE49-F238E27FC236}">
                  <a16:creationId xmlns:a16="http://schemas.microsoft.com/office/drawing/2014/main" id="{59C81A6F-F868-4486-ABE5-9D9F8FBA2376}"/>
                </a:ext>
              </a:extLst>
            </p:cNvPr>
            <p:cNvSpPr/>
            <p:nvPr/>
          </p:nvSpPr>
          <p:spPr bwMode="auto">
            <a:xfrm>
              <a:off x="5450942" y="3849842"/>
              <a:ext cx="688987" cy="909787"/>
            </a:xfrm>
            <a:custGeom>
              <a:avLst/>
              <a:gdLst>
                <a:gd name="T0" fmla="*/ 596 w 596"/>
                <a:gd name="T1" fmla="*/ 183 h 787"/>
                <a:gd name="T2" fmla="*/ 275 w 596"/>
                <a:gd name="T3" fmla="*/ 621 h 787"/>
                <a:gd name="T4" fmla="*/ 153 w 596"/>
                <a:gd name="T5" fmla="*/ 787 h 787"/>
                <a:gd name="T6" fmla="*/ 110 w 596"/>
                <a:gd name="T7" fmla="*/ 565 h 787"/>
                <a:gd name="T8" fmla="*/ 0 w 596"/>
                <a:gd name="T9" fmla="*/ 0 h 787"/>
                <a:gd name="T10" fmla="*/ 596 w 596"/>
                <a:gd name="T11" fmla="*/ 183 h 787"/>
              </a:gdLst>
              <a:ahLst/>
              <a:cxnLst>
                <a:cxn ang="0">
                  <a:pos x="T0" y="T1"/>
                </a:cxn>
                <a:cxn ang="0">
                  <a:pos x="T2" y="T3"/>
                </a:cxn>
                <a:cxn ang="0">
                  <a:pos x="T4" y="T5"/>
                </a:cxn>
                <a:cxn ang="0">
                  <a:pos x="T6" y="T7"/>
                </a:cxn>
                <a:cxn ang="0">
                  <a:pos x="T8" y="T9"/>
                </a:cxn>
                <a:cxn ang="0">
                  <a:pos x="T10" y="T11"/>
                </a:cxn>
              </a:cxnLst>
              <a:rect l="0" t="0" r="r" b="b"/>
              <a:pathLst>
                <a:path w="596" h="787">
                  <a:moveTo>
                    <a:pt x="596" y="183"/>
                  </a:moveTo>
                  <a:lnTo>
                    <a:pt x="275" y="621"/>
                  </a:lnTo>
                  <a:lnTo>
                    <a:pt x="153" y="787"/>
                  </a:lnTo>
                  <a:lnTo>
                    <a:pt x="110" y="565"/>
                  </a:lnTo>
                  <a:lnTo>
                    <a:pt x="0" y="0"/>
                  </a:lnTo>
                  <a:lnTo>
                    <a:pt x="596" y="183"/>
                  </a:lnTo>
                  <a:close/>
                </a:path>
              </a:pathLst>
            </a:custGeom>
            <a:solidFill>
              <a:srgbClr val="FAFE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îṧľïḋe">
              <a:extLst>
                <a:ext uri="{FF2B5EF4-FFF2-40B4-BE49-F238E27FC236}">
                  <a16:creationId xmlns:a16="http://schemas.microsoft.com/office/drawing/2014/main" id="{E6746832-7A76-4F3D-8002-7938B8DC8DFB}"/>
                </a:ext>
              </a:extLst>
            </p:cNvPr>
            <p:cNvSpPr/>
            <p:nvPr/>
          </p:nvSpPr>
          <p:spPr bwMode="auto">
            <a:xfrm>
              <a:off x="5674053" y="3869494"/>
              <a:ext cx="372238" cy="329465"/>
            </a:xfrm>
            <a:custGeom>
              <a:avLst/>
              <a:gdLst>
                <a:gd name="T0" fmla="*/ 4 w 178"/>
                <a:gd name="T1" fmla="*/ 37 h 158"/>
                <a:gd name="T2" fmla="*/ 57 w 178"/>
                <a:gd name="T3" fmla="*/ 156 h 158"/>
                <a:gd name="T4" fmla="*/ 172 w 178"/>
                <a:gd name="T5" fmla="*/ 75 h 158"/>
                <a:gd name="T6" fmla="*/ 116 w 178"/>
                <a:gd name="T7" fmla="*/ 0 h 158"/>
                <a:gd name="T8" fmla="*/ 4 w 178"/>
                <a:gd name="T9" fmla="*/ 37 h 158"/>
              </a:gdLst>
              <a:ahLst/>
              <a:cxnLst>
                <a:cxn ang="0">
                  <a:pos x="T0" y="T1"/>
                </a:cxn>
                <a:cxn ang="0">
                  <a:pos x="T2" y="T3"/>
                </a:cxn>
                <a:cxn ang="0">
                  <a:pos x="T4" y="T5"/>
                </a:cxn>
                <a:cxn ang="0">
                  <a:pos x="T6" y="T7"/>
                </a:cxn>
                <a:cxn ang="0">
                  <a:pos x="T8" y="T9"/>
                </a:cxn>
              </a:cxnLst>
              <a:rect l="0" t="0" r="r" b="b"/>
              <a:pathLst>
                <a:path w="178" h="158">
                  <a:moveTo>
                    <a:pt x="4" y="37"/>
                  </a:moveTo>
                  <a:cubicBezTo>
                    <a:pt x="4" y="37"/>
                    <a:pt x="38" y="153"/>
                    <a:pt x="57" y="156"/>
                  </a:cubicBezTo>
                  <a:cubicBezTo>
                    <a:pt x="76" y="158"/>
                    <a:pt x="167" y="90"/>
                    <a:pt x="172" y="75"/>
                  </a:cubicBezTo>
                  <a:cubicBezTo>
                    <a:pt x="178" y="61"/>
                    <a:pt x="116" y="0"/>
                    <a:pt x="116" y="0"/>
                  </a:cubicBezTo>
                  <a:cubicBezTo>
                    <a:pt x="116" y="0"/>
                    <a:pt x="0" y="25"/>
                    <a:pt x="4" y="37"/>
                  </a:cubicBezTo>
                  <a:close/>
                </a:path>
              </a:pathLst>
            </a:custGeom>
            <a:solidFill>
              <a:srgbClr val="FF45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íṥľíḑé">
              <a:extLst>
                <a:ext uri="{FF2B5EF4-FFF2-40B4-BE49-F238E27FC236}">
                  <a16:creationId xmlns:a16="http://schemas.microsoft.com/office/drawing/2014/main" id="{E5E8B285-CF73-4D96-9222-C4D39D0584B9}"/>
                </a:ext>
              </a:extLst>
            </p:cNvPr>
            <p:cNvSpPr/>
            <p:nvPr/>
          </p:nvSpPr>
          <p:spPr bwMode="auto">
            <a:xfrm>
              <a:off x="5578104" y="4142315"/>
              <a:ext cx="246232" cy="617314"/>
            </a:xfrm>
            <a:custGeom>
              <a:avLst/>
              <a:gdLst>
                <a:gd name="T0" fmla="*/ 165 w 213"/>
                <a:gd name="T1" fmla="*/ 368 h 534"/>
                <a:gd name="T2" fmla="*/ 43 w 213"/>
                <a:gd name="T3" fmla="*/ 534 h 534"/>
                <a:gd name="T4" fmla="*/ 0 w 213"/>
                <a:gd name="T5" fmla="*/ 312 h 534"/>
                <a:gd name="T6" fmla="*/ 175 w 213"/>
                <a:gd name="T7" fmla="*/ 0 h 534"/>
                <a:gd name="T8" fmla="*/ 195 w 213"/>
                <a:gd name="T9" fmla="*/ 20 h 534"/>
                <a:gd name="T10" fmla="*/ 213 w 213"/>
                <a:gd name="T11" fmla="*/ 27 h 534"/>
                <a:gd name="T12" fmla="*/ 165 w 213"/>
                <a:gd name="T13" fmla="*/ 368 h 534"/>
              </a:gdLst>
              <a:ahLst/>
              <a:cxnLst>
                <a:cxn ang="0">
                  <a:pos x="T0" y="T1"/>
                </a:cxn>
                <a:cxn ang="0">
                  <a:pos x="T2" y="T3"/>
                </a:cxn>
                <a:cxn ang="0">
                  <a:pos x="T4" y="T5"/>
                </a:cxn>
                <a:cxn ang="0">
                  <a:pos x="T6" y="T7"/>
                </a:cxn>
                <a:cxn ang="0">
                  <a:pos x="T8" y="T9"/>
                </a:cxn>
                <a:cxn ang="0">
                  <a:pos x="T10" y="T11"/>
                </a:cxn>
                <a:cxn ang="0">
                  <a:pos x="T12" y="T13"/>
                </a:cxn>
              </a:cxnLst>
              <a:rect l="0" t="0" r="r" b="b"/>
              <a:pathLst>
                <a:path w="213" h="534">
                  <a:moveTo>
                    <a:pt x="165" y="368"/>
                  </a:moveTo>
                  <a:lnTo>
                    <a:pt x="43" y="534"/>
                  </a:lnTo>
                  <a:lnTo>
                    <a:pt x="0" y="312"/>
                  </a:lnTo>
                  <a:lnTo>
                    <a:pt x="175" y="0"/>
                  </a:lnTo>
                  <a:lnTo>
                    <a:pt x="195" y="20"/>
                  </a:lnTo>
                  <a:lnTo>
                    <a:pt x="213" y="27"/>
                  </a:lnTo>
                  <a:lnTo>
                    <a:pt x="165" y="368"/>
                  </a:lnTo>
                  <a:close/>
                </a:path>
              </a:pathLst>
            </a:custGeom>
            <a:solidFill>
              <a:srgbClr val="FF45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îŝľîdè">
              <a:extLst>
                <a:ext uri="{FF2B5EF4-FFF2-40B4-BE49-F238E27FC236}">
                  <a16:creationId xmlns:a16="http://schemas.microsoft.com/office/drawing/2014/main" id="{4A40BD7F-2F7A-4A0D-9941-3795525F88FE}"/>
                </a:ext>
              </a:extLst>
            </p:cNvPr>
            <p:cNvSpPr/>
            <p:nvPr/>
          </p:nvSpPr>
          <p:spPr bwMode="auto">
            <a:xfrm>
              <a:off x="3322711" y="3071841"/>
              <a:ext cx="1664667" cy="2109734"/>
            </a:xfrm>
            <a:custGeom>
              <a:avLst/>
              <a:gdLst>
                <a:gd name="T0" fmla="*/ 797 w 797"/>
                <a:gd name="T1" fmla="*/ 0 h 1011"/>
                <a:gd name="T2" fmla="*/ 192 w 797"/>
                <a:gd name="T3" fmla="*/ 345 h 1011"/>
                <a:gd name="T4" fmla="*/ 0 w 797"/>
                <a:gd name="T5" fmla="*/ 1011 h 1011"/>
                <a:gd name="T6" fmla="*/ 208 w 797"/>
                <a:gd name="T7" fmla="*/ 998 h 1011"/>
                <a:gd name="T8" fmla="*/ 331 w 797"/>
                <a:gd name="T9" fmla="*/ 517 h 1011"/>
                <a:gd name="T10" fmla="*/ 701 w 797"/>
                <a:gd name="T11" fmla="*/ 398 h 1011"/>
                <a:gd name="T12" fmla="*/ 797 w 797"/>
                <a:gd name="T13" fmla="*/ 0 h 1011"/>
              </a:gdLst>
              <a:ahLst/>
              <a:cxnLst>
                <a:cxn ang="0">
                  <a:pos x="T0" y="T1"/>
                </a:cxn>
                <a:cxn ang="0">
                  <a:pos x="T2" y="T3"/>
                </a:cxn>
                <a:cxn ang="0">
                  <a:pos x="T4" y="T5"/>
                </a:cxn>
                <a:cxn ang="0">
                  <a:pos x="T6" y="T7"/>
                </a:cxn>
                <a:cxn ang="0">
                  <a:pos x="T8" y="T9"/>
                </a:cxn>
                <a:cxn ang="0">
                  <a:pos x="T10" y="T11"/>
                </a:cxn>
                <a:cxn ang="0">
                  <a:pos x="T12" y="T13"/>
                </a:cxn>
              </a:cxnLst>
              <a:rect l="0" t="0" r="r" b="b"/>
              <a:pathLst>
                <a:path w="797" h="1011">
                  <a:moveTo>
                    <a:pt x="797" y="0"/>
                  </a:moveTo>
                  <a:cubicBezTo>
                    <a:pt x="797" y="0"/>
                    <a:pt x="430" y="41"/>
                    <a:pt x="192" y="345"/>
                  </a:cubicBezTo>
                  <a:cubicBezTo>
                    <a:pt x="71" y="500"/>
                    <a:pt x="16" y="771"/>
                    <a:pt x="0" y="1011"/>
                  </a:cubicBezTo>
                  <a:cubicBezTo>
                    <a:pt x="208" y="998"/>
                    <a:pt x="208" y="998"/>
                    <a:pt x="208" y="998"/>
                  </a:cubicBezTo>
                  <a:cubicBezTo>
                    <a:pt x="208" y="998"/>
                    <a:pt x="159" y="722"/>
                    <a:pt x="331" y="517"/>
                  </a:cubicBezTo>
                  <a:cubicBezTo>
                    <a:pt x="420" y="411"/>
                    <a:pt x="575" y="408"/>
                    <a:pt x="701" y="398"/>
                  </a:cubicBezTo>
                  <a:lnTo>
                    <a:pt x="797" y="0"/>
                  </a:lnTo>
                  <a:close/>
                </a:path>
              </a:pathLst>
            </a:custGeom>
            <a:solidFill>
              <a:srgbClr val="355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í$1íḋé">
              <a:extLst>
                <a:ext uri="{FF2B5EF4-FFF2-40B4-BE49-F238E27FC236}">
                  <a16:creationId xmlns:a16="http://schemas.microsoft.com/office/drawing/2014/main" id="{5D8476DF-0ECA-4FD8-B0EF-0AA2DBC501A8}"/>
                </a:ext>
              </a:extLst>
            </p:cNvPr>
            <p:cNvSpPr/>
            <p:nvPr/>
          </p:nvSpPr>
          <p:spPr bwMode="auto">
            <a:xfrm>
              <a:off x="3218669" y="5158455"/>
              <a:ext cx="706327" cy="531769"/>
            </a:xfrm>
            <a:custGeom>
              <a:avLst/>
              <a:gdLst>
                <a:gd name="T0" fmla="*/ 1 w 338"/>
                <a:gd name="T1" fmla="*/ 193 h 255"/>
                <a:gd name="T2" fmla="*/ 60 w 338"/>
                <a:gd name="T3" fmla="*/ 241 h 255"/>
                <a:gd name="T4" fmla="*/ 191 w 338"/>
                <a:gd name="T5" fmla="*/ 253 h 255"/>
                <a:gd name="T6" fmla="*/ 295 w 338"/>
                <a:gd name="T7" fmla="*/ 221 h 255"/>
                <a:gd name="T8" fmla="*/ 295 w 338"/>
                <a:gd name="T9" fmla="*/ 120 h 255"/>
                <a:gd name="T10" fmla="*/ 301 w 338"/>
                <a:gd name="T11" fmla="*/ 179 h 255"/>
                <a:gd name="T12" fmla="*/ 338 w 338"/>
                <a:gd name="T13" fmla="*/ 109 h 255"/>
                <a:gd name="T14" fmla="*/ 307 w 338"/>
                <a:gd name="T15" fmla="*/ 57 h 255"/>
                <a:gd name="T16" fmla="*/ 239 w 338"/>
                <a:gd name="T17" fmla="*/ 0 h 255"/>
                <a:gd name="T18" fmla="*/ 59 w 338"/>
                <a:gd name="T19" fmla="*/ 11 h 255"/>
                <a:gd name="T20" fmla="*/ 1 w 338"/>
                <a:gd name="T21" fmla="*/ 193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8" h="255">
                  <a:moveTo>
                    <a:pt x="1" y="193"/>
                  </a:moveTo>
                  <a:cubicBezTo>
                    <a:pt x="0" y="215"/>
                    <a:pt x="30" y="237"/>
                    <a:pt x="60" y="241"/>
                  </a:cubicBezTo>
                  <a:cubicBezTo>
                    <a:pt x="107" y="247"/>
                    <a:pt x="170" y="255"/>
                    <a:pt x="191" y="253"/>
                  </a:cubicBezTo>
                  <a:cubicBezTo>
                    <a:pt x="226" y="250"/>
                    <a:pt x="290" y="247"/>
                    <a:pt x="295" y="221"/>
                  </a:cubicBezTo>
                  <a:cubicBezTo>
                    <a:pt x="296" y="216"/>
                    <a:pt x="291" y="109"/>
                    <a:pt x="295" y="120"/>
                  </a:cubicBezTo>
                  <a:cubicBezTo>
                    <a:pt x="300" y="130"/>
                    <a:pt x="297" y="174"/>
                    <a:pt x="301" y="179"/>
                  </a:cubicBezTo>
                  <a:cubicBezTo>
                    <a:pt x="306" y="183"/>
                    <a:pt x="338" y="129"/>
                    <a:pt x="338" y="109"/>
                  </a:cubicBezTo>
                  <a:cubicBezTo>
                    <a:pt x="338" y="100"/>
                    <a:pt x="323" y="77"/>
                    <a:pt x="307" y="57"/>
                  </a:cubicBezTo>
                  <a:cubicBezTo>
                    <a:pt x="289" y="33"/>
                    <a:pt x="244" y="0"/>
                    <a:pt x="239" y="0"/>
                  </a:cubicBezTo>
                  <a:cubicBezTo>
                    <a:pt x="59" y="11"/>
                    <a:pt x="59" y="11"/>
                    <a:pt x="59" y="11"/>
                  </a:cubicBezTo>
                  <a:cubicBezTo>
                    <a:pt x="55" y="12"/>
                    <a:pt x="5" y="41"/>
                    <a:pt x="1" y="193"/>
                  </a:cubicBezTo>
                  <a:close/>
                </a:path>
              </a:pathLst>
            </a:custGeom>
            <a:solidFill>
              <a:srgbClr val="FFCFA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íṣḻîḑê">
              <a:extLst>
                <a:ext uri="{FF2B5EF4-FFF2-40B4-BE49-F238E27FC236}">
                  <a16:creationId xmlns:a16="http://schemas.microsoft.com/office/drawing/2014/main" id="{C7A29220-5D5D-4C15-A3A6-7CEA3BFBD112}"/>
                </a:ext>
              </a:extLst>
            </p:cNvPr>
            <p:cNvSpPr/>
            <p:nvPr/>
          </p:nvSpPr>
          <p:spPr bwMode="auto">
            <a:xfrm>
              <a:off x="4958478" y="2942367"/>
              <a:ext cx="1290117" cy="1195323"/>
            </a:xfrm>
            <a:custGeom>
              <a:avLst/>
              <a:gdLst>
                <a:gd name="T0" fmla="*/ 618 w 618"/>
                <a:gd name="T1" fmla="*/ 450 h 573"/>
                <a:gd name="T2" fmla="*/ 611 w 618"/>
                <a:gd name="T3" fmla="*/ 469 h 573"/>
                <a:gd name="T4" fmla="*/ 500 w 618"/>
                <a:gd name="T5" fmla="*/ 573 h 573"/>
                <a:gd name="T6" fmla="*/ 460 w 618"/>
                <a:gd name="T7" fmla="*/ 445 h 573"/>
                <a:gd name="T8" fmla="*/ 313 w 618"/>
                <a:gd name="T9" fmla="*/ 509 h 573"/>
                <a:gd name="T10" fmla="*/ 8 w 618"/>
                <a:gd name="T11" fmla="*/ 71 h 573"/>
                <a:gd name="T12" fmla="*/ 80 w 618"/>
                <a:gd name="T13" fmla="*/ 0 h 573"/>
                <a:gd name="T14" fmla="*/ 82 w 618"/>
                <a:gd name="T15" fmla="*/ 2 h 573"/>
                <a:gd name="T16" fmla="*/ 81 w 618"/>
                <a:gd name="T17" fmla="*/ 49 h 573"/>
                <a:gd name="T18" fmla="*/ 452 w 618"/>
                <a:gd name="T19" fmla="*/ 427 h 573"/>
                <a:gd name="T20" fmla="*/ 452 w 618"/>
                <a:gd name="T21" fmla="*/ 427 h 573"/>
                <a:gd name="T22" fmla="*/ 452 w 618"/>
                <a:gd name="T23" fmla="*/ 427 h 573"/>
                <a:gd name="T24" fmla="*/ 452 w 618"/>
                <a:gd name="T25" fmla="*/ 427 h 573"/>
                <a:gd name="T26" fmla="*/ 491 w 618"/>
                <a:gd name="T27" fmla="*/ 445 h 573"/>
                <a:gd name="T28" fmla="*/ 618 w 618"/>
                <a:gd name="T29" fmla="*/ 450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18" h="573">
                  <a:moveTo>
                    <a:pt x="618" y="450"/>
                  </a:moveTo>
                  <a:cubicBezTo>
                    <a:pt x="616" y="457"/>
                    <a:pt x="613" y="463"/>
                    <a:pt x="611" y="469"/>
                  </a:cubicBezTo>
                  <a:cubicBezTo>
                    <a:pt x="603" y="490"/>
                    <a:pt x="555" y="572"/>
                    <a:pt x="500" y="573"/>
                  </a:cubicBezTo>
                  <a:cubicBezTo>
                    <a:pt x="500" y="573"/>
                    <a:pt x="474" y="485"/>
                    <a:pt x="460" y="445"/>
                  </a:cubicBezTo>
                  <a:cubicBezTo>
                    <a:pt x="450" y="446"/>
                    <a:pt x="313" y="509"/>
                    <a:pt x="313" y="509"/>
                  </a:cubicBezTo>
                  <a:cubicBezTo>
                    <a:pt x="229" y="467"/>
                    <a:pt x="0" y="92"/>
                    <a:pt x="8" y="71"/>
                  </a:cubicBezTo>
                  <a:cubicBezTo>
                    <a:pt x="17" y="50"/>
                    <a:pt x="80" y="0"/>
                    <a:pt x="80" y="0"/>
                  </a:cubicBezTo>
                  <a:cubicBezTo>
                    <a:pt x="80" y="0"/>
                    <a:pt x="80" y="1"/>
                    <a:pt x="82" y="2"/>
                  </a:cubicBezTo>
                  <a:cubicBezTo>
                    <a:pt x="76" y="23"/>
                    <a:pt x="76" y="39"/>
                    <a:pt x="81" y="49"/>
                  </a:cubicBezTo>
                  <a:cubicBezTo>
                    <a:pt x="135" y="143"/>
                    <a:pt x="234" y="319"/>
                    <a:pt x="452" y="427"/>
                  </a:cubicBezTo>
                  <a:cubicBezTo>
                    <a:pt x="452" y="427"/>
                    <a:pt x="452" y="427"/>
                    <a:pt x="452" y="427"/>
                  </a:cubicBezTo>
                  <a:cubicBezTo>
                    <a:pt x="452" y="427"/>
                    <a:pt x="452" y="427"/>
                    <a:pt x="452" y="427"/>
                  </a:cubicBezTo>
                  <a:cubicBezTo>
                    <a:pt x="452" y="427"/>
                    <a:pt x="452" y="427"/>
                    <a:pt x="452" y="427"/>
                  </a:cubicBezTo>
                  <a:cubicBezTo>
                    <a:pt x="465" y="433"/>
                    <a:pt x="478" y="439"/>
                    <a:pt x="491" y="445"/>
                  </a:cubicBezTo>
                  <a:cubicBezTo>
                    <a:pt x="536" y="464"/>
                    <a:pt x="581" y="469"/>
                    <a:pt x="618" y="450"/>
                  </a:cubicBezTo>
                  <a:close/>
                </a:path>
              </a:pathLst>
            </a:custGeom>
            <a:solidFill>
              <a:srgbClr val="E1EFF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îśļîḍê">
              <a:extLst>
                <a:ext uri="{FF2B5EF4-FFF2-40B4-BE49-F238E27FC236}">
                  <a16:creationId xmlns:a16="http://schemas.microsoft.com/office/drawing/2014/main" id="{B6532706-93CA-43B5-9AC0-2BCC12B7ACB4}"/>
                </a:ext>
              </a:extLst>
            </p:cNvPr>
            <p:cNvSpPr/>
            <p:nvPr/>
          </p:nvSpPr>
          <p:spPr bwMode="auto">
            <a:xfrm>
              <a:off x="5116852" y="1222212"/>
              <a:ext cx="1975636" cy="2699304"/>
            </a:xfrm>
            <a:custGeom>
              <a:avLst/>
              <a:gdLst>
                <a:gd name="T0" fmla="*/ 914 w 946"/>
                <a:gd name="T1" fmla="*/ 445 h 1294"/>
                <a:gd name="T2" fmla="*/ 907 w 946"/>
                <a:gd name="T3" fmla="*/ 462 h 1294"/>
                <a:gd name="T4" fmla="*/ 885 w 946"/>
                <a:gd name="T5" fmla="*/ 508 h 1294"/>
                <a:gd name="T6" fmla="*/ 885 w 946"/>
                <a:gd name="T7" fmla="*/ 509 h 1294"/>
                <a:gd name="T8" fmla="*/ 883 w 946"/>
                <a:gd name="T9" fmla="*/ 513 h 1294"/>
                <a:gd name="T10" fmla="*/ 883 w 946"/>
                <a:gd name="T11" fmla="*/ 514 h 1294"/>
                <a:gd name="T12" fmla="*/ 827 w 946"/>
                <a:gd name="T13" fmla="*/ 656 h 1294"/>
                <a:gd name="T14" fmla="*/ 825 w 946"/>
                <a:gd name="T15" fmla="*/ 705 h 1294"/>
                <a:gd name="T16" fmla="*/ 825 w 946"/>
                <a:gd name="T17" fmla="*/ 705 h 1294"/>
                <a:gd name="T18" fmla="*/ 830 w 946"/>
                <a:gd name="T19" fmla="*/ 776 h 1294"/>
                <a:gd name="T20" fmla="*/ 821 w 946"/>
                <a:gd name="T21" fmla="*/ 982 h 1294"/>
                <a:gd name="T22" fmla="*/ 638 w 946"/>
                <a:gd name="T23" fmla="*/ 1055 h 1294"/>
                <a:gd name="T24" fmla="*/ 542 w 946"/>
                <a:gd name="T25" fmla="*/ 1275 h 1294"/>
                <a:gd name="T26" fmla="*/ 415 w 946"/>
                <a:gd name="T27" fmla="*/ 1270 h 1294"/>
                <a:gd name="T28" fmla="*/ 376 w 946"/>
                <a:gd name="T29" fmla="*/ 1252 h 1294"/>
                <a:gd name="T30" fmla="*/ 376 w 946"/>
                <a:gd name="T31" fmla="*/ 1252 h 1294"/>
                <a:gd name="T32" fmla="*/ 376 w 946"/>
                <a:gd name="T33" fmla="*/ 1252 h 1294"/>
                <a:gd name="T34" fmla="*/ 376 w 946"/>
                <a:gd name="T35" fmla="*/ 1252 h 1294"/>
                <a:gd name="T36" fmla="*/ 5 w 946"/>
                <a:gd name="T37" fmla="*/ 874 h 1294"/>
                <a:gd name="T38" fmla="*/ 6 w 946"/>
                <a:gd name="T39" fmla="*/ 827 h 1294"/>
                <a:gd name="T40" fmla="*/ 113 w 946"/>
                <a:gd name="T41" fmla="*/ 615 h 1294"/>
                <a:gd name="T42" fmla="*/ 113 w 946"/>
                <a:gd name="T43" fmla="*/ 615 h 1294"/>
                <a:gd name="T44" fmla="*/ 508 w 946"/>
                <a:gd name="T45" fmla="*/ 63 h 1294"/>
                <a:gd name="T46" fmla="*/ 931 w 946"/>
                <a:gd name="T47" fmla="*/ 333 h 1294"/>
                <a:gd name="T48" fmla="*/ 914 w 946"/>
                <a:gd name="T49" fmla="*/ 445 h 1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6" h="1294">
                  <a:moveTo>
                    <a:pt x="914" y="445"/>
                  </a:moveTo>
                  <a:cubicBezTo>
                    <a:pt x="912" y="451"/>
                    <a:pt x="909" y="456"/>
                    <a:pt x="907" y="462"/>
                  </a:cubicBezTo>
                  <a:cubicBezTo>
                    <a:pt x="900" y="477"/>
                    <a:pt x="893" y="493"/>
                    <a:pt x="885" y="508"/>
                  </a:cubicBezTo>
                  <a:cubicBezTo>
                    <a:pt x="885" y="509"/>
                    <a:pt x="885" y="509"/>
                    <a:pt x="885" y="509"/>
                  </a:cubicBezTo>
                  <a:cubicBezTo>
                    <a:pt x="884" y="510"/>
                    <a:pt x="884" y="511"/>
                    <a:pt x="883" y="513"/>
                  </a:cubicBezTo>
                  <a:cubicBezTo>
                    <a:pt x="883" y="514"/>
                    <a:pt x="883" y="514"/>
                    <a:pt x="883" y="514"/>
                  </a:cubicBezTo>
                  <a:cubicBezTo>
                    <a:pt x="858" y="566"/>
                    <a:pt x="833" y="618"/>
                    <a:pt x="827" y="656"/>
                  </a:cubicBezTo>
                  <a:cubicBezTo>
                    <a:pt x="825" y="672"/>
                    <a:pt x="824" y="688"/>
                    <a:pt x="825" y="705"/>
                  </a:cubicBezTo>
                  <a:cubicBezTo>
                    <a:pt x="825" y="705"/>
                    <a:pt x="825" y="705"/>
                    <a:pt x="825" y="705"/>
                  </a:cubicBezTo>
                  <a:cubicBezTo>
                    <a:pt x="825" y="728"/>
                    <a:pt x="827" y="752"/>
                    <a:pt x="830" y="776"/>
                  </a:cubicBezTo>
                  <a:cubicBezTo>
                    <a:pt x="837" y="847"/>
                    <a:pt x="846" y="922"/>
                    <a:pt x="821" y="982"/>
                  </a:cubicBezTo>
                  <a:cubicBezTo>
                    <a:pt x="779" y="1078"/>
                    <a:pt x="638" y="1055"/>
                    <a:pt x="638" y="1055"/>
                  </a:cubicBezTo>
                  <a:cubicBezTo>
                    <a:pt x="630" y="1185"/>
                    <a:pt x="593" y="1251"/>
                    <a:pt x="542" y="1275"/>
                  </a:cubicBezTo>
                  <a:cubicBezTo>
                    <a:pt x="505" y="1294"/>
                    <a:pt x="460" y="1289"/>
                    <a:pt x="415" y="1270"/>
                  </a:cubicBezTo>
                  <a:cubicBezTo>
                    <a:pt x="402" y="1264"/>
                    <a:pt x="389" y="1258"/>
                    <a:pt x="376" y="1252"/>
                  </a:cubicBezTo>
                  <a:cubicBezTo>
                    <a:pt x="376" y="1252"/>
                    <a:pt x="376" y="1252"/>
                    <a:pt x="376" y="1252"/>
                  </a:cubicBezTo>
                  <a:cubicBezTo>
                    <a:pt x="376" y="1252"/>
                    <a:pt x="376" y="1252"/>
                    <a:pt x="376" y="1252"/>
                  </a:cubicBezTo>
                  <a:cubicBezTo>
                    <a:pt x="376" y="1252"/>
                    <a:pt x="376" y="1252"/>
                    <a:pt x="376" y="1252"/>
                  </a:cubicBezTo>
                  <a:cubicBezTo>
                    <a:pt x="158" y="1144"/>
                    <a:pt x="59" y="968"/>
                    <a:pt x="5" y="874"/>
                  </a:cubicBezTo>
                  <a:cubicBezTo>
                    <a:pt x="0" y="864"/>
                    <a:pt x="0" y="848"/>
                    <a:pt x="6" y="827"/>
                  </a:cubicBezTo>
                  <a:cubicBezTo>
                    <a:pt x="19" y="778"/>
                    <a:pt x="60" y="701"/>
                    <a:pt x="113" y="615"/>
                  </a:cubicBezTo>
                  <a:cubicBezTo>
                    <a:pt x="113" y="615"/>
                    <a:pt x="113" y="615"/>
                    <a:pt x="113" y="615"/>
                  </a:cubicBezTo>
                  <a:cubicBezTo>
                    <a:pt x="263" y="376"/>
                    <a:pt x="508" y="63"/>
                    <a:pt x="508" y="63"/>
                  </a:cubicBezTo>
                  <a:cubicBezTo>
                    <a:pt x="573" y="0"/>
                    <a:pt x="894" y="277"/>
                    <a:pt x="931" y="333"/>
                  </a:cubicBezTo>
                  <a:cubicBezTo>
                    <a:pt x="946" y="355"/>
                    <a:pt x="934" y="397"/>
                    <a:pt x="914" y="445"/>
                  </a:cubicBezTo>
                </a:path>
              </a:pathLst>
            </a:custGeom>
            <a:solidFill>
              <a:srgbClr val="FFCFA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ïṣḻiḑè">
              <a:extLst>
                <a:ext uri="{FF2B5EF4-FFF2-40B4-BE49-F238E27FC236}">
                  <a16:creationId xmlns:a16="http://schemas.microsoft.com/office/drawing/2014/main" id="{E222A84D-6BC8-4978-88D1-774E40AB7E29}"/>
                </a:ext>
              </a:extLst>
            </p:cNvPr>
            <p:cNvSpPr/>
            <p:nvPr/>
          </p:nvSpPr>
          <p:spPr bwMode="auto">
            <a:xfrm>
              <a:off x="5352680" y="1123950"/>
              <a:ext cx="2349030" cy="1551377"/>
            </a:xfrm>
            <a:custGeom>
              <a:avLst/>
              <a:gdLst>
                <a:gd name="T0" fmla="*/ 260 w 1125"/>
                <a:gd name="T1" fmla="*/ 599 h 744"/>
                <a:gd name="T2" fmla="*/ 217 w 1125"/>
                <a:gd name="T3" fmla="*/ 581 h 744"/>
                <a:gd name="T4" fmla="*/ 195 w 1125"/>
                <a:gd name="T5" fmla="*/ 474 h 744"/>
                <a:gd name="T6" fmla="*/ 76 w 1125"/>
                <a:gd name="T7" fmla="*/ 636 h 744"/>
                <a:gd name="T8" fmla="*/ 0 w 1125"/>
                <a:gd name="T9" fmla="*/ 663 h 744"/>
                <a:gd name="T10" fmla="*/ 370 w 1125"/>
                <a:gd name="T11" fmla="*/ 10 h 744"/>
                <a:gd name="T12" fmla="*/ 976 w 1125"/>
                <a:gd name="T13" fmla="*/ 438 h 744"/>
                <a:gd name="T14" fmla="*/ 634 w 1125"/>
                <a:gd name="T15" fmla="*/ 318 h 744"/>
                <a:gd name="T16" fmla="*/ 260 w 1125"/>
                <a:gd name="T17" fmla="*/ 599 h 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5" h="744">
                  <a:moveTo>
                    <a:pt x="260" y="599"/>
                  </a:moveTo>
                  <a:cubicBezTo>
                    <a:pt x="217" y="581"/>
                    <a:pt x="217" y="581"/>
                    <a:pt x="217" y="581"/>
                  </a:cubicBezTo>
                  <a:cubicBezTo>
                    <a:pt x="217" y="581"/>
                    <a:pt x="247" y="490"/>
                    <a:pt x="195" y="474"/>
                  </a:cubicBezTo>
                  <a:cubicBezTo>
                    <a:pt x="158" y="463"/>
                    <a:pt x="99" y="513"/>
                    <a:pt x="76" y="636"/>
                  </a:cubicBezTo>
                  <a:cubicBezTo>
                    <a:pt x="56" y="744"/>
                    <a:pt x="0" y="663"/>
                    <a:pt x="0" y="663"/>
                  </a:cubicBezTo>
                  <a:cubicBezTo>
                    <a:pt x="0" y="663"/>
                    <a:pt x="142" y="21"/>
                    <a:pt x="370" y="10"/>
                  </a:cubicBezTo>
                  <a:cubicBezTo>
                    <a:pt x="598" y="0"/>
                    <a:pt x="1125" y="284"/>
                    <a:pt x="976" y="438"/>
                  </a:cubicBezTo>
                  <a:cubicBezTo>
                    <a:pt x="826" y="591"/>
                    <a:pt x="707" y="437"/>
                    <a:pt x="634" y="318"/>
                  </a:cubicBezTo>
                  <a:cubicBezTo>
                    <a:pt x="532" y="152"/>
                    <a:pt x="319" y="196"/>
                    <a:pt x="260" y="599"/>
                  </a:cubicBezTo>
                  <a:close/>
                </a:path>
              </a:pathLst>
            </a:custGeom>
            <a:solidFill>
              <a:srgbClr val="5E331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ľiďe">
              <a:extLst>
                <a:ext uri="{FF2B5EF4-FFF2-40B4-BE49-F238E27FC236}">
                  <a16:creationId xmlns:a16="http://schemas.microsoft.com/office/drawing/2014/main" id="{A619AD28-83F8-41C2-808D-2E7A1113950C}"/>
                </a:ext>
              </a:extLst>
            </p:cNvPr>
            <p:cNvSpPr/>
            <p:nvPr/>
          </p:nvSpPr>
          <p:spPr bwMode="auto">
            <a:xfrm>
              <a:off x="6382693" y="2581690"/>
              <a:ext cx="114446" cy="79765"/>
            </a:xfrm>
            <a:custGeom>
              <a:avLst/>
              <a:gdLst>
                <a:gd name="T0" fmla="*/ 52 w 55"/>
                <a:gd name="T1" fmla="*/ 29 h 38"/>
                <a:gd name="T2" fmla="*/ 22 w 55"/>
                <a:gd name="T3" fmla="*/ 32 h 38"/>
                <a:gd name="T4" fmla="*/ 3 w 55"/>
                <a:gd name="T5" fmla="*/ 8 h 38"/>
                <a:gd name="T6" fmla="*/ 33 w 55"/>
                <a:gd name="T7" fmla="*/ 5 h 38"/>
                <a:gd name="T8" fmla="*/ 52 w 55"/>
                <a:gd name="T9" fmla="*/ 29 h 38"/>
              </a:gdLst>
              <a:ahLst/>
              <a:cxnLst>
                <a:cxn ang="0">
                  <a:pos x="T0" y="T1"/>
                </a:cxn>
                <a:cxn ang="0">
                  <a:pos x="T2" y="T3"/>
                </a:cxn>
                <a:cxn ang="0">
                  <a:pos x="T4" y="T5"/>
                </a:cxn>
                <a:cxn ang="0">
                  <a:pos x="T6" y="T7"/>
                </a:cxn>
                <a:cxn ang="0">
                  <a:pos x="T8" y="T9"/>
                </a:cxn>
              </a:cxnLst>
              <a:rect l="0" t="0" r="r" b="b"/>
              <a:pathLst>
                <a:path w="55" h="38">
                  <a:moveTo>
                    <a:pt x="52" y="29"/>
                  </a:moveTo>
                  <a:cubicBezTo>
                    <a:pt x="49" y="36"/>
                    <a:pt x="35" y="38"/>
                    <a:pt x="22" y="32"/>
                  </a:cubicBezTo>
                  <a:cubicBezTo>
                    <a:pt x="9" y="26"/>
                    <a:pt x="0" y="16"/>
                    <a:pt x="3" y="8"/>
                  </a:cubicBezTo>
                  <a:cubicBezTo>
                    <a:pt x="7" y="1"/>
                    <a:pt x="20" y="0"/>
                    <a:pt x="33" y="5"/>
                  </a:cubicBezTo>
                  <a:cubicBezTo>
                    <a:pt x="47" y="11"/>
                    <a:pt x="55" y="22"/>
                    <a:pt x="52" y="29"/>
                  </a:cubicBezTo>
                  <a:close/>
                </a:path>
              </a:pathLst>
            </a:custGeom>
            <a:solidFill>
              <a:srgbClr val="5E331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îṩḻîḋê">
              <a:extLst>
                <a:ext uri="{FF2B5EF4-FFF2-40B4-BE49-F238E27FC236}">
                  <a16:creationId xmlns:a16="http://schemas.microsoft.com/office/drawing/2014/main" id="{D7AE9745-1F71-4731-B28A-D6F64453A4BB}"/>
                </a:ext>
              </a:extLst>
            </p:cNvPr>
            <p:cNvSpPr/>
            <p:nvPr/>
          </p:nvSpPr>
          <p:spPr bwMode="auto">
            <a:xfrm>
              <a:off x="6317956" y="2291529"/>
              <a:ext cx="258948" cy="276288"/>
            </a:xfrm>
            <a:custGeom>
              <a:avLst/>
              <a:gdLst>
                <a:gd name="T0" fmla="*/ 3 w 124"/>
                <a:gd name="T1" fmla="*/ 0 h 132"/>
                <a:gd name="T2" fmla="*/ 4 w 124"/>
                <a:gd name="T3" fmla="*/ 8 h 132"/>
                <a:gd name="T4" fmla="*/ 8 w 124"/>
                <a:gd name="T5" fmla="*/ 30 h 132"/>
                <a:gd name="T6" fmla="*/ 13 w 124"/>
                <a:gd name="T7" fmla="*/ 43 h 132"/>
                <a:gd name="T8" fmla="*/ 20 w 124"/>
                <a:gd name="T9" fmla="*/ 58 h 132"/>
                <a:gd name="T10" fmla="*/ 29 w 124"/>
                <a:gd name="T11" fmla="*/ 72 h 132"/>
                <a:gd name="T12" fmla="*/ 35 w 124"/>
                <a:gd name="T13" fmla="*/ 79 h 132"/>
                <a:gd name="T14" fmla="*/ 41 w 124"/>
                <a:gd name="T15" fmla="*/ 85 h 132"/>
                <a:gd name="T16" fmla="*/ 47 w 124"/>
                <a:gd name="T17" fmla="*/ 91 h 132"/>
                <a:gd name="T18" fmla="*/ 54 w 124"/>
                <a:gd name="T19" fmla="*/ 96 h 132"/>
                <a:gd name="T20" fmla="*/ 61 w 124"/>
                <a:gd name="T21" fmla="*/ 101 h 132"/>
                <a:gd name="T22" fmla="*/ 65 w 124"/>
                <a:gd name="T23" fmla="*/ 104 h 132"/>
                <a:gd name="T24" fmla="*/ 68 w 124"/>
                <a:gd name="T25" fmla="*/ 106 h 132"/>
                <a:gd name="T26" fmla="*/ 83 w 124"/>
                <a:gd name="T27" fmla="*/ 114 h 132"/>
                <a:gd name="T28" fmla="*/ 96 w 124"/>
                <a:gd name="T29" fmla="*/ 120 h 132"/>
                <a:gd name="T30" fmla="*/ 107 w 124"/>
                <a:gd name="T31" fmla="*/ 125 h 132"/>
                <a:gd name="T32" fmla="*/ 117 w 124"/>
                <a:gd name="T33" fmla="*/ 129 h 132"/>
                <a:gd name="T34" fmla="*/ 124 w 124"/>
                <a:gd name="T35" fmla="*/ 132 h 132"/>
                <a:gd name="T36" fmla="*/ 116 w 124"/>
                <a:gd name="T37" fmla="*/ 131 h 132"/>
                <a:gd name="T38" fmla="*/ 106 w 124"/>
                <a:gd name="T39" fmla="*/ 130 h 132"/>
                <a:gd name="T40" fmla="*/ 100 w 124"/>
                <a:gd name="T41" fmla="*/ 129 h 132"/>
                <a:gd name="T42" fmla="*/ 94 w 124"/>
                <a:gd name="T43" fmla="*/ 127 h 132"/>
                <a:gd name="T44" fmla="*/ 79 w 124"/>
                <a:gd name="T45" fmla="*/ 122 h 132"/>
                <a:gd name="T46" fmla="*/ 63 w 124"/>
                <a:gd name="T47" fmla="*/ 115 h 132"/>
                <a:gd name="T48" fmla="*/ 59 w 124"/>
                <a:gd name="T49" fmla="*/ 113 h 132"/>
                <a:gd name="T50" fmla="*/ 55 w 124"/>
                <a:gd name="T51" fmla="*/ 111 h 132"/>
                <a:gd name="T52" fmla="*/ 51 w 124"/>
                <a:gd name="T53" fmla="*/ 108 h 132"/>
                <a:gd name="T54" fmla="*/ 47 w 124"/>
                <a:gd name="T55" fmla="*/ 106 h 132"/>
                <a:gd name="T56" fmla="*/ 40 w 124"/>
                <a:gd name="T57" fmla="*/ 100 h 132"/>
                <a:gd name="T58" fmla="*/ 33 w 124"/>
                <a:gd name="T59" fmla="*/ 93 h 132"/>
                <a:gd name="T60" fmla="*/ 26 w 124"/>
                <a:gd name="T61" fmla="*/ 86 h 132"/>
                <a:gd name="T62" fmla="*/ 20 w 124"/>
                <a:gd name="T63" fmla="*/ 79 h 132"/>
                <a:gd name="T64" fmla="*/ 10 w 124"/>
                <a:gd name="T65" fmla="*/ 63 h 132"/>
                <a:gd name="T66" fmla="*/ 1 w 124"/>
                <a:gd name="T67" fmla="*/ 31 h 132"/>
                <a:gd name="T68" fmla="*/ 1 w 124"/>
                <a:gd name="T69" fmla="*/ 8 h 132"/>
                <a:gd name="T70" fmla="*/ 3 w 124"/>
                <a:gd name="T71"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4" h="132">
                  <a:moveTo>
                    <a:pt x="3" y="0"/>
                  </a:moveTo>
                  <a:cubicBezTo>
                    <a:pt x="3" y="0"/>
                    <a:pt x="3" y="3"/>
                    <a:pt x="4" y="8"/>
                  </a:cubicBezTo>
                  <a:cubicBezTo>
                    <a:pt x="4" y="13"/>
                    <a:pt x="5" y="21"/>
                    <a:pt x="8" y="30"/>
                  </a:cubicBezTo>
                  <a:cubicBezTo>
                    <a:pt x="9" y="34"/>
                    <a:pt x="11" y="39"/>
                    <a:pt x="13" y="43"/>
                  </a:cubicBezTo>
                  <a:cubicBezTo>
                    <a:pt x="14" y="48"/>
                    <a:pt x="17" y="53"/>
                    <a:pt x="20" y="58"/>
                  </a:cubicBezTo>
                  <a:cubicBezTo>
                    <a:pt x="22" y="63"/>
                    <a:pt x="26" y="67"/>
                    <a:pt x="29" y="72"/>
                  </a:cubicBezTo>
                  <a:cubicBezTo>
                    <a:pt x="31" y="74"/>
                    <a:pt x="33" y="76"/>
                    <a:pt x="35" y="79"/>
                  </a:cubicBezTo>
                  <a:cubicBezTo>
                    <a:pt x="37" y="81"/>
                    <a:pt x="39" y="83"/>
                    <a:pt x="41" y="85"/>
                  </a:cubicBezTo>
                  <a:cubicBezTo>
                    <a:pt x="43" y="87"/>
                    <a:pt x="45" y="89"/>
                    <a:pt x="47" y="91"/>
                  </a:cubicBezTo>
                  <a:cubicBezTo>
                    <a:pt x="50" y="93"/>
                    <a:pt x="52" y="95"/>
                    <a:pt x="54" y="96"/>
                  </a:cubicBezTo>
                  <a:cubicBezTo>
                    <a:pt x="57" y="98"/>
                    <a:pt x="59" y="100"/>
                    <a:pt x="61" y="101"/>
                  </a:cubicBezTo>
                  <a:cubicBezTo>
                    <a:pt x="63" y="102"/>
                    <a:pt x="64" y="103"/>
                    <a:pt x="65" y="104"/>
                  </a:cubicBezTo>
                  <a:cubicBezTo>
                    <a:pt x="66" y="105"/>
                    <a:pt x="67" y="105"/>
                    <a:pt x="68" y="106"/>
                  </a:cubicBezTo>
                  <a:cubicBezTo>
                    <a:pt x="73" y="109"/>
                    <a:pt x="78" y="112"/>
                    <a:pt x="83" y="114"/>
                  </a:cubicBezTo>
                  <a:cubicBezTo>
                    <a:pt x="87" y="116"/>
                    <a:pt x="92" y="119"/>
                    <a:pt x="96" y="120"/>
                  </a:cubicBezTo>
                  <a:cubicBezTo>
                    <a:pt x="100" y="122"/>
                    <a:pt x="104" y="124"/>
                    <a:pt x="107" y="125"/>
                  </a:cubicBezTo>
                  <a:cubicBezTo>
                    <a:pt x="111" y="127"/>
                    <a:pt x="114" y="128"/>
                    <a:pt x="117" y="129"/>
                  </a:cubicBezTo>
                  <a:cubicBezTo>
                    <a:pt x="122" y="131"/>
                    <a:pt x="124" y="132"/>
                    <a:pt x="124" y="132"/>
                  </a:cubicBezTo>
                  <a:cubicBezTo>
                    <a:pt x="124" y="132"/>
                    <a:pt x="121" y="132"/>
                    <a:pt x="116" y="131"/>
                  </a:cubicBezTo>
                  <a:cubicBezTo>
                    <a:pt x="113" y="131"/>
                    <a:pt x="110" y="131"/>
                    <a:pt x="106" y="130"/>
                  </a:cubicBezTo>
                  <a:cubicBezTo>
                    <a:pt x="104" y="129"/>
                    <a:pt x="102" y="129"/>
                    <a:pt x="100" y="129"/>
                  </a:cubicBezTo>
                  <a:cubicBezTo>
                    <a:pt x="98" y="128"/>
                    <a:pt x="96" y="127"/>
                    <a:pt x="94" y="127"/>
                  </a:cubicBezTo>
                  <a:cubicBezTo>
                    <a:pt x="89" y="126"/>
                    <a:pt x="84" y="124"/>
                    <a:pt x="79" y="122"/>
                  </a:cubicBezTo>
                  <a:cubicBezTo>
                    <a:pt x="74" y="120"/>
                    <a:pt x="69" y="118"/>
                    <a:pt x="63" y="115"/>
                  </a:cubicBezTo>
                  <a:cubicBezTo>
                    <a:pt x="62" y="115"/>
                    <a:pt x="61" y="114"/>
                    <a:pt x="59" y="113"/>
                  </a:cubicBezTo>
                  <a:cubicBezTo>
                    <a:pt x="58" y="112"/>
                    <a:pt x="57" y="112"/>
                    <a:pt x="55" y="111"/>
                  </a:cubicBezTo>
                  <a:cubicBezTo>
                    <a:pt x="54" y="110"/>
                    <a:pt x="53" y="109"/>
                    <a:pt x="51" y="108"/>
                  </a:cubicBezTo>
                  <a:cubicBezTo>
                    <a:pt x="47" y="106"/>
                    <a:pt x="47" y="106"/>
                    <a:pt x="47" y="106"/>
                  </a:cubicBezTo>
                  <a:cubicBezTo>
                    <a:pt x="45" y="104"/>
                    <a:pt x="42" y="102"/>
                    <a:pt x="40" y="100"/>
                  </a:cubicBezTo>
                  <a:cubicBezTo>
                    <a:pt x="37" y="98"/>
                    <a:pt x="35" y="96"/>
                    <a:pt x="33" y="93"/>
                  </a:cubicBezTo>
                  <a:cubicBezTo>
                    <a:pt x="30" y="91"/>
                    <a:pt x="28" y="89"/>
                    <a:pt x="26" y="86"/>
                  </a:cubicBezTo>
                  <a:cubicBezTo>
                    <a:pt x="24" y="84"/>
                    <a:pt x="22" y="81"/>
                    <a:pt x="20" y="79"/>
                  </a:cubicBezTo>
                  <a:cubicBezTo>
                    <a:pt x="16" y="74"/>
                    <a:pt x="13" y="68"/>
                    <a:pt x="10" y="63"/>
                  </a:cubicBezTo>
                  <a:cubicBezTo>
                    <a:pt x="5" y="52"/>
                    <a:pt x="2" y="41"/>
                    <a:pt x="1" y="31"/>
                  </a:cubicBezTo>
                  <a:cubicBezTo>
                    <a:pt x="0" y="22"/>
                    <a:pt x="1" y="14"/>
                    <a:pt x="1" y="8"/>
                  </a:cubicBezTo>
                  <a:cubicBezTo>
                    <a:pt x="2" y="3"/>
                    <a:pt x="3" y="0"/>
                    <a:pt x="3" y="0"/>
                  </a:cubicBezTo>
                </a:path>
              </a:pathLst>
            </a:custGeom>
            <a:solidFill>
              <a:srgbClr val="5E331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iṡļïḍé">
              <a:extLst>
                <a:ext uri="{FF2B5EF4-FFF2-40B4-BE49-F238E27FC236}">
                  <a16:creationId xmlns:a16="http://schemas.microsoft.com/office/drawing/2014/main" id="{79F8763E-68EB-47DB-90BE-C05660722197}"/>
                </a:ext>
              </a:extLst>
            </p:cNvPr>
            <p:cNvSpPr/>
            <p:nvPr/>
          </p:nvSpPr>
          <p:spPr bwMode="auto">
            <a:xfrm>
              <a:off x="5557295" y="2970112"/>
              <a:ext cx="685519" cy="471656"/>
            </a:xfrm>
            <a:custGeom>
              <a:avLst/>
              <a:gdLst>
                <a:gd name="T0" fmla="*/ 328 w 328"/>
                <a:gd name="T1" fmla="*/ 226 h 226"/>
                <a:gd name="T2" fmla="*/ 96 w 328"/>
                <a:gd name="T3" fmla="*/ 44 h 226"/>
                <a:gd name="T4" fmla="*/ 69 w 328"/>
                <a:gd name="T5" fmla="*/ 104 h 226"/>
                <a:gd name="T6" fmla="*/ 285 w 328"/>
                <a:gd name="T7" fmla="*/ 179 h 226"/>
                <a:gd name="T8" fmla="*/ 328 w 328"/>
                <a:gd name="T9" fmla="*/ 226 h 226"/>
              </a:gdLst>
              <a:ahLst/>
              <a:cxnLst>
                <a:cxn ang="0">
                  <a:pos x="T0" y="T1"/>
                </a:cxn>
                <a:cxn ang="0">
                  <a:pos x="T2" y="T3"/>
                </a:cxn>
                <a:cxn ang="0">
                  <a:pos x="T4" y="T5"/>
                </a:cxn>
                <a:cxn ang="0">
                  <a:pos x="T6" y="T7"/>
                </a:cxn>
                <a:cxn ang="0">
                  <a:pos x="T8" y="T9"/>
                </a:cxn>
              </a:cxnLst>
              <a:rect l="0" t="0" r="r" b="b"/>
              <a:pathLst>
                <a:path w="328" h="226">
                  <a:moveTo>
                    <a:pt x="328" y="226"/>
                  </a:moveTo>
                  <a:cubicBezTo>
                    <a:pt x="201" y="0"/>
                    <a:pt x="128" y="30"/>
                    <a:pt x="96" y="44"/>
                  </a:cubicBezTo>
                  <a:cubicBezTo>
                    <a:pt x="81" y="50"/>
                    <a:pt x="0" y="98"/>
                    <a:pt x="69" y="104"/>
                  </a:cubicBezTo>
                  <a:cubicBezTo>
                    <a:pt x="137" y="110"/>
                    <a:pt x="188" y="107"/>
                    <a:pt x="285" y="179"/>
                  </a:cubicBezTo>
                  <a:cubicBezTo>
                    <a:pt x="319" y="205"/>
                    <a:pt x="328" y="226"/>
                    <a:pt x="328" y="226"/>
                  </a:cubicBezTo>
                  <a:close/>
                </a:path>
              </a:pathLst>
            </a:custGeom>
            <a:solidFill>
              <a:srgbClr val="3A2F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iṣḻîḓè">
              <a:extLst>
                <a:ext uri="{FF2B5EF4-FFF2-40B4-BE49-F238E27FC236}">
                  <a16:creationId xmlns:a16="http://schemas.microsoft.com/office/drawing/2014/main" id="{7DB7ED1A-C473-4108-BDDA-C4CBF40E06E4}"/>
                </a:ext>
              </a:extLst>
            </p:cNvPr>
            <p:cNvSpPr/>
            <p:nvPr/>
          </p:nvSpPr>
          <p:spPr bwMode="auto">
            <a:xfrm>
              <a:off x="6326048" y="2145871"/>
              <a:ext cx="999956" cy="805745"/>
            </a:xfrm>
            <a:custGeom>
              <a:avLst/>
              <a:gdLst>
                <a:gd name="T0" fmla="*/ 479 w 479"/>
                <a:gd name="T1" fmla="*/ 360 h 386"/>
                <a:gd name="T2" fmla="*/ 350 w 479"/>
                <a:gd name="T3" fmla="*/ 386 h 386"/>
                <a:gd name="T4" fmla="*/ 331 w 479"/>
                <a:gd name="T5" fmla="*/ 312 h 386"/>
                <a:gd name="T6" fmla="*/ 244 w 479"/>
                <a:gd name="T7" fmla="*/ 261 h 386"/>
                <a:gd name="T8" fmla="*/ 244 w 479"/>
                <a:gd name="T9" fmla="*/ 261 h 386"/>
                <a:gd name="T10" fmla="*/ 182 w 479"/>
                <a:gd name="T11" fmla="*/ 218 h 386"/>
                <a:gd name="T12" fmla="*/ 105 w 479"/>
                <a:gd name="T13" fmla="*/ 170 h 386"/>
                <a:gd name="T14" fmla="*/ 29 w 479"/>
                <a:gd name="T15" fmla="*/ 129 h 386"/>
                <a:gd name="T16" fmla="*/ 13 w 479"/>
                <a:gd name="T17" fmla="*/ 69 h 386"/>
                <a:gd name="T18" fmla="*/ 25 w 479"/>
                <a:gd name="T19" fmla="*/ 50 h 386"/>
                <a:gd name="T20" fmla="*/ 94 w 479"/>
                <a:gd name="T21" fmla="*/ 15 h 386"/>
                <a:gd name="T22" fmla="*/ 151 w 479"/>
                <a:gd name="T23" fmla="*/ 18 h 386"/>
                <a:gd name="T24" fmla="*/ 164 w 479"/>
                <a:gd name="T25" fmla="*/ 20 h 386"/>
                <a:gd name="T26" fmla="*/ 304 w 479"/>
                <a:gd name="T27" fmla="*/ 71 h 386"/>
                <a:gd name="T28" fmla="*/ 313 w 479"/>
                <a:gd name="T29" fmla="*/ 44 h 386"/>
                <a:gd name="T30" fmla="*/ 351 w 479"/>
                <a:gd name="T31" fmla="*/ 35 h 386"/>
                <a:gd name="T32" fmla="*/ 479 w 479"/>
                <a:gd name="T33" fmla="*/ 360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9" h="386">
                  <a:moveTo>
                    <a:pt x="479" y="360"/>
                  </a:moveTo>
                  <a:cubicBezTo>
                    <a:pt x="350" y="386"/>
                    <a:pt x="350" y="386"/>
                    <a:pt x="350" y="386"/>
                  </a:cubicBezTo>
                  <a:cubicBezTo>
                    <a:pt x="331" y="312"/>
                    <a:pt x="331" y="312"/>
                    <a:pt x="331" y="312"/>
                  </a:cubicBezTo>
                  <a:cubicBezTo>
                    <a:pt x="244" y="261"/>
                    <a:pt x="244" y="261"/>
                    <a:pt x="244" y="261"/>
                  </a:cubicBezTo>
                  <a:cubicBezTo>
                    <a:pt x="244" y="261"/>
                    <a:pt x="244" y="261"/>
                    <a:pt x="244" y="261"/>
                  </a:cubicBezTo>
                  <a:cubicBezTo>
                    <a:pt x="182" y="218"/>
                    <a:pt x="182" y="218"/>
                    <a:pt x="182" y="218"/>
                  </a:cubicBezTo>
                  <a:cubicBezTo>
                    <a:pt x="161" y="203"/>
                    <a:pt x="127" y="182"/>
                    <a:pt x="105" y="170"/>
                  </a:cubicBezTo>
                  <a:cubicBezTo>
                    <a:pt x="29" y="129"/>
                    <a:pt x="29" y="129"/>
                    <a:pt x="29" y="129"/>
                  </a:cubicBezTo>
                  <a:cubicBezTo>
                    <a:pt x="7" y="117"/>
                    <a:pt x="0" y="91"/>
                    <a:pt x="13" y="69"/>
                  </a:cubicBezTo>
                  <a:cubicBezTo>
                    <a:pt x="25" y="50"/>
                    <a:pt x="25" y="50"/>
                    <a:pt x="25" y="50"/>
                  </a:cubicBezTo>
                  <a:cubicBezTo>
                    <a:pt x="38" y="29"/>
                    <a:pt x="69" y="13"/>
                    <a:pt x="94" y="15"/>
                  </a:cubicBezTo>
                  <a:cubicBezTo>
                    <a:pt x="151" y="18"/>
                    <a:pt x="151" y="18"/>
                    <a:pt x="151" y="18"/>
                  </a:cubicBezTo>
                  <a:cubicBezTo>
                    <a:pt x="155" y="18"/>
                    <a:pt x="159" y="19"/>
                    <a:pt x="164" y="20"/>
                  </a:cubicBezTo>
                  <a:cubicBezTo>
                    <a:pt x="190" y="29"/>
                    <a:pt x="302" y="70"/>
                    <a:pt x="304" y="71"/>
                  </a:cubicBezTo>
                  <a:cubicBezTo>
                    <a:pt x="305" y="71"/>
                    <a:pt x="308" y="58"/>
                    <a:pt x="313" y="44"/>
                  </a:cubicBezTo>
                  <a:cubicBezTo>
                    <a:pt x="321" y="22"/>
                    <a:pt x="334" y="0"/>
                    <a:pt x="351" y="35"/>
                  </a:cubicBezTo>
                  <a:cubicBezTo>
                    <a:pt x="366" y="65"/>
                    <a:pt x="447" y="275"/>
                    <a:pt x="479" y="360"/>
                  </a:cubicBezTo>
                </a:path>
              </a:pathLst>
            </a:custGeom>
            <a:solidFill>
              <a:srgbClr val="FFCFA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išlíďè">
              <a:extLst>
                <a:ext uri="{FF2B5EF4-FFF2-40B4-BE49-F238E27FC236}">
                  <a16:creationId xmlns:a16="http://schemas.microsoft.com/office/drawing/2014/main" id="{78B12E92-EA66-41DB-9D27-35BB5E38EA88}"/>
                </a:ext>
              </a:extLst>
            </p:cNvPr>
            <p:cNvSpPr/>
            <p:nvPr/>
          </p:nvSpPr>
          <p:spPr bwMode="auto">
            <a:xfrm>
              <a:off x="6085596" y="1881142"/>
              <a:ext cx="256636" cy="357210"/>
            </a:xfrm>
            <a:custGeom>
              <a:avLst/>
              <a:gdLst>
                <a:gd name="T0" fmla="*/ 37 w 123"/>
                <a:gd name="T1" fmla="*/ 0 h 171"/>
                <a:gd name="T2" fmla="*/ 0 w 123"/>
                <a:gd name="T3" fmla="*/ 93 h 171"/>
                <a:gd name="T4" fmla="*/ 37 w 123"/>
                <a:gd name="T5" fmla="*/ 0 h 171"/>
              </a:gdLst>
              <a:ahLst/>
              <a:cxnLst>
                <a:cxn ang="0">
                  <a:pos x="T0" y="T1"/>
                </a:cxn>
                <a:cxn ang="0">
                  <a:pos x="T2" y="T3"/>
                </a:cxn>
                <a:cxn ang="0">
                  <a:pos x="T4" y="T5"/>
                </a:cxn>
              </a:cxnLst>
              <a:rect l="0" t="0" r="r" b="b"/>
              <a:pathLst>
                <a:path w="123" h="171">
                  <a:moveTo>
                    <a:pt x="37" y="0"/>
                  </a:moveTo>
                  <a:cubicBezTo>
                    <a:pt x="37" y="0"/>
                    <a:pt x="0" y="65"/>
                    <a:pt x="0" y="93"/>
                  </a:cubicBezTo>
                  <a:cubicBezTo>
                    <a:pt x="0" y="171"/>
                    <a:pt x="123" y="146"/>
                    <a:pt x="3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îṡḷïḍê">
              <a:extLst>
                <a:ext uri="{FF2B5EF4-FFF2-40B4-BE49-F238E27FC236}">
                  <a16:creationId xmlns:a16="http://schemas.microsoft.com/office/drawing/2014/main" id="{CFBBD2D7-7A77-4EEE-9B7A-C3E27424409E}"/>
                </a:ext>
              </a:extLst>
            </p:cNvPr>
            <p:cNvSpPr/>
            <p:nvPr/>
          </p:nvSpPr>
          <p:spPr bwMode="auto">
            <a:xfrm>
              <a:off x="6841632" y="2283437"/>
              <a:ext cx="123694" cy="528301"/>
            </a:xfrm>
            <a:custGeom>
              <a:avLst/>
              <a:gdLst>
                <a:gd name="T0" fmla="*/ 0 w 59"/>
                <a:gd name="T1" fmla="*/ 227 h 253"/>
                <a:gd name="T2" fmla="*/ 2 w 59"/>
                <a:gd name="T3" fmla="*/ 253 h 253"/>
                <a:gd name="T4" fmla="*/ 0 w 59"/>
                <a:gd name="T5" fmla="*/ 227 h 253"/>
                <a:gd name="T6" fmla="*/ 59 w 59"/>
                <a:gd name="T7" fmla="*/ 0 h 253"/>
                <a:gd name="T8" fmla="*/ 59 w 59"/>
                <a:gd name="T9" fmla="*/ 0 h 253"/>
                <a:gd name="T10" fmla="*/ 57 w 59"/>
                <a:gd name="T11" fmla="*/ 4 h 253"/>
                <a:gd name="T12" fmla="*/ 57 w 59"/>
                <a:gd name="T13" fmla="*/ 4 h 253"/>
                <a:gd name="T14" fmla="*/ 58 w 59"/>
                <a:gd name="T15" fmla="*/ 4 h 253"/>
                <a:gd name="T16" fmla="*/ 59 w 59"/>
                <a:gd name="T17" fmla="*/ 0 h 253"/>
                <a:gd name="T18" fmla="*/ 59 w 59"/>
                <a:gd name="T19" fmla="*/ 0 h 253"/>
                <a:gd name="T20" fmla="*/ 59 w 59"/>
                <a:gd name="T21"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253">
                  <a:moveTo>
                    <a:pt x="0" y="227"/>
                  </a:moveTo>
                  <a:cubicBezTo>
                    <a:pt x="1" y="236"/>
                    <a:pt x="1" y="244"/>
                    <a:pt x="2" y="253"/>
                  </a:cubicBezTo>
                  <a:cubicBezTo>
                    <a:pt x="1" y="244"/>
                    <a:pt x="1" y="236"/>
                    <a:pt x="0" y="227"/>
                  </a:cubicBezTo>
                  <a:moveTo>
                    <a:pt x="59" y="0"/>
                  </a:moveTo>
                  <a:cubicBezTo>
                    <a:pt x="59" y="0"/>
                    <a:pt x="59" y="0"/>
                    <a:pt x="59" y="0"/>
                  </a:cubicBezTo>
                  <a:cubicBezTo>
                    <a:pt x="58" y="1"/>
                    <a:pt x="58" y="2"/>
                    <a:pt x="57" y="4"/>
                  </a:cubicBezTo>
                  <a:cubicBezTo>
                    <a:pt x="57" y="4"/>
                    <a:pt x="57" y="4"/>
                    <a:pt x="57" y="4"/>
                  </a:cubicBezTo>
                  <a:cubicBezTo>
                    <a:pt x="57" y="4"/>
                    <a:pt x="58" y="4"/>
                    <a:pt x="58" y="4"/>
                  </a:cubicBezTo>
                  <a:cubicBezTo>
                    <a:pt x="58" y="3"/>
                    <a:pt x="58" y="2"/>
                    <a:pt x="59" y="0"/>
                  </a:cubicBezTo>
                  <a:cubicBezTo>
                    <a:pt x="59" y="0"/>
                    <a:pt x="59" y="0"/>
                    <a:pt x="59" y="0"/>
                  </a:cubicBezTo>
                  <a:cubicBezTo>
                    <a:pt x="59" y="0"/>
                    <a:pt x="59" y="0"/>
                    <a:pt x="59" y="0"/>
                  </a:cubicBezTo>
                </a:path>
              </a:pathLst>
            </a:custGeom>
            <a:solidFill>
              <a:srgbClr val="F6E5D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iśḷîḋe">
              <a:extLst>
                <a:ext uri="{FF2B5EF4-FFF2-40B4-BE49-F238E27FC236}">
                  <a16:creationId xmlns:a16="http://schemas.microsoft.com/office/drawing/2014/main" id="{C0D65EDF-4921-4CA8-847F-002AC7BC60C2}"/>
                </a:ext>
              </a:extLst>
            </p:cNvPr>
            <p:cNvSpPr/>
            <p:nvPr/>
          </p:nvSpPr>
          <p:spPr bwMode="auto">
            <a:xfrm>
              <a:off x="6297147" y="2158587"/>
              <a:ext cx="668179" cy="682051"/>
            </a:xfrm>
            <a:custGeom>
              <a:avLst/>
              <a:gdLst>
                <a:gd name="T0" fmla="*/ 25 w 320"/>
                <a:gd name="T1" fmla="*/ 141 h 327"/>
                <a:gd name="T2" fmla="*/ 30 w 320"/>
                <a:gd name="T3" fmla="*/ 143 h 327"/>
                <a:gd name="T4" fmla="*/ 11 w 320"/>
                <a:gd name="T5" fmla="*/ 95 h 327"/>
                <a:gd name="T6" fmla="*/ 103 w 320"/>
                <a:gd name="T7" fmla="*/ 0 h 327"/>
                <a:gd name="T8" fmla="*/ 14 w 320"/>
                <a:gd name="T9" fmla="*/ 73 h 327"/>
                <a:gd name="T10" fmla="*/ 23 w 320"/>
                <a:gd name="T11" fmla="*/ 107 h 327"/>
                <a:gd name="T12" fmla="*/ 39 w 320"/>
                <a:gd name="T13" fmla="*/ 136 h 327"/>
                <a:gd name="T14" fmla="*/ 51 w 320"/>
                <a:gd name="T15" fmla="*/ 149 h 327"/>
                <a:gd name="T16" fmla="*/ 64 w 320"/>
                <a:gd name="T17" fmla="*/ 160 h 327"/>
                <a:gd name="T18" fmla="*/ 75 w 320"/>
                <a:gd name="T19" fmla="*/ 168 h 327"/>
                <a:gd name="T20" fmla="*/ 93 w 320"/>
                <a:gd name="T21" fmla="*/ 178 h 327"/>
                <a:gd name="T22" fmla="*/ 117 w 320"/>
                <a:gd name="T23" fmla="*/ 189 h 327"/>
                <a:gd name="T24" fmla="*/ 134 w 320"/>
                <a:gd name="T25" fmla="*/ 196 h 327"/>
                <a:gd name="T26" fmla="*/ 116 w 320"/>
                <a:gd name="T27" fmla="*/ 194 h 327"/>
                <a:gd name="T28" fmla="*/ 104 w 320"/>
                <a:gd name="T29" fmla="*/ 191 h 327"/>
                <a:gd name="T30" fmla="*/ 81 w 320"/>
                <a:gd name="T31" fmla="*/ 183 h 327"/>
                <a:gd name="T32" fmla="*/ 261 w 320"/>
                <a:gd name="T33" fmla="*/ 325 h 327"/>
                <a:gd name="T34" fmla="*/ 263 w 320"/>
                <a:gd name="T35" fmla="*/ 313 h 327"/>
                <a:gd name="T36" fmla="*/ 260 w 320"/>
                <a:gd name="T37" fmla="*/ 256 h 327"/>
                <a:gd name="T38" fmla="*/ 258 w 320"/>
                <a:gd name="T39" fmla="*/ 255 h 327"/>
                <a:gd name="T40" fmla="*/ 196 w 320"/>
                <a:gd name="T41" fmla="*/ 212 h 327"/>
                <a:gd name="T42" fmla="*/ 43 w 320"/>
                <a:gd name="T43" fmla="*/ 123 h 327"/>
                <a:gd name="T44" fmla="*/ 27 w 320"/>
                <a:gd name="T45" fmla="*/ 63 h 327"/>
                <a:gd name="T46" fmla="*/ 39 w 320"/>
                <a:gd name="T47" fmla="*/ 43 h 327"/>
                <a:gd name="T48" fmla="*/ 104 w 320"/>
                <a:gd name="T49" fmla="*/ 9 h 327"/>
                <a:gd name="T50" fmla="*/ 105 w 320"/>
                <a:gd name="T51" fmla="*/ 9 h 327"/>
                <a:gd name="T52" fmla="*/ 105 w 320"/>
                <a:gd name="T53" fmla="*/ 9 h 327"/>
                <a:gd name="T54" fmla="*/ 108 w 320"/>
                <a:gd name="T55" fmla="*/ 9 h 327"/>
                <a:gd name="T56" fmla="*/ 178 w 320"/>
                <a:gd name="T57" fmla="*/ 14 h 327"/>
                <a:gd name="T58" fmla="*/ 282 w 320"/>
                <a:gd name="T59" fmla="*/ 49 h 327"/>
                <a:gd name="T60" fmla="*/ 313 w 320"/>
                <a:gd name="T61" fmla="*/ 62 h 327"/>
                <a:gd name="T62" fmla="*/ 318 w 320"/>
                <a:gd name="T63" fmla="*/ 64 h 327"/>
                <a:gd name="T64" fmla="*/ 320 w 320"/>
                <a:gd name="T65" fmla="*/ 60 h 327"/>
                <a:gd name="T66" fmla="*/ 282 w 320"/>
                <a:gd name="T67" fmla="*/ 38 h 327"/>
                <a:gd name="T68" fmla="*/ 171 w 320"/>
                <a:gd name="T69" fmla="*/ 4 h 327"/>
                <a:gd name="T70" fmla="*/ 106 w 320"/>
                <a:gd name="T71" fmla="*/ 0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0" h="327">
                  <a:moveTo>
                    <a:pt x="11" y="78"/>
                  </a:moveTo>
                  <a:cubicBezTo>
                    <a:pt x="0" y="99"/>
                    <a:pt x="6" y="126"/>
                    <a:pt x="25" y="141"/>
                  </a:cubicBezTo>
                  <a:cubicBezTo>
                    <a:pt x="27" y="143"/>
                    <a:pt x="30" y="145"/>
                    <a:pt x="33" y="147"/>
                  </a:cubicBezTo>
                  <a:cubicBezTo>
                    <a:pt x="32" y="146"/>
                    <a:pt x="31" y="144"/>
                    <a:pt x="30" y="143"/>
                  </a:cubicBezTo>
                  <a:cubicBezTo>
                    <a:pt x="26" y="138"/>
                    <a:pt x="23" y="132"/>
                    <a:pt x="20" y="127"/>
                  </a:cubicBezTo>
                  <a:cubicBezTo>
                    <a:pt x="15" y="116"/>
                    <a:pt x="12" y="105"/>
                    <a:pt x="11" y="95"/>
                  </a:cubicBezTo>
                  <a:cubicBezTo>
                    <a:pt x="10" y="89"/>
                    <a:pt x="10" y="83"/>
                    <a:pt x="11" y="78"/>
                  </a:cubicBezTo>
                  <a:moveTo>
                    <a:pt x="103" y="0"/>
                  </a:moveTo>
                  <a:cubicBezTo>
                    <a:pt x="79" y="0"/>
                    <a:pt x="50" y="16"/>
                    <a:pt x="37" y="36"/>
                  </a:cubicBezTo>
                  <a:cubicBezTo>
                    <a:pt x="14" y="73"/>
                    <a:pt x="14" y="73"/>
                    <a:pt x="14" y="73"/>
                  </a:cubicBezTo>
                  <a:cubicBezTo>
                    <a:pt x="14" y="78"/>
                    <a:pt x="16" y="85"/>
                    <a:pt x="18" y="94"/>
                  </a:cubicBezTo>
                  <a:cubicBezTo>
                    <a:pt x="19" y="98"/>
                    <a:pt x="21" y="103"/>
                    <a:pt x="23" y="107"/>
                  </a:cubicBezTo>
                  <a:cubicBezTo>
                    <a:pt x="24" y="112"/>
                    <a:pt x="27" y="117"/>
                    <a:pt x="30" y="122"/>
                  </a:cubicBezTo>
                  <a:cubicBezTo>
                    <a:pt x="32" y="127"/>
                    <a:pt x="36" y="131"/>
                    <a:pt x="39" y="136"/>
                  </a:cubicBezTo>
                  <a:cubicBezTo>
                    <a:pt x="41" y="138"/>
                    <a:pt x="43" y="140"/>
                    <a:pt x="45" y="143"/>
                  </a:cubicBezTo>
                  <a:cubicBezTo>
                    <a:pt x="47" y="145"/>
                    <a:pt x="49" y="147"/>
                    <a:pt x="51" y="149"/>
                  </a:cubicBezTo>
                  <a:cubicBezTo>
                    <a:pt x="53" y="151"/>
                    <a:pt x="55" y="153"/>
                    <a:pt x="57" y="155"/>
                  </a:cubicBezTo>
                  <a:cubicBezTo>
                    <a:pt x="60" y="157"/>
                    <a:pt x="62" y="159"/>
                    <a:pt x="64" y="160"/>
                  </a:cubicBezTo>
                  <a:cubicBezTo>
                    <a:pt x="67" y="162"/>
                    <a:pt x="69" y="164"/>
                    <a:pt x="71" y="165"/>
                  </a:cubicBezTo>
                  <a:cubicBezTo>
                    <a:pt x="73" y="166"/>
                    <a:pt x="74" y="167"/>
                    <a:pt x="75" y="168"/>
                  </a:cubicBezTo>
                  <a:cubicBezTo>
                    <a:pt x="76" y="169"/>
                    <a:pt x="77" y="169"/>
                    <a:pt x="78" y="170"/>
                  </a:cubicBezTo>
                  <a:cubicBezTo>
                    <a:pt x="83" y="173"/>
                    <a:pt x="88" y="176"/>
                    <a:pt x="93" y="178"/>
                  </a:cubicBezTo>
                  <a:cubicBezTo>
                    <a:pt x="97" y="180"/>
                    <a:pt x="102" y="183"/>
                    <a:pt x="106" y="184"/>
                  </a:cubicBezTo>
                  <a:cubicBezTo>
                    <a:pt x="110" y="186"/>
                    <a:pt x="114" y="188"/>
                    <a:pt x="117" y="189"/>
                  </a:cubicBezTo>
                  <a:cubicBezTo>
                    <a:pt x="121" y="191"/>
                    <a:pt x="124" y="192"/>
                    <a:pt x="127" y="193"/>
                  </a:cubicBezTo>
                  <a:cubicBezTo>
                    <a:pt x="132" y="195"/>
                    <a:pt x="134" y="196"/>
                    <a:pt x="134" y="196"/>
                  </a:cubicBezTo>
                  <a:cubicBezTo>
                    <a:pt x="134" y="196"/>
                    <a:pt x="131" y="196"/>
                    <a:pt x="126" y="195"/>
                  </a:cubicBezTo>
                  <a:cubicBezTo>
                    <a:pt x="123" y="195"/>
                    <a:pt x="120" y="195"/>
                    <a:pt x="116" y="194"/>
                  </a:cubicBezTo>
                  <a:cubicBezTo>
                    <a:pt x="114" y="193"/>
                    <a:pt x="112" y="193"/>
                    <a:pt x="110" y="193"/>
                  </a:cubicBezTo>
                  <a:cubicBezTo>
                    <a:pt x="108" y="192"/>
                    <a:pt x="106" y="191"/>
                    <a:pt x="104" y="191"/>
                  </a:cubicBezTo>
                  <a:cubicBezTo>
                    <a:pt x="99" y="190"/>
                    <a:pt x="94" y="188"/>
                    <a:pt x="89" y="186"/>
                  </a:cubicBezTo>
                  <a:cubicBezTo>
                    <a:pt x="86" y="185"/>
                    <a:pt x="83" y="184"/>
                    <a:pt x="81" y="183"/>
                  </a:cubicBezTo>
                  <a:cubicBezTo>
                    <a:pt x="104" y="201"/>
                    <a:pt x="125" y="215"/>
                    <a:pt x="128" y="217"/>
                  </a:cubicBezTo>
                  <a:cubicBezTo>
                    <a:pt x="134" y="219"/>
                    <a:pt x="224" y="293"/>
                    <a:pt x="261" y="325"/>
                  </a:cubicBezTo>
                  <a:cubicBezTo>
                    <a:pt x="262" y="326"/>
                    <a:pt x="264" y="327"/>
                    <a:pt x="265" y="327"/>
                  </a:cubicBezTo>
                  <a:cubicBezTo>
                    <a:pt x="264" y="322"/>
                    <a:pt x="264" y="318"/>
                    <a:pt x="263" y="313"/>
                  </a:cubicBezTo>
                  <a:cubicBezTo>
                    <a:pt x="262" y="304"/>
                    <a:pt x="262" y="296"/>
                    <a:pt x="261" y="287"/>
                  </a:cubicBezTo>
                  <a:cubicBezTo>
                    <a:pt x="260" y="277"/>
                    <a:pt x="260" y="266"/>
                    <a:pt x="260" y="256"/>
                  </a:cubicBezTo>
                  <a:cubicBezTo>
                    <a:pt x="259" y="256"/>
                    <a:pt x="259" y="255"/>
                    <a:pt x="258" y="255"/>
                  </a:cubicBezTo>
                  <a:cubicBezTo>
                    <a:pt x="258" y="255"/>
                    <a:pt x="258" y="255"/>
                    <a:pt x="258" y="255"/>
                  </a:cubicBezTo>
                  <a:cubicBezTo>
                    <a:pt x="258" y="255"/>
                    <a:pt x="258" y="255"/>
                    <a:pt x="258" y="255"/>
                  </a:cubicBezTo>
                  <a:cubicBezTo>
                    <a:pt x="196" y="212"/>
                    <a:pt x="196" y="212"/>
                    <a:pt x="196" y="212"/>
                  </a:cubicBezTo>
                  <a:cubicBezTo>
                    <a:pt x="175" y="197"/>
                    <a:pt x="141" y="176"/>
                    <a:pt x="119" y="164"/>
                  </a:cubicBezTo>
                  <a:cubicBezTo>
                    <a:pt x="43" y="123"/>
                    <a:pt x="43" y="123"/>
                    <a:pt x="43" y="123"/>
                  </a:cubicBezTo>
                  <a:cubicBezTo>
                    <a:pt x="28" y="115"/>
                    <a:pt x="20" y="101"/>
                    <a:pt x="20" y="86"/>
                  </a:cubicBezTo>
                  <a:cubicBezTo>
                    <a:pt x="20" y="78"/>
                    <a:pt x="22" y="71"/>
                    <a:pt x="27" y="63"/>
                  </a:cubicBezTo>
                  <a:cubicBezTo>
                    <a:pt x="39" y="44"/>
                    <a:pt x="39" y="44"/>
                    <a:pt x="39" y="44"/>
                  </a:cubicBezTo>
                  <a:cubicBezTo>
                    <a:pt x="39" y="44"/>
                    <a:pt x="39" y="44"/>
                    <a:pt x="39" y="43"/>
                  </a:cubicBezTo>
                  <a:cubicBezTo>
                    <a:pt x="39" y="43"/>
                    <a:pt x="40" y="43"/>
                    <a:pt x="40" y="43"/>
                  </a:cubicBezTo>
                  <a:cubicBezTo>
                    <a:pt x="52" y="23"/>
                    <a:pt x="81" y="9"/>
                    <a:pt x="104" y="9"/>
                  </a:cubicBezTo>
                  <a:cubicBezTo>
                    <a:pt x="105" y="9"/>
                    <a:pt x="105" y="9"/>
                    <a:pt x="105" y="9"/>
                  </a:cubicBezTo>
                  <a:cubicBezTo>
                    <a:pt x="105" y="9"/>
                    <a:pt x="105" y="9"/>
                    <a:pt x="105" y="9"/>
                  </a:cubicBezTo>
                  <a:cubicBezTo>
                    <a:pt x="105" y="9"/>
                    <a:pt x="105" y="9"/>
                    <a:pt x="105" y="9"/>
                  </a:cubicBezTo>
                  <a:cubicBezTo>
                    <a:pt x="105" y="9"/>
                    <a:pt x="105" y="9"/>
                    <a:pt x="105" y="9"/>
                  </a:cubicBezTo>
                  <a:cubicBezTo>
                    <a:pt x="106" y="9"/>
                    <a:pt x="107" y="9"/>
                    <a:pt x="108" y="9"/>
                  </a:cubicBezTo>
                  <a:cubicBezTo>
                    <a:pt x="108" y="9"/>
                    <a:pt x="108" y="9"/>
                    <a:pt x="108" y="9"/>
                  </a:cubicBezTo>
                  <a:cubicBezTo>
                    <a:pt x="165" y="12"/>
                    <a:pt x="165" y="12"/>
                    <a:pt x="165" y="12"/>
                  </a:cubicBezTo>
                  <a:cubicBezTo>
                    <a:pt x="169" y="12"/>
                    <a:pt x="173" y="13"/>
                    <a:pt x="178" y="14"/>
                  </a:cubicBezTo>
                  <a:cubicBezTo>
                    <a:pt x="202" y="17"/>
                    <a:pt x="232" y="25"/>
                    <a:pt x="251" y="34"/>
                  </a:cubicBezTo>
                  <a:cubicBezTo>
                    <a:pt x="282" y="49"/>
                    <a:pt x="282" y="49"/>
                    <a:pt x="282" y="49"/>
                  </a:cubicBezTo>
                  <a:cubicBezTo>
                    <a:pt x="286" y="51"/>
                    <a:pt x="290" y="53"/>
                    <a:pt x="294" y="54"/>
                  </a:cubicBezTo>
                  <a:cubicBezTo>
                    <a:pt x="302" y="58"/>
                    <a:pt x="308" y="60"/>
                    <a:pt x="313" y="62"/>
                  </a:cubicBezTo>
                  <a:cubicBezTo>
                    <a:pt x="315" y="63"/>
                    <a:pt x="317" y="63"/>
                    <a:pt x="318" y="64"/>
                  </a:cubicBezTo>
                  <a:cubicBezTo>
                    <a:pt x="318" y="64"/>
                    <a:pt x="318" y="64"/>
                    <a:pt x="318" y="64"/>
                  </a:cubicBezTo>
                  <a:cubicBezTo>
                    <a:pt x="318" y="64"/>
                    <a:pt x="318" y="64"/>
                    <a:pt x="318" y="64"/>
                  </a:cubicBezTo>
                  <a:cubicBezTo>
                    <a:pt x="319" y="62"/>
                    <a:pt x="319" y="61"/>
                    <a:pt x="320" y="60"/>
                  </a:cubicBezTo>
                  <a:cubicBezTo>
                    <a:pt x="320" y="60"/>
                    <a:pt x="320" y="60"/>
                    <a:pt x="320" y="60"/>
                  </a:cubicBezTo>
                  <a:cubicBezTo>
                    <a:pt x="314" y="56"/>
                    <a:pt x="299" y="47"/>
                    <a:pt x="282" y="38"/>
                  </a:cubicBezTo>
                  <a:cubicBezTo>
                    <a:pt x="257" y="26"/>
                    <a:pt x="257" y="26"/>
                    <a:pt x="257" y="26"/>
                  </a:cubicBezTo>
                  <a:cubicBezTo>
                    <a:pt x="235" y="15"/>
                    <a:pt x="196" y="5"/>
                    <a:pt x="171" y="4"/>
                  </a:cubicBezTo>
                  <a:cubicBezTo>
                    <a:pt x="142" y="2"/>
                    <a:pt x="142" y="2"/>
                    <a:pt x="142" y="2"/>
                  </a:cubicBezTo>
                  <a:cubicBezTo>
                    <a:pt x="106" y="0"/>
                    <a:pt x="106" y="0"/>
                    <a:pt x="106" y="0"/>
                  </a:cubicBezTo>
                  <a:cubicBezTo>
                    <a:pt x="105" y="0"/>
                    <a:pt x="104" y="0"/>
                    <a:pt x="103" y="0"/>
                  </a:cubicBezTo>
                </a:path>
              </a:pathLst>
            </a:custGeom>
            <a:solidFill>
              <a:srgbClr val="F6B98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is1îḑe">
              <a:extLst>
                <a:ext uri="{FF2B5EF4-FFF2-40B4-BE49-F238E27FC236}">
                  <a16:creationId xmlns:a16="http://schemas.microsoft.com/office/drawing/2014/main" id="{800F656B-94BE-4C5F-997A-F4FD2D775005}"/>
                </a:ext>
              </a:extLst>
            </p:cNvPr>
            <p:cNvSpPr/>
            <p:nvPr/>
          </p:nvSpPr>
          <p:spPr bwMode="auto">
            <a:xfrm>
              <a:off x="6317956" y="2311181"/>
              <a:ext cx="258948" cy="256636"/>
            </a:xfrm>
            <a:custGeom>
              <a:avLst/>
              <a:gdLst>
                <a:gd name="T0" fmla="*/ 4 w 124"/>
                <a:gd name="T1" fmla="*/ 0 h 123"/>
                <a:gd name="T2" fmla="*/ 3 w 124"/>
                <a:gd name="T3" fmla="*/ 2 h 123"/>
                <a:gd name="T4" fmla="*/ 1 w 124"/>
                <a:gd name="T5" fmla="*/ 5 h 123"/>
                <a:gd name="T6" fmla="*/ 1 w 124"/>
                <a:gd name="T7" fmla="*/ 22 h 123"/>
                <a:gd name="T8" fmla="*/ 10 w 124"/>
                <a:gd name="T9" fmla="*/ 54 h 123"/>
                <a:gd name="T10" fmla="*/ 20 w 124"/>
                <a:gd name="T11" fmla="*/ 70 h 123"/>
                <a:gd name="T12" fmla="*/ 23 w 124"/>
                <a:gd name="T13" fmla="*/ 74 h 123"/>
                <a:gd name="T14" fmla="*/ 40 w 124"/>
                <a:gd name="T15" fmla="*/ 87 h 123"/>
                <a:gd name="T16" fmla="*/ 71 w 124"/>
                <a:gd name="T17" fmla="*/ 110 h 123"/>
                <a:gd name="T18" fmla="*/ 79 w 124"/>
                <a:gd name="T19" fmla="*/ 113 h 123"/>
                <a:gd name="T20" fmla="*/ 94 w 124"/>
                <a:gd name="T21" fmla="*/ 118 h 123"/>
                <a:gd name="T22" fmla="*/ 100 w 124"/>
                <a:gd name="T23" fmla="*/ 120 h 123"/>
                <a:gd name="T24" fmla="*/ 106 w 124"/>
                <a:gd name="T25" fmla="*/ 121 h 123"/>
                <a:gd name="T26" fmla="*/ 116 w 124"/>
                <a:gd name="T27" fmla="*/ 122 h 123"/>
                <a:gd name="T28" fmla="*/ 124 w 124"/>
                <a:gd name="T29" fmla="*/ 123 h 123"/>
                <a:gd name="T30" fmla="*/ 117 w 124"/>
                <a:gd name="T31" fmla="*/ 120 h 123"/>
                <a:gd name="T32" fmla="*/ 107 w 124"/>
                <a:gd name="T33" fmla="*/ 116 h 123"/>
                <a:gd name="T34" fmla="*/ 96 w 124"/>
                <a:gd name="T35" fmla="*/ 111 h 123"/>
                <a:gd name="T36" fmla="*/ 83 w 124"/>
                <a:gd name="T37" fmla="*/ 105 h 123"/>
                <a:gd name="T38" fmla="*/ 68 w 124"/>
                <a:gd name="T39" fmla="*/ 97 h 123"/>
                <a:gd name="T40" fmla="*/ 65 w 124"/>
                <a:gd name="T41" fmla="*/ 95 h 123"/>
                <a:gd name="T42" fmla="*/ 61 w 124"/>
                <a:gd name="T43" fmla="*/ 92 h 123"/>
                <a:gd name="T44" fmla="*/ 54 w 124"/>
                <a:gd name="T45" fmla="*/ 87 h 123"/>
                <a:gd name="T46" fmla="*/ 47 w 124"/>
                <a:gd name="T47" fmla="*/ 82 h 123"/>
                <a:gd name="T48" fmla="*/ 41 w 124"/>
                <a:gd name="T49" fmla="*/ 76 h 123"/>
                <a:gd name="T50" fmla="*/ 35 w 124"/>
                <a:gd name="T51" fmla="*/ 70 h 123"/>
                <a:gd name="T52" fmla="*/ 29 w 124"/>
                <a:gd name="T53" fmla="*/ 63 h 123"/>
                <a:gd name="T54" fmla="*/ 20 w 124"/>
                <a:gd name="T55" fmla="*/ 49 h 123"/>
                <a:gd name="T56" fmla="*/ 13 w 124"/>
                <a:gd name="T57" fmla="*/ 34 h 123"/>
                <a:gd name="T58" fmla="*/ 8 w 124"/>
                <a:gd name="T59" fmla="*/ 21 h 123"/>
                <a:gd name="T60" fmla="*/ 4 w 124"/>
                <a:gd name="T61"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4" h="123">
                  <a:moveTo>
                    <a:pt x="4" y="0"/>
                  </a:moveTo>
                  <a:cubicBezTo>
                    <a:pt x="3" y="2"/>
                    <a:pt x="3" y="2"/>
                    <a:pt x="3" y="2"/>
                  </a:cubicBezTo>
                  <a:cubicBezTo>
                    <a:pt x="2" y="3"/>
                    <a:pt x="1" y="4"/>
                    <a:pt x="1" y="5"/>
                  </a:cubicBezTo>
                  <a:cubicBezTo>
                    <a:pt x="0" y="10"/>
                    <a:pt x="0" y="16"/>
                    <a:pt x="1" y="22"/>
                  </a:cubicBezTo>
                  <a:cubicBezTo>
                    <a:pt x="2" y="32"/>
                    <a:pt x="5" y="43"/>
                    <a:pt x="10" y="54"/>
                  </a:cubicBezTo>
                  <a:cubicBezTo>
                    <a:pt x="13" y="59"/>
                    <a:pt x="16" y="65"/>
                    <a:pt x="20" y="70"/>
                  </a:cubicBezTo>
                  <a:cubicBezTo>
                    <a:pt x="21" y="71"/>
                    <a:pt x="22" y="73"/>
                    <a:pt x="23" y="74"/>
                  </a:cubicBezTo>
                  <a:cubicBezTo>
                    <a:pt x="29" y="78"/>
                    <a:pt x="34" y="82"/>
                    <a:pt x="40" y="87"/>
                  </a:cubicBezTo>
                  <a:cubicBezTo>
                    <a:pt x="50" y="94"/>
                    <a:pt x="61" y="102"/>
                    <a:pt x="71" y="110"/>
                  </a:cubicBezTo>
                  <a:cubicBezTo>
                    <a:pt x="73" y="111"/>
                    <a:pt x="76" y="112"/>
                    <a:pt x="79" y="113"/>
                  </a:cubicBezTo>
                  <a:cubicBezTo>
                    <a:pt x="84" y="115"/>
                    <a:pt x="89" y="117"/>
                    <a:pt x="94" y="118"/>
                  </a:cubicBezTo>
                  <a:cubicBezTo>
                    <a:pt x="96" y="118"/>
                    <a:pt x="98" y="119"/>
                    <a:pt x="100" y="120"/>
                  </a:cubicBezTo>
                  <a:cubicBezTo>
                    <a:pt x="102" y="120"/>
                    <a:pt x="104" y="120"/>
                    <a:pt x="106" y="121"/>
                  </a:cubicBezTo>
                  <a:cubicBezTo>
                    <a:pt x="110" y="122"/>
                    <a:pt x="113" y="122"/>
                    <a:pt x="116" y="122"/>
                  </a:cubicBezTo>
                  <a:cubicBezTo>
                    <a:pt x="121" y="123"/>
                    <a:pt x="124" y="123"/>
                    <a:pt x="124" y="123"/>
                  </a:cubicBezTo>
                  <a:cubicBezTo>
                    <a:pt x="124" y="123"/>
                    <a:pt x="122" y="122"/>
                    <a:pt x="117" y="120"/>
                  </a:cubicBezTo>
                  <a:cubicBezTo>
                    <a:pt x="114" y="119"/>
                    <a:pt x="111" y="118"/>
                    <a:pt x="107" y="116"/>
                  </a:cubicBezTo>
                  <a:cubicBezTo>
                    <a:pt x="104" y="115"/>
                    <a:pt x="100" y="113"/>
                    <a:pt x="96" y="111"/>
                  </a:cubicBezTo>
                  <a:cubicBezTo>
                    <a:pt x="92" y="110"/>
                    <a:pt x="87" y="107"/>
                    <a:pt x="83" y="105"/>
                  </a:cubicBezTo>
                  <a:cubicBezTo>
                    <a:pt x="78" y="103"/>
                    <a:pt x="73" y="100"/>
                    <a:pt x="68" y="97"/>
                  </a:cubicBezTo>
                  <a:cubicBezTo>
                    <a:pt x="67" y="96"/>
                    <a:pt x="66" y="96"/>
                    <a:pt x="65" y="95"/>
                  </a:cubicBezTo>
                  <a:cubicBezTo>
                    <a:pt x="64" y="94"/>
                    <a:pt x="63" y="93"/>
                    <a:pt x="61" y="92"/>
                  </a:cubicBezTo>
                  <a:cubicBezTo>
                    <a:pt x="59" y="91"/>
                    <a:pt x="57" y="89"/>
                    <a:pt x="54" y="87"/>
                  </a:cubicBezTo>
                  <a:cubicBezTo>
                    <a:pt x="52" y="86"/>
                    <a:pt x="50" y="84"/>
                    <a:pt x="47" y="82"/>
                  </a:cubicBezTo>
                  <a:cubicBezTo>
                    <a:pt x="45" y="80"/>
                    <a:pt x="43" y="78"/>
                    <a:pt x="41" y="76"/>
                  </a:cubicBezTo>
                  <a:cubicBezTo>
                    <a:pt x="39" y="74"/>
                    <a:pt x="37" y="72"/>
                    <a:pt x="35" y="70"/>
                  </a:cubicBezTo>
                  <a:cubicBezTo>
                    <a:pt x="33" y="67"/>
                    <a:pt x="31" y="65"/>
                    <a:pt x="29" y="63"/>
                  </a:cubicBezTo>
                  <a:cubicBezTo>
                    <a:pt x="26" y="58"/>
                    <a:pt x="22" y="54"/>
                    <a:pt x="20" y="49"/>
                  </a:cubicBezTo>
                  <a:cubicBezTo>
                    <a:pt x="17" y="44"/>
                    <a:pt x="14" y="39"/>
                    <a:pt x="13" y="34"/>
                  </a:cubicBezTo>
                  <a:cubicBezTo>
                    <a:pt x="11" y="30"/>
                    <a:pt x="9" y="25"/>
                    <a:pt x="8" y="21"/>
                  </a:cubicBezTo>
                  <a:cubicBezTo>
                    <a:pt x="6" y="12"/>
                    <a:pt x="4" y="5"/>
                    <a:pt x="4" y="0"/>
                  </a:cubicBezTo>
                </a:path>
              </a:pathLst>
            </a:custGeom>
            <a:solidFill>
              <a:srgbClr val="5B2E1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íS1íďê">
              <a:extLst>
                <a:ext uri="{FF2B5EF4-FFF2-40B4-BE49-F238E27FC236}">
                  <a16:creationId xmlns:a16="http://schemas.microsoft.com/office/drawing/2014/main" id="{72EAA503-2510-4863-9CC4-65D18D9A9CEA}"/>
                </a:ext>
              </a:extLst>
            </p:cNvPr>
            <p:cNvSpPr/>
            <p:nvPr/>
          </p:nvSpPr>
          <p:spPr bwMode="auto">
            <a:xfrm>
              <a:off x="6338764" y="2177083"/>
              <a:ext cx="632342" cy="513272"/>
            </a:xfrm>
            <a:custGeom>
              <a:avLst/>
              <a:gdLst>
                <a:gd name="T0" fmla="*/ 0 w 303"/>
                <a:gd name="T1" fmla="*/ 77 h 246"/>
                <a:gd name="T2" fmla="*/ 23 w 303"/>
                <a:gd name="T3" fmla="*/ 114 h 246"/>
                <a:gd name="T4" fmla="*/ 99 w 303"/>
                <a:gd name="T5" fmla="*/ 155 h 246"/>
                <a:gd name="T6" fmla="*/ 176 w 303"/>
                <a:gd name="T7" fmla="*/ 203 h 246"/>
                <a:gd name="T8" fmla="*/ 238 w 303"/>
                <a:gd name="T9" fmla="*/ 246 h 246"/>
                <a:gd name="T10" fmla="*/ 238 w 303"/>
                <a:gd name="T11" fmla="*/ 246 h 246"/>
                <a:gd name="T12" fmla="*/ 238 w 303"/>
                <a:gd name="T13" fmla="*/ 246 h 246"/>
                <a:gd name="T14" fmla="*/ 238 w 303"/>
                <a:gd name="T15" fmla="*/ 246 h 246"/>
                <a:gd name="T16" fmla="*/ 176 w 303"/>
                <a:gd name="T17" fmla="*/ 203 h 246"/>
                <a:gd name="T18" fmla="*/ 99 w 303"/>
                <a:gd name="T19" fmla="*/ 155 h 246"/>
                <a:gd name="T20" fmla="*/ 23 w 303"/>
                <a:gd name="T21" fmla="*/ 114 h 246"/>
                <a:gd name="T22" fmla="*/ 0 w 303"/>
                <a:gd name="T23" fmla="*/ 77 h 246"/>
                <a:gd name="T24" fmla="*/ 300 w 303"/>
                <a:gd name="T25" fmla="*/ 51 h 246"/>
                <a:gd name="T26" fmla="*/ 299 w 303"/>
                <a:gd name="T27" fmla="*/ 55 h 246"/>
                <a:gd name="T28" fmla="*/ 301 w 303"/>
                <a:gd name="T29" fmla="*/ 55 h 246"/>
                <a:gd name="T30" fmla="*/ 303 w 303"/>
                <a:gd name="T31" fmla="*/ 54 h 246"/>
                <a:gd name="T32" fmla="*/ 300 w 303"/>
                <a:gd name="T33" fmla="*/ 51 h 246"/>
                <a:gd name="T34" fmla="*/ 20 w 303"/>
                <a:gd name="T35" fmla="*/ 34 h 246"/>
                <a:gd name="T36" fmla="*/ 19 w 303"/>
                <a:gd name="T37" fmla="*/ 34 h 246"/>
                <a:gd name="T38" fmla="*/ 20 w 303"/>
                <a:gd name="T39" fmla="*/ 34 h 246"/>
                <a:gd name="T40" fmla="*/ 85 w 303"/>
                <a:gd name="T41" fmla="*/ 0 h 246"/>
                <a:gd name="T42" fmla="*/ 88 w 303"/>
                <a:gd name="T43" fmla="*/ 0 h 246"/>
                <a:gd name="T44" fmla="*/ 85 w 303"/>
                <a:gd name="T45" fmla="*/ 0 h 246"/>
                <a:gd name="T46" fmla="*/ 85 w 303"/>
                <a:gd name="T47" fmla="*/ 0 h 246"/>
                <a:gd name="T48" fmla="*/ 84 w 303"/>
                <a:gd name="T49" fmla="*/ 0 h 246"/>
                <a:gd name="T50" fmla="*/ 85 w 303"/>
                <a:gd name="T51" fmla="*/ 0 h 246"/>
                <a:gd name="T52" fmla="*/ 85 w 303"/>
                <a:gd name="T53"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3" h="246">
                  <a:moveTo>
                    <a:pt x="0" y="77"/>
                  </a:moveTo>
                  <a:cubicBezTo>
                    <a:pt x="0" y="92"/>
                    <a:pt x="8" y="106"/>
                    <a:pt x="23" y="114"/>
                  </a:cubicBezTo>
                  <a:cubicBezTo>
                    <a:pt x="99" y="155"/>
                    <a:pt x="99" y="155"/>
                    <a:pt x="99" y="155"/>
                  </a:cubicBezTo>
                  <a:cubicBezTo>
                    <a:pt x="121" y="167"/>
                    <a:pt x="155" y="188"/>
                    <a:pt x="176" y="203"/>
                  </a:cubicBezTo>
                  <a:cubicBezTo>
                    <a:pt x="238" y="246"/>
                    <a:pt x="238" y="246"/>
                    <a:pt x="238" y="246"/>
                  </a:cubicBezTo>
                  <a:cubicBezTo>
                    <a:pt x="238" y="246"/>
                    <a:pt x="238" y="246"/>
                    <a:pt x="238" y="246"/>
                  </a:cubicBezTo>
                  <a:cubicBezTo>
                    <a:pt x="238" y="246"/>
                    <a:pt x="238" y="246"/>
                    <a:pt x="238" y="246"/>
                  </a:cubicBezTo>
                  <a:cubicBezTo>
                    <a:pt x="238" y="246"/>
                    <a:pt x="238" y="246"/>
                    <a:pt x="238" y="246"/>
                  </a:cubicBezTo>
                  <a:cubicBezTo>
                    <a:pt x="176" y="203"/>
                    <a:pt x="176" y="203"/>
                    <a:pt x="176" y="203"/>
                  </a:cubicBezTo>
                  <a:cubicBezTo>
                    <a:pt x="155" y="188"/>
                    <a:pt x="121" y="167"/>
                    <a:pt x="99" y="155"/>
                  </a:cubicBezTo>
                  <a:cubicBezTo>
                    <a:pt x="23" y="114"/>
                    <a:pt x="23" y="114"/>
                    <a:pt x="23" y="114"/>
                  </a:cubicBezTo>
                  <a:cubicBezTo>
                    <a:pt x="8" y="106"/>
                    <a:pt x="0" y="92"/>
                    <a:pt x="0" y="77"/>
                  </a:cubicBezTo>
                  <a:moveTo>
                    <a:pt x="300" y="51"/>
                  </a:moveTo>
                  <a:cubicBezTo>
                    <a:pt x="299" y="53"/>
                    <a:pt x="299" y="54"/>
                    <a:pt x="299" y="55"/>
                  </a:cubicBezTo>
                  <a:cubicBezTo>
                    <a:pt x="300" y="55"/>
                    <a:pt x="301" y="55"/>
                    <a:pt x="301" y="55"/>
                  </a:cubicBezTo>
                  <a:cubicBezTo>
                    <a:pt x="302" y="55"/>
                    <a:pt x="303" y="55"/>
                    <a:pt x="303" y="54"/>
                  </a:cubicBezTo>
                  <a:cubicBezTo>
                    <a:pt x="303" y="54"/>
                    <a:pt x="302" y="53"/>
                    <a:pt x="300" y="51"/>
                  </a:cubicBezTo>
                  <a:moveTo>
                    <a:pt x="20" y="34"/>
                  </a:moveTo>
                  <a:cubicBezTo>
                    <a:pt x="20" y="34"/>
                    <a:pt x="19" y="34"/>
                    <a:pt x="19" y="34"/>
                  </a:cubicBezTo>
                  <a:cubicBezTo>
                    <a:pt x="19" y="34"/>
                    <a:pt x="20" y="34"/>
                    <a:pt x="20" y="34"/>
                  </a:cubicBezTo>
                  <a:moveTo>
                    <a:pt x="85" y="0"/>
                  </a:moveTo>
                  <a:cubicBezTo>
                    <a:pt x="86" y="0"/>
                    <a:pt x="87" y="0"/>
                    <a:pt x="88" y="0"/>
                  </a:cubicBezTo>
                  <a:cubicBezTo>
                    <a:pt x="87" y="0"/>
                    <a:pt x="86" y="0"/>
                    <a:pt x="85" y="0"/>
                  </a:cubicBezTo>
                  <a:moveTo>
                    <a:pt x="85" y="0"/>
                  </a:moveTo>
                  <a:cubicBezTo>
                    <a:pt x="85" y="0"/>
                    <a:pt x="85" y="0"/>
                    <a:pt x="84" y="0"/>
                  </a:cubicBezTo>
                  <a:cubicBezTo>
                    <a:pt x="85" y="0"/>
                    <a:pt x="85" y="0"/>
                    <a:pt x="85" y="0"/>
                  </a:cubicBezTo>
                  <a:cubicBezTo>
                    <a:pt x="85" y="0"/>
                    <a:pt x="85" y="0"/>
                    <a:pt x="85" y="0"/>
                  </a:cubicBezTo>
                </a:path>
              </a:pathLst>
            </a:custGeom>
            <a:solidFill>
              <a:srgbClr val="F6B98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Tree>
    <p:extLst>
      <p:ext uri="{BB962C8B-B14F-4D97-AF65-F5344CB8AC3E}">
        <p14:creationId xmlns:p14="http://schemas.microsoft.com/office/powerpoint/2010/main" val="2493192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6" name="íṣḻidê">
            <a:extLst>
              <a:ext uri="{FF2B5EF4-FFF2-40B4-BE49-F238E27FC236}">
                <a16:creationId xmlns:a16="http://schemas.microsoft.com/office/drawing/2014/main" id="{D8C60A4A-1882-463B-8C3F-F82F9F08B332}"/>
              </a:ext>
            </a:extLst>
          </p:cNvPr>
          <p:cNvSpPr/>
          <p:nvPr/>
        </p:nvSpPr>
        <p:spPr>
          <a:xfrm rot="10800000">
            <a:off x="4547713" y="4"/>
            <a:ext cx="3096574" cy="3665217"/>
          </a:xfrm>
          <a:prstGeom prst="round2SameRect">
            <a:avLst>
              <a:gd name="adj1" fmla="val 50000"/>
              <a:gd name="adj2" fmla="val 0"/>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en-US" dirty="0">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26" name="íś1íďe">
            <a:extLst>
              <a:ext uri="{FF2B5EF4-FFF2-40B4-BE49-F238E27FC236}">
                <a16:creationId xmlns:a16="http://schemas.microsoft.com/office/drawing/2014/main" id="{E1FFB4B7-6BAD-44EB-A877-9FE0A7E4A455}"/>
              </a:ext>
            </a:extLst>
          </p:cNvPr>
          <p:cNvSpPr/>
          <p:nvPr/>
        </p:nvSpPr>
        <p:spPr>
          <a:xfrm>
            <a:off x="1750185" y="4057690"/>
            <a:ext cx="1908000" cy="483084"/>
          </a:xfrm>
          <a:prstGeom prst="roundRect">
            <a:avLst/>
          </a:prstGeom>
          <a:ln w="38100">
            <a:solidFill>
              <a:srgbClr val="00A1E8"/>
            </a:solidFill>
          </a:ln>
        </p:spPr>
        <p:txBody>
          <a:bodyPr wrap="square" lIns="91440" tIns="45720" rIns="91440" bIns="45720" anchor="ctr" anchorCtr="0">
            <a:normAutofit/>
          </a:bodyPr>
          <a:lstStyle/>
          <a:p>
            <a:pPr lvl="0" algn="ctr" defTabSz="914378">
              <a:defRPr/>
            </a:pPr>
            <a:endParaRPr lang="zh-CN" altLang="en-US" sz="1600" b="1" dirty="0">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24" name="íşļiḑe">
            <a:extLst>
              <a:ext uri="{FF2B5EF4-FFF2-40B4-BE49-F238E27FC236}">
                <a16:creationId xmlns:a16="http://schemas.microsoft.com/office/drawing/2014/main" id="{A2CAA2B5-E8BD-4FB4-B9D8-F50F26769A3E}"/>
              </a:ext>
            </a:extLst>
          </p:cNvPr>
          <p:cNvSpPr/>
          <p:nvPr/>
        </p:nvSpPr>
        <p:spPr>
          <a:xfrm>
            <a:off x="5115229" y="4673161"/>
            <a:ext cx="1908000" cy="483084"/>
          </a:xfrm>
          <a:prstGeom prst="roundRect">
            <a:avLst/>
          </a:prstGeom>
          <a:ln w="38100">
            <a:solidFill>
              <a:srgbClr val="00A1E8"/>
            </a:solidFill>
          </a:ln>
        </p:spPr>
        <p:txBody>
          <a:bodyPr wrap="square" lIns="91440" tIns="45720" rIns="91440" bIns="45720" anchor="ctr" anchorCtr="0">
            <a:normAutofit/>
          </a:bodyPr>
          <a:lstStyle/>
          <a:p>
            <a:pPr lvl="0" algn="ctr" defTabSz="914378">
              <a:defRPr/>
            </a:pPr>
            <a:endParaRPr lang="zh-CN" altLang="en-US" sz="1600" b="1" dirty="0">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22" name="îšḷîḍê">
            <a:extLst>
              <a:ext uri="{FF2B5EF4-FFF2-40B4-BE49-F238E27FC236}">
                <a16:creationId xmlns:a16="http://schemas.microsoft.com/office/drawing/2014/main" id="{CDE15DCA-CA17-4C4B-B347-38C2762E8D7A}"/>
              </a:ext>
            </a:extLst>
          </p:cNvPr>
          <p:cNvSpPr/>
          <p:nvPr/>
        </p:nvSpPr>
        <p:spPr>
          <a:xfrm>
            <a:off x="8480273" y="4057690"/>
            <a:ext cx="1908000" cy="483084"/>
          </a:xfrm>
          <a:prstGeom prst="roundRect">
            <a:avLst/>
          </a:prstGeom>
          <a:ln w="38100">
            <a:solidFill>
              <a:srgbClr val="00A1E8"/>
            </a:solidFill>
          </a:ln>
        </p:spPr>
        <p:txBody>
          <a:bodyPr wrap="square" lIns="91440" tIns="45720" rIns="91440" bIns="45720" anchor="ctr" anchorCtr="0">
            <a:normAutofit/>
          </a:bodyPr>
          <a:lstStyle/>
          <a:p>
            <a:pPr lvl="0" algn="ctr" defTabSz="914378">
              <a:defRPr/>
            </a:pPr>
            <a:endParaRPr lang="zh-CN" altLang="en-US" sz="1600" b="1" dirty="0">
              <a:latin typeface="Arial" panose="020B0604020202020204" pitchFamily="34" charset="0"/>
              <a:ea typeface="Microsoft YaHei" panose="020B0503020204020204" pitchFamily="34" charset="-122"/>
              <a:cs typeface="+mn-ea"/>
              <a:sym typeface="Arial" panose="020B0604020202020204" pitchFamily="34" charset="0"/>
            </a:endParaRPr>
          </a:p>
        </p:txBody>
      </p:sp>
      <p:grpSp>
        <p:nvGrpSpPr>
          <p:cNvPr id="2" name="组合 1">
            <a:extLst>
              <a:ext uri="{FF2B5EF4-FFF2-40B4-BE49-F238E27FC236}">
                <a16:creationId xmlns:a16="http://schemas.microsoft.com/office/drawing/2014/main" id="{1E4CA16F-E7FF-4045-9917-FF4AD0B06ABD}"/>
              </a:ext>
            </a:extLst>
          </p:cNvPr>
          <p:cNvGrpSpPr/>
          <p:nvPr/>
        </p:nvGrpSpPr>
        <p:grpSpPr>
          <a:xfrm>
            <a:off x="4720084" y="718922"/>
            <a:ext cx="2751829" cy="2751828"/>
            <a:chOff x="4720084" y="1044842"/>
            <a:chExt cx="2751829" cy="2751828"/>
          </a:xfrm>
        </p:grpSpPr>
        <p:sp>
          <p:nvSpPr>
            <p:cNvPr id="7" name="îṣḷïḍê">
              <a:extLst>
                <a:ext uri="{FF2B5EF4-FFF2-40B4-BE49-F238E27FC236}">
                  <a16:creationId xmlns:a16="http://schemas.microsoft.com/office/drawing/2014/main" id="{2AA7295C-0794-4CA5-A31A-C932F3C70FE9}"/>
                </a:ext>
              </a:extLst>
            </p:cNvPr>
            <p:cNvSpPr/>
            <p:nvPr/>
          </p:nvSpPr>
          <p:spPr>
            <a:xfrm>
              <a:off x="4720084" y="1044842"/>
              <a:ext cx="2751829" cy="2751828"/>
            </a:xfrm>
            <a:prstGeom prst="ellipse">
              <a:avLst/>
            </a:prstGeom>
            <a:blipFill dpi="0" rotWithShape="1">
              <a:blip r:embed="rId3"/>
              <a:srcRect/>
              <a:stretch>
                <a:fillRect l="-16744" r="-16589"/>
              </a:stretch>
            </a:blipFill>
            <a:ln w="5715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lang="zh-CN" altLang="en-US" dirty="0">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17" name="íš1îde">
              <a:extLst>
                <a:ext uri="{FF2B5EF4-FFF2-40B4-BE49-F238E27FC236}">
                  <a16:creationId xmlns:a16="http://schemas.microsoft.com/office/drawing/2014/main" id="{5B8C3DF5-AAB7-4159-B169-9E93E7580A53}"/>
                </a:ext>
              </a:extLst>
            </p:cNvPr>
            <p:cNvSpPr/>
            <p:nvPr/>
          </p:nvSpPr>
          <p:spPr>
            <a:xfrm>
              <a:off x="5691608" y="2016366"/>
              <a:ext cx="808780" cy="8087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dirty="0">
                <a:latin typeface="Arial" panose="020B0604020202020204" pitchFamily="34" charset="0"/>
                <a:ea typeface="Microsoft YaHei" panose="020B0503020204020204" pitchFamily="34" charset="-122"/>
                <a:cs typeface="+mn-ea"/>
                <a:sym typeface="Arial" panose="020B0604020202020204" pitchFamily="34" charset="0"/>
              </a:endParaRPr>
            </a:p>
          </p:txBody>
        </p:sp>
      </p:grpSp>
      <p:sp>
        <p:nvSpPr>
          <p:cNvPr id="330" name="iṥľiḋe">
            <a:extLst>
              <a:ext uri="{FF2B5EF4-FFF2-40B4-BE49-F238E27FC236}">
                <a16:creationId xmlns:a16="http://schemas.microsoft.com/office/drawing/2014/main" id="{A26C4D52-6B3D-483A-A32F-7507ED9036D0}"/>
              </a:ext>
            </a:extLst>
          </p:cNvPr>
          <p:cNvSpPr txBox="1"/>
          <p:nvPr/>
        </p:nvSpPr>
        <p:spPr>
          <a:xfrm>
            <a:off x="1961671" y="4082542"/>
            <a:ext cx="1485027" cy="415274"/>
          </a:xfrm>
          <a:prstGeom prst="rect">
            <a:avLst/>
          </a:prstGeom>
          <a:noFill/>
        </p:spPr>
        <p:txBody>
          <a:bodyPr wrap="square" lIns="91440" tIns="45720" rIns="91440" bIns="45720" anchor="ctr" anchorCtr="0">
            <a:noAutofit/>
          </a:bodyPr>
          <a:lstStyle/>
          <a:p>
            <a:pPr algn="ctr"/>
            <a:r>
              <a:rPr lang="zh-CN" altLang="en-US" sz="3200" b="1" dirty="0">
                <a:solidFill>
                  <a:srgbClr val="E1691F"/>
                </a:solidFill>
                <a:latin typeface="Arial" panose="020B0604020202020204" pitchFamily="34" charset="0"/>
                <a:ea typeface="Microsoft YaHei" panose="020B0503020204020204" pitchFamily="34" charset="-122"/>
                <a:cs typeface="+mn-ea"/>
                <a:sym typeface="Arial" panose="020B0604020202020204" pitchFamily="34" charset="0"/>
              </a:rPr>
              <a:t>织梦</a:t>
            </a:r>
          </a:p>
        </p:txBody>
      </p:sp>
      <p:sp>
        <p:nvSpPr>
          <p:cNvPr id="331" name="iś1íḍe">
            <a:extLst>
              <a:ext uri="{FF2B5EF4-FFF2-40B4-BE49-F238E27FC236}">
                <a16:creationId xmlns:a16="http://schemas.microsoft.com/office/drawing/2014/main" id="{1C485D25-3875-4CFF-ADC9-559992D671B6}"/>
              </a:ext>
            </a:extLst>
          </p:cNvPr>
          <p:cNvSpPr txBox="1"/>
          <p:nvPr/>
        </p:nvSpPr>
        <p:spPr>
          <a:xfrm>
            <a:off x="5353484" y="4698013"/>
            <a:ext cx="1485027" cy="415274"/>
          </a:xfrm>
          <a:prstGeom prst="rect">
            <a:avLst/>
          </a:prstGeom>
          <a:noFill/>
        </p:spPr>
        <p:txBody>
          <a:bodyPr wrap="square" lIns="91440" tIns="45720" rIns="91440" bIns="45720" anchor="ctr" anchorCtr="0">
            <a:noAutofit/>
          </a:bodyPr>
          <a:lstStyle/>
          <a:p>
            <a:pPr algn="ctr"/>
            <a:r>
              <a:rPr lang="zh-CN" altLang="en-US" sz="3200" b="1" dirty="0" smtClean="0">
                <a:solidFill>
                  <a:srgbClr val="00B050"/>
                </a:solidFill>
                <a:latin typeface="Arial" panose="020B0604020202020204" pitchFamily="34" charset="0"/>
                <a:ea typeface="Microsoft YaHei" panose="020B0503020204020204" pitchFamily="34" charset="-122"/>
                <a:cs typeface="+mn-ea"/>
                <a:sym typeface="Arial" panose="020B0604020202020204" pitchFamily="34" charset="0"/>
              </a:rPr>
              <a:t>解梦</a:t>
            </a:r>
            <a:endParaRPr lang="zh-CN" altLang="en-US" sz="3200" b="1" dirty="0">
              <a:solidFill>
                <a:srgbClr val="00B050"/>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332" name="ïSlïḋé">
            <a:extLst>
              <a:ext uri="{FF2B5EF4-FFF2-40B4-BE49-F238E27FC236}">
                <a16:creationId xmlns:a16="http://schemas.microsoft.com/office/drawing/2014/main" id="{70E14F9C-3A3D-4F46-803F-5CA1E7DD96DC}"/>
              </a:ext>
            </a:extLst>
          </p:cNvPr>
          <p:cNvSpPr txBox="1"/>
          <p:nvPr/>
        </p:nvSpPr>
        <p:spPr>
          <a:xfrm>
            <a:off x="8660488" y="4082542"/>
            <a:ext cx="1555772" cy="415274"/>
          </a:xfrm>
          <a:prstGeom prst="rect">
            <a:avLst/>
          </a:prstGeom>
          <a:noFill/>
        </p:spPr>
        <p:txBody>
          <a:bodyPr wrap="square" lIns="91440" tIns="45720" rIns="91440" bIns="45720" anchor="ctr" anchorCtr="0">
            <a:noAutofit/>
          </a:bodyPr>
          <a:lstStyle/>
          <a:p>
            <a:pPr algn="ctr"/>
            <a:r>
              <a:rPr lang="zh-CN" altLang="en-US" sz="3200" b="1" dirty="0" smtClean="0">
                <a:solidFill>
                  <a:srgbClr val="FFC000"/>
                </a:solidFill>
                <a:latin typeface="Arial" panose="020B0604020202020204" pitchFamily="34" charset="0"/>
                <a:ea typeface="Microsoft YaHei" panose="020B0503020204020204" pitchFamily="34" charset="-122"/>
                <a:cs typeface="+mn-ea"/>
                <a:sym typeface="Arial" panose="020B0604020202020204" pitchFamily="34" charset="0"/>
              </a:rPr>
              <a:t>圆梦</a:t>
            </a:r>
            <a:endParaRPr lang="zh-CN" altLang="en-US" sz="3200" b="1" dirty="0">
              <a:solidFill>
                <a:srgbClr val="FFC000"/>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333" name="îś1ïḍè">
            <a:extLst>
              <a:ext uri="{FF2B5EF4-FFF2-40B4-BE49-F238E27FC236}">
                <a16:creationId xmlns:a16="http://schemas.microsoft.com/office/drawing/2014/main" id="{8F258FE4-FA84-4CBF-B137-C0FA4C95C637}"/>
              </a:ext>
            </a:extLst>
          </p:cNvPr>
          <p:cNvSpPr txBox="1"/>
          <p:nvPr/>
        </p:nvSpPr>
        <p:spPr>
          <a:xfrm>
            <a:off x="705884" y="4880195"/>
            <a:ext cx="3976844" cy="441179"/>
          </a:xfrm>
          <a:prstGeom prst="rect">
            <a:avLst/>
          </a:prstGeom>
        </p:spPr>
        <p:txBody>
          <a:bodyPr vert="horz" wrap="square" lIns="91440" tIns="45720" rIns="91440" bIns="45720" anchor="ctr" anchorCtr="0">
            <a:noAutofit/>
          </a:bodyPr>
          <a:lstStyle/>
          <a:p>
            <a:pPr algn="ctr">
              <a:lnSpc>
                <a:spcPct val="120000"/>
              </a:lnSpc>
            </a:pPr>
            <a:r>
              <a:rPr lang="zh-CN" altLang="en-US" sz="2400" dirty="0" smtClean="0">
                <a:solidFill>
                  <a:srgbClr val="E1691F"/>
                </a:solidFill>
                <a:latin typeface="Arial" panose="020B0604020202020204" pitchFamily="34" charset="0"/>
                <a:ea typeface="Microsoft YaHei" panose="020B0503020204020204" pitchFamily="34" charset="-122"/>
                <a:cs typeface="+mn-ea"/>
                <a:sym typeface="Arial" panose="020B0604020202020204" pitchFamily="34" charset="0"/>
              </a:rPr>
              <a:t>识别和理解需求</a:t>
            </a:r>
            <a:endParaRPr lang="en-US" altLang="zh-CN" sz="2400" dirty="0">
              <a:solidFill>
                <a:srgbClr val="E1691F"/>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334" name="ïśľiḓe">
            <a:extLst>
              <a:ext uri="{FF2B5EF4-FFF2-40B4-BE49-F238E27FC236}">
                <a16:creationId xmlns:a16="http://schemas.microsoft.com/office/drawing/2014/main" id="{063410DF-9558-4B55-8515-515DC93A0533}"/>
              </a:ext>
            </a:extLst>
          </p:cNvPr>
          <p:cNvSpPr txBox="1"/>
          <p:nvPr/>
        </p:nvSpPr>
        <p:spPr>
          <a:xfrm>
            <a:off x="4080807" y="5495666"/>
            <a:ext cx="3976844" cy="441179"/>
          </a:xfrm>
          <a:prstGeom prst="rect">
            <a:avLst/>
          </a:prstGeom>
        </p:spPr>
        <p:txBody>
          <a:bodyPr vert="horz" wrap="square" lIns="91440" tIns="45720" rIns="91440" bIns="45720" anchor="ctr" anchorCtr="0">
            <a:noAutofit/>
          </a:bodyPr>
          <a:lstStyle/>
          <a:p>
            <a:pPr algn="ctr">
              <a:lnSpc>
                <a:spcPct val="120000"/>
              </a:lnSpc>
            </a:pPr>
            <a:r>
              <a:rPr lang="zh-CN" altLang="en-US" sz="2400" dirty="0" smtClean="0">
                <a:solidFill>
                  <a:srgbClr val="00B050"/>
                </a:solidFill>
                <a:latin typeface="Arial" panose="020B0604020202020204" pitchFamily="34" charset="0"/>
                <a:ea typeface="Microsoft YaHei" panose="020B0503020204020204" pitchFamily="34" charset="-122"/>
                <a:cs typeface="+mn-ea"/>
                <a:sym typeface="Arial" panose="020B0604020202020204" pitchFamily="34" charset="0"/>
              </a:rPr>
              <a:t>描述软件需求</a:t>
            </a:r>
            <a:endParaRPr lang="en-US" altLang="zh-CN" sz="2400" dirty="0">
              <a:solidFill>
                <a:srgbClr val="00B050"/>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335" name="í$liḍê">
            <a:extLst>
              <a:ext uri="{FF2B5EF4-FFF2-40B4-BE49-F238E27FC236}">
                <a16:creationId xmlns:a16="http://schemas.microsoft.com/office/drawing/2014/main" id="{75E311F5-7804-4247-B445-AE7BC596FDC4}"/>
              </a:ext>
            </a:extLst>
          </p:cNvPr>
          <p:cNvSpPr txBox="1"/>
          <p:nvPr/>
        </p:nvSpPr>
        <p:spPr>
          <a:xfrm>
            <a:off x="7436798" y="4880195"/>
            <a:ext cx="3976844" cy="441179"/>
          </a:xfrm>
          <a:prstGeom prst="rect">
            <a:avLst/>
          </a:prstGeom>
        </p:spPr>
        <p:txBody>
          <a:bodyPr vert="horz" wrap="square" lIns="91440" tIns="45720" rIns="91440" bIns="45720" anchor="ctr" anchorCtr="0">
            <a:noAutofit/>
          </a:bodyPr>
          <a:lstStyle/>
          <a:p>
            <a:pPr algn="ctr">
              <a:lnSpc>
                <a:spcPct val="120000"/>
              </a:lnSpc>
            </a:pPr>
            <a:r>
              <a:rPr lang="zh-CN" altLang="en-US" sz="2400" dirty="0" smtClean="0">
                <a:solidFill>
                  <a:srgbClr val="FFC000"/>
                </a:solidFill>
                <a:latin typeface="Arial" panose="020B0604020202020204" pitchFamily="34" charset="0"/>
                <a:ea typeface="Microsoft YaHei" panose="020B0503020204020204" pitchFamily="34" charset="-122"/>
                <a:cs typeface="+mn-ea"/>
                <a:sym typeface="Arial" panose="020B0604020202020204" pitchFamily="34" charset="0"/>
              </a:rPr>
              <a:t>针对需求做架构设计</a:t>
            </a:r>
            <a:endParaRPr lang="en-US" altLang="zh-CN" sz="2400" dirty="0">
              <a:solidFill>
                <a:srgbClr val="FFC000"/>
              </a:solidFill>
              <a:latin typeface="Arial" panose="020B0604020202020204" pitchFamily="34" charset="0"/>
              <a:ea typeface="Microsoft YaHei" panose="020B0503020204020204" pitchFamily="34" charset="-122"/>
              <a:cs typeface="+mn-ea"/>
              <a:sym typeface="Arial" panose="020B0604020202020204" pitchFamily="34" charset="0"/>
            </a:endParaRPr>
          </a:p>
        </p:txBody>
      </p:sp>
    </p:spTree>
    <p:extLst>
      <p:ext uri="{BB962C8B-B14F-4D97-AF65-F5344CB8AC3E}">
        <p14:creationId xmlns:p14="http://schemas.microsoft.com/office/powerpoint/2010/main" val="3579046150"/>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122" name="Picture 2" descr="https://images2015.cnblogs.com/blog/760432/201610/760432-20161005131748739-688884364.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9410" y="365126"/>
            <a:ext cx="10515600" cy="64928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27386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34603" y="788767"/>
            <a:ext cx="3181645" cy="3651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96676" y="4153114"/>
            <a:ext cx="4568919" cy="25218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81135" y="444537"/>
            <a:ext cx="7296811" cy="46603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8" name="组合 7">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9" name="椭圆 8">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10" name="椭圆 9">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
        <p:nvSpPr>
          <p:cNvPr id="11" name="标题 1">
            <a:extLst>
              <a:ext uri="{FF2B5EF4-FFF2-40B4-BE49-F238E27FC236}">
                <a16:creationId xmlns:a16="http://schemas.microsoft.com/office/drawing/2014/main" id="{1D9D90DD-82BB-4388-81A3-44FA307364C4}"/>
              </a:ext>
            </a:extLst>
          </p:cNvPr>
          <p:cNvSpPr txBox="1">
            <a:spLocks/>
          </p:cNvSpPr>
          <p:nvPr/>
        </p:nvSpPr>
        <p:spPr>
          <a:xfrm>
            <a:off x="1149782" y="210918"/>
            <a:ext cx="4850185" cy="57784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3200" b="0" dirty="0" smtClean="0">
                <a:latin typeface="Arial"/>
                <a:ea typeface="Microsoft YaHei"/>
                <a:cs typeface="+mn-ea"/>
                <a:sym typeface="Arial"/>
              </a:rPr>
              <a:t>架构是什么</a:t>
            </a:r>
            <a:endParaRPr lang="zh-CN" altLang="en-US" sz="3200" b="0" dirty="0">
              <a:latin typeface="Arial"/>
              <a:ea typeface="Microsoft YaHei"/>
              <a:cs typeface="+mn-ea"/>
              <a:sym typeface="Arial"/>
            </a:endParaRPr>
          </a:p>
        </p:txBody>
      </p:sp>
    </p:spTree>
    <p:extLst>
      <p:ext uri="{BB962C8B-B14F-4D97-AF65-F5344CB8AC3E}">
        <p14:creationId xmlns:p14="http://schemas.microsoft.com/office/powerpoint/2010/main" val="15630046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ppt_x"/>
                                          </p:val>
                                        </p:tav>
                                        <p:tav tm="100000">
                                          <p:val>
                                            <p:strVal val="#ppt_x"/>
                                          </p:val>
                                        </p:tav>
                                      </p:tavLst>
                                    </p:anim>
                                    <p:anim calcmode="lin" valueType="num">
                                      <p:cBhvr additive="base">
                                        <p:cTn id="14"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500" fill="hold"/>
                                        <p:tgtEl>
                                          <p:spTgt spid="7"/>
                                        </p:tgtEl>
                                        <p:attrNameLst>
                                          <p:attrName>ppt_x</p:attrName>
                                        </p:attrNameLst>
                                      </p:cBhvr>
                                      <p:tavLst>
                                        <p:tav tm="0">
                                          <p:val>
                                            <p:strVal val="#ppt_x"/>
                                          </p:val>
                                        </p:tav>
                                        <p:tav tm="100000">
                                          <p:val>
                                            <p:strVal val="#ppt_x"/>
                                          </p:val>
                                        </p:tav>
                                      </p:tavLst>
                                    </p:anim>
                                    <p:anim calcmode="lin" valueType="num">
                                      <p:cBhvr additive="base">
                                        <p:cTn id="20"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3" name="椭圆 2">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4" name="椭圆 3">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
        <p:nvSpPr>
          <p:cNvPr id="5" name="标题 1">
            <a:extLst>
              <a:ext uri="{FF2B5EF4-FFF2-40B4-BE49-F238E27FC236}">
                <a16:creationId xmlns:a16="http://schemas.microsoft.com/office/drawing/2014/main" id="{1D9D90DD-82BB-4388-81A3-44FA307364C4}"/>
              </a:ext>
            </a:extLst>
          </p:cNvPr>
          <p:cNvSpPr txBox="1">
            <a:spLocks/>
          </p:cNvSpPr>
          <p:nvPr/>
        </p:nvSpPr>
        <p:spPr>
          <a:xfrm>
            <a:off x="1149782" y="210918"/>
            <a:ext cx="4850185" cy="57784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3200" b="0" dirty="0" smtClean="0">
                <a:latin typeface="Arial"/>
                <a:ea typeface="Microsoft YaHei"/>
                <a:cs typeface="+mn-ea"/>
                <a:sym typeface="Arial"/>
              </a:rPr>
              <a:t>架构的目的</a:t>
            </a:r>
            <a:endParaRPr lang="zh-CN" altLang="en-US" sz="3200" b="0" dirty="0">
              <a:latin typeface="Arial"/>
              <a:ea typeface="Microsoft YaHei"/>
              <a:cs typeface="+mn-ea"/>
              <a:sym typeface="Arial"/>
            </a:endParaRPr>
          </a:p>
        </p:txBody>
      </p:sp>
      <p:sp>
        <p:nvSpPr>
          <p:cNvPr id="9" name="businessmen_126318"/>
          <p:cNvSpPr>
            <a:spLocks noChangeAspect="1"/>
          </p:cNvSpPr>
          <p:nvPr/>
        </p:nvSpPr>
        <p:spPr bwMode="auto">
          <a:xfrm>
            <a:off x="1009548" y="3886404"/>
            <a:ext cx="1679547" cy="1578697"/>
          </a:xfrm>
          <a:custGeom>
            <a:avLst/>
            <a:gdLst>
              <a:gd name="connsiteX0" fmla="*/ 373712 w 606516"/>
              <a:gd name="connsiteY0" fmla="*/ 411044 h 570098"/>
              <a:gd name="connsiteX1" fmla="*/ 406213 w 606516"/>
              <a:gd name="connsiteY1" fmla="*/ 513558 h 570098"/>
              <a:gd name="connsiteX2" fmla="*/ 410671 w 606516"/>
              <a:gd name="connsiteY2" fmla="*/ 527554 h 570098"/>
              <a:gd name="connsiteX3" fmla="*/ 425250 w 606516"/>
              <a:gd name="connsiteY3" fmla="*/ 486400 h 570098"/>
              <a:gd name="connsiteX4" fmla="*/ 434072 w 606516"/>
              <a:gd name="connsiteY4" fmla="*/ 437553 h 570098"/>
              <a:gd name="connsiteX5" fmla="*/ 434165 w 606516"/>
              <a:gd name="connsiteY5" fmla="*/ 437553 h 570098"/>
              <a:gd name="connsiteX6" fmla="*/ 434258 w 606516"/>
              <a:gd name="connsiteY6" fmla="*/ 437553 h 570098"/>
              <a:gd name="connsiteX7" fmla="*/ 434443 w 606516"/>
              <a:gd name="connsiteY7" fmla="*/ 437553 h 570098"/>
              <a:gd name="connsiteX8" fmla="*/ 434536 w 606516"/>
              <a:gd name="connsiteY8" fmla="*/ 437553 h 570098"/>
              <a:gd name="connsiteX9" fmla="*/ 443358 w 606516"/>
              <a:gd name="connsiteY9" fmla="*/ 486400 h 570098"/>
              <a:gd name="connsiteX10" fmla="*/ 457937 w 606516"/>
              <a:gd name="connsiteY10" fmla="*/ 527554 h 570098"/>
              <a:gd name="connsiteX11" fmla="*/ 462395 w 606516"/>
              <a:gd name="connsiteY11" fmla="*/ 513558 h 570098"/>
              <a:gd name="connsiteX12" fmla="*/ 494804 w 606516"/>
              <a:gd name="connsiteY12" fmla="*/ 411044 h 570098"/>
              <a:gd name="connsiteX13" fmla="*/ 562221 w 606516"/>
              <a:gd name="connsiteY13" fmla="*/ 443485 h 570098"/>
              <a:gd name="connsiteX14" fmla="*/ 606516 w 606516"/>
              <a:gd name="connsiteY14" fmla="*/ 570098 h 570098"/>
              <a:gd name="connsiteX15" fmla="*/ 434443 w 606516"/>
              <a:gd name="connsiteY15" fmla="*/ 570098 h 570098"/>
              <a:gd name="connsiteX16" fmla="*/ 434072 w 606516"/>
              <a:gd name="connsiteY16" fmla="*/ 570098 h 570098"/>
              <a:gd name="connsiteX17" fmla="*/ 374362 w 606516"/>
              <a:gd name="connsiteY17" fmla="*/ 570098 h 570098"/>
              <a:gd name="connsiteX18" fmla="*/ 374362 w 606516"/>
              <a:gd name="connsiteY18" fmla="*/ 569727 h 570098"/>
              <a:gd name="connsiteX19" fmla="*/ 374269 w 606516"/>
              <a:gd name="connsiteY19" fmla="*/ 556102 h 570098"/>
              <a:gd name="connsiteX20" fmla="*/ 366840 w 606516"/>
              <a:gd name="connsiteY20" fmla="*/ 473702 h 570098"/>
              <a:gd name="connsiteX21" fmla="*/ 337681 w 606516"/>
              <a:gd name="connsiteY21" fmla="*/ 430323 h 570098"/>
              <a:gd name="connsiteX22" fmla="*/ 373712 w 606516"/>
              <a:gd name="connsiteY22" fmla="*/ 411044 h 570098"/>
              <a:gd name="connsiteX23" fmla="*/ 111694 w 606516"/>
              <a:gd name="connsiteY23" fmla="*/ 411044 h 570098"/>
              <a:gd name="connsiteX24" fmla="*/ 144097 w 606516"/>
              <a:gd name="connsiteY24" fmla="*/ 513541 h 570098"/>
              <a:gd name="connsiteX25" fmla="*/ 148554 w 606516"/>
              <a:gd name="connsiteY25" fmla="*/ 527535 h 570098"/>
              <a:gd name="connsiteX26" fmla="*/ 163130 w 606516"/>
              <a:gd name="connsiteY26" fmla="*/ 486388 h 570098"/>
              <a:gd name="connsiteX27" fmla="*/ 171951 w 606516"/>
              <a:gd name="connsiteY27" fmla="*/ 437549 h 570098"/>
              <a:gd name="connsiteX28" fmla="*/ 172044 w 606516"/>
              <a:gd name="connsiteY28" fmla="*/ 437549 h 570098"/>
              <a:gd name="connsiteX29" fmla="*/ 172230 w 606516"/>
              <a:gd name="connsiteY29" fmla="*/ 437549 h 570098"/>
              <a:gd name="connsiteX30" fmla="*/ 172323 w 606516"/>
              <a:gd name="connsiteY30" fmla="*/ 437549 h 570098"/>
              <a:gd name="connsiteX31" fmla="*/ 172416 w 606516"/>
              <a:gd name="connsiteY31" fmla="*/ 437549 h 570098"/>
              <a:gd name="connsiteX32" fmla="*/ 181236 w 606516"/>
              <a:gd name="connsiteY32" fmla="*/ 486388 h 570098"/>
              <a:gd name="connsiteX33" fmla="*/ 195813 w 606516"/>
              <a:gd name="connsiteY33" fmla="*/ 527535 h 570098"/>
              <a:gd name="connsiteX34" fmla="*/ 200269 w 606516"/>
              <a:gd name="connsiteY34" fmla="*/ 513541 h 570098"/>
              <a:gd name="connsiteX35" fmla="*/ 232766 w 606516"/>
              <a:gd name="connsiteY35" fmla="*/ 411044 h 570098"/>
              <a:gd name="connsiteX36" fmla="*/ 300079 w 606516"/>
              <a:gd name="connsiteY36" fmla="*/ 443480 h 570098"/>
              <a:gd name="connsiteX37" fmla="*/ 344552 w 606516"/>
              <a:gd name="connsiteY37" fmla="*/ 569887 h 570098"/>
              <a:gd name="connsiteX38" fmla="*/ 172416 w 606516"/>
              <a:gd name="connsiteY38" fmla="*/ 569887 h 570098"/>
              <a:gd name="connsiteX39" fmla="*/ 172044 w 606516"/>
              <a:gd name="connsiteY39" fmla="*/ 569887 h 570098"/>
              <a:gd name="connsiteX40" fmla="*/ 0 w 606516"/>
              <a:gd name="connsiteY40" fmla="*/ 569887 h 570098"/>
              <a:gd name="connsiteX41" fmla="*/ 44287 w 606516"/>
              <a:gd name="connsiteY41" fmla="*/ 443480 h 570098"/>
              <a:gd name="connsiteX42" fmla="*/ 111694 w 606516"/>
              <a:gd name="connsiteY42" fmla="*/ 411044 h 570098"/>
              <a:gd name="connsiteX43" fmla="*/ 434261 w 606516"/>
              <a:gd name="connsiteY43" fmla="*/ 196698 h 570098"/>
              <a:gd name="connsiteX44" fmla="*/ 514298 w 606516"/>
              <a:gd name="connsiteY44" fmla="*/ 278742 h 570098"/>
              <a:gd name="connsiteX45" fmla="*/ 434632 w 606516"/>
              <a:gd name="connsiteY45" fmla="*/ 403987 h 570098"/>
              <a:gd name="connsiteX46" fmla="*/ 434168 w 606516"/>
              <a:gd name="connsiteY46" fmla="*/ 403987 h 570098"/>
              <a:gd name="connsiteX47" fmla="*/ 433704 w 606516"/>
              <a:gd name="connsiteY47" fmla="*/ 403987 h 570098"/>
              <a:gd name="connsiteX48" fmla="*/ 354038 w 606516"/>
              <a:gd name="connsiteY48" fmla="*/ 278742 h 570098"/>
              <a:gd name="connsiteX49" fmla="*/ 434261 w 606516"/>
              <a:gd name="connsiteY49" fmla="*/ 196698 h 570098"/>
              <a:gd name="connsiteX50" fmla="*/ 172044 w 606516"/>
              <a:gd name="connsiteY50" fmla="*/ 196698 h 570098"/>
              <a:gd name="connsiteX51" fmla="*/ 252267 w 606516"/>
              <a:gd name="connsiteY51" fmla="*/ 278742 h 570098"/>
              <a:gd name="connsiteX52" fmla="*/ 172694 w 606516"/>
              <a:gd name="connsiteY52" fmla="*/ 403987 h 570098"/>
              <a:gd name="connsiteX53" fmla="*/ 172230 w 606516"/>
              <a:gd name="connsiteY53" fmla="*/ 403987 h 570098"/>
              <a:gd name="connsiteX54" fmla="*/ 171673 w 606516"/>
              <a:gd name="connsiteY54" fmla="*/ 403987 h 570098"/>
              <a:gd name="connsiteX55" fmla="*/ 91821 w 606516"/>
              <a:gd name="connsiteY55" fmla="*/ 278742 h 570098"/>
              <a:gd name="connsiteX56" fmla="*/ 172044 w 606516"/>
              <a:gd name="connsiteY56" fmla="*/ 196698 h 570098"/>
              <a:gd name="connsiteX57" fmla="*/ 301680 w 606516"/>
              <a:gd name="connsiteY57" fmla="*/ 52170 h 570098"/>
              <a:gd name="connsiteX58" fmla="*/ 303165 w 606516"/>
              <a:gd name="connsiteY58" fmla="*/ 52170 h 570098"/>
              <a:gd name="connsiteX59" fmla="*/ 336763 w 606516"/>
              <a:gd name="connsiteY59" fmla="*/ 85443 h 570098"/>
              <a:gd name="connsiteX60" fmla="*/ 303444 w 606516"/>
              <a:gd name="connsiteY60" fmla="*/ 118809 h 570098"/>
              <a:gd name="connsiteX61" fmla="*/ 270031 w 606516"/>
              <a:gd name="connsiteY61" fmla="*/ 85443 h 570098"/>
              <a:gd name="connsiteX62" fmla="*/ 270031 w 606516"/>
              <a:gd name="connsiteY62" fmla="*/ 83775 h 570098"/>
              <a:gd name="connsiteX63" fmla="*/ 279034 w 606516"/>
              <a:gd name="connsiteY63" fmla="*/ 85443 h 570098"/>
              <a:gd name="connsiteX64" fmla="*/ 303444 w 606516"/>
              <a:gd name="connsiteY64" fmla="*/ 61067 h 570098"/>
              <a:gd name="connsiteX65" fmla="*/ 301680 w 606516"/>
              <a:gd name="connsiteY65" fmla="*/ 52170 h 570098"/>
              <a:gd name="connsiteX66" fmla="*/ 303340 w 606516"/>
              <a:gd name="connsiteY66" fmla="*/ 27249 h 570098"/>
              <a:gd name="connsiteX67" fmla="*/ 244838 w 606516"/>
              <a:gd name="connsiteY67" fmla="*/ 85547 h 570098"/>
              <a:gd name="connsiteX68" fmla="*/ 303340 w 606516"/>
              <a:gd name="connsiteY68" fmla="*/ 143845 h 570098"/>
              <a:gd name="connsiteX69" fmla="*/ 361750 w 606516"/>
              <a:gd name="connsiteY69" fmla="*/ 85547 h 570098"/>
              <a:gd name="connsiteX70" fmla="*/ 303340 w 606516"/>
              <a:gd name="connsiteY70" fmla="*/ 27249 h 570098"/>
              <a:gd name="connsiteX71" fmla="*/ 303340 w 606516"/>
              <a:gd name="connsiteY71" fmla="*/ 0 h 570098"/>
              <a:gd name="connsiteX72" fmla="*/ 336120 w 606516"/>
              <a:gd name="connsiteY72" fmla="*/ 5932 h 570098"/>
              <a:gd name="connsiteX73" fmla="*/ 390443 w 606516"/>
              <a:gd name="connsiteY73" fmla="*/ 35961 h 570098"/>
              <a:gd name="connsiteX74" fmla="*/ 434552 w 606516"/>
              <a:gd name="connsiteY74" fmla="*/ 75259 h 570098"/>
              <a:gd name="connsiteX75" fmla="*/ 435202 w 606516"/>
              <a:gd name="connsiteY75" fmla="*/ 96577 h 570098"/>
              <a:gd name="connsiteX76" fmla="*/ 426288 w 606516"/>
              <a:gd name="connsiteY76" fmla="*/ 105845 h 570098"/>
              <a:gd name="connsiteX77" fmla="*/ 364814 w 606516"/>
              <a:gd name="connsiteY77" fmla="*/ 153392 h 570098"/>
              <a:gd name="connsiteX78" fmla="*/ 307612 w 606516"/>
              <a:gd name="connsiteY78" fmla="*/ 170816 h 570098"/>
              <a:gd name="connsiteX79" fmla="*/ 303340 w 606516"/>
              <a:gd name="connsiteY79" fmla="*/ 170909 h 570098"/>
              <a:gd name="connsiteX80" fmla="*/ 298976 w 606516"/>
              <a:gd name="connsiteY80" fmla="*/ 170816 h 570098"/>
              <a:gd name="connsiteX81" fmla="*/ 241774 w 606516"/>
              <a:gd name="connsiteY81" fmla="*/ 153392 h 570098"/>
              <a:gd name="connsiteX82" fmla="*/ 180393 w 606516"/>
              <a:gd name="connsiteY82" fmla="*/ 105845 h 570098"/>
              <a:gd name="connsiteX83" fmla="*/ 171478 w 606516"/>
              <a:gd name="connsiteY83" fmla="*/ 96577 h 570098"/>
              <a:gd name="connsiteX84" fmla="*/ 172036 w 606516"/>
              <a:gd name="connsiteY84" fmla="*/ 75259 h 570098"/>
              <a:gd name="connsiteX85" fmla="*/ 216144 w 606516"/>
              <a:gd name="connsiteY85" fmla="*/ 35961 h 570098"/>
              <a:gd name="connsiteX86" fmla="*/ 270468 w 606516"/>
              <a:gd name="connsiteY86" fmla="*/ 5932 h 570098"/>
              <a:gd name="connsiteX87" fmla="*/ 303340 w 606516"/>
              <a:gd name="connsiteY87" fmla="*/ 0 h 570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606516" h="570098">
                <a:moveTo>
                  <a:pt x="373712" y="411044"/>
                </a:moveTo>
                <a:lnTo>
                  <a:pt x="406213" y="513558"/>
                </a:lnTo>
                <a:lnTo>
                  <a:pt x="410671" y="527554"/>
                </a:lnTo>
                <a:lnTo>
                  <a:pt x="425250" y="486400"/>
                </a:lnTo>
                <a:cubicBezTo>
                  <a:pt x="391820" y="439778"/>
                  <a:pt x="427850" y="437553"/>
                  <a:pt x="434072" y="437553"/>
                </a:cubicBezTo>
                <a:lnTo>
                  <a:pt x="434165" y="437553"/>
                </a:lnTo>
                <a:lnTo>
                  <a:pt x="434258" y="437553"/>
                </a:lnTo>
                <a:lnTo>
                  <a:pt x="434443" y="437553"/>
                </a:lnTo>
                <a:lnTo>
                  <a:pt x="434536" y="437553"/>
                </a:lnTo>
                <a:cubicBezTo>
                  <a:pt x="440851" y="437553"/>
                  <a:pt x="476788" y="439778"/>
                  <a:pt x="443358" y="486400"/>
                </a:cubicBezTo>
                <a:lnTo>
                  <a:pt x="457937" y="527554"/>
                </a:lnTo>
                <a:lnTo>
                  <a:pt x="462395" y="513558"/>
                </a:lnTo>
                <a:lnTo>
                  <a:pt x="494804" y="411044"/>
                </a:lnTo>
                <a:cubicBezTo>
                  <a:pt x="494804" y="411044"/>
                  <a:pt x="520062" y="427450"/>
                  <a:pt x="562221" y="443485"/>
                </a:cubicBezTo>
                <a:cubicBezTo>
                  <a:pt x="608652" y="460355"/>
                  <a:pt x="605681" y="498357"/>
                  <a:pt x="606516" y="570098"/>
                </a:cubicBezTo>
                <a:lnTo>
                  <a:pt x="434443" y="570098"/>
                </a:lnTo>
                <a:lnTo>
                  <a:pt x="434072" y="570098"/>
                </a:lnTo>
                <a:lnTo>
                  <a:pt x="374362" y="570098"/>
                </a:lnTo>
                <a:lnTo>
                  <a:pt x="374362" y="569727"/>
                </a:lnTo>
                <a:cubicBezTo>
                  <a:pt x="374362" y="565000"/>
                  <a:pt x="374269" y="560458"/>
                  <a:pt x="374269" y="556102"/>
                </a:cubicBezTo>
                <a:cubicBezTo>
                  <a:pt x="373897" y="522641"/>
                  <a:pt x="373619" y="496132"/>
                  <a:pt x="366840" y="473702"/>
                </a:cubicBezTo>
                <a:cubicBezTo>
                  <a:pt x="361268" y="455349"/>
                  <a:pt x="351703" y="441075"/>
                  <a:pt x="337681" y="430323"/>
                </a:cubicBezTo>
                <a:cubicBezTo>
                  <a:pt x="360711" y="419571"/>
                  <a:pt x="373712" y="411044"/>
                  <a:pt x="373712" y="411044"/>
                </a:cubicBezTo>
                <a:close/>
                <a:moveTo>
                  <a:pt x="111694" y="411044"/>
                </a:moveTo>
                <a:lnTo>
                  <a:pt x="144097" y="513541"/>
                </a:lnTo>
                <a:lnTo>
                  <a:pt x="148554" y="527535"/>
                </a:lnTo>
                <a:lnTo>
                  <a:pt x="163130" y="486388"/>
                </a:lnTo>
                <a:cubicBezTo>
                  <a:pt x="129706" y="439773"/>
                  <a:pt x="165730" y="437549"/>
                  <a:pt x="171951" y="437549"/>
                </a:cubicBezTo>
                <a:lnTo>
                  <a:pt x="172044" y="437549"/>
                </a:lnTo>
                <a:lnTo>
                  <a:pt x="172230" y="437549"/>
                </a:lnTo>
                <a:lnTo>
                  <a:pt x="172323" y="437549"/>
                </a:lnTo>
                <a:lnTo>
                  <a:pt x="172416" y="437549"/>
                </a:lnTo>
                <a:cubicBezTo>
                  <a:pt x="178729" y="437549"/>
                  <a:pt x="214661" y="439773"/>
                  <a:pt x="181236" y="486388"/>
                </a:cubicBezTo>
                <a:lnTo>
                  <a:pt x="195813" y="527535"/>
                </a:lnTo>
                <a:lnTo>
                  <a:pt x="200269" y="513541"/>
                </a:lnTo>
                <a:lnTo>
                  <a:pt x="232766" y="411044"/>
                </a:lnTo>
                <a:cubicBezTo>
                  <a:pt x="232766" y="411044"/>
                  <a:pt x="258020" y="427447"/>
                  <a:pt x="300079" y="443480"/>
                </a:cubicBezTo>
                <a:cubicBezTo>
                  <a:pt x="346502" y="460347"/>
                  <a:pt x="343624" y="498343"/>
                  <a:pt x="344552" y="569887"/>
                </a:cubicBezTo>
                <a:lnTo>
                  <a:pt x="172416" y="569887"/>
                </a:lnTo>
                <a:lnTo>
                  <a:pt x="172044" y="569887"/>
                </a:lnTo>
                <a:lnTo>
                  <a:pt x="0" y="569887"/>
                </a:lnTo>
                <a:cubicBezTo>
                  <a:pt x="1021" y="498343"/>
                  <a:pt x="-1950" y="460347"/>
                  <a:pt x="44287" y="443480"/>
                </a:cubicBezTo>
                <a:cubicBezTo>
                  <a:pt x="86439" y="427447"/>
                  <a:pt x="111694" y="411044"/>
                  <a:pt x="111694" y="411044"/>
                </a:cubicBezTo>
                <a:close/>
                <a:moveTo>
                  <a:pt x="434261" y="196698"/>
                </a:moveTo>
                <a:cubicBezTo>
                  <a:pt x="441132" y="196420"/>
                  <a:pt x="510677" y="195678"/>
                  <a:pt x="514298" y="278742"/>
                </a:cubicBezTo>
                <a:cubicBezTo>
                  <a:pt x="514298" y="278742"/>
                  <a:pt x="527854" y="402967"/>
                  <a:pt x="434632" y="403987"/>
                </a:cubicBezTo>
                <a:lnTo>
                  <a:pt x="434168" y="403987"/>
                </a:lnTo>
                <a:lnTo>
                  <a:pt x="433704" y="403987"/>
                </a:lnTo>
                <a:cubicBezTo>
                  <a:pt x="340574" y="402967"/>
                  <a:pt x="354038" y="278742"/>
                  <a:pt x="354038" y="278742"/>
                </a:cubicBezTo>
                <a:cubicBezTo>
                  <a:pt x="357937" y="195678"/>
                  <a:pt x="427483" y="196420"/>
                  <a:pt x="434261" y="196698"/>
                </a:cubicBezTo>
                <a:close/>
                <a:moveTo>
                  <a:pt x="172044" y="196698"/>
                </a:moveTo>
                <a:cubicBezTo>
                  <a:pt x="178915" y="196420"/>
                  <a:pt x="248460" y="195678"/>
                  <a:pt x="252267" y="278742"/>
                </a:cubicBezTo>
                <a:cubicBezTo>
                  <a:pt x="252267" y="278742"/>
                  <a:pt x="265916" y="402967"/>
                  <a:pt x="172694" y="403987"/>
                </a:cubicBezTo>
                <a:lnTo>
                  <a:pt x="172230" y="403987"/>
                </a:lnTo>
                <a:lnTo>
                  <a:pt x="171673" y="403987"/>
                </a:lnTo>
                <a:cubicBezTo>
                  <a:pt x="78636" y="402967"/>
                  <a:pt x="92099" y="278742"/>
                  <a:pt x="91821" y="278742"/>
                </a:cubicBezTo>
                <a:cubicBezTo>
                  <a:pt x="95720" y="195678"/>
                  <a:pt x="165266" y="196420"/>
                  <a:pt x="172044" y="196698"/>
                </a:cubicBezTo>
                <a:close/>
                <a:moveTo>
                  <a:pt x="301680" y="52170"/>
                </a:moveTo>
                <a:lnTo>
                  <a:pt x="303165" y="52170"/>
                </a:lnTo>
                <a:cubicBezTo>
                  <a:pt x="321728" y="52077"/>
                  <a:pt x="336763" y="66906"/>
                  <a:pt x="336763" y="85443"/>
                </a:cubicBezTo>
                <a:cubicBezTo>
                  <a:pt x="336763" y="103795"/>
                  <a:pt x="321913" y="118624"/>
                  <a:pt x="303444" y="118809"/>
                </a:cubicBezTo>
                <a:cubicBezTo>
                  <a:pt x="284881" y="118902"/>
                  <a:pt x="269938" y="104073"/>
                  <a:pt x="270031" y="85443"/>
                </a:cubicBezTo>
                <a:lnTo>
                  <a:pt x="270031" y="83775"/>
                </a:lnTo>
                <a:cubicBezTo>
                  <a:pt x="272908" y="84794"/>
                  <a:pt x="275878" y="85443"/>
                  <a:pt x="279034" y="85443"/>
                </a:cubicBezTo>
                <a:cubicBezTo>
                  <a:pt x="292677" y="85443"/>
                  <a:pt x="303444" y="74507"/>
                  <a:pt x="303444" y="61067"/>
                </a:cubicBezTo>
                <a:cubicBezTo>
                  <a:pt x="303351" y="58009"/>
                  <a:pt x="302794" y="54858"/>
                  <a:pt x="301680" y="52170"/>
                </a:cubicBezTo>
                <a:close/>
                <a:moveTo>
                  <a:pt x="303340" y="27249"/>
                </a:moveTo>
                <a:cubicBezTo>
                  <a:pt x="271025" y="27249"/>
                  <a:pt x="244838" y="53293"/>
                  <a:pt x="244838" y="85547"/>
                </a:cubicBezTo>
                <a:cubicBezTo>
                  <a:pt x="244838" y="117801"/>
                  <a:pt x="271025" y="143845"/>
                  <a:pt x="303340" y="143845"/>
                </a:cubicBezTo>
                <a:cubicBezTo>
                  <a:pt x="335656" y="143845"/>
                  <a:pt x="361750" y="117801"/>
                  <a:pt x="361750" y="85547"/>
                </a:cubicBezTo>
                <a:cubicBezTo>
                  <a:pt x="361750" y="53293"/>
                  <a:pt x="335656" y="27249"/>
                  <a:pt x="303340" y="27249"/>
                </a:cubicBezTo>
                <a:close/>
                <a:moveTo>
                  <a:pt x="303340" y="0"/>
                </a:moveTo>
                <a:cubicBezTo>
                  <a:pt x="314484" y="185"/>
                  <a:pt x="325348" y="2224"/>
                  <a:pt x="336120" y="5932"/>
                </a:cubicBezTo>
                <a:cubicBezTo>
                  <a:pt x="356085" y="12883"/>
                  <a:pt x="373729" y="23634"/>
                  <a:pt x="390443" y="35961"/>
                </a:cubicBezTo>
                <a:cubicBezTo>
                  <a:pt x="410316" y="50698"/>
                  <a:pt x="434552" y="75259"/>
                  <a:pt x="434552" y="75259"/>
                </a:cubicBezTo>
                <a:cubicBezTo>
                  <a:pt x="440217" y="81006"/>
                  <a:pt x="440495" y="90645"/>
                  <a:pt x="435202" y="96577"/>
                </a:cubicBezTo>
                <a:cubicBezTo>
                  <a:pt x="435202" y="96577"/>
                  <a:pt x="432695" y="99264"/>
                  <a:pt x="426288" y="105845"/>
                </a:cubicBezTo>
                <a:cubicBezTo>
                  <a:pt x="407901" y="124474"/>
                  <a:pt x="387843" y="140880"/>
                  <a:pt x="364814" y="153392"/>
                </a:cubicBezTo>
                <a:cubicBezTo>
                  <a:pt x="346985" y="163124"/>
                  <a:pt x="328227" y="169797"/>
                  <a:pt x="307612" y="170816"/>
                </a:cubicBezTo>
                <a:cubicBezTo>
                  <a:pt x="306126" y="170909"/>
                  <a:pt x="304826" y="170909"/>
                  <a:pt x="303340" y="170909"/>
                </a:cubicBezTo>
                <a:cubicBezTo>
                  <a:pt x="301855" y="170909"/>
                  <a:pt x="300462" y="170909"/>
                  <a:pt x="298976" y="170816"/>
                </a:cubicBezTo>
                <a:cubicBezTo>
                  <a:pt x="278454" y="169797"/>
                  <a:pt x="259603" y="163124"/>
                  <a:pt x="241774" y="153392"/>
                </a:cubicBezTo>
                <a:cubicBezTo>
                  <a:pt x="218744" y="140787"/>
                  <a:pt x="198687" y="124474"/>
                  <a:pt x="180393" y="105845"/>
                </a:cubicBezTo>
                <a:cubicBezTo>
                  <a:pt x="173893" y="99264"/>
                  <a:pt x="171478" y="96577"/>
                  <a:pt x="171478" y="96577"/>
                </a:cubicBezTo>
                <a:cubicBezTo>
                  <a:pt x="166278" y="90459"/>
                  <a:pt x="166464" y="81006"/>
                  <a:pt x="172036" y="75259"/>
                </a:cubicBezTo>
                <a:cubicBezTo>
                  <a:pt x="172036" y="75259"/>
                  <a:pt x="196365" y="50698"/>
                  <a:pt x="216144" y="35961"/>
                </a:cubicBezTo>
                <a:cubicBezTo>
                  <a:pt x="232952" y="23542"/>
                  <a:pt x="250688" y="12790"/>
                  <a:pt x="270468" y="5932"/>
                </a:cubicBezTo>
                <a:cubicBezTo>
                  <a:pt x="281240" y="2224"/>
                  <a:pt x="292197" y="0"/>
                  <a:pt x="303340" y="0"/>
                </a:cubicBezTo>
                <a:close/>
              </a:path>
            </a:pathLst>
          </a:custGeom>
          <a:solidFill>
            <a:schemeClr val="accent1"/>
          </a:solidFill>
          <a:ln>
            <a:noFill/>
          </a:ln>
        </p:spPr>
      </p:sp>
      <p:sp>
        <p:nvSpPr>
          <p:cNvPr id="10" name="矩形 9"/>
          <p:cNvSpPr/>
          <p:nvPr/>
        </p:nvSpPr>
        <p:spPr>
          <a:xfrm>
            <a:off x="1216755" y="1516232"/>
            <a:ext cx="1506941" cy="2308324"/>
          </a:xfrm>
          <a:prstGeom prst="rect">
            <a:avLst/>
          </a:prstGeom>
        </p:spPr>
        <p:txBody>
          <a:bodyPr wrap="square">
            <a:spAutoFit/>
          </a:bodyPr>
          <a:lstStyle/>
          <a:p>
            <a:r>
              <a:rPr lang="zh-CN" altLang="en-US" sz="2400" b="1" dirty="0">
                <a:solidFill>
                  <a:srgbClr val="008CD7"/>
                </a:solidFill>
              </a:rPr>
              <a:t>架构的目的</a:t>
            </a:r>
            <a:r>
              <a:rPr lang="zh-CN" altLang="en-US" sz="2400" b="1" dirty="0" smtClean="0">
                <a:solidFill>
                  <a:srgbClr val="008CD7"/>
                </a:solidFill>
              </a:rPr>
              <a:t>是更好解决</a:t>
            </a:r>
            <a:r>
              <a:rPr lang="zh-CN" altLang="en-US" sz="2400" b="1" dirty="0">
                <a:solidFill>
                  <a:srgbClr val="008CD7"/>
                </a:solidFill>
              </a:rPr>
              <a:t>人（需求，业务）的问题的</a:t>
            </a:r>
          </a:p>
        </p:txBody>
      </p:sp>
      <p:grpSp>
        <p:nvGrpSpPr>
          <p:cNvPr id="36" name="组合 35"/>
          <p:cNvGrpSpPr/>
          <p:nvPr/>
        </p:nvGrpSpPr>
        <p:grpSpPr>
          <a:xfrm>
            <a:off x="5307981" y="273767"/>
            <a:ext cx="6095492" cy="2904722"/>
            <a:chOff x="5307981" y="273767"/>
            <a:chExt cx="6095492" cy="2904722"/>
          </a:xfrm>
        </p:grpSpPr>
        <p:graphicFrame>
          <p:nvGraphicFramePr>
            <p:cNvPr id="12" name="图示 11"/>
            <p:cNvGraphicFramePr/>
            <p:nvPr>
              <p:extLst>
                <p:ext uri="{D42A27DB-BD31-4B8C-83A1-F6EECF244321}">
                  <p14:modId xmlns:p14="http://schemas.microsoft.com/office/powerpoint/2010/main" val="695632904"/>
                </p:ext>
              </p:extLst>
            </p:nvPr>
          </p:nvGraphicFramePr>
          <p:xfrm>
            <a:off x="5307981" y="273767"/>
            <a:ext cx="6095492" cy="29047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3" name="组合 12"/>
            <p:cNvGrpSpPr/>
            <p:nvPr/>
          </p:nvGrpSpPr>
          <p:grpSpPr>
            <a:xfrm>
              <a:off x="7858593" y="1282035"/>
              <a:ext cx="1060570" cy="560980"/>
              <a:chOff x="3111660" y="-56440"/>
              <a:chExt cx="1117738" cy="705341"/>
            </a:xfrm>
          </p:grpSpPr>
          <p:sp>
            <p:nvSpPr>
              <p:cNvPr id="14" name="圆角矩形 13"/>
              <p:cNvSpPr/>
              <p:nvPr/>
            </p:nvSpPr>
            <p:spPr>
              <a:xfrm>
                <a:off x="3111660" y="-56440"/>
                <a:ext cx="1047862" cy="681111"/>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5" name="圆角矩形 4"/>
              <p:cNvSpPr/>
              <p:nvPr/>
            </p:nvSpPr>
            <p:spPr>
              <a:xfrm>
                <a:off x="3248034" y="34289"/>
                <a:ext cx="981364" cy="61461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zh-CN" altLang="en-US" sz="2200" dirty="0"/>
                  <a:t>老板</a:t>
                </a:r>
                <a:endParaRPr lang="zh-CN" altLang="en-US" sz="2200" kern="1200" dirty="0"/>
              </a:p>
            </p:txBody>
          </p:sp>
        </p:grpSp>
        <p:grpSp>
          <p:nvGrpSpPr>
            <p:cNvPr id="16" name="组合 15"/>
            <p:cNvGrpSpPr/>
            <p:nvPr/>
          </p:nvGrpSpPr>
          <p:grpSpPr>
            <a:xfrm>
              <a:off x="7850863" y="1933306"/>
              <a:ext cx="1015659" cy="524335"/>
              <a:chOff x="3214785" y="1040"/>
              <a:chExt cx="1047862" cy="681110"/>
            </a:xfrm>
          </p:grpSpPr>
          <p:sp>
            <p:nvSpPr>
              <p:cNvPr id="17" name="圆角矩形 16"/>
              <p:cNvSpPr/>
              <p:nvPr/>
            </p:nvSpPr>
            <p:spPr>
              <a:xfrm>
                <a:off x="3214785" y="1040"/>
                <a:ext cx="1047862" cy="681110"/>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8" name="圆角矩形 4"/>
              <p:cNvSpPr/>
              <p:nvPr/>
            </p:nvSpPr>
            <p:spPr>
              <a:xfrm>
                <a:off x="3248035" y="67537"/>
                <a:ext cx="981364" cy="61461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zh-CN" altLang="en-US" sz="2200" dirty="0"/>
                  <a:t>用户</a:t>
                </a:r>
                <a:endParaRPr lang="zh-CN" altLang="en-US" sz="2200" kern="1200" dirty="0"/>
              </a:p>
            </p:txBody>
          </p:sp>
        </p:grpSp>
      </p:grpSp>
      <p:cxnSp>
        <p:nvCxnSpPr>
          <p:cNvPr id="20" name="肘形连接符 19"/>
          <p:cNvCxnSpPr/>
          <p:nvPr/>
        </p:nvCxnSpPr>
        <p:spPr>
          <a:xfrm flipV="1">
            <a:off x="2750757" y="2114102"/>
            <a:ext cx="3380773" cy="1324344"/>
          </a:xfrm>
          <a:prstGeom prst="bentConnector3">
            <a:avLst/>
          </a:prstGeom>
          <a:ln w="63500" cap="flat">
            <a:solidFill>
              <a:srgbClr val="CC3300"/>
            </a:solidFill>
            <a:prstDash val="sysDash"/>
            <a:round/>
            <a:tailEnd type="triangle"/>
          </a:ln>
          <a:effectLst>
            <a:outerShdw blurRad="40000" dist="23000" dir="5400000" rotWithShape="0">
              <a:srgbClr val="000000">
                <a:alpha val="35000"/>
              </a:srgbClr>
            </a:outerShdw>
            <a:softEdge rad="0"/>
          </a:effectLst>
        </p:spPr>
        <p:style>
          <a:lnRef idx="3">
            <a:schemeClr val="accent1"/>
          </a:lnRef>
          <a:fillRef idx="0">
            <a:schemeClr val="accent1"/>
          </a:fillRef>
          <a:effectRef idx="2">
            <a:schemeClr val="accent1"/>
          </a:effectRef>
          <a:fontRef idx="minor">
            <a:schemeClr val="tx1"/>
          </a:fontRef>
        </p:style>
      </p:cxnSp>
      <p:sp>
        <p:nvSpPr>
          <p:cNvPr id="21" name="文本框 20"/>
          <p:cNvSpPr txBox="1"/>
          <p:nvPr/>
        </p:nvSpPr>
        <p:spPr>
          <a:xfrm>
            <a:off x="2749097" y="3023802"/>
            <a:ext cx="1398049" cy="369332"/>
          </a:xfrm>
          <a:prstGeom prst="rect">
            <a:avLst/>
          </a:prstGeom>
          <a:noFill/>
        </p:spPr>
        <p:txBody>
          <a:bodyPr wrap="square" rtlCol="0">
            <a:spAutoFit/>
          </a:bodyPr>
          <a:lstStyle/>
          <a:p>
            <a:r>
              <a:rPr lang="en-US" altLang="zh-CN" dirty="0" smtClean="0">
                <a:solidFill>
                  <a:srgbClr val="CC3300"/>
                </a:solidFill>
              </a:rPr>
              <a:t>1.</a:t>
            </a:r>
            <a:r>
              <a:rPr lang="zh-CN" altLang="en-US" dirty="0" smtClean="0">
                <a:solidFill>
                  <a:srgbClr val="CC3300"/>
                </a:solidFill>
              </a:rPr>
              <a:t>谁的问题？</a:t>
            </a:r>
            <a:endParaRPr lang="zh-CN" altLang="en-US" dirty="0">
              <a:solidFill>
                <a:srgbClr val="CC3300"/>
              </a:solidFill>
            </a:endParaRPr>
          </a:p>
        </p:txBody>
      </p:sp>
      <p:cxnSp>
        <p:nvCxnSpPr>
          <p:cNvPr id="22" name="肘形连接符 21"/>
          <p:cNvCxnSpPr/>
          <p:nvPr/>
        </p:nvCxnSpPr>
        <p:spPr>
          <a:xfrm>
            <a:off x="2750757" y="3594476"/>
            <a:ext cx="3381756" cy="2360275"/>
          </a:xfrm>
          <a:prstGeom prst="bentConnector3">
            <a:avLst/>
          </a:prstGeom>
          <a:ln w="63500" cap="flat">
            <a:solidFill>
              <a:srgbClr val="CC3300"/>
            </a:solidFill>
            <a:prstDash val="sysDash"/>
            <a:round/>
            <a:tailEnd type="triangle"/>
          </a:ln>
          <a:effectLst>
            <a:outerShdw blurRad="40000" dist="23000" dir="5400000" rotWithShape="0">
              <a:srgbClr val="000000">
                <a:alpha val="35000"/>
              </a:srgbClr>
            </a:outerShdw>
            <a:softEdge rad="0"/>
          </a:effectLst>
        </p:spPr>
        <p:style>
          <a:lnRef idx="3">
            <a:schemeClr val="accent1"/>
          </a:lnRef>
          <a:fillRef idx="0">
            <a:schemeClr val="accent1"/>
          </a:fillRef>
          <a:effectRef idx="2">
            <a:schemeClr val="accent1"/>
          </a:effectRef>
          <a:fontRef idx="minor">
            <a:schemeClr val="tx1"/>
          </a:fontRef>
        </p:style>
      </p:cxnSp>
      <p:sp>
        <p:nvSpPr>
          <p:cNvPr id="28" name="文本框 27"/>
          <p:cNvSpPr txBox="1"/>
          <p:nvPr/>
        </p:nvSpPr>
        <p:spPr>
          <a:xfrm>
            <a:off x="2749098" y="3717153"/>
            <a:ext cx="1398049" cy="369332"/>
          </a:xfrm>
          <a:prstGeom prst="rect">
            <a:avLst/>
          </a:prstGeom>
          <a:noFill/>
        </p:spPr>
        <p:txBody>
          <a:bodyPr wrap="square" rtlCol="0">
            <a:spAutoFit/>
          </a:bodyPr>
          <a:lstStyle/>
          <a:p>
            <a:r>
              <a:rPr lang="en-US" altLang="zh-CN" dirty="0">
                <a:solidFill>
                  <a:srgbClr val="CC3300"/>
                </a:solidFill>
              </a:rPr>
              <a:t>2</a:t>
            </a:r>
            <a:r>
              <a:rPr lang="en-US" altLang="zh-CN" dirty="0" smtClean="0">
                <a:solidFill>
                  <a:srgbClr val="CC3300"/>
                </a:solidFill>
              </a:rPr>
              <a:t>.</a:t>
            </a:r>
            <a:r>
              <a:rPr lang="zh-CN" altLang="en-US" dirty="0">
                <a:solidFill>
                  <a:srgbClr val="CC3300"/>
                </a:solidFill>
              </a:rPr>
              <a:t>什么</a:t>
            </a:r>
            <a:r>
              <a:rPr lang="zh-CN" altLang="en-US" dirty="0" smtClean="0">
                <a:solidFill>
                  <a:srgbClr val="CC3300"/>
                </a:solidFill>
              </a:rPr>
              <a:t>问题？</a:t>
            </a:r>
            <a:endParaRPr lang="zh-CN" altLang="en-US" dirty="0">
              <a:solidFill>
                <a:srgbClr val="CC3300"/>
              </a:solidFill>
            </a:endParaRPr>
          </a:p>
        </p:txBody>
      </p:sp>
      <p:sp>
        <p:nvSpPr>
          <p:cNvPr id="29" name="TextBox 19"/>
          <p:cNvSpPr txBox="1"/>
          <p:nvPr/>
        </p:nvSpPr>
        <p:spPr>
          <a:xfrm>
            <a:off x="6686571" y="3530948"/>
            <a:ext cx="3951691" cy="492443"/>
          </a:xfrm>
          <a:prstGeom prst="rect">
            <a:avLst/>
          </a:prstGeom>
          <a:noFill/>
        </p:spPr>
        <p:txBody>
          <a:bodyPr wrap="square" rtlCol="0">
            <a:spAutoFit/>
          </a:bodyPr>
          <a:lstStyle/>
          <a:p>
            <a:pPr>
              <a:lnSpc>
                <a:spcPct val="130000"/>
              </a:lnSpc>
              <a:spcBef>
                <a:spcPts val="600"/>
              </a:spcBef>
            </a:pPr>
            <a:r>
              <a:rPr lang="zh-CN" altLang="en-US" sz="2000" b="1" kern="0" dirty="0" smtClean="0">
                <a:latin typeface="微软雅黑" panose="020B0503020204020204" pitchFamily="34" charset="-122"/>
                <a:ea typeface="微软雅黑" panose="020B0503020204020204" pitchFamily="34" charset="-122"/>
                <a:cs typeface="+mn-ea"/>
                <a:sym typeface="+mn-lt"/>
              </a:rPr>
              <a:t>产品：</a:t>
            </a:r>
            <a:r>
              <a:rPr lang="zh-CN" altLang="en-US" sz="1400" kern="0" dirty="0" smtClean="0">
                <a:latin typeface="微软雅黑" panose="020B0503020204020204" pitchFamily="34" charset="-122"/>
                <a:ea typeface="微软雅黑" panose="020B0503020204020204" pitchFamily="34" charset="-122"/>
                <a:cs typeface="+mn-ea"/>
                <a:sym typeface="+mn-lt"/>
              </a:rPr>
              <a:t>功能</a:t>
            </a:r>
            <a:r>
              <a:rPr lang="en-US" altLang="zh-CN" sz="1400" kern="0" dirty="0" smtClean="0">
                <a:latin typeface="微软雅黑" panose="020B0503020204020204" pitchFamily="34" charset="-122"/>
                <a:ea typeface="微软雅黑" panose="020B0503020204020204" pitchFamily="34" charset="-122"/>
                <a:cs typeface="+mn-ea"/>
                <a:sym typeface="+mn-lt"/>
              </a:rPr>
              <a:t>/</a:t>
            </a:r>
            <a:r>
              <a:rPr lang="zh-CN" altLang="en-US" sz="1400" kern="0" dirty="0" smtClean="0">
                <a:latin typeface="微软雅黑" panose="020B0503020204020204" pitchFamily="34" charset="-122"/>
                <a:ea typeface="微软雅黑" panose="020B0503020204020204" pitchFamily="34" charset="-122"/>
                <a:cs typeface="+mn-ea"/>
                <a:sym typeface="+mn-lt"/>
              </a:rPr>
              <a:t>视觉完成度高，符合设计预期</a:t>
            </a:r>
            <a:endParaRPr lang="zh-CN" altLang="en-US" sz="1400" kern="0" dirty="0">
              <a:latin typeface="微软雅黑" panose="020B0503020204020204" pitchFamily="34" charset="-122"/>
              <a:ea typeface="微软雅黑" panose="020B0503020204020204" pitchFamily="34" charset="-122"/>
              <a:cs typeface="+mn-ea"/>
              <a:sym typeface="+mn-lt"/>
            </a:endParaRPr>
          </a:p>
        </p:txBody>
      </p:sp>
      <p:sp>
        <p:nvSpPr>
          <p:cNvPr id="30" name="TextBox 20"/>
          <p:cNvSpPr txBox="1"/>
          <p:nvPr/>
        </p:nvSpPr>
        <p:spPr>
          <a:xfrm>
            <a:off x="6686571" y="4022064"/>
            <a:ext cx="5424049" cy="492443"/>
          </a:xfrm>
          <a:prstGeom prst="rect">
            <a:avLst/>
          </a:prstGeom>
          <a:noFill/>
        </p:spPr>
        <p:txBody>
          <a:bodyPr wrap="square" rtlCol="0">
            <a:spAutoFit/>
          </a:bodyPr>
          <a:lstStyle/>
          <a:p>
            <a:pPr>
              <a:lnSpc>
                <a:spcPct val="130000"/>
              </a:lnSpc>
              <a:spcBef>
                <a:spcPts val="600"/>
              </a:spcBef>
            </a:pPr>
            <a:r>
              <a:rPr lang="zh-CN" altLang="en-US" sz="2000" b="1" kern="0" dirty="0" smtClean="0">
                <a:latin typeface="微软雅黑" panose="020B0503020204020204" pitchFamily="34" charset="-122"/>
                <a:ea typeface="微软雅黑" panose="020B0503020204020204" pitchFamily="34" charset="-122"/>
                <a:cs typeface="+mn-ea"/>
                <a:sym typeface="+mn-lt"/>
              </a:rPr>
              <a:t>开发：</a:t>
            </a:r>
            <a:r>
              <a:rPr lang="en-US" altLang="zh-CN" sz="1400" kern="0" dirty="0" smtClean="0">
                <a:latin typeface="微软雅黑" panose="020B0503020204020204" pitchFamily="34" charset="-122"/>
                <a:ea typeface="微软雅黑" panose="020B0503020204020204" pitchFamily="34" charset="-122"/>
                <a:cs typeface="+mn-ea"/>
                <a:sym typeface="+mn-lt"/>
              </a:rPr>
              <a:t>bug</a:t>
            </a:r>
            <a:r>
              <a:rPr lang="zh-CN" altLang="en-US" sz="1400" kern="0" dirty="0" smtClean="0">
                <a:latin typeface="微软雅黑" panose="020B0503020204020204" pitchFamily="34" charset="-122"/>
                <a:ea typeface="微软雅黑" panose="020B0503020204020204" pitchFamily="34" charset="-122"/>
                <a:cs typeface="+mn-ea"/>
                <a:sym typeface="+mn-lt"/>
              </a:rPr>
              <a:t>少，维护性好，快速应对变化，少加班，开发效率高</a:t>
            </a:r>
            <a:endParaRPr lang="zh-CN" altLang="en-US" sz="1400" kern="0" dirty="0">
              <a:latin typeface="微软雅黑" panose="020B0503020204020204" pitchFamily="34" charset="-122"/>
              <a:ea typeface="微软雅黑" panose="020B0503020204020204" pitchFamily="34" charset="-122"/>
              <a:cs typeface="+mn-ea"/>
              <a:sym typeface="+mn-lt"/>
            </a:endParaRPr>
          </a:p>
        </p:txBody>
      </p:sp>
      <p:sp>
        <p:nvSpPr>
          <p:cNvPr id="31" name="TextBox 21"/>
          <p:cNvSpPr txBox="1"/>
          <p:nvPr/>
        </p:nvSpPr>
        <p:spPr>
          <a:xfrm>
            <a:off x="6686571" y="4451702"/>
            <a:ext cx="4080984" cy="492443"/>
          </a:xfrm>
          <a:prstGeom prst="rect">
            <a:avLst/>
          </a:prstGeom>
          <a:noFill/>
        </p:spPr>
        <p:txBody>
          <a:bodyPr wrap="square" rtlCol="0">
            <a:spAutoFit/>
          </a:bodyPr>
          <a:lstStyle>
            <a:defPPr>
              <a:defRPr lang="zh-CN"/>
            </a:defPPr>
            <a:lvl1pPr>
              <a:lnSpc>
                <a:spcPct val="130000"/>
              </a:lnSpc>
              <a:spcBef>
                <a:spcPts val="600"/>
              </a:spcBef>
              <a:defRPr sz="1400" kern="0">
                <a:latin typeface="微软雅黑" panose="020B0503020204020204" pitchFamily="34" charset="-122"/>
                <a:ea typeface="微软雅黑" panose="020B0503020204020204" pitchFamily="34" charset="-122"/>
                <a:cs typeface="+mn-ea"/>
              </a:defRPr>
            </a:lvl1pPr>
          </a:lstStyle>
          <a:p>
            <a:r>
              <a:rPr lang="zh-CN" altLang="en-US" sz="2000" b="1" dirty="0">
                <a:sym typeface="+mn-lt"/>
              </a:rPr>
              <a:t>测试：</a:t>
            </a:r>
            <a:r>
              <a:rPr lang="zh-CN" altLang="en-US" dirty="0">
                <a:sym typeface="+mn-lt"/>
              </a:rPr>
              <a:t>可测试性高，稳定无</a:t>
            </a:r>
            <a:r>
              <a:rPr lang="en-US" altLang="zh-CN" dirty="0">
                <a:sym typeface="+mn-lt"/>
              </a:rPr>
              <a:t>bug</a:t>
            </a:r>
            <a:endParaRPr lang="zh-CN" altLang="en-US" dirty="0">
              <a:sym typeface="+mn-lt"/>
            </a:endParaRPr>
          </a:p>
        </p:txBody>
      </p:sp>
      <p:sp>
        <p:nvSpPr>
          <p:cNvPr id="32" name="TextBox 22"/>
          <p:cNvSpPr txBox="1"/>
          <p:nvPr/>
        </p:nvSpPr>
        <p:spPr>
          <a:xfrm>
            <a:off x="6686571" y="4895554"/>
            <a:ext cx="2818543" cy="492443"/>
          </a:xfrm>
          <a:prstGeom prst="rect">
            <a:avLst/>
          </a:prstGeom>
          <a:noFill/>
        </p:spPr>
        <p:txBody>
          <a:bodyPr wrap="square" rtlCol="0">
            <a:spAutoFit/>
          </a:bodyPr>
          <a:lstStyle>
            <a:defPPr>
              <a:defRPr lang="zh-CN"/>
            </a:defPPr>
            <a:lvl1pPr>
              <a:lnSpc>
                <a:spcPct val="130000"/>
              </a:lnSpc>
              <a:spcBef>
                <a:spcPts val="600"/>
              </a:spcBef>
              <a:defRPr sz="1400" kern="0">
                <a:latin typeface="微软雅黑" panose="020B0503020204020204" pitchFamily="34" charset="-122"/>
                <a:ea typeface="微软雅黑" panose="020B0503020204020204" pitchFamily="34" charset="-122"/>
                <a:cs typeface="+mn-ea"/>
              </a:defRPr>
            </a:lvl1pPr>
          </a:lstStyle>
          <a:p>
            <a:r>
              <a:rPr lang="en-US" altLang="zh-CN" sz="2000" b="1" dirty="0">
                <a:sym typeface="+mn-lt"/>
              </a:rPr>
              <a:t>PM</a:t>
            </a:r>
            <a:r>
              <a:rPr lang="zh-CN" altLang="en-US" sz="2000" b="1" dirty="0">
                <a:sym typeface="+mn-lt"/>
              </a:rPr>
              <a:t>：</a:t>
            </a:r>
            <a:r>
              <a:rPr lang="zh-CN" altLang="en-US" dirty="0">
                <a:sym typeface="+mn-lt"/>
              </a:rPr>
              <a:t>进度可控，风险小</a:t>
            </a:r>
          </a:p>
        </p:txBody>
      </p:sp>
      <p:sp>
        <p:nvSpPr>
          <p:cNvPr id="33" name="TextBox 23"/>
          <p:cNvSpPr txBox="1"/>
          <p:nvPr/>
        </p:nvSpPr>
        <p:spPr>
          <a:xfrm>
            <a:off x="6686571" y="5332161"/>
            <a:ext cx="3797254" cy="492443"/>
          </a:xfrm>
          <a:prstGeom prst="rect">
            <a:avLst/>
          </a:prstGeom>
          <a:noFill/>
        </p:spPr>
        <p:txBody>
          <a:bodyPr wrap="square" rtlCol="0">
            <a:spAutoFit/>
          </a:bodyPr>
          <a:lstStyle>
            <a:defPPr>
              <a:defRPr lang="zh-CN"/>
            </a:defPPr>
            <a:lvl1pPr>
              <a:lnSpc>
                <a:spcPct val="130000"/>
              </a:lnSpc>
              <a:spcBef>
                <a:spcPts val="600"/>
              </a:spcBef>
              <a:defRPr sz="1400" kern="0">
                <a:latin typeface="微软雅黑" panose="020B0503020204020204" pitchFamily="34" charset="-122"/>
                <a:ea typeface="微软雅黑" panose="020B0503020204020204" pitchFamily="34" charset="-122"/>
                <a:cs typeface="+mn-ea"/>
              </a:defRPr>
            </a:lvl1pPr>
          </a:lstStyle>
          <a:p>
            <a:r>
              <a:rPr lang="zh-CN" altLang="en-US" sz="2000" b="1" dirty="0">
                <a:sym typeface="+mn-lt"/>
              </a:rPr>
              <a:t>运营：</a:t>
            </a:r>
            <a:r>
              <a:rPr lang="zh-CN" altLang="en-US" dirty="0">
                <a:sym typeface="+mn-lt"/>
              </a:rPr>
              <a:t>线上问题少，易修复，易定位排查</a:t>
            </a:r>
          </a:p>
        </p:txBody>
      </p:sp>
      <p:sp>
        <p:nvSpPr>
          <p:cNvPr id="34" name="TextBox 24"/>
          <p:cNvSpPr txBox="1"/>
          <p:nvPr/>
        </p:nvSpPr>
        <p:spPr>
          <a:xfrm>
            <a:off x="6686570" y="5812636"/>
            <a:ext cx="2818543" cy="492443"/>
          </a:xfrm>
          <a:prstGeom prst="rect">
            <a:avLst/>
          </a:prstGeom>
          <a:noFill/>
        </p:spPr>
        <p:txBody>
          <a:bodyPr wrap="square" rtlCol="0">
            <a:spAutoFit/>
          </a:bodyPr>
          <a:lstStyle>
            <a:defPPr>
              <a:defRPr lang="zh-CN"/>
            </a:defPPr>
            <a:lvl1pPr>
              <a:lnSpc>
                <a:spcPct val="130000"/>
              </a:lnSpc>
              <a:spcBef>
                <a:spcPts val="600"/>
              </a:spcBef>
              <a:defRPr sz="1400" kern="0">
                <a:latin typeface="微软雅黑" panose="020B0503020204020204" pitchFamily="34" charset="-122"/>
                <a:ea typeface="微软雅黑" panose="020B0503020204020204" pitchFamily="34" charset="-122"/>
                <a:cs typeface="+mn-ea"/>
              </a:defRPr>
            </a:lvl1pPr>
          </a:lstStyle>
          <a:p>
            <a:r>
              <a:rPr lang="zh-CN" altLang="en-US" sz="2000" b="1" dirty="0">
                <a:sym typeface="+mn-lt"/>
              </a:rPr>
              <a:t>老板：</a:t>
            </a:r>
            <a:r>
              <a:rPr lang="zh-CN" altLang="en-US" dirty="0">
                <a:sym typeface="+mn-lt"/>
              </a:rPr>
              <a:t>多快好省</a:t>
            </a:r>
          </a:p>
        </p:txBody>
      </p:sp>
      <p:sp>
        <p:nvSpPr>
          <p:cNvPr id="35" name="TextBox 25"/>
          <p:cNvSpPr txBox="1"/>
          <p:nvPr/>
        </p:nvSpPr>
        <p:spPr>
          <a:xfrm>
            <a:off x="6680771" y="6249243"/>
            <a:ext cx="4416025" cy="492443"/>
          </a:xfrm>
          <a:prstGeom prst="rect">
            <a:avLst/>
          </a:prstGeom>
          <a:noFill/>
        </p:spPr>
        <p:txBody>
          <a:bodyPr wrap="square" rtlCol="0">
            <a:spAutoFit/>
          </a:bodyPr>
          <a:lstStyle>
            <a:defPPr>
              <a:defRPr lang="zh-CN"/>
            </a:defPPr>
            <a:lvl1pPr>
              <a:lnSpc>
                <a:spcPct val="130000"/>
              </a:lnSpc>
              <a:spcBef>
                <a:spcPts val="600"/>
              </a:spcBef>
              <a:defRPr sz="1400" kern="0">
                <a:latin typeface="微软雅黑" panose="020B0503020204020204" pitchFamily="34" charset="-122"/>
                <a:ea typeface="微软雅黑" panose="020B0503020204020204" pitchFamily="34" charset="-122"/>
                <a:cs typeface="+mn-ea"/>
              </a:defRPr>
            </a:lvl1pPr>
          </a:lstStyle>
          <a:p>
            <a:r>
              <a:rPr lang="zh-CN" altLang="en-US" sz="2000" b="1" dirty="0">
                <a:sym typeface="+mn-lt"/>
              </a:rPr>
              <a:t>用户：</a:t>
            </a:r>
            <a:r>
              <a:rPr lang="zh-CN" altLang="en-US" dirty="0">
                <a:sym typeface="+mn-lt"/>
              </a:rPr>
              <a:t>免费，使用体验爽，安全，随心所欲</a:t>
            </a:r>
          </a:p>
        </p:txBody>
      </p:sp>
    </p:spTree>
    <p:extLst>
      <p:ext uri="{BB962C8B-B14F-4D97-AF65-F5344CB8AC3E}">
        <p14:creationId xmlns:p14="http://schemas.microsoft.com/office/powerpoint/2010/main" val="14401631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30" grpId="0"/>
      <p:bldP spid="31" grpId="0"/>
      <p:bldP spid="32" grpId="0"/>
      <p:bldP spid="33" grpId="0"/>
      <p:bldP spid="34" grpId="0"/>
      <p:bldP spid="35"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a:stretch>
            <a:fillRect/>
          </a:stretch>
        </p:blipFill>
        <p:spPr>
          <a:xfrm>
            <a:off x="1914846" y="963117"/>
            <a:ext cx="8170241" cy="5174158"/>
          </a:xfrm>
          <a:prstGeom prst="rect">
            <a:avLst/>
          </a:prstGeom>
        </p:spPr>
      </p:pic>
      <p:grpSp>
        <p:nvGrpSpPr>
          <p:cNvPr id="5" name="组合 4">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6" name="椭圆 5">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7" name="椭圆 6">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
        <p:nvSpPr>
          <p:cNvPr id="8" name="标题 1">
            <a:extLst>
              <a:ext uri="{FF2B5EF4-FFF2-40B4-BE49-F238E27FC236}">
                <a16:creationId xmlns:a16="http://schemas.microsoft.com/office/drawing/2014/main" id="{1D9D90DD-82BB-4388-81A3-44FA307364C4}"/>
              </a:ext>
            </a:extLst>
          </p:cNvPr>
          <p:cNvSpPr txBox="1">
            <a:spLocks/>
          </p:cNvSpPr>
          <p:nvPr/>
        </p:nvSpPr>
        <p:spPr>
          <a:xfrm>
            <a:off x="1149782" y="210918"/>
            <a:ext cx="5070909" cy="57784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3200" b="0" dirty="0" smtClean="0">
                <a:latin typeface="Arial"/>
                <a:ea typeface="Microsoft YaHei"/>
                <a:cs typeface="+mn-ea"/>
                <a:sym typeface="Arial"/>
              </a:rPr>
              <a:t>各种软件过程中的架构问题</a:t>
            </a:r>
            <a:endParaRPr lang="zh-CN" altLang="en-US" sz="3200" b="0" dirty="0">
              <a:latin typeface="Arial"/>
              <a:ea typeface="Microsoft YaHei"/>
              <a:cs typeface="+mn-ea"/>
              <a:sym typeface="Arial"/>
            </a:endParaRPr>
          </a:p>
        </p:txBody>
      </p:sp>
      <p:sp>
        <p:nvSpPr>
          <p:cNvPr id="9" name="文本框 8"/>
          <p:cNvSpPr txBox="1"/>
          <p:nvPr/>
        </p:nvSpPr>
        <p:spPr>
          <a:xfrm>
            <a:off x="9490355" y="2603282"/>
            <a:ext cx="1189464" cy="646331"/>
          </a:xfrm>
          <a:prstGeom prst="rect">
            <a:avLst/>
          </a:prstGeom>
          <a:noFill/>
        </p:spPr>
        <p:txBody>
          <a:bodyPr wrap="square" rtlCol="0">
            <a:spAutoFit/>
          </a:bodyPr>
          <a:lstStyle/>
          <a:p>
            <a:pPr marL="285750" indent="-285750">
              <a:buFont typeface="Arial" panose="020B0604020202020204" pitchFamily="34" charset="0"/>
              <a:buChar char="•"/>
            </a:pPr>
            <a:r>
              <a:rPr lang="zh-CN" altLang="en-US" dirty="0" smtClean="0">
                <a:solidFill>
                  <a:srgbClr val="CC3300"/>
                </a:solidFill>
              </a:rPr>
              <a:t>扩展性</a:t>
            </a:r>
            <a:endParaRPr lang="en-US" altLang="zh-CN" dirty="0" smtClean="0">
              <a:solidFill>
                <a:srgbClr val="CC3300"/>
              </a:solidFill>
            </a:endParaRPr>
          </a:p>
          <a:p>
            <a:pPr marL="285750" indent="-285750">
              <a:buFont typeface="Arial" panose="020B0604020202020204" pitchFamily="34" charset="0"/>
              <a:buChar char="•"/>
            </a:pPr>
            <a:r>
              <a:rPr lang="zh-CN" altLang="en-US" dirty="0">
                <a:solidFill>
                  <a:srgbClr val="CC3300"/>
                </a:solidFill>
              </a:rPr>
              <a:t>耦合性</a:t>
            </a:r>
          </a:p>
        </p:txBody>
      </p:sp>
      <p:sp>
        <p:nvSpPr>
          <p:cNvPr id="10" name="文本框 9"/>
          <p:cNvSpPr txBox="1"/>
          <p:nvPr/>
        </p:nvSpPr>
        <p:spPr>
          <a:xfrm>
            <a:off x="8413928" y="4768609"/>
            <a:ext cx="1577565" cy="646331"/>
          </a:xfrm>
          <a:prstGeom prst="rect">
            <a:avLst/>
          </a:prstGeom>
          <a:noFill/>
        </p:spPr>
        <p:txBody>
          <a:bodyPr wrap="square" rtlCol="0">
            <a:spAutoFit/>
          </a:bodyPr>
          <a:lstStyle/>
          <a:p>
            <a:pPr marL="285750" indent="-285750">
              <a:buFont typeface="Arial" panose="020B0604020202020204" pitchFamily="34" charset="0"/>
              <a:buChar char="•"/>
            </a:pPr>
            <a:r>
              <a:rPr lang="zh-CN" altLang="en-US" dirty="0">
                <a:solidFill>
                  <a:srgbClr val="CC3300"/>
                </a:solidFill>
              </a:rPr>
              <a:t>耦合</a:t>
            </a:r>
            <a:r>
              <a:rPr lang="zh-CN" altLang="en-US" dirty="0" smtClean="0">
                <a:solidFill>
                  <a:srgbClr val="CC3300"/>
                </a:solidFill>
              </a:rPr>
              <a:t>性</a:t>
            </a:r>
            <a:endParaRPr lang="en-US" altLang="zh-CN" dirty="0" smtClean="0">
              <a:solidFill>
                <a:srgbClr val="CC3300"/>
              </a:solidFill>
            </a:endParaRPr>
          </a:p>
          <a:p>
            <a:pPr marL="285750" indent="-285750">
              <a:buFont typeface="Arial" panose="020B0604020202020204" pitchFamily="34" charset="0"/>
              <a:buChar char="•"/>
            </a:pPr>
            <a:r>
              <a:rPr lang="zh-CN" altLang="en-US" dirty="0" smtClean="0">
                <a:solidFill>
                  <a:srgbClr val="CC3300"/>
                </a:solidFill>
              </a:rPr>
              <a:t>可维护性</a:t>
            </a:r>
            <a:endParaRPr lang="en-US" altLang="zh-CN" dirty="0" smtClean="0">
              <a:solidFill>
                <a:srgbClr val="CC3300"/>
              </a:solidFill>
            </a:endParaRPr>
          </a:p>
        </p:txBody>
      </p:sp>
      <p:sp>
        <p:nvSpPr>
          <p:cNvPr id="11" name="文本框 10"/>
          <p:cNvSpPr txBox="1"/>
          <p:nvPr/>
        </p:nvSpPr>
        <p:spPr>
          <a:xfrm>
            <a:off x="5999966" y="2962244"/>
            <a:ext cx="1389575" cy="1477328"/>
          </a:xfrm>
          <a:prstGeom prst="rect">
            <a:avLst/>
          </a:prstGeom>
          <a:noFill/>
        </p:spPr>
        <p:txBody>
          <a:bodyPr wrap="square" rtlCol="0">
            <a:spAutoFit/>
          </a:bodyPr>
          <a:lstStyle/>
          <a:p>
            <a:pPr marL="285750" indent="-285750">
              <a:buFont typeface="Arial" panose="020B0604020202020204" pitchFamily="34" charset="0"/>
              <a:buChar char="•"/>
            </a:pPr>
            <a:r>
              <a:rPr lang="zh-CN" altLang="en-US" dirty="0" smtClean="0">
                <a:solidFill>
                  <a:srgbClr val="CC3300"/>
                </a:solidFill>
              </a:rPr>
              <a:t>可扩展性</a:t>
            </a:r>
            <a:endParaRPr lang="en-US" altLang="zh-CN" dirty="0" smtClean="0">
              <a:solidFill>
                <a:srgbClr val="CC3300"/>
              </a:solidFill>
            </a:endParaRPr>
          </a:p>
          <a:p>
            <a:pPr marL="285750" indent="-285750">
              <a:buFont typeface="Arial" panose="020B0604020202020204" pitchFamily="34" charset="0"/>
              <a:buChar char="•"/>
            </a:pPr>
            <a:r>
              <a:rPr lang="zh-CN" altLang="en-US" dirty="0" smtClean="0">
                <a:solidFill>
                  <a:srgbClr val="CC3300"/>
                </a:solidFill>
              </a:rPr>
              <a:t>可维护性</a:t>
            </a:r>
            <a:endParaRPr lang="en-US" altLang="zh-CN" dirty="0" smtClean="0">
              <a:solidFill>
                <a:srgbClr val="CC3300"/>
              </a:solidFill>
            </a:endParaRPr>
          </a:p>
          <a:p>
            <a:pPr marL="285750" indent="-285750">
              <a:buFont typeface="Arial" panose="020B0604020202020204" pitchFamily="34" charset="0"/>
              <a:buChar char="•"/>
            </a:pPr>
            <a:r>
              <a:rPr lang="zh-CN" altLang="en-US" dirty="0" smtClean="0">
                <a:solidFill>
                  <a:srgbClr val="CC3300"/>
                </a:solidFill>
              </a:rPr>
              <a:t>可移植性</a:t>
            </a:r>
            <a:endParaRPr lang="en-US" altLang="zh-CN" dirty="0" smtClean="0">
              <a:solidFill>
                <a:srgbClr val="CC3300"/>
              </a:solidFill>
            </a:endParaRPr>
          </a:p>
          <a:p>
            <a:pPr marL="285750" indent="-285750">
              <a:buFont typeface="Arial" panose="020B0604020202020204" pitchFamily="34" charset="0"/>
              <a:buChar char="•"/>
            </a:pPr>
            <a:r>
              <a:rPr lang="zh-CN" altLang="en-US" dirty="0">
                <a:solidFill>
                  <a:srgbClr val="CC3300"/>
                </a:solidFill>
              </a:rPr>
              <a:t>可测试性</a:t>
            </a:r>
            <a:endParaRPr lang="en-US" altLang="zh-CN" dirty="0" smtClean="0">
              <a:solidFill>
                <a:srgbClr val="CC3300"/>
              </a:solidFill>
            </a:endParaRPr>
          </a:p>
          <a:p>
            <a:pPr marL="285750" indent="-285750">
              <a:buFont typeface="Arial" panose="020B0604020202020204" pitchFamily="34" charset="0"/>
              <a:buChar char="•"/>
            </a:pPr>
            <a:r>
              <a:rPr lang="zh-CN" altLang="en-US" dirty="0" smtClean="0">
                <a:solidFill>
                  <a:srgbClr val="CC3300"/>
                </a:solidFill>
              </a:rPr>
              <a:t>复杂性</a:t>
            </a:r>
            <a:endParaRPr lang="en-US" altLang="zh-CN" dirty="0" smtClean="0">
              <a:solidFill>
                <a:srgbClr val="CC3300"/>
              </a:solidFill>
            </a:endParaRPr>
          </a:p>
        </p:txBody>
      </p:sp>
      <p:sp>
        <p:nvSpPr>
          <p:cNvPr id="12" name="文本框 11"/>
          <p:cNvSpPr txBox="1"/>
          <p:nvPr/>
        </p:nvSpPr>
        <p:spPr>
          <a:xfrm>
            <a:off x="4423926" y="1541480"/>
            <a:ext cx="1486829" cy="1477328"/>
          </a:xfrm>
          <a:prstGeom prst="rect">
            <a:avLst/>
          </a:prstGeom>
          <a:noFill/>
        </p:spPr>
        <p:txBody>
          <a:bodyPr wrap="square" rtlCol="0">
            <a:spAutoFit/>
          </a:bodyPr>
          <a:lstStyle/>
          <a:p>
            <a:pPr marL="285750" indent="-285750">
              <a:buFont typeface="Arial" panose="020B0604020202020204" pitchFamily="34" charset="0"/>
              <a:buChar char="•"/>
            </a:pPr>
            <a:r>
              <a:rPr lang="zh-CN" altLang="en-US" dirty="0">
                <a:solidFill>
                  <a:srgbClr val="CC3300"/>
                </a:solidFill>
              </a:rPr>
              <a:t>可扩展性</a:t>
            </a:r>
            <a:endParaRPr lang="en-US" altLang="zh-CN" dirty="0">
              <a:solidFill>
                <a:srgbClr val="CC3300"/>
              </a:solidFill>
            </a:endParaRPr>
          </a:p>
          <a:p>
            <a:pPr marL="285750" indent="-285750">
              <a:buFont typeface="Arial" panose="020B0604020202020204" pitchFamily="34" charset="0"/>
              <a:buChar char="•"/>
            </a:pPr>
            <a:r>
              <a:rPr lang="zh-CN" altLang="en-US" dirty="0">
                <a:solidFill>
                  <a:srgbClr val="CC3300"/>
                </a:solidFill>
              </a:rPr>
              <a:t>可维护性</a:t>
            </a:r>
            <a:endParaRPr lang="en-US" altLang="zh-CN" dirty="0">
              <a:solidFill>
                <a:srgbClr val="CC3300"/>
              </a:solidFill>
            </a:endParaRPr>
          </a:p>
          <a:p>
            <a:pPr marL="285750" indent="-285750">
              <a:buFont typeface="Arial" panose="020B0604020202020204" pitchFamily="34" charset="0"/>
              <a:buChar char="•"/>
            </a:pPr>
            <a:r>
              <a:rPr lang="zh-CN" altLang="en-US" dirty="0" smtClean="0">
                <a:solidFill>
                  <a:srgbClr val="CC3300"/>
                </a:solidFill>
              </a:rPr>
              <a:t>可移植性</a:t>
            </a:r>
            <a:endParaRPr lang="en-US" altLang="zh-CN" dirty="0" smtClean="0">
              <a:solidFill>
                <a:srgbClr val="CC3300"/>
              </a:solidFill>
            </a:endParaRPr>
          </a:p>
          <a:p>
            <a:pPr marL="285750" indent="-285750">
              <a:buFont typeface="Arial" panose="020B0604020202020204" pitchFamily="34" charset="0"/>
              <a:buChar char="•"/>
            </a:pPr>
            <a:r>
              <a:rPr lang="zh-CN" altLang="en-US" dirty="0">
                <a:solidFill>
                  <a:srgbClr val="CC3300"/>
                </a:solidFill>
              </a:rPr>
              <a:t>可测试性</a:t>
            </a:r>
            <a:endParaRPr lang="en-US" altLang="zh-CN" dirty="0">
              <a:solidFill>
                <a:srgbClr val="CC3300"/>
              </a:solidFill>
            </a:endParaRPr>
          </a:p>
          <a:p>
            <a:pPr marL="285750" indent="-285750">
              <a:buFont typeface="Arial" panose="020B0604020202020204" pitchFamily="34" charset="0"/>
              <a:buChar char="•"/>
            </a:pPr>
            <a:r>
              <a:rPr lang="zh-CN" altLang="en-US" dirty="0" smtClean="0">
                <a:solidFill>
                  <a:srgbClr val="CC3300"/>
                </a:solidFill>
              </a:rPr>
              <a:t>复杂性</a:t>
            </a:r>
            <a:endParaRPr lang="en-US" altLang="zh-CN" dirty="0" smtClean="0">
              <a:solidFill>
                <a:srgbClr val="CC3300"/>
              </a:solidFill>
            </a:endParaRPr>
          </a:p>
        </p:txBody>
      </p:sp>
    </p:spTree>
    <p:extLst>
      <p:ext uri="{BB962C8B-B14F-4D97-AF65-F5344CB8AC3E}">
        <p14:creationId xmlns:p14="http://schemas.microsoft.com/office/powerpoint/2010/main" val="3061770376"/>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6" name="椭圆 5">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7" name="椭圆 6">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
        <p:nvSpPr>
          <p:cNvPr id="8" name="标题 1">
            <a:extLst>
              <a:ext uri="{FF2B5EF4-FFF2-40B4-BE49-F238E27FC236}">
                <a16:creationId xmlns:a16="http://schemas.microsoft.com/office/drawing/2014/main" id="{1D9D90DD-82BB-4388-81A3-44FA307364C4}"/>
              </a:ext>
            </a:extLst>
          </p:cNvPr>
          <p:cNvSpPr txBox="1">
            <a:spLocks/>
          </p:cNvSpPr>
          <p:nvPr/>
        </p:nvSpPr>
        <p:spPr>
          <a:xfrm>
            <a:off x="1149782" y="210918"/>
            <a:ext cx="4850185" cy="57784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3200" b="0" dirty="0" smtClean="0">
                <a:latin typeface="Arial"/>
                <a:ea typeface="Microsoft YaHei"/>
                <a:cs typeface="+mn-ea"/>
                <a:sym typeface="Arial"/>
              </a:rPr>
              <a:t>我们想要什么样的代码？</a:t>
            </a:r>
            <a:endParaRPr lang="zh-CN" altLang="en-US" sz="3200" b="0" dirty="0">
              <a:latin typeface="Arial"/>
              <a:ea typeface="Microsoft YaHei"/>
              <a:cs typeface="+mn-ea"/>
              <a:sym typeface="Arial"/>
            </a:endParaRPr>
          </a:p>
        </p:txBody>
      </p:sp>
      <p:sp>
        <p:nvSpPr>
          <p:cNvPr id="2" name="文本框 1"/>
          <p:cNvSpPr txBox="1"/>
          <p:nvPr/>
        </p:nvSpPr>
        <p:spPr>
          <a:xfrm>
            <a:off x="2040673" y="4921405"/>
            <a:ext cx="2066693" cy="523220"/>
          </a:xfrm>
          <a:prstGeom prst="rect">
            <a:avLst/>
          </a:prstGeom>
          <a:noFill/>
        </p:spPr>
        <p:txBody>
          <a:bodyPr wrap="square" rtlCol="0">
            <a:spAutoFit/>
          </a:bodyPr>
          <a:lstStyle/>
          <a:p>
            <a:r>
              <a:rPr lang="zh-CN" altLang="en-US" sz="2800" b="1" dirty="0" smtClean="0">
                <a:solidFill>
                  <a:srgbClr val="008CD7"/>
                </a:solidFill>
              </a:rPr>
              <a:t>可移植性</a:t>
            </a:r>
            <a:endParaRPr lang="zh-CN" altLang="en-US" sz="2800" b="1" dirty="0">
              <a:solidFill>
                <a:srgbClr val="008CD7"/>
              </a:solidFill>
            </a:endParaRPr>
          </a:p>
        </p:txBody>
      </p:sp>
      <p:sp>
        <p:nvSpPr>
          <p:cNvPr id="9" name="文本框 8"/>
          <p:cNvSpPr txBox="1"/>
          <p:nvPr/>
        </p:nvSpPr>
        <p:spPr>
          <a:xfrm>
            <a:off x="2541527" y="3111191"/>
            <a:ext cx="3078688" cy="523220"/>
          </a:xfrm>
          <a:prstGeom prst="rect">
            <a:avLst/>
          </a:prstGeom>
          <a:noFill/>
        </p:spPr>
        <p:txBody>
          <a:bodyPr wrap="square" rtlCol="0">
            <a:spAutoFit/>
          </a:bodyPr>
          <a:lstStyle/>
          <a:p>
            <a:r>
              <a:rPr lang="zh-CN" altLang="en-US" sz="2800" b="1" dirty="0" smtClean="0">
                <a:solidFill>
                  <a:srgbClr val="008CD7"/>
                </a:solidFill>
              </a:rPr>
              <a:t>便于重新组合策略</a:t>
            </a:r>
            <a:endParaRPr lang="zh-CN" altLang="en-US" sz="2800" b="1" dirty="0">
              <a:solidFill>
                <a:srgbClr val="008CD7"/>
              </a:solidFill>
            </a:endParaRPr>
          </a:p>
        </p:txBody>
      </p:sp>
      <p:sp>
        <p:nvSpPr>
          <p:cNvPr id="10" name="文本框 9"/>
          <p:cNvSpPr txBox="1"/>
          <p:nvPr/>
        </p:nvSpPr>
        <p:spPr>
          <a:xfrm>
            <a:off x="7240859" y="3921512"/>
            <a:ext cx="2066693" cy="1384995"/>
          </a:xfrm>
          <a:prstGeom prst="rect">
            <a:avLst/>
          </a:prstGeom>
          <a:noFill/>
        </p:spPr>
        <p:txBody>
          <a:bodyPr wrap="square" rtlCol="0">
            <a:spAutoFit/>
          </a:bodyPr>
          <a:lstStyle/>
          <a:p>
            <a:r>
              <a:rPr lang="zh-CN" altLang="en-US" sz="2800" b="1" dirty="0" smtClean="0">
                <a:solidFill>
                  <a:srgbClr val="008CD7"/>
                </a:solidFill>
              </a:rPr>
              <a:t>耦合度低，算法与逻辑分离</a:t>
            </a:r>
            <a:endParaRPr lang="zh-CN" altLang="en-US" sz="2800" b="1" dirty="0">
              <a:solidFill>
                <a:srgbClr val="008CD7"/>
              </a:solidFill>
            </a:endParaRPr>
          </a:p>
        </p:txBody>
      </p:sp>
      <p:sp>
        <p:nvSpPr>
          <p:cNvPr id="11" name="文本框 10"/>
          <p:cNvSpPr txBox="1"/>
          <p:nvPr/>
        </p:nvSpPr>
        <p:spPr>
          <a:xfrm>
            <a:off x="6393501" y="2091825"/>
            <a:ext cx="2051689" cy="523220"/>
          </a:xfrm>
          <a:prstGeom prst="rect">
            <a:avLst/>
          </a:prstGeom>
          <a:noFill/>
        </p:spPr>
        <p:txBody>
          <a:bodyPr wrap="square" rtlCol="0">
            <a:spAutoFit/>
          </a:bodyPr>
          <a:lstStyle/>
          <a:p>
            <a:r>
              <a:rPr lang="zh-CN" altLang="en-US" sz="2800" b="1" dirty="0" smtClean="0">
                <a:solidFill>
                  <a:srgbClr val="008CD7"/>
                </a:solidFill>
              </a:rPr>
              <a:t>可扩展性好</a:t>
            </a:r>
            <a:endParaRPr lang="zh-CN" altLang="en-US" sz="2800" b="1" dirty="0">
              <a:solidFill>
                <a:srgbClr val="008CD7"/>
              </a:solidFill>
            </a:endParaRPr>
          </a:p>
        </p:txBody>
      </p:sp>
      <p:sp>
        <p:nvSpPr>
          <p:cNvPr id="12" name="文本框 11"/>
          <p:cNvSpPr txBox="1"/>
          <p:nvPr/>
        </p:nvSpPr>
        <p:spPr>
          <a:xfrm>
            <a:off x="2040673" y="1721005"/>
            <a:ext cx="2066693" cy="523220"/>
          </a:xfrm>
          <a:prstGeom prst="rect">
            <a:avLst/>
          </a:prstGeom>
          <a:noFill/>
        </p:spPr>
        <p:txBody>
          <a:bodyPr wrap="square" rtlCol="0">
            <a:spAutoFit/>
          </a:bodyPr>
          <a:lstStyle/>
          <a:p>
            <a:r>
              <a:rPr lang="zh-CN" altLang="en-US" sz="2800" b="1" dirty="0" smtClean="0">
                <a:solidFill>
                  <a:srgbClr val="008CD7"/>
                </a:solidFill>
              </a:rPr>
              <a:t>重用性好</a:t>
            </a:r>
            <a:endParaRPr lang="zh-CN" altLang="en-US" sz="2800" b="1" dirty="0">
              <a:solidFill>
                <a:srgbClr val="008CD7"/>
              </a:solidFill>
            </a:endParaRPr>
          </a:p>
        </p:txBody>
      </p:sp>
      <p:sp>
        <p:nvSpPr>
          <p:cNvPr id="13" name="文本框 12"/>
          <p:cNvSpPr txBox="1"/>
          <p:nvPr/>
        </p:nvSpPr>
        <p:spPr>
          <a:xfrm>
            <a:off x="7895063" y="1371600"/>
            <a:ext cx="2066693" cy="523220"/>
          </a:xfrm>
          <a:prstGeom prst="rect">
            <a:avLst/>
          </a:prstGeom>
          <a:noFill/>
        </p:spPr>
        <p:txBody>
          <a:bodyPr wrap="square" rtlCol="0">
            <a:spAutoFit/>
          </a:bodyPr>
          <a:lstStyle/>
          <a:p>
            <a:r>
              <a:rPr lang="zh-CN" altLang="en-US" sz="2800" b="1" dirty="0" smtClean="0">
                <a:solidFill>
                  <a:srgbClr val="008CD7"/>
                </a:solidFill>
              </a:rPr>
              <a:t>鲁棒性</a:t>
            </a:r>
            <a:endParaRPr lang="zh-CN" altLang="en-US" sz="2800" b="1" dirty="0">
              <a:solidFill>
                <a:srgbClr val="008CD7"/>
              </a:solidFill>
            </a:endParaRPr>
          </a:p>
        </p:txBody>
      </p:sp>
      <p:sp>
        <p:nvSpPr>
          <p:cNvPr id="14" name="文本框 13"/>
          <p:cNvSpPr txBox="1"/>
          <p:nvPr/>
        </p:nvSpPr>
        <p:spPr>
          <a:xfrm>
            <a:off x="8274205" y="2988003"/>
            <a:ext cx="2066693" cy="523220"/>
          </a:xfrm>
          <a:prstGeom prst="rect">
            <a:avLst/>
          </a:prstGeom>
          <a:noFill/>
        </p:spPr>
        <p:txBody>
          <a:bodyPr wrap="square" rtlCol="0">
            <a:spAutoFit/>
          </a:bodyPr>
          <a:lstStyle/>
          <a:p>
            <a:r>
              <a:rPr lang="zh-CN" altLang="en-US" sz="2800" b="1" dirty="0" smtClean="0">
                <a:solidFill>
                  <a:srgbClr val="008CD7"/>
                </a:solidFill>
              </a:rPr>
              <a:t>合适复杂度</a:t>
            </a:r>
            <a:endParaRPr lang="zh-CN" altLang="en-US" sz="2800" b="1" dirty="0">
              <a:solidFill>
                <a:srgbClr val="008CD7"/>
              </a:solidFill>
            </a:endParaRPr>
          </a:p>
        </p:txBody>
      </p:sp>
      <p:sp>
        <p:nvSpPr>
          <p:cNvPr id="16" name="文本框 15"/>
          <p:cNvSpPr txBox="1"/>
          <p:nvPr/>
        </p:nvSpPr>
        <p:spPr>
          <a:xfrm>
            <a:off x="5099166" y="4398185"/>
            <a:ext cx="2066693" cy="523220"/>
          </a:xfrm>
          <a:prstGeom prst="rect">
            <a:avLst/>
          </a:prstGeom>
          <a:noFill/>
        </p:spPr>
        <p:txBody>
          <a:bodyPr wrap="square" rtlCol="0">
            <a:spAutoFit/>
          </a:bodyPr>
          <a:lstStyle/>
          <a:p>
            <a:r>
              <a:rPr lang="zh-CN" altLang="en-US" sz="2800" b="1" dirty="0" smtClean="0">
                <a:solidFill>
                  <a:srgbClr val="008CD7"/>
                </a:solidFill>
              </a:rPr>
              <a:t>高内聚度</a:t>
            </a:r>
            <a:endParaRPr lang="zh-CN" altLang="en-US" sz="2800" b="1" dirty="0">
              <a:solidFill>
                <a:srgbClr val="008CD7"/>
              </a:solidFill>
            </a:endParaRPr>
          </a:p>
        </p:txBody>
      </p:sp>
    </p:spTree>
    <p:extLst>
      <p:ext uri="{BB962C8B-B14F-4D97-AF65-F5344CB8AC3E}">
        <p14:creationId xmlns:p14="http://schemas.microsoft.com/office/powerpoint/2010/main" val="20204536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9" grpId="0"/>
      <p:bldP spid="10" grpId="0"/>
      <p:bldP spid="11" grpId="0"/>
      <p:bldP spid="12" grpId="0"/>
      <p:bldP spid="13" grpId="0"/>
      <p:bldP spid="14" grpId="0"/>
      <p:bldP spid="16"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图示 4"/>
          <p:cNvGraphicFramePr/>
          <p:nvPr>
            <p:extLst>
              <p:ext uri="{D42A27DB-BD31-4B8C-83A1-F6EECF244321}">
                <p14:modId xmlns:p14="http://schemas.microsoft.com/office/powerpoint/2010/main" val="2042618299"/>
              </p:ext>
            </p:extLst>
          </p:nvPr>
        </p:nvGraphicFramePr>
        <p:xfrm>
          <a:off x="3262357" y="551988"/>
          <a:ext cx="8191055" cy="55852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右箭头 6"/>
          <p:cNvSpPr/>
          <p:nvPr/>
        </p:nvSpPr>
        <p:spPr>
          <a:xfrm rot="16200000">
            <a:off x="176510" y="3345924"/>
            <a:ext cx="5108575" cy="474125"/>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lang="zh-CN" altLang="en-US" sz="1600" dirty="0">
              <a:latin typeface="微软雅黑" panose="020B0503020204020204" pitchFamily="34" charset="-122"/>
              <a:ea typeface="微软雅黑" panose="020B0503020204020204" pitchFamily="34" charset="-122"/>
            </a:endParaRPr>
          </a:p>
        </p:txBody>
      </p:sp>
      <p:sp>
        <p:nvSpPr>
          <p:cNvPr id="8" name="TextBox 7"/>
          <p:cNvSpPr txBox="1"/>
          <p:nvPr/>
        </p:nvSpPr>
        <p:spPr>
          <a:xfrm>
            <a:off x="3437288" y="1563992"/>
            <a:ext cx="828429" cy="525657"/>
          </a:xfrm>
          <a:prstGeom prst="rect">
            <a:avLst/>
          </a:prstGeom>
          <a:noFill/>
        </p:spPr>
        <p:txBody>
          <a:bodyPr wrap="square" rtlCol="0">
            <a:spAutoFit/>
          </a:bodyPr>
          <a:lstStyle/>
          <a:p>
            <a:pPr>
              <a:lnSpc>
                <a:spcPct val="130000"/>
              </a:lnSpc>
              <a:spcBef>
                <a:spcPts val="800"/>
              </a:spcBef>
            </a:pPr>
            <a:r>
              <a:rPr lang="zh-CN" altLang="en-US" sz="2400" b="1" kern="0" dirty="0">
                <a:solidFill>
                  <a:srgbClr val="00B050"/>
                </a:solidFill>
                <a:latin typeface="微软雅黑" panose="020B0503020204020204" pitchFamily="34" charset="-122"/>
                <a:ea typeface="微软雅黑" panose="020B0503020204020204" pitchFamily="34" charset="-122"/>
                <a:cs typeface="+mn-ea"/>
                <a:sym typeface="+mn-lt"/>
              </a:rPr>
              <a:t>优秀</a:t>
            </a:r>
          </a:p>
        </p:txBody>
      </p:sp>
      <p:sp>
        <p:nvSpPr>
          <p:cNvPr id="4" name="TextBox 3"/>
          <p:cNvSpPr txBox="1"/>
          <p:nvPr/>
        </p:nvSpPr>
        <p:spPr>
          <a:xfrm>
            <a:off x="813925" y="1756013"/>
            <a:ext cx="2304256" cy="3486083"/>
          </a:xfrm>
          <a:prstGeom prst="rect">
            <a:avLst/>
          </a:prstGeom>
          <a:noFill/>
        </p:spPr>
        <p:txBody>
          <a:bodyPr wrap="square" rtlCol="0">
            <a:spAutoFit/>
          </a:bodyPr>
          <a:lstStyle/>
          <a:p>
            <a:pPr>
              <a:lnSpc>
                <a:spcPct val="130000"/>
              </a:lnSpc>
              <a:spcBef>
                <a:spcPts val="800"/>
              </a:spcBef>
            </a:pPr>
            <a:r>
              <a:rPr lang="zh-CN" altLang="en-US" sz="2400" b="1" kern="0" dirty="0" smtClean="0">
                <a:solidFill>
                  <a:srgbClr val="CC3300"/>
                </a:solidFill>
                <a:latin typeface="微软雅黑" panose="020B0503020204020204" pitchFamily="34" charset="-122"/>
                <a:ea typeface="微软雅黑" panose="020B0503020204020204" pitchFamily="34" charset="-122"/>
                <a:cs typeface="+mn-ea"/>
                <a:sym typeface="+mn-lt"/>
              </a:rPr>
              <a:t>“好”</a:t>
            </a:r>
            <a:r>
              <a:rPr lang="zh-CN" altLang="en-US" sz="2400" b="1" kern="0" dirty="0">
                <a:solidFill>
                  <a:srgbClr val="CC3300"/>
                </a:solidFill>
                <a:latin typeface="微软雅黑" panose="020B0503020204020204" pitchFamily="34" charset="-122"/>
                <a:ea typeface="微软雅黑" panose="020B0503020204020204" pitchFamily="34" charset="-122"/>
                <a:cs typeface="+mn-ea"/>
                <a:sym typeface="+mn-lt"/>
              </a:rPr>
              <a:t>架构</a:t>
            </a:r>
          </a:p>
          <a:p>
            <a:pPr>
              <a:lnSpc>
                <a:spcPct val="130000"/>
              </a:lnSpc>
              <a:spcBef>
                <a:spcPts val="800"/>
              </a:spcBef>
            </a:pPr>
            <a:endParaRPr lang="en-US" altLang="zh-CN" sz="2400" b="1" kern="0" dirty="0">
              <a:latin typeface="微软雅黑" panose="020B0503020204020204" pitchFamily="34" charset="-122"/>
              <a:ea typeface="微软雅黑" panose="020B0503020204020204" pitchFamily="34" charset="-122"/>
              <a:cs typeface="+mn-ea"/>
              <a:sym typeface="+mn-lt"/>
            </a:endParaRPr>
          </a:p>
          <a:p>
            <a:pPr>
              <a:lnSpc>
                <a:spcPct val="130000"/>
              </a:lnSpc>
              <a:spcBef>
                <a:spcPts val="800"/>
              </a:spcBef>
            </a:pPr>
            <a:endParaRPr lang="en-US" altLang="zh-CN" sz="2400" b="1" kern="0" dirty="0">
              <a:latin typeface="微软雅黑" panose="020B0503020204020204" pitchFamily="34" charset="-122"/>
              <a:ea typeface="微软雅黑" panose="020B0503020204020204" pitchFamily="34" charset="-122"/>
              <a:cs typeface="+mn-ea"/>
              <a:sym typeface="+mn-lt"/>
            </a:endParaRPr>
          </a:p>
          <a:p>
            <a:pPr>
              <a:lnSpc>
                <a:spcPct val="130000"/>
              </a:lnSpc>
              <a:spcBef>
                <a:spcPts val="800"/>
              </a:spcBef>
            </a:pPr>
            <a:endParaRPr lang="en-US" altLang="zh-CN" sz="2400" b="1" kern="0" dirty="0">
              <a:latin typeface="微软雅黑" panose="020B0503020204020204" pitchFamily="34" charset="-122"/>
              <a:ea typeface="微软雅黑" panose="020B0503020204020204" pitchFamily="34" charset="-122"/>
              <a:cs typeface="+mn-ea"/>
              <a:sym typeface="+mn-lt"/>
            </a:endParaRPr>
          </a:p>
          <a:p>
            <a:pPr>
              <a:lnSpc>
                <a:spcPct val="130000"/>
              </a:lnSpc>
              <a:spcBef>
                <a:spcPts val="800"/>
              </a:spcBef>
            </a:pPr>
            <a:endParaRPr lang="en-US" altLang="zh-CN" sz="2400" b="1" kern="0" dirty="0">
              <a:latin typeface="微软雅黑" panose="020B0503020204020204" pitchFamily="34" charset="-122"/>
              <a:ea typeface="微软雅黑" panose="020B0503020204020204" pitchFamily="34" charset="-122"/>
              <a:cs typeface="+mn-ea"/>
              <a:sym typeface="+mn-lt"/>
            </a:endParaRPr>
          </a:p>
          <a:p>
            <a:pPr>
              <a:lnSpc>
                <a:spcPct val="130000"/>
              </a:lnSpc>
              <a:spcBef>
                <a:spcPts val="800"/>
              </a:spcBef>
            </a:pPr>
            <a:r>
              <a:rPr lang="en-US" altLang="zh-CN" sz="2400" b="1" kern="0" dirty="0" smtClean="0">
                <a:solidFill>
                  <a:srgbClr val="CC3300"/>
                </a:solidFill>
                <a:latin typeface="微软雅黑" panose="020B0503020204020204" pitchFamily="34" charset="-122"/>
                <a:ea typeface="微软雅黑" panose="020B0503020204020204" pitchFamily="34" charset="-122"/>
                <a:cs typeface="+mn-ea"/>
                <a:sym typeface="+mn-lt"/>
              </a:rPr>
              <a:t> </a:t>
            </a:r>
            <a:r>
              <a:rPr lang="zh-CN" altLang="en-US" sz="2400" b="1" kern="0" dirty="0">
                <a:solidFill>
                  <a:srgbClr val="CC3300"/>
                </a:solidFill>
                <a:latin typeface="微软雅黑" panose="020B0503020204020204" pitchFamily="34" charset="-122"/>
                <a:ea typeface="微软雅黑" panose="020B0503020204020204" pitchFamily="34" charset="-122"/>
                <a:cs typeface="+mn-ea"/>
                <a:sym typeface="+mn-lt"/>
              </a:rPr>
              <a:t>架构本身</a:t>
            </a:r>
            <a:endParaRPr lang="zh-CN" altLang="en-US" sz="2400" dirty="0">
              <a:solidFill>
                <a:srgbClr val="CC3300"/>
              </a:solidFill>
            </a:endParaRPr>
          </a:p>
        </p:txBody>
      </p:sp>
      <p:grpSp>
        <p:nvGrpSpPr>
          <p:cNvPr id="9" name="组合 8">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10" name="椭圆 9">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11" name="椭圆 10">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
        <p:nvSpPr>
          <p:cNvPr id="12" name="标题 1">
            <a:extLst>
              <a:ext uri="{FF2B5EF4-FFF2-40B4-BE49-F238E27FC236}">
                <a16:creationId xmlns:a16="http://schemas.microsoft.com/office/drawing/2014/main" id="{1D9D90DD-82BB-4388-81A3-44FA307364C4}"/>
              </a:ext>
            </a:extLst>
          </p:cNvPr>
          <p:cNvSpPr txBox="1">
            <a:spLocks/>
          </p:cNvSpPr>
          <p:nvPr/>
        </p:nvSpPr>
        <p:spPr>
          <a:xfrm>
            <a:off x="1149782" y="210918"/>
            <a:ext cx="4850185" cy="57784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3200" b="0" dirty="0" smtClean="0">
                <a:latin typeface="Arial"/>
                <a:ea typeface="Microsoft YaHei"/>
                <a:cs typeface="+mn-ea"/>
                <a:sym typeface="Arial"/>
              </a:rPr>
              <a:t>架构是什么</a:t>
            </a:r>
            <a:endParaRPr lang="zh-CN" altLang="en-US" sz="3200" b="0" dirty="0">
              <a:latin typeface="Arial"/>
              <a:ea typeface="Microsoft YaHei"/>
              <a:cs typeface="+mn-ea"/>
              <a:sym typeface="Arial"/>
            </a:endParaRPr>
          </a:p>
        </p:txBody>
      </p:sp>
    </p:spTree>
    <p:extLst>
      <p:ext uri="{BB962C8B-B14F-4D97-AF65-F5344CB8AC3E}">
        <p14:creationId xmlns:p14="http://schemas.microsoft.com/office/powerpoint/2010/main" val="28070348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500" fill="hold"/>
                                        <p:tgtEl>
                                          <p:spTgt spid="8"/>
                                        </p:tgtEl>
                                        <p:attrNameLst>
                                          <p:attrName>ppt_x</p:attrName>
                                        </p:attrNameLst>
                                      </p:cBhvr>
                                      <p:tavLst>
                                        <p:tav tm="0">
                                          <p:val>
                                            <p:strVal val="#ppt_x"/>
                                          </p:val>
                                        </p:tav>
                                        <p:tav tm="100000">
                                          <p:val>
                                            <p:strVal val="#ppt_x"/>
                                          </p:val>
                                        </p:tav>
                                      </p:tavLst>
                                    </p:anim>
                                    <p:anim calcmode="lin" valueType="num">
                                      <p:cBhvr additive="base">
                                        <p:cTn id="16" dur="500" fill="hold"/>
                                        <p:tgtEl>
                                          <p:spTgt spid="8"/>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4"/>
                                        </p:tgtEl>
                                        <p:attrNameLst>
                                          <p:attrName>style.visibility</p:attrName>
                                        </p:attrNameLst>
                                      </p:cBhvr>
                                      <p:to>
                                        <p:strVal val="visible"/>
                                      </p:to>
                                    </p:set>
                                    <p:anim calcmode="lin" valueType="num">
                                      <p:cBhvr additive="base">
                                        <p:cTn id="19" dur="500" fill="hold"/>
                                        <p:tgtEl>
                                          <p:spTgt spid="4"/>
                                        </p:tgtEl>
                                        <p:attrNameLst>
                                          <p:attrName>ppt_x</p:attrName>
                                        </p:attrNameLst>
                                      </p:cBhvr>
                                      <p:tavLst>
                                        <p:tav tm="0">
                                          <p:val>
                                            <p:strVal val="#ppt_x"/>
                                          </p:val>
                                        </p:tav>
                                        <p:tav tm="100000">
                                          <p:val>
                                            <p:strVal val="#ppt_x"/>
                                          </p:val>
                                        </p:tav>
                                      </p:tavLst>
                                    </p:anim>
                                    <p:anim calcmode="lin" valueType="num">
                                      <p:cBhvr additive="base">
                                        <p:cTn id="20"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P spid="7" grpId="0" animBg="1"/>
      <p:bldP spid="8" grpId="0"/>
      <p:bldP spid="4"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组合 28">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30" name="椭圆 29">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31" name="椭圆 30">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
        <p:nvSpPr>
          <p:cNvPr id="32" name="标题 1">
            <a:extLst>
              <a:ext uri="{FF2B5EF4-FFF2-40B4-BE49-F238E27FC236}">
                <a16:creationId xmlns:a16="http://schemas.microsoft.com/office/drawing/2014/main" id="{1D9D90DD-82BB-4388-81A3-44FA307364C4}"/>
              </a:ext>
            </a:extLst>
          </p:cNvPr>
          <p:cNvSpPr txBox="1">
            <a:spLocks/>
          </p:cNvSpPr>
          <p:nvPr/>
        </p:nvSpPr>
        <p:spPr>
          <a:xfrm>
            <a:off x="1149782" y="210918"/>
            <a:ext cx="5221281" cy="57784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3200" b="0" dirty="0" smtClean="0">
                <a:latin typeface="Arial"/>
                <a:ea typeface="Microsoft YaHei"/>
                <a:cs typeface="+mn-ea"/>
                <a:sym typeface="Arial"/>
              </a:rPr>
              <a:t>如何解决</a:t>
            </a:r>
            <a:r>
              <a:rPr lang="zh-CN" altLang="en-US" sz="3200" b="0" dirty="0">
                <a:latin typeface="Arial"/>
                <a:ea typeface="Microsoft YaHei"/>
                <a:cs typeface="+mn-ea"/>
                <a:sym typeface="Arial"/>
              </a:rPr>
              <a:t>各方</a:t>
            </a:r>
            <a:r>
              <a:rPr lang="zh-CN" altLang="en-US" sz="3200" b="0" dirty="0" smtClean="0">
                <a:latin typeface="Arial"/>
                <a:ea typeface="Microsoft YaHei"/>
                <a:cs typeface="+mn-ea"/>
                <a:sym typeface="Arial"/>
              </a:rPr>
              <a:t>面的架构问题</a:t>
            </a:r>
            <a:endParaRPr lang="zh-CN" altLang="en-US" sz="3200" b="0" dirty="0">
              <a:latin typeface="Arial"/>
              <a:ea typeface="Microsoft YaHei"/>
              <a:cs typeface="+mn-ea"/>
              <a:sym typeface="Arial"/>
            </a:endParaRPr>
          </a:p>
        </p:txBody>
      </p:sp>
      <p:sp>
        <p:nvSpPr>
          <p:cNvPr id="3" name="矩形 2"/>
          <p:cNvSpPr/>
          <p:nvPr/>
        </p:nvSpPr>
        <p:spPr>
          <a:xfrm>
            <a:off x="669925" y="986804"/>
            <a:ext cx="9760534" cy="1009507"/>
          </a:xfrm>
          <a:prstGeom prst="rect">
            <a:avLst/>
          </a:prstGeom>
        </p:spPr>
        <p:txBody>
          <a:bodyPr wrap="square">
            <a:spAutoFit/>
          </a:bodyPr>
          <a:lstStyle/>
          <a:p>
            <a:pPr>
              <a:lnSpc>
                <a:spcPct val="130000"/>
              </a:lnSpc>
              <a:spcBef>
                <a:spcPts val="600"/>
              </a:spcBef>
            </a:pPr>
            <a:r>
              <a:rPr lang="zh-CN" altLang="en-US" sz="2400" b="1" kern="0" dirty="0" smtClean="0">
                <a:latin typeface="微软雅黑" panose="020B0503020204020204" pitchFamily="34" charset="-122"/>
                <a:ea typeface="微软雅黑" panose="020B0503020204020204" pitchFamily="34" charset="-122"/>
                <a:cs typeface="+mn-ea"/>
                <a:sym typeface="+mn-lt"/>
              </a:rPr>
              <a:t>通过选择和遵循架构模式、设计原则、设计模式来解决架构问题</a:t>
            </a:r>
            <a:endParaRPr lang="en-US" altLang="zh-CN" sz="2400" b="1" kern="0" dirty="0" smtClean="0">
              <a:latin typeface="微软雅黑" panose="020B0503020204020204" pitchFamily="34" charset="-122"/>
              <a:ea typeface="微软雅黑" panose="020B0503020204020204" pitchFamily="34" charset="-122"/>
              <a:cs typeface="+mn-ea"/>
              <a:sym typeface="+mn-lt"/>
            </a:endParaRPr>
          </a:p>
          <a:p>
            <a:pPr>
              <a:lnSpc>
                <a:spcPct val="130000"/>
              </a:lnSpc>
              <a:spcBef>
                <a:spcPts val="600"/>
              </a:spcBef>
            </a:pPr>
            <a:r>
              <a:rPr lang="zh-CN" altLang="en-US" kern="0" dirty="0" smtClean="0">
                <a:latin typeface="微软雅黑" panose="020B0503020204020204" pitchFamily="34" charset="-122"/>
                <a:ea typeface="微软雅黑" panose="020B0503020204020204" pitchFamily="34" charset="-122"/>
                <a:cs typeface="+mn-ea"/>
                <a:sym typeface="+mn-lt"/>
              </a:rPr>
              <a:t>架构</a:t>
            </a:r>
            <a:r>
              <a:rPr lang="zh-CN" altLang="en-US" kern="0" dirty="0">
                <a:latin typeface="微软雅黑" panose="020B0503020204020204" pitchFamily="34" charset="-122"/>
                <a:ea typeface="微软雅黑" panose="020B0503020204020204" pitchFamily="34" charset="-122"/>
                <a:cs typeface="+mn-ea"/>
                <a:sym typeface="+mn-lt"/>
              </a:rPr>
              <a:t>模式</a:t>
            </a:r>
            <a:r>
              <a:rPr lang="en-US" altLang="zh-CN" kern="0" dirty="0">
                <a:latin typeface="微软雅黑" panose="020B0503020204020204" pitchFamily="34" charset="-122"/>
                <a:ea typeface="微软雅黑" panose="020B0503020204020204" pitchFamily="34" charset="-122"/>
                <a:cs typeface="+mn-ea"/>
                <a:sym typeface="+mn-lt"/>
              </a:rPr>
              <a:t>/</a:t>
            </a:r>
            <a:r>
              <a:rPr lang="zh-CN" altLang="en-US" kern="0" dirty="0">
                <a:latin typeface="微软雅黑" panose="020B0503020204020204" pitchFamily="34" charset="-122"/>
                <a:ea typeface="微软雅黑" panose="020B0503020204020204" pitchFamily="34" charset="-122"/>
                <a:cs typeface="+mn-ea"/>
                <a:sym typeface="+mn-lt"/>
              </a:rPr>
              <a:t>风格：软件架构风格是指在某一特定软件领域系统组织使用的</a:t>
            </a:r>
            <a:r>
              <a:rPr lang="zh-CN" altLang="en-US" kern="0" dirty="0">
                <a:solidFill>
                  <a:srgbClr val="0070C0"/>
                </a:solidFill>
                <a:latin typeface="微软雅黑" panose="020B0503020204020204" pitchFamily="34" charset="-122"/>
                <a:ea typeface="微软雅黑" panose="020B0503020204020204" pitchFamily="34" charset="-122"/>
                <a:cs typeface="+mn-ea"/>
                <a:sym typeface="+mn-lt"/>
              </a:rPr>
              <a:t>方法和策略集合</a:t>
            </a:r>
            <a:endParaRPr lang="zh-CN" altLang="en-US" kern="0" dirty="0">
              <a:latin typeface="微软雅黑" panose="020B0503020204020204" pitchFamily="34" charset="-122"/>
              <a:ea typeface="微软雅黑" panose="020B0503020204020204" pitchFamily="34" charset="-122"/>
              <a:cs typeface="+mn-ea"/>
              <a:sym typeface="+mn-lt"/>
            </a:endParaRPr>
          </a:p>
        </p:txBody>
      </p:sp>
      <p:pic>
        <p:nvPicPr>
          <p:cNvPr id="1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75988" y="3241856"/>
            <a:ext cx="4139952" cy="20511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文本框 3"/>
          <p:cNvSpPr txBox="1"/>
          <p:nvPr/>
        </p:nvSpPr>
        <p:spPr>
          <a:xfrm>
            <a:off x="6375988" y="2790752"/>
            <a:ext cx="3412274" cy="369332"/>
          </a:xfrm>
          <a:prstGeom prst="rect">
            <a:avLst/>
          </a:prstGeom>
          <a:noFill/>
        </p:spPr>
        <p:txBody>
          <a:bodyPr wrap="square" rtlCol="0">
            <a:spAutoFit/>
          </a:bodyPr>
          <a:lstStyle/>
          <a:p>
            <a:r>
              <a:rPr lang="zh-CN" altLang="en-US" dirty="0" smtClean="0"/>
              <a:t>分层（</a:t>
            </a:r>
            <a:r>
              <a:rPr lang="en-US" altLang="zh-CN" dirty="0" smtClean="0"/>
              <a:t>MVC</a:t>
            </a:r>
            <a:r>
              <a:rPr lang="zh-CN" altLang="en-US" dirty="0" smtClean="0"/>
              <a:t>，</a:t>
            </a:r>
            <a:r>
              <a:rPr lang="en-US" altLang="zh-CN" dirty="0" smtClean="0"/>
              <a:t>MVP</a:t>
            </a:r>
            <a:r>
              <a:rPr lang="zh-CN" altLang="en-US" dirty="0" smtClean="0"/>
              <a:t>，</a:t>
            </a:r>
            <a:r>
              <a:rPr lang="en-US" altLang="zh-CN" dirty="0" smtClean="0"/>
              <a:t>MVVM</a:t>
            </a:r>
            <a:r>
              <a:rPr lang="zh-CN" altLang="en-US" dirty="0" smtClean="0"/>
              <a:t>）</a:t>
            </a:r>
            <a:endParaRPr lang="zh-CN" altLang="en-US" dirty="0"/>
          </a:p>
        </p:txBody>
      </p:sp>
      <p:sp>
        <p:nvSpPr>
          <p:cNvPr id="16" name="文本框 15"/>
          <p:cNvSpPr txBox="1"/>
          <p:nvPr/>
        </p:nvSpPr>
        <p:spPr>
          <a:xfrm>
            <a:off x="974596" y="2790752"/>
            <a:ext cx="3412274" cy="369332"/>
          </a:xfrm>
          <a:prstGeom prst="rect">
            <a:avLst/>
          </a:prstGeom>
          <a:noFill/>
        </p:spPr>
        <p:txBody>
          <a:bodyPr wrap="square" rtlCol="0">
            <a:spAutoFit/>
          </a:bodyPr>
          <a:lstStyle/>
          <a:p>
            <a:r>
              <a:rPr lang="zh-CN" altLang="en-US" dirty="0"/>
              <a:t>抽象</a:t>
            </a:r>
            <a:r>
              <a:rPr lang="zh-CN" altLang="en-US" dirty="0" smtClean="0"/>
              <a:t>（面向对象）</a:t>
            </a:r>
            <a:endParaRPr lang="zh-CN" altLang="en-US" dirty="0"/>
          </a:p>
        </p:txBody>
      </p:sp>
      <p:pic>
        <p:nvPicPr>
          <p:cNvPr id="17"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86461" y="3160084"/>
            <a:ext cx="2742450" cy="25753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403912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16"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137925" y="205921"/>
            <a:ext cx="10401280" cy="695186"/>
          </a:xfrm>
        </p:spPr>
        <p:txBody>
          <a:bodyPr/>
          <a:lstStyle/>
          <a:p>
            <a:r>
              <a:rPr lang="zh-CN" altLang="en-US" sz="3200" b="0" dirty="0" smtClean="0">
                <a:latin typeface="Arial"/>
                <a:ea typeface="Microsoft YaHei"/>
                <a:cs typeface="+mn-ea"/>
                <a:sym typeface="Arial"/>
              </a:rPr>
              <a:t>面向对象特征</a:t>
            </a:r>
            <a:endParaRPr lang="zh-CN" altLang="en-US" sz="3200" b="0" dirty="0">
              <a:latin typeface="Arial"/>
              <a:ea typeface="Microsoft YaHei"/>
              <a:cs typeface="+mn-ea"/>
              <a:sym typeface="Arial"/>
            </a:endParaRPr>
          </a:p>
        </p:txBody>
      </p:sp>
      <p:grpSp>
        <p:nvGrpSpPr>
          <p:cNvPr id="3" name="1159"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1881046" y="1827795"/>
            <a:ext cx="8742004" cy="4186089"/>
            <a:chOff x="1199848" y="1160197"/>
            <a:chExt cx="10136182" cy="4853688"/>
          </a:xfrm>
        </p:grpSpPr>
        <p:grpSp>
          <p:nvGrpSpPr>
            <p:cNvPr id="4" name="íṥlîḍe"/>
            <p:cNvGrpSpPr/>
            <p:nvPr/>
          </p:nvGrpSpPr>
          <p:grpSpPr>
            <a:xfrm>
              <a:off x="4016461" y="2177605"/>
              <a:ext cx="4159079" cy="3836280"/>
              <a:chOff x="4027337" y="1268760"/>
              <a:chExt cx="4159079" cy="3836280"/>
            </a:xfrm>
          </p:grpSpPr>
          <p:sp>
            <p:nvSpPr>
              <p:cNvPr id="11" name="iṩľiḑê"/>
              <p:cNvSpPr/>
              <p:nvPr/>
            </p:nvSpPr>
            <p:spPr>
              <a:xfrm>
                <a:off x="4803365" y="1543936"/>
                <a:ext cx="2606083" cy="2606082"/>
              </a:xfrm>
              <a:prstGeom prst="arc">
                <a:avLst>
                  <a:gd name="adj1" fmla="val 21402928"/>
                  <a:gd name="adj2" fmla="val 3619301"/>
                </a:avLst>
              </a:prstGeom>
              <a:noFill/>
              <a:ln w="19050" cap="rnd">
                <a:solidFill>
                  <a:schemeClr val="bg1">
                    <a:lumMod val="75000"/>
                  </a:schemeClr>
                </a:solidFill>
                <a:prstDash val="sysDash"/>
                <a:headEnd type="arrow"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latin typeface="Arial"/>
                  <a:ea typeface="Microsoft YaHei"/>
                  <a:cs typeface="+mn-ea"/>
                  <a:sym typeface="Arial"/>
                </a:endParaRPr>
              </a:p>
            </p:txBody>
          </p:sp>
          <p:sp>
            <p:nvSpPr>
              <p:cNvPr id="12" name="iṥľiḓê"/>
              <p:cNvSpPr/>
              <p:nvPr/>
            </p:nvSpPr>
            <p:spPr>
              <a:xfrm>
                <a:off x="4803365" y="1543936"/>
                <a:ext cx="2606083" cy="2606082"/>
              </a:xfrm>
              <a:prstGeom prst="arc">
                <a:avLst>
                  <a:gd name="adj1" fmla="val 14366726"/>
                  <a:gd name="adj2" fmla="val 17932547"/>
                </a:avLst>
              </a:prstGeom>
              <a:noFill/>
              <a:ln w="19050" cap="rnd">
                <a:solidFill>
                  <a:schemeClr val="bg1">
                    <a:lumMod val="75000"/>
                  </a:schemeClr>
                </a:solidFill>
                <a:prstDash val="sysDash"/>
                <a:headEnd type="arrow"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latin typeface="Arial"/>
                  <a:ea typeface="Microsoft YaHei"/>
                  <a:cs typeface="+mn-ea"/>
                  <a:sym typeface="Arial"/>
                </a:endParaRPr>
              </a:p>
            </p:txBody>
          </p:sp>
          <p:sp>
            <p:nvSpPr>
              <p:cNvPr id="13" name="îSľïďè"/>
              <p:cNvSpPr/>
              <p:nvPr/>
            </p:nvSpPr>
            <p:spPr>
              <a:xfrm>
                <a:off x="5127103" y="1886775"/>
                <a:ext cx="1958607" cy="19586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0000" tIns="46800" rIns="90000" bIns="46800" anchor="ctr" anchorCtr="1">
                <a:normAutofit/>
              </a:bodyPr>
              <a:lstStyle/>
              <a:p>
                <a:r>
                  <a:rPr lang="zh-CN" altLang="en-US" sz="2800" b="1" dirty="0" smtClean="0">
                    <a:solidFill>
                      <a:schemeClr val="bg1"/>
                    </a:solidFill>
                    <a:latin typeface="Arial"/>
                    <a:ea typeface="Microsoft YaHei"/>
                    <a:cs typeface="+mn-ea"/>
                    <a:sym typeface="Arial"/>
                  </a:rPr>
                  <a:t>三大特征</a:t>
                </a:r>
                <a:endParaRPr lang="zh-CN" altLang="en-US" sz="2800" b="1" dirty="0">
                  <a:solidFill>
                    <a:schemeClr val="bg1"/>
                  </a:solidFill>
                  <a:latin typeface="Arial"/>
                  <a:ea typeface="Microsoft YaHei"/>
                  <a:cs typeface="+mn-ea"/>
                  <a:sym typeface="Arial"/>
                </a:endParaRPr>
              </a:p>
            </p:txBody>
          </p:sp>
          <p:sp>
            <p:nvSpPr>
              <p:cNvPr id="14" name="î$ľíḍé"/>
              <p:cNvSpPr/>
              <p:nvPr/>
            </p:nvSpPr>
            <p:spPr>
              <a:xfrm>
                <a:off x="6681040" y="1268760"/>
                <a:ext cx="1505376" cy="150537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latin typeface="Arial"/>
                  <a:ea typeface="Microsoft YaHei"/>
                  <a:cs typeface="+mn-ea"/>
                  <a:sym typeface="Arial"/>
                </a:endParaRPr>
              </a:p>
            </p:txBody>
          </p:sp>
          <p:sp>
            <p:nvSpPr>
              <p:cNvPr id="15" name="í$ľïďê"/>
              <p:cNvSpPr/>
              <p:nvPr/>
            </p:nvSpPr>
            <p:spPr>
              <a:xfrm>
                <a:off x="4027337" y="1268760"/>
                <a:ext cx="1505376" cy="15053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latin typeface="Arial"/>
                  <a:ea typeface="Microsoft YaHei"/>
                  <a:cs typeface="+mn-ea"/>
                  <a:sym typeface="Arial"/>
                </a:endParaRPr>
              </a:p>
            </p:txBody>
          </p:sp>
          <p:sp>
            <p:nvSpPr>
              <p:cNvPr id="16" name="ïsliḍe"/>
              <p:cNvSpPr/>
              <p:nvPr/>
            </p:nvSpPr>
            <p:spPr>
              <a:xfrm>
                <a:off x="5353720" y="3599665"/>
                <a:ext cx="1505376" cy="150537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latin typeface="Arial"/>
                  <a:ea typeface="Microsoft YaHei"/>
                  <a:cs typeface="+mn-ea"/>
                  <a:sym typeface="Arial"/>
                </a:endParaRPr>
              </a:p>
            </p:txBody>
          </p:sp>
          <p:sp>
            <p:nvSpPr>
              <p:cNvPr id="17" name="iṡḻiďê"/>
              <p:cNvSpPr/>
              <p:nvPr/>
            </p:nvSpPr>
            <p:spPr>
              <a:xfrm>
                <a:off x="4803365" y="1543936"/>
                <a:ext cx="2606083" cy="2606082"/>
              </a:xfrm>
              <a:prstGeom prst="arc">
                <a:avLst>
                  <a:gd name="adj1" fmla="val 7212190"/>
                  <a:gd name="adj2" fmla="val 10976458"/>
                </a:avLst>
              </a:prstGeom>
              <a:noFill/>
              <a:ln w="19050" cap="rnd">
                <a:solidFill>
                  <a:schemeClr val="bg1">
                    <a:lumMod val="75000"/>
                  </a:schemeClr>
                </a:solidFill>
                <a:prstDash val="sysDash"/>
                <a:headEnd type="arrow"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latin typeface="Arial"/>
                  <a:ea typeface="Microsoft YaHei"/>
                  <a:cs typeface="+mn-ea"/>
                  <a:sym typeface="Arial"/>
                </a:endParaRPr>
              </a:p>
            </p:txBody>
          </p:sp>
          <p:sp>
            <p:nvSpPr>
              <p:cNvPr id="18" name="ïŝliḓè"/>
              <p:cNvSpPr/>
              <p:nvPr/>
            </p:nvSpPr>
            <p:spPr bwMode="auto">
              <a:xfrm>
                <a:off x="5799083" y="4022040"/>
                <a:ext cx="633204" cy="633204"/>
              </a:xfrm>
              <a:custGeom>
                <a:avLst/>
                <a:gdLst>
                  <a:gd name="T0" fmla="*/ 118 w 236"/>
                  <a:gd name="T1" fmla="*/ 0 h 236"/>
                  <a:gd name="T2" fmla="*/ 0 w 236"/>
                  <a:gd name="T3" fmla="*/ 118 h 236"/>
                  <a:gd name="T4" fmla="*/ 118 w 236"/>
                  <a:gd name="T5" fmla="*/ 236 h 236"/>
                  <a:gd name="T6" fmla="*/ 236 w 236"/>
                  <a:gd name="T7" fmla="*/ 118 h 236"/>
                  <a:gd name="T8" fmla="*/ 118 w 236"/>
                  <a:gd name="T9" fmla="*/ 0 h 236"/>
                  <a:gd name="T10" fmla="*/ 106 w 236"/>
                  <a:gd name="T11" fmla="*/ 171 h 236"/>
                  <a:gd name="T12" fmla="*/ 54 w 236"/>
                  <a:gd name="T13" fmla="*/ 163 h 236"/>
                  <a:gd name="T14" fmla="*/ 54 w 236"/>
                  <a:gd name="T15" fmla="*/ 121 h 236"/>
                  <a:gd name="T16" fmla="*/ 106 w 236"/>
                  <a:gd name="T17" fmla="*/ 121 h 236"/>
                  <a:gd name="T18" fmla="*/ 106 w 236"/>
                  <a:gd name="T19" fmla="*/ 171 h 236"/>
                  <a:gd name="T20" fmla="*/ 106 w 236"/>
                  <a:gd name="T21" fmla="*/ 114 h 236"/>
                  <a:gd name="T22" fmla="*/ 54 w 236"/>
                  <a:gd name="T23" fmla="*/ 114 h 236"/>
                  <a:gd name="T24" fmla="*/ 54 w 236"/>
                  <a:gd name="T25" fmla="*/ 72 h 236"/>
                  <a:gd name="T26" fmla="*/ 106 w 236"/>
                  <a:gd name="T27" fmla="*/ 64 h 236"/>
                  <a:gd name="T28" fmla="*/ 106 w 236"/>
                  <a:gd name="T29" fmla="*/ 114 h 236"/>
                  <a:gd name="T30" fmla="*/ 182 w 236"/>
                  <a:gd name="T31" fmla="*/ 182 h 236"/>
                  <a:gd name="T32" fmla="*/ 113 w 236"/>
                  <a:gd name="T33" fmla="*/ 172 h 236"/>
                  <a:gd name="T34" fmla="*/ 113 w 236"/>
                  <a:gd name="T35" fmla="*/ 121 h 236"/>
                  <a:gd name="T36" fmla="*/ 182 w 236"/>
                  <a:gd name="T37" fmla="*/ 121 h 236"/>
                  <a:gd name="T38" fmla="*/ 182 w 236"/>
                  <a:gd name="T39" fmla="*/ 182 h 236"/>
                  <a:gd name="T40" fmla="*/ 182 w 236"/>
                  <a:gd name="T41" fmla="*/ 114 h 236"/>
                  <a:gd name="T42" fmla="*/ 113 w 236"/>
                  <a:gd name="T43" fmla="*/ 114 h 236"/>
                  <a:gd name="T44" fmla="*/ 113 w 236"/>
                  <a:gd name="T45" fmla="*/ 63 h 236"/>
                  <a:gd name="T46" fmla="*/ 182 w 236"/>
                  <a:gd name="T47" fmla="*/ 53 h 236"/>
                  <a:gd name="T48" fmla="*/ 182 w 236"/>
                  <a:gd name="T49" fmla="*/ 11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6" h="236">
                    <a:moveTo>
                      <a:pt x="118" y="0"/>
                    </a:moveTo>
                    <a:cubicBezTo>
                      <a:pt x="53" y="0"/>
                      <a:pt x="0" y="53"/>
                      <a:pt x="0" y="118"/>
                    </a:cubicBezTo>
                    <a:cubicBezTo>
                      <a:pt x="0" y="183"/>
                      <a:pt x="53" y="236"/>
                      <a:pt x="118" y="236"/>
                    </a:cubicBezTo>
                    <a:cubicBezTo>
                      <a:pt x="183" y="236"/>
                      <a:pt x="236" y="183"/>
                      <a:pt x="236" y="118"/>
                    </a:cubicBezTo>
                    <a:cubicBezTo>
                      <a:pt x="236" y="53"/>
                      <a:pt x="183" y="0"/>
                      <a:pt x="118" y="0"/>
                    </a:cubicBezTo>
                    <a:close/>
                    <a:moveTo>
                      <a:pt x="106" y="171"/>
                    </a:moveTo>
                    <a:cubicBezTo>
                      <a:pt x="54" y="163"/>
                      <a:pt x="54" y="163"/>
                      <a:pt x="54" y="163"/>
                    </a:cubicBezTo>
                    <a:cubicBezTo>
                      <a:pt x="54" y="121"/>
                      <a:pt x="54" y="121"/>
                      <a:pt x="54" y="121"/>
                    </a:cubicBezTo>
                    <a:cubicBezTo>
                      <a:pt x="106" y="121"/>
                      <a:pt x="106" y="121"/>
                      <a:pt x="106" y="121"/>
                    </a:cubicBezTo>
                    <a:lnTo>
                      <a:pt x="106" y="171"/>
                    </a:lnTo>
                    <a:close/>
                    <a:moveTo>
                      <a:pt x="106" y="114"/>
                    </a:moveTo>
                    <a:cubicBezTo>
                      <a:pt x="54" y="114"/>
                      <a:pt x="54" y="114"/>
                      <a:pt x="54" y="114"/>
                    </a:cubicBezTo>
                    <a:cubicBezTo>
                      <a:pt x="54" y="72"/>
                      <a:pt x="54" y="72"/>
                      <a:pt x="54" y="72"/>
                    </a:cubicBezTo>
                    <a:cubicBezTo>
                      <a:pt x="106" y="64"/>
                      <a:pt x="106" y="64"/>
                      <a:pt x="106" y="64"/>
                    </a:cubicBezTo>
                    <a:lnTo>
                      <a:pt x="106" y="114"/>
                    </a:lnTo>
                    <a:close/>
                    <a:moveTo>
                      <a:pt x="182" y="182"/>
                    </a:moveTo>
                    <a:cubicBezTo>
                      <a:pt x="113" y="172"/>
                      <a:pt x="113" y="172"/>
                      <a:pt x="113" y="172"/>
                    </a:cubicBezTo>
                    <a:cubicBezTo>
                      <a:pt x="113" y="121"/>
                      <a:pt x="113" y="121"/>
                      <a:pt x="113" y="121"/>
                    </a:cubicBezTo>
                    <a:cubicBezTo>
                      <a:pt x="182" y="121"/>
                      <a:pt x="182" y="121"/>
                      <a:pt x="182" y="121"/>
                    </a:cubicBezTo>
                    <a:lnTo>
                      <a:pt x="182" y="182"/>
                    </a:lnTo>
                    <a:close/>
                    <a:moveTo>
                      <a:pt x="182" y="114"/>
                    </a:moveTo>
                    <a:cubicBezTo>
                      <a:pt x="113" y="114"/>
                      <a:pt x="113" y="114"/>
                      <a:pt x="113" y="114"/>
                    </a:cubicBezTo>
                    <a:cubicBezTo>
                      <a:pt x="113" y="63"/>
                      <a:pt x="113" y="63"/>
                      <a:pt x="113" y="63"/>
                    </a:cubicBezTo>
                    <a:cubicBezTo>
                      <a:pt x="182" y="53"/>
                      <a:pt x="182" y="53"/>
                      <a:pt x="182" y="53"/>
                    </a:cubicBezTo>
                    <a:lnTo>
                      <a:pt x="182" y="114"/>
                    </a:lnTo>
                    <a:close/>
                  </a:path>
                </a:pathLst>
              </a:custGeom>
              <a:solidFill>
                <a:schemeClr val="bg1"/>
              </a:solidFill>
              <a:ln>
                <a:noFill/>
              </a:ln>
              <a:extLst/>
            </p:spPr>
            <p:txBody>
              <a:bodyPr anchor="ctr"/>
              <a:lstStyle/>
              <a:p>
                <a:pPr algn="ctr"/>
                <a:endParaRPr>
                  <a:latin typeface="Arial"/>
                  <a:ea typeface="Microsoft YaHei"/>
                  <a:cs typeface="+mn-ea"/>
                  <a:sym typeface="Arial"/>
                </a:endParaRPr>
              </a:p>
            </p:txBody>
          </p:sp>
          <p:sp>
            <p:nvSpPr>
              <p:cNvPr id="19" name="isľïďe"/>
              <p:cNvSpPr/>
              <p:nvPr/>
            </p:nvSpPr>
            <p:spPr bwMode="auto">
              <a:xfrm>
                <a:off x="4500437" y="1684115"/>
                <a:ext cx="633204" cy="633204"/>
              </a:xfrm>
              <a:custGeom>
                <a:avLst/>
                <a:gdLst>
                  <a:gd name="T0" fmla="*/ 223 w 228"/>
                  <a:gd name="T1" fmla="*/ 95 h 228"/>
                  <a:gd name="T2" fmla="*/ 196 w 228"/>
                  <a:gd name="T3" fmla="*/ 90 h 228"/>
                  <a:gd name="T4" fmla="*/ 189 w 228"/>
                  <a:gd name="T5" fmla="*/ 74 h 228"/>
                  <a:gd name="T6" fmla="*/ 205 w 228"/>
                  <a:gd name="T7" fmla="*/ 50 h 228"/>
                  <a:gd name="T8" fmla="*/ 205 w 228"/>
                  <a:gd name="T9" fmla="*/ 43 h 228"/>
                  <a:gd name="T10" fmla="*/ 185 w 228"/>
                  <a:gd name="T11" fmla="*/ 24 h 228"/>
                  <a:gd name="T12" fmla="*/ 178 w 228"/>
                  <a:gd name="T13" fmla="*/ 23 h 228"/>
                  <a:gd name="T14" fmla="*/ 155 w 228"/>
                  <a:gd name="T15" fmla="*/ 39 h 228"/>
                  <a:gd name="T16" fmla="*/ 138 w 228"/>
                  <a:gd name="T17" fmla="*/ 32 h 228"/>
                  <a:gd name="T18" fmla="*/ 133 w 228"/>
                  <a:gd name="T19" fmla="*/ 5 h 228"/>
                  <a:gd name="T20" fmla="*/ 127 w 228"/>
                  <a:gd name="T21" fmla="*/ 0 h 228"/>
                  <a:gd name="T22" fmla="*/ 100 w 228"/>
                  <a:gd name="T23" fmla="*/ 0 h 228"/>
                  <a:gd name="T24" fmla="*/ 94 w 228"/>
                  <a:gd name="T25" fmla="*/ 5 h 228"/>
                  <a:gd name="T26" fmla="*/ 89 w 228"/>
                  <a:gd name="T27" fmla="*/ 32 h 228"/>
                  <a:gd name="T28" fmla="*/ 73 w 228"/>
                  <a:gd name="T29" fmla="*/ 39 h 228"/>
                  <a:gd name="T30" fmla="*/ 50 w 228"/>
                  <a:gd name="T31" fmla="*/ 23 h 228"/>
                  <a:gd name="T32" fmla="*/ 43 w 228"/>
                  <a:gd name="T33" fmla="*/ 24 h 228"/>
                  <a:gd name="T34" fmla="*/ 23 w 228"/>
                  <a:gd name="T35" fmla="*/ 43 h 228"/>
                  <a:gd name="T36" fmla="*/ 23 w 228"/>
                  <a:gd name="T37" fmla="*/ 51 h 228"/>
                  <a:gd name="T38" fmla="*/ 39 w 228"/>
                  <a:gd name="T39" fmla="*/ 74 h 228"/>
                  <a:gd name="T40" fmla="*/ 32 w 228"/>
                  <a:gd name="T41" fmla="*/ 90 h 228"/>
                  <a:gd name="T42" fmla="*/ 5 w 228"/>
                  <a:gd name="T43" fmla="*/ 95 h 228"/>
                  <a:gd name="T44" fmla="*/ 0 w 228"/>
                  <a:gd name="T45" fmla="*/ 100 h 228"/>
                  <a:gd name="T46" fmla="*/ 0 w 228"/>
                  <a:gd name="T47" fmla="*/ 128 h 228"/>
                  <a:gd name="T48" fmla="*/ 5 w 228"/>
                  <a:gd name="T49" fmla="*/ 134 h 228"/>
                  <a:gd name="T50" fmla="*/ 32 w 228"/>
                  <a:gd name="T51" fmla="*/ 139 h 228"/>
                  <a:gd name="T52" fmla="*/ 39 w 228"/>
                  <a:gd name="T53" fmla="*/ 155 h 228"/>
                  <a:gd name="T54" fmla="*/ 23 w 228"/>
                  <a:gd name="T55" fmla="*/ 178 h 228"/>
                  <a:gd name="T56" fmla="*/ 24 w 228"/>
                  <a:gd name="T57" fmla="*/ 185 h 228"/>
                  <a:gd name="T58" fmla="*/ 43 w 228"/>
                  <a:gd name="T59" fmla="*/ 204 h 228"/>
                  <a:gd name="T60" fmla="*/ 51 w 228"/>
                  <a:gd name="T61" fmla="*/ 205 h 228"/>
                  <a:gd name="T62" fmla="*/ 73 w 228"/>
                  <a:gd name="T63" fmla="*/ 189 h 228"/>
                  <a:gd name="T64" fmla="*/ 89 w 228"/>
                  <a:gd name="T65" fmla="*/ 196 h 228"/>
                  <a:gd name="T66" fmla="*/ 94 w 228"/>
                  <a:gd name="T67" fmla="*/ 223 h 228"/>
                  <a:gd name="T68" fmla="*/ 100 w 228"/>
                  <a:gd name="T69" fmla="*/ 228 h 228"/>
                  <a:gd name="T70" fmla="*/ 127 w 228"/>
                  <a:gd name="T71" fmla="*/ 228 h 228"/>
                  <a:gd name="T72" fmla="*/ 133 w 228"/>
                  <a:gd name="T73" fmla="*/ 223 h 228"/>
                  <a:gd name="T74" fmla="*/ 138 w 228"/>
                  <a:gd name="T75" fmla="*/ 196 h 228"/>
                  <a:gd name="T76" fmla="*/ 154 w 228"/>
                  <a:gd name="T77" fmla="*/ 190 h 228"/>
                  <a:gd name="T78" fmla="*/ 177 w 228"/>
                  <a:gd name="T79" fmla="*/ 205 h 228"/>
                  <a:gd name="T80" fmla="*/ 185 w 228"/>
                  <a:gd name="T81" fmla="*/ 205 h 228"/>
                  <a:gd name="T82" fmla="*/ 204 w 228"/>
                  <a:gd name="T83" fmla="*/ 185 h 228"/>
                  <a:gd name="T84" fmla="*/ 205 w 228"/>
                  <a:gd name="T85" fmla="*/ 178 h 228"/>
                  <a:gd name="T86" fmla="*/ 189 w 228"/>
                  <a:gd name="T87" fmla="*/ 155 h 228"/>
                  <a:gd name="T88" fmla="*/ 196 w 228"/>
                  <a:gd name="T89" fmla="*/ 139 h 228"/>
                  <a:gd name="T90" fmla="*/ 223 w 228"/>
                  <a:gd name="T91" fmla="*/ 134 h 228"/>
                  <a:gd name="T92" fmla="*/ 228 w 228"/>
                  <a:gd name="T93" fmla="*/ 128 h 228"/>
                  <a:gd name="T94" fmla="*/ 228 w 228"/>
                  <a:gd name="T95" fmla="*/ 100 h 228"/>
                  <a:gd name="T96" fmla="*/ 223 w 228"/>
                  <a:gd name="T97" fmla="*/ 95 h 228"/>
                  <a:gd name="T98" fmla="*/ 114 w 228"/>
                  <a:gd name="T99" fmla="*/ 149 h 228"/>
                  <a:gd name="T100" fmla="*/ 79 w 228"/>
                  <a:gd name="T101" fmla="*/ 114 h 228"/>
                  <a:gd name="T102" fmla="*/ 114 w 228"/>
                  <a:gd name="T103" fmla="*/ 79 h 228"/>
                  <a:gd name="T104" fmla="*/ 149 w 228"/>
                  <a:gd name="T105" fmla="*/ 114 h 228"/>
                  <a:gd name="T106" fmla="*/ 114 w 228"/>
                  <a:gd name="T107" fmla="*/ 14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8" h="228">
                    <a:moveTo>
                      <a:pt x="223" y="95"/>
                    </a:moveTo>
                    <a:cubicBezTo>
                      <a:pt x="196" y="90"/>
                      <a:pt x="196" y="90"/>
                      <a:pt x="196" y="90"/>
                    </a:cubicBezTo>
                    <a:cubicBezTo>
                      <a:pt x="194" y="84"/>
                      <a:pt x="192" y="79"/>
                      <a:pt x="189" y="74"/>
                    </a:cubicBezTo>
                    <a:cubicBezTo>
                      <a:pt x="205" y="50"/>
                      <a:pt x="205" y="50"/>
                      <a:pt x="205" y="50"/>
                    </a:cubicBezTo>
                    <a:cubicBezTo>
                      <a:pt x="207" y="48"/>
                      <a:pt x="206" y="45"/>
                      <a:pt x="205" y="43"/>
                    </a:cubicBezTo>
                    <a:cubicBezTo>
                      <a:pt x="185" y="24"/>
                      <a:pt x="185" y="24"/>
                      <a:pt x="185" y="24"/>
                    </a:cubicBezTo>
                    <a:cubicBezTo>
                      <a:pt x="183" y="22"/>
                      <a:pt x="180" y="21"/>
                      <a:pt x="178" y="23"/>
                    </a:cubicBezTo>
                    <a:cubicBezTo>
                      <a:pt x="155" y="39"/>
                      <a:pt x="155" y="39"/>
                      <a:pt x="155" y="39"/>
                    </a:cubicBezTo>
                    <a:cubicBezTo>
                      <a:pt x="149" y="36"/>
                      <a:pt x="144" y="34"/>
                      <a:pt x="138" y="32"/>
                    </a:cubicBezTo>
                    <a:cubicBezTo>
                      <a:pt x="133" y="5"/>
                      <a:pt x="133" y="5"/>
                      <a:pt x="133" y="5"/>
                    </a:cubicBezTo>
                    <a:cubicBezTo>
                      <a:pt x="133" y="2"/>
                      <a:pt x="130" y="0"/>
                      <a:pt x="127" y="0"/>
                    </a:cubicBezTo>
                    <a:cubicBezTo>
                      <a:pt x="100" y="0"/>
                      <a:pt x="100" y="0"/>
                      <a:pt x="100" y="0"/>
                    </a:cubicBezTo>
                    <a:cubicBezTo>
                      <a:pt x="97" y="0"/>
                      <a:pt x="95" y="2"/>
                      <a:pt x="94" y="5"/>
                    </a:cubicBezTo>
                    <a:cubicBezTo>
                      <a:pt x="89" y="32"/>
                      <a:pt x="89" y="32"/>
                      <a:pt x="89" y="32"/>
                    </a:cubicBezTo>
                    <a:cubicBezTo>
                      <a:pt x="83" y="34"/>
                      <a:pt x="78" y="36"/>
                      <a:pt x="73" y="39"/>
                    </a:cubicBezTo>
                    <a:cubicBezTo>
                      <a:pt x="50" y="23"/>
                      <a:pt x="50" y="23"/>
                      <a:pt x="50" y="23"/>
                    </a:cubicBezTo>
                    <a:cubicBezTo>
                      <a:pt x="48" y="22"/>
                      <a:pt x="45" y="22"/>
                      <a:pt x="43" y="24"/>
                    </a:cubicBezTo>
                    <a:cubicBezTo>
                      <a:pt x="23" y="43"/>
                      <a:pt x="23" y="43"/>
                      <a:pt x="23" y="43"/>
                    </a:cubicBezTo>
                    <a:cubicBezTo>
                      <a:pt x="22" y="45"/>
                      <a:pt x="21" y="49"/>
                      <a:pt x="23" y="51"/>
                    </a:cubicBezTo>
                    <a:cubicBezTo>
                      <a:pt x="39" y="74"/>
                      <a:pt x="39" y="74"/>
                      <a:pt x="39" y="74"/>
                    </a:cubicBezTo>
                    <a:cubicBezTo>
                      <a:pt x="36" y="79"/>
                      <a:pt x="34" y="84"/>
                      <a:pt x="32" y="90"/>
                    </a:cubicBezTo>
                    <a:cubicBezTo>
                      <a:pt x="5" y="95"/>
                      <a:pt x="5" y="95"/>
                      <a:pt x="5" y="95"/>
                    </a:cubicBezTo>
                    <a:cubicBezTo>
                      <a:pt x="2" y="95"/>
                      <a:pt x="0" y="98"/>
                      <a:pt x="0" y="100"/>
                    </a:cubicBezTo>
                    <a:cubicBezTo>
                      <a:pt x="0" y="128"/>
                      <a:pt x="0" y="128"/>
                      <a:pt x="0" y="128"/>
                    </a:cubicBezTo>
                    <a:cubicBezTo>
                      <a:pt x="0" y="131"/>
                      <a:pt x="2" y="133"/>
                      <a:pt x="5" y="134"/>
                    </a:cubicBezTo>
                    <a:cubicBezTo>
                      <a:pt x="32" y="139"/>
                      <a:pt x="32" y="139"/>
                      <a:pt x="32" y="139"/>
                    </a:cubicBezTo>
                    <a:cubicBezTo>
                      <a:pt x="34" y="144"/>
                      <a:pt x="36" y="150"/>
                      <a:pt x="39" y="155"/>
                    </a:cubicBezTo>
                    <a:cubicBezTo>
                      <a:pt x="23" y="178"/>
                      <a:pt x="23" y="178"/>
                      <a:pt x="23" y="178"/>
                    </a:cubicBezTo>
                    <a:cubicBezTo>
                      <a:pt x="22" y="180"/>
                      <a:pt x="22" y="183"/>
                      <a:pt x="24" y="185"/>
                    </a:cubicBezTo>
                    <a:cubicBezTo>
                      <a:pt x="43" y="204"/>
                      <a:pt x="43" y="204"/>
                      <a:pt x="43" y="204"/>
                    </a:cubicBezTo>
                    <a:cubicBezTo>
                      <a:pt x="45" y="206"/>
                      <a:pt x="48" y="207"/>
                      <a:pt x="51" y="205"/>
                    </a:cubicBezTo>
                    <a:cubicBezTo>
                      <a:pt x="73" y="189"/>
                      <a:pt x="73" y="189"/>
                      <a:pt x="73" y="189"/>
                    </a:cubicBezTo>
                    <a:cubicBezTo>
                      <a:pt x="78" y="192"/>
                      <a:pt x="84" y="194"/>
                      <a:pt x="89" y="196"/>
                    </a:cubicBezTo>
                    <a:cubicBezTo>
                      <a:pt x="94" y="223"/>
                      <a:pt x="94" y="223"/>
                      <a:pt x="94" y="223"/>
                    </a:cubicBezTo>
                    <a:cubicBezTo>
                      <a:pt x="95" y="226"/>
                      <a:pt x="97" y="228"/>
                      <a:pt x="100" y="228"/>
                    </a:cubicBezTo>
                    <a:cubicBezTo>
                      <a:pt x="127" y="228"/>
                      <a:pt x="127" y="228"/>
                      <a:pt x="127" y="228"/>
                    </a:cubicBezTo>
                    <a:cubicBezTo>
                      <a:pt x="130" y="228"/>
                      <a:pt x="133" y="226"/>
                      <a:pt x="133" y="223"/>
                    </a:cubicBezTo>
                    <a:cubicBezTo>
                      <a:pt x="138" y="196"/>
                      <a:pt x="138" y="196"/>
                      <a:pt x="138" y="196"/>
                    </a:cubicBezTo>
                    <a:cubicBezTo>
                      <a:pt x="144" y="194"/>
                      <a:pt x="149" y="192"/>
                      <a:pt x="154" y="190"/>
                    </a:cubicBezTo>
                    <a:cubicBezTo>
                      <a:pt x="177" y="205"/>
                      <a:pt x="177" y="205"/>
                      <a:pt x="177" y="205"/>
                    </a:cubicBezTo>
                    <a:cubicBezTo>
                      <a:pt x="180" y="207"/>
                      <a:pt x="183" y="207"/>
                      <a:pt x="185" y="205"/>
                    </a:cubicBezTo>
                    <a:cubicBezTo>
                      <a:pt x="204" y="185"/>
                      <a:pt x="204" y="185"/>
                      <a:pt x="204" y="185"/>
                    </a:cubicBezTo>
                    <a:cubicBezTo>
                      <a:pt x="206" y="183"/>
                      <a:pt x="206" y="180"/>
                      <a:pt x="205" y="178"/>
                    </a:cubicBezTo>
                    <a:cubicBezTo>
                      <a:pt x="189" y="155"/>
                      <a:pt x="189" y="155"/>
                      <a:pt x="189" y="155"/>
                    </a:cubicBezTo>
                    <a:cubicBezTo>
                      <a:pt x="192" y="150"/>
                      <a:pt x="194" y="144"/>
                      <a:pt x="196" y="139"/>
                    </a:cubicBezTo>
                    <a:cubicBezTo>
                      <a:pt x="223" y="134"/>
                      <a:pt x="223" y="134"/>
                      <a:pt x="223" y="134"/>
                    </a:cubicBezTo>
                    <a:cubicBezTo>
                      <a:pt x="226" y="133"/>
                      <a:pt x="228" y="131"/>
                      <a:pt x="228" y="128"/>
                    </a:cubicBezTo>
                    <a:cubicBezTo>
                      <a:pt x="228" y="100"/>
                      <a:pt x="228" y="100"/>
                      <a:pt x="228" y="100"/>
                    </a:cubicBezTo>
                    <a:cubicBezTo>
                      <a:pt x="228" y="98"/>
                      <a:pt x="226" y="95"/>
                      <a:pt x="223" y="95"/>
                    </a:cubicBezTo>
                    <a:close/>
                    <a:moveTo>
                      <a:pt x="114" y="149"/>
                    </a:moveTo>
                    <a:cubicBezTo>
                      <a:pt x="95" y="149"/>
                      <a:pt x="79" y="133"/>
                      <a:pt x="79" y="114"/>
                    </a:cubicBezTo>
                    <a:cubicBezTo>
                      <a:pt x="79" y="95"/>
                      <a:pt x="95" y="79"/>
                      <a:pt x="114" y="79"/>
                    </a:cubicBezTo>
                    <a:cubicBezTo>
                      <a:pt x="133" y="79"/>
                      <a:pt x="149" y="95"/>
                      <a:pt x="149" y="114"/>
                    </a:cubicBezTo>
                    <a:cubicBezTo>
                      <a:pt x="149" y="133"/>
                      <a:pt x="133" y="149"/>
                      <a:pt x="114" y="149"/>
                    </a:cubicBezTo>
                    <a:close/>
                  </a:path>
                </a:pathLst>
              </a:custGeom>
              <a:solidFill>
                <a:schemeClr val="bg1"/>
              </a:solidFill>
              <a:ln>
                <a:noFill/>
              </a:ln>
              <a:extLst/>
            </p:spPr>
            <p:txBody>
              <a:bodyPr anchor="ctr"/>
              <a:lstStyle/>
              <a:p>
                <a:pPr algn="ctr"/>
                <a:endParaRPr>
                  <a:latin typeface="Arial"/>
                  <a:ea typeface="Microsoft YaHei"/>
                  <a:cs typeface="+mn-ea"/>
                  <a:sym typeface="Arial"/>
                </a:endParaRPr>
              </a:p>
            </p:txBody>
          </p:sp>
          <p:sp>
            <p:nvSpPr>
              <p:cNvPr id="20" name="iŝ1ïḑè"/>
              <p:cNvSpPr/>
              <p:nvPr/>
            </p:nvSpPr>
            <p:spPr bwMode="auto">
              <a:xfrm>
                <a:off x="7117126" y="1674366"/>
                <a:ext cx="633204" cy="633204"/>
              </a:xfrm>
              <a:custGeom>
                <a:avLst/>
                <a:gdLst>
                  <a:gd name="T0" fmla="*/ 130 w 236"/>
                  <a:gd name="T1" fmla="*/ 1 h 236"/>
                  <a:gd name="T2" fmla="*/ 118 w 236"/>
                  <a:gd name="T3" fmla="*/ 0 h 236"/>
                  <a:gd name="T4" fmla="*/ 30 w 236"/>
                  <a:gd name="T5" fmla="*/ 40 h 236"/>
                  <a:gd name="T6" fmla="*/ 68 w 236"/>
                  <a:gd name="T7" fmla="*/ 105 h 236"/>
                  <a:gd name="T8" fmla="*/ 130 w 236"/>
                  <a:gd name="T9" fmla="*/ 1 h 236"/>
                  <a:gd name="T10" fmla="*/ 20 w 236"/>
                  <a:gd name="T11" fmla="*/ 52 h 236"/>
                  <a:gd name="T12" fmla="*/ 0 w 236"/>
                  <a:gd name="T13" fmla="*/ 118 h 236"/>
                  <a:gd name="T14" fmla="*/ 5 w 236"/>
                  <a:gd name="T15" fmla="*/ 153 h 236"/>
                  <a:gd name="T16" fmla="*/ 81 w 236"/>
                  <a:gd name="T17" fmla="*/ 153 h 236"/>
                  <a:gd name="T18" fmla="*/ 20 w 236"/>
                  <a:gd name="T19" fmla="*/ 52 h 236"/>
                  <a:gd name="T20" fmla="*/ 225 w 236"/>
                  <a:gd name="T21" fmla="*/ 68 h 236"/>
                  <a:gd name="T22" fmla="*/ 145 w 236"/>
                  <a:gd name="T23" fmla="*/ 3 h 236"/>
                  <a:gd name="T24" fmla="*/ 106 w 236"/>
                  <a:gd name="T25" fmla="*/ 68 h 236"/>
                  <a:gd name="T26" fmla="*/ 225 w 236"/>
                  <a:gd name="T27" fmla="*/ 68 h 236"/>
                  <a:gd name="T28" fmla="*/ 130 w 236"/>
                  <a:gd name="T29" fmla="*/ 167 h 236"/>
                  <a:gd name="T30" fmla="*/ 11 w 236"/>
                  <a:gd name="T31" fmla="*/ 167 h 236"/>
                  <a:gd name="T32" fmla="*/ 96 w 236"/>
                  <a:gd name="T33" fmla="*/ 234 h 236"/>
                  <a:gd name="T34" fmla="*/ 93 w 236"/>
                  <a:gd name="T35" fmla="*/ 232 h 236"/>
                  <a:gd name="T36" fmla="*/ 130 w 236"/>
                  <a:gd name="T37" fmla="*/ 167 h 236"/>
                  <a:gd name="T38" fmla="*/ 230 w 236"/>
                  <a:gd name="T39" fmla="*/ 82 h 236"/>
                  <a:gd name="T40" fmla="*/ 155 w 236"/>
                  <a:gd name="T41" fmla="*/ 82 h 236"/>
                  <a:gd name="T42" fmla="*/ 215 w 236"/>
                  <a:gd name="T43" fmla="*/ 186 h 236"/>
                  <a:gd name="T44" fmla="*/ 236 w 236"/>
                  <a:gd name="T45" fmla="*/ 118 h 236"/>
                  <a:gd name="T46" fmla="*/ 230 w 236"/>
                  <a:gd name="T47" fmla="*/ 82 h 236"/>
                  <a:gd name="T48" fmla="*/ 108 w 236"/>
                  <a:gd name="T49" fmla="*/ 236 h 236"/>
                  <a:gd name="T50" fmla="*/ 118 w 236"/>
                  <a:gd name="T51" fmla="*/ 236 h 236"/>
                  <a:gd name="T52" fmla="*/ 205 w 236"/>
                  <a:gd name="T53" fmla="*/ 198 h 236"/>
                  <a:gd name="T54" fmla="*/ 167 w 236"/>
                  <a:gd name="T55" fmla="*/ 132 h 236"/>
                  <a:gd name="T56" fmla="*/ 108 w 236"/>
                  <a:gd name="T57"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6" h="236">
                    <a:moveTo>
                      <a:pt x="130" y="1"/>
                    </a:moveTo>
                    <a:cubicBezTo>
                      <a:pt x="126" y="0"/>
                      <a:pt x="122" y="0"/>
                      <a:pt x="118" y="0"/>
                    </a:cubicBezTo>
                    <a:cubicBezTo>
                      <a:pt x="83" y="0"/>
                      <a:pt x="51" y="16"/>
                      <a:pt x="30" y="40"/>
                    </a:cubicBezTo>
                    <a:cubicBezTo>
                      <a:pt x="68" y="105"/>
                      <a:pt x="68" y="105"/>
                      <a:pt x="68" y="105"/>
                    </a:cubicBezTo>
                    <a:lnTo>
                      <a:pt x="130" y="1"/>
                    </a:lnTo>
                    <a:close/>
                    <a:moveTo>
                      <a:pt x="20" y="52"/>
                    </a:moveTo>
                    <a:cubicBezTo>
                      <a:pt x="7" y="71"/>
                      <a:pt x="0" y="94"/>
                      <a:pt x="0" y="118"/>
                    </a:cubicBezTo>
                    <a:cubicBezTo>
                      <a:pt x="0" y="130"/>
                      <a:pt x="2" y="142"/>
                      <a:pt x="5" y="153"/>
                    </a:cubicBezTo>
                    <a:cubicBezTo>
                      <a:pt x="81" y="153"/>
                      <a:pt x="81" y="153"/>
                      <a:pt x="81" y="153"/>
                    </a:cubicBezTo>
                    <a:lnTo>
                      <a:pt x="20" y="52"/>
                    </a:lnTo>
                    <a:close/>
                    <a:moveTo>
                      <a:pt x="225" y="68"/>
                    </a:moveTo>
                    <a:cubicBezTo>
                      <a:pt x="210" y="36"/>
                      <a:pt x="180" y="11"/>
                      <a:pt x="145" y="3"/>
                    </a:cubicBezTo>
                    <a:cubicBezTo>
                      <a:pt x="106" y="68"/>
                      <a:pt x="106" y="68"/>
                      <a:pt x="106" y="68"/>
                    </a:cubicBezTo>
                    <a:lnTo>
                      <a:pt x="225" y="68"/>
                    </a:lnTo>
                    <a:close/>
                    <a:moveTo>
                      <a:pt x="130" y="167"/>
                    </a:moveTo>
                    <a:cubicBezTo>
                      <a:pt x="11" y="167"/>
                      <a:pt x="11" y="167"/>
                      <a:pt x="11" y="167"/>
                    </a:cubicBezTo>
                    <a:cubicBezTo>
                      <a:pt x="26" y="201"/>
                      <a:pt x="58" y="227"/>
                      <a:pt x="96" y="234"/>
                    </a:cubicBezTo>
                    <a:cubicBezTo>
                      <a:pt x="93" y="232"/>
                      <a:pt x="93" y="232"/>
                      <a:pt x="93" y="232"/>
                    </a:cubicBezTo>
                    <a:lnTo>
                      <a:pt x="130" y="167"/>
                    </a:lnTo>
                    <a:close/>
                    <a:moveTo>
                      <a:pt x="230" y="82"/>
                    </a:moveTo>
                    <a:cubicBezTo>
                      <a:pt x="155" y="82"/>
                      <a:pt x="155" y="82"/>
                      <a:pt x="155" y="82"/>
                    </a:cubicBezTo>
                    <a:cubicBezTo>
                      <a:pt x="215" y="186"/>
                      <a:pt x="215" y="186"/>
                      <a:pt x="215" y="186"/>
                    </a:cubicBezTo>
                    <a:cubicBezTo>
                      <a:pt x="228" y="167"/>
                      <a:pt x="236" y="143"/>
                      <a:pt x="236" y="118"/>
                    </a:cubicBezTo>
                    <a:cubicBezTo>
                      <a:pt x="236" y="106"/>
                      <a:pt x="234" y="94"/>
                      <a:pt x="230" y="82"/>
                    </a:cubicBezTo>
                    <a:close/>
                    <a:moveTo>
                      <a:pt x="108" y="236"/>
                    </a:moveTo>
                    <a:cubicBezTo>
                      <a:pt x="111" y="236"/>
                      <a:pt x="115" y="236"/>
                      <a:pt x="118" y="236"/>
                    </a:cubicBezTo>
                    <a:cubicBezTo>
                      <a:pt x="152" y="236"/>
                      <a:pt x="183" y="221"/>
                      <a:pt x="205" y="198"/>
                    </a:cubicBezTo>
                    <a:cubicBezTo>
                      <a:pt x="167" y="132"/>
                      <a:pt x="167" y="132"/>
                      <a:pt x="167" y="132"/>
                    </a:cubicBezTo>
                    <a:lnTo>
                      <a:pt x="108" y="236"/>
                    </a:lnTo>
                    <a:close/>
                  </a:path>
                </a:pathLst>
              </a:custGeom>
              <a:solidFill>
                <a:schemeClr val="bg1"/>
              </a:solidFill>
              <a:ln>
                <a:noFill/>
              </a:ln>
              <a:extLst/>
            </p:spPr>
            <p:txBody>
              <a:bodyPr anchor="ctr"/>
              <a:lstStyle/>
              <a:p>
                <a:pPr algn="ctr"/>
                <a:endParaRPr>
                  <a:latin typeface="Arial"/>
                  <a:ea typeface="Microsoft YaHei"/>
                  <a:cs typeface="+mn-ea"/>
                  <a:sym typeface="Arial"/>
                </a:endParaRPr>
              </a:p>
            </p:txBody>
          </p:sp>
        </p:grpSp>
        <p:sp>
          <p:nvSpPr>
            <p:cNvPr id="5" name="íṡļíḍé"/>
            <p:cNvSpPr txBox="1"/>
            <p:nvPr/>
          </p:nvSpPr>
          <p:spPr>
            <a:xfrm>
              <a:off x="1199849" y="4098335"/>
              <a:ext cx="3441176" cy="376324"/>
            </a:xfrm>
            <a:prstGeom prst="rect">
              <a:avLst/>
            </a:prstGeom>
            <a:noFill/>
          </p:spPr>
          <p:txBody>
            <a:bodyPr wrap="none" lIns="90000" tIns="46800" rIns="90000" bIns="46800" anchor="b" anchorCtr="0">
              <a:noAutofit/>
            </a:bodyPr>
            <a:lstStyle/>
            <a:p>
              <a:pPr algn="ctr"/>
              <a:r>
                <a:rPr lang="zh-CN" altLang="en-US" sz="4000" b="1" dirty="0">
                  <a:latin typeface="Arial"/>
                  <a:ea typeface="Microsoft YaHei"/>
                  <a:cs typeface="+mn-ea"/>
                  <a:sym typeface="Arial"/>
                </a:rPr>
                <a:t>继承</a:t>
              </a:r>
            </a:p>
          </p:txBody>
        </p:sp>
        <p:sp>
          <p:nvSpPr>
            <p:cNvPr id="6" name="îṩḷiḓé"/>
            <p:cNvSpPr txBox="1"/>
            <p:nvPr/>
          </p:nvSpPr>
          <p:spPr>
            <a:xfrm>
              <a:off x="1199848" y="4474657"/>
              <a:ext cx="3441176" cy="786539"/>
            </a:xfrm>
            <a:prstGeom prst="rect">
              <a:avLst/>
            </a:prstGeom>
          </p:spPr>
          <p:txBody>
            <a:bodyPr vert="horz" wrap="square" lIns="90000" tIns="46800" rIns="90000" bIns="46800" anchor="t" anchorCtr="0">
              <a:normAutofit/>
            </a:bodyPr>
            <a:lstStyle/>
            <a:p>
              <a:pPr algn="r">
                <a:lnSpc>
                  <a:spcPct val="120000"/>
                </a:lnSpc>
              </a:pPr>
              <a:r>
                <a:rPr lang="zh-CN" altLang="en-US" sz="2400" dirty="0" smtClean="0">
                  <a:solidFill>
                    <a:schemeClr val="tx1">
                      <a:lumMod val="85000"/>
                      <a:lumOff val="15000"/>
                    </a:schemeClr>
                  </a:solidFill>
                  <a:latin typeface="Arial"/>
                  <a:ea typeface="Microsoft YaHei"/>
                  <a:cs typeface="+mn-ea"/>
                  <a:sym typeface="Arial"/>
                </a:rPr>
                <a:t>重复代码 无处不在</a:t>
              </a:r>
              <a:endParaRPr lang="zh-CN" altLang="en-US" sz="2400" dirty="0">
                <a:solidFill>
                  <a:schemeClr val="tx1">
                    <a:lumMod val="85000"/>
                    <a:lumOff val="15000"/>
                  </a:schemeClr>
                </a:solidFill>
                <a:latin typeface="Arial"/>
                <a:ea typeface="Microsoft YaHei"/>
                <a:cs typeface="+mn-ea"/>
                <a:sym typeface="Arial"/>
              </a:endParaRPr>
            </a:p>
          </p:txBody>
        </p:sp>
        <p:sp>
          <p:nvSpPr>
            <p:cNvPr id="7" name="íṥlíḑê"/>
            <p:cNvSpPr txBox="1"/>
            <p:nvPr/>
          </p:nvSpPr>
          <p:spPr>
            <a:xfrm>
              <a:off x="4740934" y="1160197"/>
              <a:ext cx="2710133" cy="376324"/>
            </a:xfrm>
            <a:prstGeom prst="rect">
              <a:avLst/>
            </a:prstGeom>
            <a:noFill/>
          </p:spPr>
          <p:txBody>
            <a:bodyPr wrap="none" lIns="90000" tIns="46800" rIns="90000" bIns="46800" anchor="b" anchorCtr="0">
              <a:noAutofit/>
            </a:bodyPr>
            <a:lstStyle/>
            <a:p>
              <a:pPr algn="ctr"/>
              <a:r>
                <a:rPr lang="zh-CN" altLang="en-US" sz="4000" b="1" dirty="0">
                  <a:latin typeface="Arial"/>
                  <a:ea typeface="Microsoft YaHei"/>
                  <a:cs typeface="+mn-ea"/>
                  <a:sym typeface="Arial"/>
                </a:rPr>
                <a:t>封装</a:t>
              </a:r>
            </a:p>
          </p:txBody>
        </p:sp>
        <p:sp>
          <p:nvSpPr>
            <p:cNvPr id="8" name="íṡľiḑê"/>
            <p:cNvSpPr txBox="1"/>
            <p:nvPr/>
          </p:nvSpPr>
          <p:spPr>
            <a:xfrm>
              <a:off x="4016461" y="1567767"/>
              <a:ext cx="4781057" cy="610349"/>
            </a:xfrm>
            <a:prstGeom prst="rect">
              <a:avLst/>
            </a:prstGeom>
          </p:spPr>
          <p:txBody>
            <a:bodyPr vert="horz" wrap="square" lIns="90000" tIns="46800" rIns="90000" bIns="46800" anchor="t" anchorCtr="0">
              <a:noAutofit/>
            </a:bodyPr>
            <a:lstStyle/>
            <a:p>
              <a:pPr algn="ctr">
                <a:lnSpc>
                  <a:spcPct val="120000"/>
                </a:lnSpc>
              </a:pPr>
              <a:r>
                <a:rPr lang="zh-CN" altLang="en-US" sz="2400" dirty="0">
                  <a:solidFill>
                    <a:schemeClr val="tx1">
                      <a:lumMod val="85000"/>
                      <a:lumOff val="15000"/>
                    </a:schemeClr>
                  </a:solidFill>
                  <a:latin typeface="Arial"/>
                  <a:ea typeface="Microsoft YaHei"/>
                  <a:cs typeface="+mn-ea"/>
                  <a:sym typeface="Arial"/>
                </a:rPr>
                <a:t>代码</a:t>
              </a:r>
              <a:r>
                <a:rPr lang="zh-CN" altLang="en-US" sz="2400" dirty="0" smtClean="0">
                  <a:solidFill>
                    <a:schemeClr val="tx1">
                      <a:lumMod val="85000"/>
                      <a:lumOff val="15000"/>
                    </a:schemeClr>
                  </a:solidFill>
                  <a:latin typeface="Arial"/>
                  <a:ea typeface="Microsoft YaHei"/>
                  <a:cs typeface="+mn-ea"/>
                  <a:sym typeface="Arial"/>
                </a:rPr>
                <a:t>耦合，问题繁多</a:t>
              </a:r>
              <a:endParaRPr lang="zh-CN" altLang="en-US" sz="2400" dirty="0">
                <a:solidFill>
                  <a:schemeClr val="tx1">
                    <a:lumMod val="85000"/>
                    <a:lumOff val="15000"/>
                  </a:schemeClr>
                </a:solidFill>
                <a:latin typeface="Arial"/>
                <a:ea typeface="Microsoft YaHei"/>
                <a:cs typeface="+mn-ea"/>
                <a:sym typeface="Arial"/>
              </a:endParaRPr>
            </a:p>
          </p:txBody>
        </p:sp>
        <p:sp>
          <p:nvSpPr>
            <p:cNvPr id="9" name="îš1iďé"/>
            <p:cNvSpPr txBox="1"/>
            <p:nvPr/>
          </p:nvSpPr>
          <p:spPr>
            <a:xfrm>
              <a:off x="7550037" y="4098335"/>
              <a:ext cx="3441176" cy="376324"/>
            </a:xfrm>
            <a:prstGeom prst="rect">
              <a:avLst/>
            </a:prstGeom>
            <a:noFill/>
          </p:spPr>
          <p:txBody>
            <a:bodyPr wrap="none" lIns="90000" tIns="46800" rIns="90000" bIns="46800" anchor="b" anchorCtr="0">
              <a:noAutofit/>
            </a:bodyPr>
            <a:lstStyle/>
            <a:p>
              <a:pPr algn="ctr"/>
              <a:r>
                <a:rPr lang="zh-CN" altLang="en-US" sz="4000" b="1" dirty="0" smtClean="0">
                  <a:latin typeface="Arial"/>
                  <a:ea typeface="Microsoft YaHei"/>
                  <a:cs typeface="+mn-ea"/>
                  <a:sym typeface="Arial"/>
                </a:rPr>
                <a:t>多态</a:t>
              </a:r>
              <a:endParaRPr lang="zh-CN" altLang="en-US" sz="4000" b="1" dirty="0">
                <a:latin typeface="Arial"/>
                <a:ea typeface="Microsoft YaHei"/>
                <a:cs typeface="+mn-ea"/>
                <a:sym typeface="Arial"/>
              </a:endParaRPr>
            </a:p>
          </p:txBody>
        </p:sp>
        <p:sp>
          <p:nvSpPr>
            <p:cNvPr id="10" name="i$ḷíďé"/>
            <p:cNvSpPr txBox="1"/>
            <p:nvPr/>
          </p:nvSpPr>
          <p:spPr>
            <a:xfrm>
              <a:off x="7451068" y="4508510"/>
              <a:ext cx="3884962" cy="738977"/>
            </a:xfrm>
            <a:prstGeom prst="rect">
              <a:avLst/>
            </a:prstGeom>
          </p:spPr>
          <p:txBody>
            <a:bodyPr vert="horz" wrap="square" lIns="90000" tIns="46800" rIns="90000" bIns="46800" anchor="t" anchorCtr="0">
              <a:normAutofit/>
            </a:bodyPr>
            <a:lstStyle/>
            <a:p>
              <a:pPr>
                <a:lnSpc>
                  <a:spcPct val="120000"/>
                </a:lnSpc>
              </a:pPr>
              <a:r>
                <a:rPr lang="zh-CN" altLang="en-US" sz="2400" dirty="0" smtClean="0">
                  <a:solidFill>
                    <a:schemeClr val="tx1">
                      <a:lumMod val="85000"/>
                      <a:lumOff val="15000"/>
                    </a:schemeClr>
                  </a:solidFill>
                  <a:latin typeface="Arial"/>
                  <a:ea typeface="Microsoft YaHei"/>
                  <a:cs typeface="+mn-ea"/>
                  <a:sym typeface="Arial"/>
                </a:rPr>
                <a:t>需求变更，推倒重来</a:t>
              </a:r>
              <a:endParaRPr lang="zh-CN" altLang="en-US" sz="1100" dirty="0">
                <a:solidFill>
                  <a:schemeClr val="tx1">
                    <a:lumMod val="85000"/>
                    <a:lumOff val="15000"/>
                  </a:schemeClr>
                </a:solidFill>
                <a:latin typeface="Arial"/>
                <a:ea typeface="Microsoft YaHei"/>
                <a:cs typeface="+mn-ea"/>
                <a:sym typeface="Arial"/>
              </a:endParaRPr>
            </a:p>
          </p:txBody>
        </p:sp>
      </p:grpSp>
      <p:grpSp>
        <p:nvGrpSpPr>
          <p:cNvPr id="21" name="组合 20">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22" name="椭圆 21">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23" name="椭圆 22">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Tree>
    <p:extLst>
      <p:ext uri="{BB962C8B-B14F-4D97-AF65-F5344CB8AC3E}">
        <p14:creationId xmlns:p14="http://schemas.microsoft.com/office/powerpoint/2010/main" val="1624133413"/>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137925" y="205921"/>
            <a:ext cx="10401280" cy="695186"/>
          </a:xfrm>
        </p:spPr>
        <p:txBody>
          <a:bodyPr/>
          <a:lstStyle/>
          <a:p>
            <a:r>
              <a:rPr lang="zh-CN" altLang="en-US" sz="3200" b="0" dirty="0">
                <a:latin typeface="Arial"/>
                <a:ea typeface="Microsoft YaHei"/>
                <a:cs typeface="+mn-ea"/>
                <a:sym typeface="Arial"/>
              </a:rPr>
              <a:t>面向对象原则</a:t>
            </a:r>
          </a:p>
        </p:txBody>
      </p:sp>
      <p:grpSp>
        <p:nvGrpSpPr>
          <p:cNvPr id="21" name="组合 20">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22" name="椭圆 21">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23" name="椭圆 22">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graphicFrame>
        <p:nvGraphicFramePr>
          <p:cNvPr id="24" name="图示 23"/>
          <p:cNvGraphicFramePr/>
          <p:nvPr>
            <p:extLst/>
          </p:nvPr>
        </p:nvGraphicFramePr>
        <p:xfrm>
          <a:off x="1885122" y="1371600"/>
          <a:ext cx="7648842" cy="47199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29427901"/>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D:\我的文档\11053419\Desktop\timg (3).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7478" y="1761565"/>
            <a:ext cx="4903810" cy="3146611"/>
          </a:xfrm>
          <a:prstGeom prst="rect">
            <a:avLst/>
          </a:prstGeom>
          <a:noFill/>
          <a:extLst>
            <a:ext uri="{909E8E84-426E-40DD-AFC4-6F175D3DCCD1}">
              <a14:hiddenFill xmlns:a14="http://schemas.microsoft.com/office/drawing/2010/main">
                <a:solidFill>
                  <a:srgbClr val="FFFFFF"/>
                </a:solidFill>
              </a14:hiddenFill>
            </a:ext>
          </a:extLst>
        </p:spPr>
      </p:pic>
      <p:pic>
        <p:nvPicPr>
          <p:cNvPr id="8195" name="Picture 3" descr="D:\我的文档\11053419\Desktop\timg (2).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14246" y="1728704"/>
            <a:ext cx="4776669" cy="3179471"/>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1390363" y="5527774"/>
            <a:ext cx="4585447" cy="707886"/>
          </a:xfrm>
          <a:prstGeom prst="rect">
            <a:avLst/>
          </a:prstGeom>
          <a:noFill/>
        </p:spPr>
        <p:txBody>
          <a:bodyPr wrap="square" rtlCol="0">
            <a:spAutoFit/>
          </a:bodyPr>
          <a:lstStyle/>
          <a:p>
            <a:r>
              <a:rPr lang="zh-CN" altLang="en-US" sz="3200" dirty="0" smtClean="0">
                <a:solidFill>
                  <a:schemeClr val="accent1"/>
                </a:solidFill>
                <a:latin typeface="Arial"/>
                <a:ea typeface="Microsoft YaHei"/>
                <a:cs typeface="+mn-ea"/>
                <a:sym typeface="Arial"/>
              </a:rPr>
              <a:t>只负责</a:t>
            </a:r>
            <a:r>
              <a:rPr lang="zh-CN" altLang="en-US" sz="4000" b="1" dirty="0" smtClean="0">
                <a:solidFill>
                  <a:schemeClr val="accent1">
                    <a:lumMod val="50000"/>
                  </a:schemeClr>
                </a:solidFill>
                <a:latin typeface="Arial"/>
                <a:ea typeface="Microsoft YaHei"/>
                <a:cs typeface="+mn-ea"/>
                <a:sym typeface="Arial"/>
              </a:rPr>
              <a:t>切</a:t>
            </a:r>
            <a:r>
              <a:rPr lang="zh-CN" altLang="en-US" sz="3200" dirty="0" smtClean="0">
                <a:solidFill>
                  <a:schemeClr val="accent1"/>
                </a:solidFill>
                <a:latin typeface="Arial"/>
                <a:ea typeface="Microsoft YaHei"/>
                <a:cs typeface="+mn-ea"/>
                <a:sym typeface="Arial"/>
              </a:rPr>
              <a:t>菜</a:t>
            </a:r>
            <a:endParaRPr lang="zh-CN" altLang="en-US" sz="3200" dirty="0">
              <a:solidFill>
                <a:schemeClr val="accent1"/>
              </a:solidFill>
              <a:latin typeface="Arial"/>
              <a:ea typeface="Microsoft YaHei"/>
              <a:cs typeface="+mn-ea"/>
              <a:sym typeface="Arial"/>
            </a:endParaRPr>
          </a:p>
        </p:txBody>
      </p:sp>
      <p:sp>
        <p:nvSpPr>
          <p:cNvPr id="7" name="TextBox 6"/>
          <p:cNvSpPr txBox="1"/>
          <p:nvPr/>
        </p:nvSpPr>
        <p:spPr>
          <a:xfrm>
            <a:off x="7346617" y="5515360"/>
            <a:ext cx="4585447" cy="707886"/>
          </a:xfrm>
          <a:prstGeom prst="rect">
            <a:avLst/>
          </a:prstGeom>
          <a:noFill/>
        </p:spPr>
        <p:txBody>
          <a:bodyPr wrap="square" rtlCol="0">
            <a:spAutoFit/>
          </a:bodyPr>
          <a:lstStyle/>
          <a:p>
            <a:r>
              <a:rPr lang="zh-CN" altLang="en-US" sz="3200" dirty="0" smtClean="0">
                <a:solidFill>
                  <a:schemeClr val="accent1"/>
                </a:solidFill>
                <a:latin typeface="Arial"/>
                <a:ea typeface="Microsoft YaHei"/>
                <a:cs typeface="+mn-ea"/>
                <a:sym typeface="Arial"/>
              </a:rPr>
              <a:t>只负责</a:t>
            </a:r>
            <a:r>
              <a:rPr lang="zh-CN" altLang="en-US" sz="4000" b="1" dirty="0" smtClean="0">
                <a:solidFill>
                  <a:schemeClr val="accent1">
                    <a:lumMod val="50000"/>
                  </a:schemeClr>
                </a:solidFill>
                <a:latin typeface="Arial"/>
                <a:ea typeface="Microsoft YaHei"/>
                <a:cs typeface="+mn-ea"/>
                <a:sym typeface="Arial"/>
              </a:rPr>
              <a:t>炒</a:t>
            </a:r>
            <a:r>
              <a:rPr lang="zh-CN" altLang="en-US" sz="3200" dirty="0" smtClean="0">
                <a:solidFill>
                  <a:schemeClr val="accent1"/>
                </a:solidFill>
                <a:latin typeface="Arial"/>
                <a:ea typeface="Microsoft YaHei"/>
                <a:cs typeface="+mn-ea"/>
                <a:sym typeface="Arial"/>
              </a:rPr>
              <a:t>菜</a:t>
            </a:r>
            <a:endParaRPr lang="zh-CN" altLang="en-US" sz="3200" dirty="0">
              <a:solidFill>
                <a:schemeClr val="accent1"/>
              </a:solidFill>
              <a:latin typeface="Arial"/>
              <a:ea typeface="Microsoft YaHei"/>
              <a:cs typeface="+mn-ea"/>
              <a:sym typeface="Arial"/>
            </a:endParaRPr>
          </a:p>
        </p:txBody>
      </p:sp>
      <p:sp>
        <p:nvSpPr>
          <p:cNvPr id="8" name="标题 1"/>
          <p:cNvSpPr txBox="1">
            <a:spLocks/>
          </p:cNvSpPr>
          <p:nvPr/>
        </p:nvSpPr>
        <p:spPr>
          <a:xfrm>
            <a:off x="1137925" y="205921"/>
            <a:ext cx="10401280" cy="695186"/>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3200" b="0" dirty="0" smtClean="0">
                <a:latin typeface="Arial"/>
                <a:ea typeface="Microsoft YaHei"/>
                <a:cs typeface="+mn-ea"/>
                <a:sym typeface="Arial"/>
              </a:rPr>
              <a:t>单一职责原则</a:t>
            </a:r>
            <a:endParaRPr lang="zh-CN" altLang="en-US" sz="3200" b="0" dirty="0">
              <a:latin typeface="Arial"/>
              <a:ea typeface="Microsoft YaHei"/>
              <a:cs typeface="+mn-ea"/>
              <a:sym typeface="Arial"/>
            </a:endParaRPr>
          </a:p>
        </p:txBody>
      </p:sp>
      <p:grpSp>
        <p:nvGrpSpPr>
          <p:cNvPr id="9" name="组合 8">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10" name="椭圆 9">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11" name="椭圆 10">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Tree>
    <p:extLst>
      <p:ext uri="{BB962C8B-B14F-4D97-AF65-F5344CB8AC3E}">
        <p14:creationId xmlns:p14="http://schemas.microsoft.com/office/powerpoint/2010/main" val="114064008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文本框 8">
            <a:extLst>
              <a:ext uri="{FF2B5EF4-FFF2-40B4-BE49-F238E27FC236}">
                <a16:creationId xmlns:a16="http://schemas.microsoft.com/office/drawing/2014/main" id="{04F69230-F3A6-4586-9371-A858F4763E9F}"/>
              </a:ext>
            </a:extLst>
          </p:cNvPr>
          <p:cNvSpPr txBox="1"/>
          <p:nvPr/>
        </p:nvSpPr>
        <p:spPr>
          <a:xfrm>
            <a:off x="2139202" y="3018606"/>
            <a:ext cx="1227053" cy="1066877"/>
          </a:xfrm>
          <a:prstGeom prst="rect">
            <a:avLst/>
          </a:prstGeom>
          <a:noFill/>
          <a:ln w="117475">
            <a:noFill/>
          </a:ln>
        </p:spPr>
        <p:txBody>
          <a:bodyPr wrap="none" rtlCol="0">
            <a:prstTxWarp prst="textPlain">
              <a:avLst/>
            </a:prstTxWarp>
            <a:spAutoFit/>
          </a:bodyPr>
          <a:lstStyle/>
          <a:p>
            <a:r>
              <a:rPr lang="en-US" altLang="zh-CN" b="1" spc="100" dirty="0" smtClean="0">
                <a:solidFill>
                  <a:schemeClr val="bg1"/>
                </a:solidFill>
                <a:latin typeface="Arial" panose="020B0604020202020204" pitchFamily="34" charset="0"/>
                <a:ea typeface="Microsoft YaHei" panose="020B0503020204020204" pitchFamily="34" charset="-122"/>
                <a:cs typeface="+mn-ea"/>
                <a:sym typeface="Arial" panose="020B0604020202020204" pitchFamily="34" charset="0"/>
              </a:rPr>
              <a:t>01</a:t>
            </a:r>
            <a:endParaRPr lang="zh-CN" altLang="en-US" b="1" spc="100" dirty="0">
              <a:solidFill>
                <a:schemeClr val="bg1"/>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13" name="TextBox 50">
            <a:extLst>
              <a:ext uri="{FF2B5EF4-FFF2-40B4-BE49-F238E27FC236}">
                <a16:creationId xmlns:a16="http://schemas.microsoft.com/office/drawing/2014/main" id="{53B9FB5B-97FC-4FB6-BA8A-C38408C07D8D}"/>
              </a:ext>
            </a:extLst>
          </p:cNvPr>
          <p:cNvSpPr txBox="1"/>
          <p:nvPr/>
        </p:nvSpPr>
        <p:spPr>
          <a:xfrm>
            <a:off x="5145640" y="3459000"/>
            <a:ext cx="4976927" cy="830997"/>
          </a:xfrm>
          <a:prstGeom prst="rect">
            <a:avLst/>
          </a:prstGeom>
          <a:noFill/>
        </p:spPr>
        <p:txBody>
          <a:bodyPr wrap="square" rtlCol="0">
            <a:spAutoFit/>
          </a:bodyPr>
          <a:lstStyle/>
          <a:p>
            <a:pPr lvl="0" algn="ctr"/>
            <a:r>
              <a:rPr lang="zh-CN" altLang="en-US" sz="4800" dirty="0" smtClean="0">
                <a:solidFill>
                  <a:schemeClr val="tx1">
                    <a:lumMod val="85000"/>
                    <a:lumOff val="15000"/>
                  </a:schemeClr>
                </a:solidFill>
                <a:latin typeface="Arial" panose="020B0604020202020204" pitchFamily="34" charset="0"/>
                <a:ea typeface="Microsoft YaHei" panose="020B0503020204020204" pitchFamily="34" charset="-122"/>
                <a:cs typeface="+mn-ea"/>
                <a:sym typeface="Arial" panose="020B0604020202020204" pitchFamily="34" charset="0"/>
              </a:rPr>
              <a:t>识别和理解需求</a:t>
            </a:r>
            <a:endParaRPr lang="en-US" altLang="zh-CN" sz="4800" dirty="0">
              <a:solidFill>
                <a:schemeClr val="tx1">
                  <a:lumMod val="85000"/>
                  <a:lumOff val="15000"/>
                </a:schemeClr>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17" name="TextBox 50">
            <a:extLst>
              <a:ext uri="{FF2B5EF4-FFF2-40B4-BE49-F238E27FC236}">
                <a16:creationId xmlns:a16="http://schemas.microsoft.com/office/drawing/2014/main" id="{CFFB5B42-4850-4002-BCB2-DADA1D869622}"/>
              </a:ext>
            </a:extLst>
          </p:cNvPr>
          <p:cNvSpPr txBox="1"/>
          <p:nvPr/>
        </p:nvSpPr>
        <p:spPr>
          <a:xfrm>
            <a:off x="6977512" y="2633885"/>
            <a:ext cx="1313181" cy="769441"/>
          </a:xfrm>
          <a:prstGeom prst="rect">
            <a:avLst/>
          </a:prstGeom>
          <a:noFill/>
        </p:spPr>
        <p:txBody>
          <a:bodyPr wrap="none" rtlCol="0">
            <a:spAutoFit/>
          </a:bodyPr>
          <a:lstStyle/>
          <a:p>
            <a:pPr lvl="0" algn="ctr"/>
            <a:r>
              <a:rPr lang="zh-CN" altLang="en-US" sz="4400" dirty="0">
                <a:solidFill>
                  <a:schemeClr val="tx1">
                    <a:lumMod val="85000"/>
                    <a:lumOff val="15000"/>
                  </a:schemeClr>
                </a:solidFill>
                <a:latin typeface="Arial" panose="020B0604020202020204" pitchFamily="34" charset="0"/>
                <a:ea typeface="Microsoft YaHei" panose="020B0503020204020204" pitchFamily="34" charset="-122"/>
                <a:cs typeface="+mn-ea"/>
                <a:sym typeface="Arial" panose="020B0604020202020204" pitchFamily="34" charset="0"/>
              </a:rPr>
              <a:t>织梦</a:t>
            </a:r>
            <a:endParaRPr lang="en-US" altLang="zh-CN" sz="4400" dirty="0">
              <a:solidFill>
                <a:schemeClr val="tx1">
                  <a:lumMod val="85000"/>
                  <a:lumOff val="15000"/>
                </a:schemeClr>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2" name="文本框 1"/>
          <p:cNvSpPr txBox="1"/>
          <p:nvPr/>
        </p:nvSpPr>
        <p:spPr>
          <a:xfrm>
            <a:off x="5924248" y="4445620"/>
            <a:ext cx="3419707" cy="369332"/>
          </a:xfrm>
          <a:prstGeom prst="rect">
            <a:avLst/>
          </a:prstGeom>
          <a:noFill/>
        </p:spPr>
        <p:txBody>
          <a:bodyPr wrap="square" rtlCol="0">
            <a:spAutoFit/>
          </a:bodyPr>
          <a:lstStyle/>
          <a:p>
            <a:r>
              <a:rPr lang="zh-CN" altLang="en-US" dirty="0" smtClean="0"/>
              <a:t>需求</a:t>
            </a:r>
            <a:r>
              <a:rPr lang="en-US" altLang="zh-CN" dirty="0" smtClean="0"/>
              <a:t>-&gt;</a:t>
            </a:r>
            <a:r>
              <a:rPr lang="zh-CN" altLang="en-US" dirty="0" smtClean="0"/>
              <a:t>关键需求</a:t>
            </a:r>
            <a:r>
              <a:rPr lang="en-US" altLang="zh-CN" dirty="0" smtClean="0"/>
              <a:t>-&gt;</a:t>
            </a:r>
            <a:r>
              <a:rPr lang="zh-CN" altLang="en-US" dirty="0" smtClean="0"/>
              <a:t>需求风险识别</a:t>
            </a:r>
            <a:endParaRPr lang="zh-CN" altLang="en-US" dirty="0"/>
          </a:p>
        </p:txBody>
      </p:sp>
    </p:spTree>
    <p:extLst>
      <p:ext uri="{BB962C8B-B14F-4D97-AF65-F5344CB8AC3E}">
        <p14:creationId xmlns:p14="http://schemas.microsoft.com/office/powerpoint/2010/main" val="2371597387"/>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9" name="Picture 3" descr="D:\我的文档\11053419\Desktop\timg (4).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96036" y="1279334"/>
            <a:ext cx="7664822" cy="431501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1896036" y="5862920"/>
            <a:ext cx="7664822" cy="707886"/>
          </a:xfrm>
          <a:prstGeom prst="rect">
            <a:avLst/>
          </a:prstGeom>
          <a:noFill/>
        </p:spPr>
        <p:txBody>
          <a:bodyPr wrap="square" rtlCol="0">
            <a:spAutoFit/>
          </a:bodyPr>
          <a:lstStyle/>
          <a:p>
            <a:r>
              <a:rPr lang="zh-CN" altLang="en-US" sz="3200" b="1" dirty="0">
                <a:latin typeface="Arial"/>
                <a:ea typeface="Microsoft YaHei"/>
                <a:cs typeface="+mn-ea"/>
                <a:sym typeface="Arial"/>
              </a:rPr>
              <a:t>一</a:t>
            </a:r>
            <a:r>
              <a:rPr lang="zh-CN" altLang="en-US" sz="3200" b="1" dirty="0" smtClean="0">
                <a:latin typeface="Arial"/>
                <a:ea typeface="Microsoft YaHei"/>
                <a:cs typeface="+mn-ea"/>
                <a:sym typeface="Arial"/>
              </a:rPr>
              <a:t>国</a:t>
            </a:r>
            <a:r>
              <a:rPr lang="zh-CN" altLang="en-US" sz="3200" dirty="0" smtClean="0">
                <a:solidFill>
                  <a:schemeClr val="accent1"/>
                </a:solidFill>
                <a:latin typeface="Arial"/>
                <a:ea typeface="Microsoft YaHei"/>
                <a:cs typeface="+mn-ea"/>
                <a:sym typeface="Arial"/>
              </a:rPr>
              <a:t>：对</a:t>
            </a:r>
            <a:r>
              <a:rPr lang="zh-CN" altLang="en-US" sz="3200" dirty="0">
                <a:solidFill>
                  <a:schemeClr val="accent1"/>
                </a:solidFill>
                <a:latin typeface="Arial"/>
                <a:ea typeface="Microsoft YaHei"/>
                <a:cs typeface="+mn-ea"/>
                <a:sym typeface="Arial"/>
              </a:rPr>
              <a:t>修改</a:t>
            </a:r>
            <a:r>
              <a:rPr lang="zh-CN" altLang="en-US" sz="4000" dirty="0" smtClean="0">
                <a:solidFill>
                  <a:schemeClr val="accent1">
                    <a:lumMod val="50000"/>
                  </a:schemeClr>
                </a:solidFill>
                <a:latin typeface="Arial"/>
                <a:ea typeface="Microsoft YaHei"/>
                <a:cs typeface="+mn-ea"/>
                <a:sym typeface="Arial"/>
              </a:rPr>
              <a:t>闭</a:t>
            </a:r>
            <a:r>
              <a:rPr lang="zh-CN" altLang="en-US" sz="3200" dirty="0" smtClean="0">
                <a:solidFill>
                  <a:schemeClr val="accent1"/>
                </a:solidFill>
                <a:latin typeface="Arial"/>
                <a:ea typeface="Microsoft YaHei"/>
                <a:cs typeface="+mn-ea"/>
                <a:sym typeface="Arial"/>
              </a:rPr>
              <a:t>合     </a:t>
            </a:r>
            <a:r>
              <a:rPr lang="zh-CN" altLang="en-US" sz="3200" b="1" dirty="0" smtClean="0">
                <a:latin typeface="Arial"/>
                <a:ea typeface="Microsoft YaHei"/>
                <a:cs typeface="+mn-ea"/>
                <a:sym typeface="Arial"/>
              </a:rPr>
              <a:t>两制</a:t>
            </a:r>
            <a:r>
              <a:rPr lang="zh-CN" altLang="en-US" sz="3200" dirty="0" smtClean="0">
                <a:solidFill>
                  <a:schemeClr val="accent1"/>
                </a:solidFill>
                <a:latin typeface="Arial"/>
                <a:ea typeface="Microsoft YaHei"/>
                <a:cs typeface="+mn-ea"/>
                <a:sym typeface="Arial"/>
              </a:rPr>
              <a:t>：对</a:t>
            </a:r>
            <a:r>
              <a:rPr lang="zh-CN" altLang="en-US" sz="3200" dirty="0">
                <a:solidFill>
                  <a:schemeClr val="accent1"/>
                </a:solidFill>
                <a:latin typeface="Arial"/>
                <a:ea typeface="Microsoft YaHei"/>
                <a:cs typeface="+mn-ea"/>
                <a:sym typeface="Arial"/>
              </a:rPr>
              <a:t>扩展</a:t>
            </a:r>
            <a:r>
              <a:rPr lang="zh-CN" altLang="en-US" sz="4000" dirty="0" smtClean="0">
                <a:solidFill>
                  <a:schemeClr val="accent1">
                    <a:lumMod val="50000"/>
                  </a:schemeClr>
                </a:solidFill>
                <a:latin typeface="Arial"/>
                <a:ea typeface="Microsoft YaHei"/>
                <a:cs typeface="+mn-ea"/>
                <a:sym typeface="Arial"/>
              </a:rPr>
              <a:t>开</a:t>
            </a:r>
            <a:r>
              <a:rPr lang="zh-CN" altLang="en-US" sz="3200" dirty="0" smtClean="0">
                <a:solidFill>
                  <a:schemeClr val="accent1"/>
                </a:solidFill>
                <a:latin typeface="Arial"/>
                <a:ea typeface="Microsoft YaHei"/>
                <a:cs typeface="+mn-ea"/>
                <a:sym typeface="Arial"/>
              </a:rPr>
              <a:t>放</a:t>
            </a:r>
            <a:endParaRPr lang="zh-CN" altLang="en-US" sz="3200" dirty="0">
              <a:solidFill>
                <a:schemeClr val="accent1"/>
              </a:solidFill>
              <a:latin typeface="Arial"/>
              <a:ea typeface="Microsoft YaHei"/>
              <a:cs typeface="+mn-ea"/>
              <a:sym typeface="Arial"/>
            </a:endParaRPr>
          </a:p>
        </p:txBody>
      </p:sp>
      <p:sp>
        <p:nvSpPr>
          <p:cNvPr id="6" name="标题 1"/>
          <p:cNvSpPr txBox="1">
            <a:spLocks/>
          </p:cNvSpPr>
          <p:nvPr/>
        </p:nvSpPr>
        <p:spPr>
          <a:xfrm>
            <a:off x="1137925" y="205921"/>
            <a:ext cx="10401280" cy="695186"/>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3200" b="0" dirty="0" smtClean="0">
                <a:latin typeface="Arial"/>
                <a:ea typeface="Microsoft YaHei"/>
                <a:cs typeface="+mn-ea"/>
                <a:sym typeface="Arial"/>
              </a:rPr>
              <a:t>开闭原则</a:t>
            </a:r>
            <a:endParaRPr lang="zh-CN" altLang="en-US" sz="3200" b="0" dirty="0">
              <a:latin typeface="Arial"/>
              <a:ea typeface="Microsoft YaHei"/>
              <a:cs typeface="+mn-ea"/>
              <a:sym typeface="Arial"/>
            </a:endParaRPr>
          </a:p>
        </p:txBody>
      </p:sp>
      <p:grpSp>
        <p:nvGrpSpPr>
          <p:cNvPr id="7" name="组合 6">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8" name="椭圆 7">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9" name="椭圆 8">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Tree>
    <p:extLst>
      <p:ext uri="{BB962C8B-B14F-4D97-AF65-F5344CB8AC3E}">
        <p14:creationId xmlns:p14="http://schemas.microsoft.com/office/powerpoint/2010/main" val="2216831100"/>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2363262" y="5449214"/>
            <a:ext cx="7943200"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rgbClr val="FF0000"/>
                </a:solidFill>
                <a:effectLst/>
                <a:uLnTx/>
                <a:uFillTx/>
                <a:latin typeface="Arial"/>
                <a:ea typeface="Microsoft YaHei"/>
                <a:cs typeface="+mn-ea"/>
                <a:sym typeface="Arial"/>
              </a:rPr>
              <a:t> </a:t>
            </a:r>
            <a:r>
              <a:rPr kumimoji="0" lang="zh-CN" altLang="en-US" sz="2400" b="1" i="0" u="none" strike="noStrike" kern="1200" cap="none" spc="0" normalizeH="0" baseline="0" noProof="0" dirty="0">
                <a:ln>
                  <a:noFill/>
                </a:ln>
                <a:solidFill>
                  <a:schemeClr val="accent1"/>
                </a:solidFill>
                <a:effectLst/>
                <a:uLnTx/>
                <a:uFillTx/>
                <a:latin typeface="Arial"/>
                <a:ea typeface="Microsoft YaHei"/>
                <a:cs typeface="+mn-ea"/>
                <a:sym typeface="Arial"/>
              </a:rPr>
              <a:t>派生类型（子类）必须能够替换掉它们的基类型（父类</a:t>
            </a:r>
            <a:r>
              <a:rPr kumimoji="0" lang="zh-CN" altLang="en-US" sz="2400" b="1" i="0" u="none" strike="noStrike" kern="1200" cap="none" spc="0" normalizeH="0" baseline="0" noProof="0" dirty="0" smtClean="0">
                <a:ln>
                  <a:noFill/>
                </a:ln>
                <a:solidFill>
                  <a:schemeClr val="accent1"/>
                </a:solidFill>
                <a:effectLst/>
                <a:uLnTx/>
                <a:uFillTx/>
                <a:latin typeface="Arial"/>
                <a:ea typeface="Microsoft YaHei"/>
                <a:cs typeface="+mn-ea"/>
                <a:sym typeface="Arial"/>
              </a:rPr>
              <a:t>）</a:t>
            </a:r>
            <a:endParaRPr kumimoji="0" lang="zh-CN" altLang="en-US" sz="2400" b="0" i="0" u="none" strike="noStrike" kern="1200" cap="none" spc="0" normalizeH="0" baseline="0" noProof="0" dirty="0">
              <a:ln>
                <a:noFill/>
              </a:ln>
              <a:solidFill>
                <a:schemeClr val="accent1"/>
              </a:solidFill>
              <a:effectLst/>
              <a:uLnTx/>
              <a:uFillTx/>
              <a:latin typeface="Arial"/>
              <a:ea typeface="Microsoft YaHei"/>
              <a:cs typeface="+mn-ea"/>
              <a:sym typeface="Arial"/>
            </a:endParaRPr>
          </a:p>
        </p:txBody>
      </p:sp>
      <p:sp>
        <p:nvSpPr>
          <p:cNvPr id="5" name="矩形 4"/>
          <p:cNvSpPr/>
          <p:nvPr/>
        </p:nvSpPr>
        <p:spPr>
          <a:xfrm>
            <a:off x="1667435" y="2003612"/>
            <a:ext cx="2474259" cy="264907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800" b="1" i="1" dirty="0" smtClean="0">
                <a:latin typeface="Arial"/>
                <a:ea typeface="Microsoft YaHei"/>
                <a:cs typeface="+mn-ea"/>
                <a:sym typeface="Arial"/>
              </a:rPr>
              <a:t>正方形</a:t>
            </a:r>
            <a:endParaRPr lang="zh-CN" altLang="en-US" sz="2800" b="1" i="1" dirty="0">
              <a:latin typeface="Arial"/>
              <a:ea typeface="Microsoft YaHei"/>
              <a:cs typeface="+mn-ea"/>
              <a:sym typeface="Arial"/>
            </a:endParaRPr>
          </a:p>
        </p:txBody>
      </p:sp>
      <p:sp>
        <p:nvSpPr>
          <p:cNvPr id="6" name="矩形 5"/>
          <p:cNvSpPr/>
          <p:nvPr/>
        </p:nvSpPr>
        <p:spPr>
          <a:xfrm>
            <a:off x="6199094" y="2003612"/>
            <a:ext cx="4464424" cy="264907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b="1" i="1" dirty="0" smtClean="0">
                <a:latin typeface="Arial"/>
                <a:ea typeface="Microsoft YaHei"/>
                <a:cs typeface="+mn-ea"/>
                <a:sym typeface="Arial"/>
              </a:rPr>
              <a:t>长方形</a:t>
            </a:r>
            <a:endParaRPr lang="zh-CN" altLang="en-US" sz="2400" b="1" i="1" dirty="0">
              <a:latin typeface="Arial"/>
              <a:ea typeface="Microsoft YaHei"/>
              <a:cs typeface="+mn-ea"/>
              <a:sym typeface="Arial"/>
            </a:endParaRPr>
          </a:p>
        </p:txBody>
      </p:sp>
      <p:sp>
        <p:nvSpPr>
          <p:cNvPr id="8" name="爆炸形 1 7"/>
          <p:cNvSpPr/>
          <p:nvPr/>
        </p:nvSpPr>
        <p:spPr>
          <a:xfrm>
            <a:off x="4397189" y="2494429"/>
            <a:ext cx="1559858" cy="1667435"/>
          </a:xfrm>
          <a:prstGeom prst="irregularSeal1">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zh-CN" altLang="en-US" sz="2400" b="1" dirty="0" smtClean="0">
                <a:solidFill>
                  <a:srgbClr val="FFFF00"/>
                </a:solidFill>
                <a:latin typeface="Arial"/>
                <a:ea typeface="Microsoft YaHei"/>
                <a:cs typeface="+mn-ea"/>
                <a:sym typeface="Arial"/>
              </a:rPr>
              <a:t>是</a:t>
            </a:r>
            <a:endParaRPr lang="zh-CN" altLang="en-US" sz="2400" b="1" dirty="0">
              <a:solidFill>
                <a:srgbClr val="FFFF00"/>
              </a:solidFill>
              <a:latin typeface="Arial"/>
              <a:ea typeface="Microsoft YaHei"/>
              <a:cs typeface="+mn-ea"/>
              <a:sym typeface="Arial"/>
            </a:endParaRPr>
          </a:p>
        </p:txBody>
      </p:sp>
      <p:sp>
        <p:nvSpPr>
          <p:cNvPr id="7" name="标题 1"/>
          <p:cNvSpPr txBox="1">
            <a:spLocks/>
          </p:cNvSpPr>
          <p:nvPr/>
        </p:nvSpPr>
        <p:spPr>
          <a:xfrm>
            <a:off x="1137925" y="205921"/>
            <a:ext cx="10401280" cy="695186"/>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3200" b="0" dirty="0" smtClean="0">
                <a:latin typeface="Arial"/>
                <a:ea typeface="Microsoft YaHei"/>
                <a:cs typeface="+mn-ea"/>
                <a:sym typeface="Arial"/>
              </a:rPr>
              <a:t>里氏替换原则</a:t>
            </a:r>
            <a:endParaRPr lang="zh-CN" altLang="en-US" sz="3200" b="0" dirty="0">
              <a:latin typeface="Arial"/>
              <a:ea typeface="Microsoft YaHei"/>
              <a:cs typeface="+mn-ea"/>
              <a:sym typeface="Arial"/>
            </a:endParaRPr>
          </a:p>
        </p:txBody>
      </p:sp>
      <p:grpSp>
        <p:nvGrpSpPr>
          <p:cNvPr id="9" name="组合 8">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10" name="椭圆 9">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11" name="椭圆 10">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Tree>
    <p:extLst>
      <p:ext uri="{BB962C8B-B14F-4D97-AF65-F5344CB8AC3E}">
        <p14:creationId xmlns:p14="http://schemas.microsoft.com/office/powerpoint/2010/main" val="1285165360"/>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18309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1804975" y="1709489"/>
            <a:ext cx="7857367" cy="3793146"/>
            <a:chOff x="671512" y="1690902"/>
            <a:chExt cx="7857367" cy="3793146"/>
          </a:xfrm>
        </p:grpSpPr>
        <p:sp>
          <p:nvSpPr>
            <p:cNvPr id="4" name="ïś1ïḑé">
              <a:extLst>
                <a:ext uri="{FF2B5EF4-FFF2-40B4-BE49-F238E27FC236}">
                  <a16:creationId xmlns:a16="http://schemas.microsoft.com/office/drawing/2014/main" id="{776C5820-55CC-4D88-B38B-40453D71445D}"/>
                </a:ext>
              </a:extLst>
            </p:cNvPr>
            <p:cNvSpPr/>
            <p:nvPr/>
          </p:nvSpPr>
          <p:spPr bwMode="auto">
            <a:xfrm>
              <a:off x="2016826" y="2588854"/>
              <a:ext cx="1000812" cy="954468"/>
            </a:xfrm>
            <a:custGeom>
              <a:avLst/>
              <a:gdLst>
                <a:gd name="connsiteX0" fmla="*/ 315778 w 607639"/>
                <a:gd name="connsiteY0" fmla="*/ 173080 h 579502"/>
                <a:gd name="connsiteX1" fmla="*/ 315778 w 607639"/>
                <a:gd name="connsiteY1" fmla="*/ 266058 h 579502"/>
                <a:gd name="connsiteX2" fmla="*/ 303493 w 607639"/>
                <a:gd name="connsiteY2" fmla="*/ 278325 h 579502"/>
                <a:gd name="connsiteX3" fmla="*/ 210375 w 607639"/>
                <a:gd name="connsiteY3" fmla="*/ 278325 h 579502"/>
                <a:gd name="connsiteX4" fmla="*/ 303493 w 607639"/>
                <a:gd name="connsiteY4" fmla="*/ 359925 h 579502"/>
                <a:gd name="connsiteX5" fmla="*/ 397500 w 607639"/>
                <a:gd name="connsiteY5" fmla="*/ 266058 h 579502"/>
                <a:gd name="connsiteX6" fmla="*/ 315778 w 607639"/>
                <a:gd name="connsiteY6" fmla="*/ 173080 h 579502"/>
                <a:gd name="connsiteX7" fmla="*/ 249814 w 607639"/>
                <a:gd name="connsiteY7" fmla="*/ 160816 h 579502"/>
                <a:gd name="connsiteX8" fmla="*/ 198110 w 607639"/>
                <a:gd name="connsiteY8" fmla="*/ 212449 h 579502"/>
                <a:gd name="connsiteX9" fmla="*/ 249814 w 607639"/>
                <a:gd name="connsiteY9" fmla="*/ 212449 h 579502"/>
                <a:gd name="connsiteX10" fmla="*/ 303493 w 607639"/>
                <a:gd name="connsiteY10" fmla="*/ 147835 h 579502"/>
                <a:gd name="connsiteX11" fmla="*/ 421981 w 607639"/>
                <a:gd name="connsiteY11" fmla="*/ 266058 h 579502"/>
                <a:gd name="connsiteX12" fmla="*/ 303493 w 607639"/>
                <a:gd name="connsiteY12" fmla="*/ 384370 h 579502"/>
                <a:gd name="connsiteX13" fmla="*/ 185093 w 607639"/>
                <a:gd name="connsiteY13" fmla="*/ 266058 h 579502"/>
                <a:gd name="connsiteX14" fmla="*/ 197289 w 607639"/>
                <a:gd name="connsiteY14" fmla="*/ 253880 h 579502"/>
                <a:gd name="connsiteX15" fmla="*/ 291297 w 607639"/>
                <a:gd name="connsiteY15" fmla="*/ 253880 h 579502"/>
                <a:gd name="connsiteX16" fmla="*/ 291297 w 607639"/>
                <a:gd name="connsiteY16" fmla="*/ 160013 h 579502"/>
                <a:gd name="connsiteX17" fmla="*/ 303493 w 607639"/>
                <a:gd name="connsiteY17" fmla="*/ 147835 h 579502"/>
                <a:gd name="connsiteX18" fmla="*/ 262095 w 607639"/>
                <a:gd name="connsiteY18" fmla="*/ 135133 h 579502"/>
                <a:gd name="connsiteX19" fmla="*/ 274287 w 607639"/>
                <a:gd name="connsiteY19" fmla="*/ 147397 h 579502"/>
                <a:gd name="connsiteX20" fmla="*/ 274287 w 607639"/>
                <a:gd name="connsiteY20" fmla="*/ 224713 h 579502"/>
                <a:gd name="connsiteX21" fmla="*/ 262095 w 607639"/>
                <a:gd name="connsiteY21" fmla="*/ 236888 h 579502"/>
                <a:gd name="connsiteX22" fmla="*/ 184672 w 607639"/>
                <a:gd name="connsiteY22" fmla="*/ 236888 h 579502"/>
                <a:gd name="connsiteX23" fmla="*/ 172391 w 607639"/>
                <a:gd name="connsiteY23" fmla="*/ 224713 h 579502"/>
                <a:gd name="connsiteX24" fmla="*/ 262095 w 607639"/>
                <a:gd name="connsiteY24" fmla="*/ 135133 h 579502"/>
                <a:gd name="connsiteX25" fmla="*/ 58120 w 607639"/>
                <a:gd name="connsiteY25" fmla="*/ 108514 h 579502"/>
                <a:gd name="connsiteX26" fmla="*/ 58120 w 607639"/>
                <a:gd name="connsiteY26" fmla="*/ 413970 h 579502"/>
                <a:gd name="connsiteX27" fmla="*/ 549430 w 607639"/>
                <a:gd name="connsiteY27" fmla="*/ 413970 h 579502"/>
                <a:gd name="connsiteX28" fmla="*/ 549430 w 607639"/>
                <a:gd name="connsiteY28" fmla="*/ 108514 h 579502"/>
                <a:gd name="connsiteX29" fmla="*/ 27236 w 607639"/>
                <a:gd name="connsiteY29" fmla="*/ 56079 h 579502"/>
                <a:gd name="connsiteX30" fmla="*/ 27236 w 607639"/>
                <a:gd name="connsiteY30" fmla="*/ 81319 h 579502"/>
                <a:gd name="connsiteX31" fmla="*/ 580403 w 607639"/>
                <a:gd name="connsiteY31" fmla="*/ 81319 h 579502"/>
                <a:gd name="connsiteX32" fmla="*/ 580403 w 607639"/>
                <a:gd name="connsiteY32" fmla="*/ 56079 h 579502"/>
                <a:gd name="connsiteX33" fmla="*/ 303775 w 607639"/>
                <a:gd name="connsiteY33" fmla="*/ 0 h 579502"/>
                <a:gd name="connsiteX34" fmla="*/ 317393 w 607639"/>
                <a:gd name="connsiteY34" fmla="*/ 13597 h 579502"/>
                <a:gd name="connsiteX35" fmla="*/ 317393 w 607639"/>
                <a:gd name="connsiteY35" fmla="*/ 28884 h 579502"/>
                <a:gd name="connsiteX36" fmla="*/ 580403 w 607639"/>
                <a:gd name="connsiteY36" fmla="*/ 28884 h 579502"/>
                <a:gd name="connsiteX37" fmla="*/ 607639 w 607639"/>
                <a:gd name="connsiteY37" fmla="*/ 56079 h 579502"/>
                <a:gd name="connsiteX38" fmla="*/ 607639 w 607639"/>
                <a:gd name="connsiteY38" fmla="*/ 81319 h 579502"/>
                <a:gd name="connsiteX39" fmla="*/ 580403 w 607639"/>
                <a:gd name="connsiteY39" fmla="*/ 108514 h 579502"/>
                <a:gd name="connsiteX40" fmla="*/ 576665 w 607639"/>
                <a:gd name="connsiteY40" fmla="*/ 108514 h 579502"/>
                <a:gd name="connsiteX41" fmla="*/ 576665 w 607639"/>
                <a:gd name="connsiteY41" fmla="*/ 413970 h 579502"/>
                <a:gd name="connsiteX42" fmla="*/ 549430 w 607639"/>
                <a:gd name="connsiteY42" fmla="*/ 441165 h 579502"/>
                <a:gd name="connsiteX43" fmla="*/ 317393 w 607639"/>
                <a:gd name="connsiteY43" fmla="*/ 441165 h 579502"/>
                <a:gd name="connsiteX44" fmla="*/ 317393 w 607639"/>
                <a:gd name="connsiteY44" fmla="*/ 481069 h 579502"/>
                <a:gd name="connsiteX45" fmla="*/ 418236 w 607639"/>
                <a:gd name="connsiteY45" fmla="*/ 554923 h 579502"/>
                <a:gd name="connsiteX46" fmla="*/ 421173 w 607639"/>
                <a:gd name="connsiteY46" fmla="*/ 573942 h 579502"/>
                <a:gd name="connsiteX47" fmla="*/ 410225 w 607639"/>
                <a:gd name="connsiteY47" fmla="*/ 579452 h 579502"/>
                <a:gd name="connsiteX48" fmla="*/ 402215 w 607639"/>
                <a:gd name="connsiteY48" fmla="*/ 576874 h 579502"/>
                <a:gd name="connsiteX49" fmla="*/ 317393 w 607639"/>
                <a:gd name="connsiteY49" fmla="*/ 514752 h 579502"/>
                <a:gd name="connsiteX50" fmla="*/ 317393 w 607639"/>
                <a:gd name="connsiteY50" fmla="*/ 565854 h 579502"/>
                <a:gd name="connsiteX51" fmla="*/ 303775 w 607639"/>
                <a:gd name="connsiteY51" fmla="*/ 579452 h 579502"/>
                <a:gd name="connsiteX52" fmla="*/ 290157 w 607639"/>
                <a:gd name="connsiteY52" fmla="*/ 565854 h 579502"/>
                <a:gd name="connsiteX53" fmla="*/ 290157 w 607639"/>
                <a:gd name="connsiteY53" fmla="*/ 514752 h 579502"/>
                <a:gd name="connsiteX54" fmla="*/ 205424 w 607639"/>
                <a:gd name="connsiteY54" fmla="*/ 576874 h 579502"/>
                <a:gd name="connsiteX55" fmla="*/ 186377 w 607639"/>
                <a:gd name="connsiteY55" fmla="*/ 573942 h 579502"/>
                <a:gd name="connsiteX56" fmla="*/ 189314 w 607639"/>
                <a:gd name="connsiteY56" fmla="*/ 554923 h 579502"/>
                <a:gd name="connsiteX57" fmla="*/ 290157 w 607639"/>
                <a:gd name="connsiteY57" fmla="*/ 481069 h 579502"/>
                <a:gd name="connsiteX58" fmla="*/ 290157 w 607639"/>
                <a:gd name="connsiteY58" fmla="*/ 441165 h 579502"/>
                <a:gd name="connsiteX59" fmla="*/ 58120 w 607639"/>
                <a:gd name="connsiteY59" fmla="*/ 441165 h 579502"/>
                <a:gd name="connsiteX60" fmla="*/ 30885 w 607639"/>
                <a:gd name="connsiteY60" fmla="*/ 413970 h 579502"/>
                <a:gd name="connsiteX61" fmla="*/ 30885 w 607639"/>
                <a:gd name="connsiteY61" fmla="*/ 108514 h 579502"/>
                <a:gd name="connsiteX62" fmla="*/ 27236 w 607639"/>
                <a:gd name="connsiteY62" fmla="*/ 108514 h 579502"/>
                <a:gd name="connsiteX63" fmla="*/ 0 w 607639"/>
                <a:gd name="connsiteY63" fmla="*/ 81319 h 579502"/>
                <a:gd name="connsiteX64" fmla="*/ 0 w 607639"/>
                <a:gd name="connsiteY64" fmla="*/ 56079 h 579502"/>
                <a:gd name="connsiteX65" fmla="*/ 27236 w 607639"/>
                <a:gd name="connsiteY65" fmla="*/ 28884 h 579502"/>
                <a:gd name="connsiteX66" fmla="*/ 290157 w 607639"/>
                <a:gd name="connsiteY66" fmla="*/ 28884 h 579502"/>
                <a:gd name="connsiteX67" fmla="*/ 290157 w 607639"/>
                <a:gd name="connsiteY67" fmla="*/ 13597 h 579502"/>
                <a:gd name="connsiteX68" fmla="*/ 303775 w 607639"/>
                <a:gd name="connsiteY68" fmla="*/ 0 h 579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07639" h="579502">
                  <a:moveTo>
                    <a:pt x="315778" y="173080"/>
                  </a:moveTo>
                  <a:lnTo>
                    <a:pt x="315778" y="266058"/>
                  </a:lnTo>
                  <a:cubicBezTo>
                    <a:pt x="315778" y="272814"/>
                    <a:pt x="310258" y="278325"/>
                    <a:pt x="303493" y="278325"/>
                  </a:cubicBezTo>
                  <a:lnTo>
                    <a:pt x="210375" y="278325"/>
                  </a:lnTo>
                  <a:cubicBezTo>
                    <a:pt x="216429" y="324281"/>
                    <a:pt x="255866" y="359925"/>
                    <a:pt x="303493" y="359925"/>
                  </a:cubicBezTo>
                  <a:cubicBezTo>
                    <a:pt x="355303" y="359925"/>
                    <a:pt x="397500" y="317792"/>
                    <a:pt x="397500" y="266058"/>
                  </a:cubicBezTo>
                  <a:cubicBezTo>
                    <a:pt x="397500" y="218502"/>
                    <a:pt x="361802" y="179124"/>
                    <a:pt x="315778" y="173080"/>
                  </a:cubicBezTo>
                  <a:close/>
                  <a:moveTo>
                    <a:pt x="249814" y="160816"/>
                  </a:moveTo>
                  <a:cubicBezTo>
                    <a:pt x="223740" y="165793"/>
                    <a:pt x="203093" y="186410"/>
                    <a:pt x="198110" y="212449"/>
                  </a:cubicBezTo>
                  <a:lnTo>
                    <a:pt x="249814" y="212449"/>
                  </a:lnTo>
                  <a:close/>
                  <a:moveTo>
                    <a:pt x="303493" y="147835"/>
                  </a:moveTo>
                  <a:cubicBezTo>
                    <a:pt x="368835" y="147835"/>
                    <a:pt x="421981" y="200902"/>
                    <a:pt x="421981" y="266058"/>
                  </a:cubicBezTo>
                  <a:cubicBezTo>
                    <a:pt x="421981" y="331303"/>
                    <a:pt x="368835" y="384370"/>
                    <a:pt x="303493" y="384370"/>
                  </a:cubicBezTo>
                  <a:cubicBezTo>
                    <a:pt x="238239" y="384370"/>
                    <a:pt x="185093" y="331303"/>
                    <a:pt x="185093" y="266058"/>
                  </a:cubicBezTo>
                  <a:cubicBezTo>
                    <a:pt x="185093" y="259303"/>
                    <a:pt x="190523" y="253880"/>
                    <a:pt x="197289" y="253880"/>
                  </a:cubicBezTo>
                  <a:lnTo>
                    <a:pt x="291297" y="253880"/>
                  </a:lnTo>
                  <a:lnTo>
                    <a:pt x="291297" y="160013"/>
                  </a:lnTo>
                  <a:cubicBezTo>
                    <a:pt x="291297" y="153257"/>
                    <a:pt x="296727" y="147835"/>
                    <a:pt x="303493" y="147835"/>
                  </a:cubicBezTo>
                  <a:close/>
                  <a:moveTo>
                    <a:pt x="262095" y="135133"/>
                  </a:moveTo>
                  <a:cubicBezTo>
                    <a:pt x="268859" y="135133"/>
                    <a:pt x="274287" y="140643"/>
                    <a:pt x="274287" y="147397"/>
                  </a:cubicBezTo>
                  <a:lnTo>
                    <a:pt x="274287" y="224713"/>
                  </a:lnTo>
                  <a:cubicBezTo>
                    <a:pt x="274287" y="231467"/>
                    <a:pt x="268859" y="236888"/>
                    <a:pt x="262095" y="236888"/>
                  </a:cubicBezTo>
                  <a:lnTo>
                    <a:pt x="184672" y="236888"/>
                  </a:lnTo>
                  <a:cubicBezTo>
                    <a:pt x="177909" y="236888"/>
                    <a:pt x="172391" y="231467"/>
                    <a:pt x="172391" y="224713"/>
                  </a:cubicBezTo>
                  <a:cubicBezTo>
                    <a:pt x="172391" y="175302"/>
                    <a:pt x="212616" y="135133"/>
                    <a:pt x="262095" y="135133"/>
                  </a:cubicBezTo>
                  <a:close/>
                  <a:moveTo>
                    <a:pt x="58120" y="108514"/>
                  </a:moveTo>
                  <a:lnTo>
                    <a:pt x="58120" y="413970"/>
                  </a:lnTo>
                  <a:lnTo>
                    <a:pt x="549430" y="413970"/>
                  </a:lnTo>
                  <a:lnTo>
                    <a:pt x="549430" y="108514"/>
                  </a:lnTo>
                  <a:close/>
                  <a:moveTo>
                    <a:pt x="27236" y="56079"/>
                  </a:moveTo>
                  <a:lnTo>
                    <a:pt x="27236" y="81319"/>
                  </a:lnTo>
                  <a:lnTo>
                    <a:pt x="580403" y="81319"/>
                  </a:lnTo>
                  <a:lnTo>
                    <a:pt x="580403" y="56079"/>
                  </a:lnTo>
                  <a:close/>
                  <a:moveTo>
                    <a:pt x="303775" y="0"/>
                  </a:moveTo>
                  <a:cubicBezTo>
                    <a:pt x="311341" y="0"/>
                    <a:pt x="317393" y="6132"/>
                    <a:pt x="317393" y="13597"/>
                  </a:cubicBezTo>
                  <a:lnTo>
                    <a:pt x="317393" y="28884"/>
                  </a:lnTo>
                  <a:lnTo>
                    <a:pt x="580403" y="28884"/>
                  </a:lnTo>
                  <a:cubicBezTo>
                    <a:pt x="595356" y="28884"/>
                    <a:pt x="607639" y="41148"/>
                    <a:pt x="607639" y="56079"/>
                  </a:cubicBezTo>
                  <a:lnTo>
                    <a:pt x="607639" y="81319"/>
                  </a:lnTo>
                  <a:cubicBezTo>
                    <a:pt x="607639" y="96338"/>
                    <a:pt x="595356" y="108514"/>
                    <a:pt x="580403" y="108514"/>
                  </a:cubicBezTo>
                  <a:lnTo>
                    <a:pt x="576665" y="108514"/>
                  </a:lnTo>
                  <a:lnTo>
                    <a:pt x="576665" y="413970"/>
                  </a:lnTo>
                  <a:cubicBezTo>
                    <a:pt x="576665" y="428990"/>
                    <a:pt x="564472" y="441165"/>
                    <a:pt x="549430" y="441165"/>
                  </a:cubicBezTo>
                  <a:lnTo>
                    <a:pt x="317393" y="441165"/>
                  </a:lnTo>
                  <a:lnTo>
                    <a:pt x="317393" y="481069"/>
                  </a:lnTo>
                  <a:lnTo>
                    <a:pt x="418236" y="554923"/>
                  </a:lnTo>
                  <a:cubicBezTo>
                    <a:pt x="424377" y="559366"/>
                    <a:pt x="425623" y="567898"/>
                    <a:pt x="421173" y="573942"/>
                  </a:cubicBezTo>
                  <a:cubicBezTo>
                    <a:pt x="418503" y="577585"/>
                    <a:pt x="414409" y="579452"/>
                    <a:pt x="410225" y="579452"/>
                  </a:cubicBezTo>
                  <a:cubicBezTo>
                    <a:pt x="407466" y="579452"/>
                    <a:pt x="404618" y="578652"/>
                    <a:pt x="402215" y="576874"/>
                  </a:cubicBezTo>
                  <a:lnTo>
                    <a:pt x="317393" y="514752"/>
                  </a:lnTo>
                  <a:lnTo>
                    <a:pt x="317393" y="565854"/>
                  </a:lnTo>
                  <a:cubicBezTo>
                    <a:pt x="317393" y="573408"/>
                    <a:pt x="311341" y="579452"/>
                    <a:pt x="303775" y="579452"/>
                  </a:cubicBezTo>
                  <a:cubicBezTo>
                    <a:pt x="296299" y="579452"/>
                    <a:pt x="290157" y="573408"/>
                    <a:pt x="290157" y="565854"/>
                  </a:cubicBezTo>
                  <a:lnTo>
                    <a:pt x="290157" y="514752"/>
                  </a:lnTo>
                  <a:lnTo>
                    <a:pt x="205424" y="576874"/>
                  </a:lnTo>
                  <a:cubicBezTo>
                    <a:pt x="199372" y="581318"/>
                    <a:pt x="190827" y="579985"/>
                    <a:pt x="186377" y="573942"/>
                  </a:cubicBezTo>
                  <a:cubicBezTo>
                    <a:pt x="181927" y="567898"/>
                    <a:pt x="183262" y="559366"/>
                    <a:pt x="189314" y="554923"/>
                  </a:cubicBezTo>
                  <a:lnTo>
                    <a:pt x="290157" y="481069"/>
                  </a:lnTo>
                  <a:lnTo>
                    <a:pt x="290157" y="441165"/>
                  </a:lnTo>
                  <a:lnTo>
                    <a:pt x="58120" y="441165"/>
                  </a:lnTo>
                  <a:cubicBezTo>
                    <a:pt x="43167" y="441165"/>
                    <a:pt x="30885" y="428990"/>
                    <a:pt x="30885" y="413970"/>
                  </a:cubicBezTo>
                  <a:lnTo>
                    <a:pt x="30885" y="108514"/>
                  </a:lnTo>
                  <a:lnTo>
                    <a:pt x="27236" y="108514"/>
                  </a:lnTo>
                  <a:cubicBezTo>
                    <a:pt x="12194" y="108514"/>
                    <a:pt x="0" y="96338"/>
                    <a:pt x="0" y="81319"/>
                  </a:cubicBezTo>
                  <a:lnTo>
                    <a:pt x="0" y="56079"/>
                  </a:lnTo>
                  <a:cubicBezTo>
                    <a:pt x="0" y="41148"/>
                    <a:pt x="12194" y="28884"/>
                    <a:pt x="27236" y="28884"/>
                  </a:cubicBezTo>
                  <a:lnTo>
                    <a:pt x="290157" y="28884"/>
                  </a:lnTo>
                  <a:lnTo>
                    <a:pt x="290157" y="13597"/>
                  </a:lnTo>
                  <a:cubicBezTo>
                    <a:pt x="290157" y="6132"/>
                    <a:pt x="296299" y="0"/>
                    <a:pt x="303775" y="0"/>
                  </a:cubicBezTo>
                  <a:close/>
                </a:path>
              </a:pathLst>
            </a:custGeom>
            <a:solidFill>
              <a:schemeClr val="tx1">
                <a:lumMod val="50000"/>
                <a:lumOff val="50000"/>
              </a:schemeClr>
            </a:solidFill>
            <a:ln>
              <a:noFill/>
            </a:ln>
          </p:spPr>
          <p:txBody>
            <a:bodyPr/>
            <a:lstStyle/>
            <a:p>
              <a:endParaRPr lang="zh-CN" altLang="en-US">
                <a:latin typeface="Arial"/>
                <a:ea typeface="Microsoft YaHei"/>
                <a:cs typeface="+mn-ea"/>
                <a:sym typeface="Arial"/>
              </a:endParaRPr>
            </a:p>
          </p:txBody>
        </p:sp>
        <p:sp>
          <p:nvSpPr>
            <p:cNvPr id="25" name="iṡ1ïdê">
              <a:extLst>
                <a:ext uri="{FF2B5EF4-FFF2-40B4-BE49-F238E27FC236}">
                  <a16:creationId xmlns:a16="http://schemas.microsoft.com/office/drawing/2014/main" id="{9B357E9C-15C5-4726-AED6-E9B5DF26B671}"/>
                </a:ext>
              </a:extLst>
            </p:cNvPr>
            <p:cNvSpPr txBox="1"/>
            <p:nvPr/>
          </p:nvSpPr>
          <p:spPr bwMode="auto">
            <a:xfrm>
              <a:off x="671512" y="3664285"/>
              <a:ext cx="3691440" cy="58477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0000" rIns="90000">
              <a:sp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lvl="0" algn="ctr" defTabSz="914400">
                <a:defRPr/>
              </a:pPr>
              <a:r>
                <a:rPr lang="zh-CN" altLang="en-US" sz="3200" dirty="0">
                  <a:solidFill>
                    <a:schemeClr val="accent1">
                      <a:lumMod val="50000"/>
                    </a:schemeClr>
                  </a:solidFill>
                  <a:latin typeface="Arial"/>
                  <a:ea typeface="Microsoft YaHei"/>
                  <a:cs typeface="+mn-ea"/>
                  <a:sym typeface="Arial"/>
                </a:rPr>
                <a:t>如何</a:t>
              </a:r>
              <a:r>
                <a:rPr lang="zh-CN" altLang="en-US" sz="3200" dirty="0" smtClean="0">
                  <a:solidFill>
                    <a:schemeClr val="accent1">
                      <a:lumMod val="50000"/>
                    </a:schemeClr>
                  </a:solidFill>
                  <a:latin typeface="Arial"/>
                  <a:ea typeface="Microsoft YaHei"/>
                  <a:cs typeface="+mn-ea"/>
                  <a:sym typeface="Arial"/>
                </a:rPr>
                <a:t>实现？</a:t>
              </a:r>
              <a:endParaRPr lang="zh-CN" altLang="en-US" sz="3200" dirty="0">
                <a:solidFill>
                  <a:schemeClr val="accent1">
                    <a:lumMod val="50000"/>
                  </a:schemeClr>
                </a:solidFill>
                <a:latin typeface="Arial"/>
                <a:ea typeface="Microsoft YaHei"/>
                <a:cs typeface="+mn-ea"/>
                <a:sym typeface="Arial"/>
              </a:endParaRPr>
            </a:p>
          </p:txBody>
        </p:sp>
        <p:cxnSp>
          <p:nvCxnSpPr>
            <p:cNvPr id="6" name="肘形连接符 5">
              <a:extLst>
                <a:ext uri="{FF2B5EF4-FFF2-40B4-BE49-F238E27FC236}">
                  <a16:creationId xmlns:a16="http://schemas.microsoft.com/office/drawing/2014/main" id="{DDEC0B0F-4560-4328-9814-495A75C2B6A9}"/>
                </a:ext>
              </a:extLst>
            </p:cNvPr>
            <p:cNvCxnSpPr>
              <a:cxnSpLocks/>
              <a:stCxn id="23" idx="1"/>
            </p:cNvCxnSpPr>
            <p:nvPr/>
          </p:nvCxnSpPr>
          <p:spPr>
            <a:xfrm rot="10800000" flipV="1">
              <a:off x="3719769" y="1980343"/>
              <a:ext cx="2805486" cy="1593062"/>
            </a:xfrm>
            <a:prstGeom prst="bentConnector3">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7" name="肘形连接符 6">
              <a:extLst>
                <a:ext uri="{FF2B5EF4-FFF2-40B4-BE49-F238E27FC236}">
                  <a16:creationId xmlns:a16="http://schemas.microsoft.com/office/drawing/2014/main" id="{45CE9FAB-E2C4-48EA-9C94-12ABA89198AD}"/>
                </a:ext>
              </a:extLst>
            </p:cNvPr>
            <p:cNvCxnSpPr>
              <a:cxnSpLocks/>
              <a:stCxn id="20" idx="1"/>
            </p:cNvCxnSpPr>
            <p:nvPr/>
          </p:nvCxnSpPr>
          <p:spPr>
            <a:xfrm rot="10800000">
              <a:off x="3719767" y="3573419"/>
              <a:ext cx="2851355" cy="2382"/>
            </a:xfrm>
            <a:prstGeom prst="bentConnector3">
              <a:avLst>
                <a:gd name="adj1" fmla="val 50000"/>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8" name="肘形连接符 7">
              <a:extLst>
                <a:ext uri="{FF2B5EF4-FFF2-40B4-BE49-F238E27FC236}">
                  <a16:creationId xmlns:a16="http://schemas.microsoft.com/office/drawing/2014/main" id="{5F9AE78A-44D7-43FA-B88A-4C30B060D322}"/>
                </a:ext>
              </a:extLst>
            </p:cNvPr>
            <p:cNvCxnSpPr>
              <a:cxnSpLocks/>
              <a:stCxn id="17" idx="1"/>
            </p:cNvCxnSpPr>
            <p:nvPr/>
          </p:nvCxnSpPr>
          <p:spPr>
            <a:xfrm rot="10800000">
              <a:off x="3719755" y="3573421"/>
              <a:ext cx="2782627" cy="1621186"/>
            </a:xfrm>
            <a:prstGeom prst="bentConnector3">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nvGrpSpPr>
            <p:cNvPr id="9" name="iṣlïḋé">
              <a:extLst>
                <a:ext uri="{FF2B5EF4-FFF2-40B4-BE49-F238E27FC236}">
                  <a16:creationId xmlns:a16="http://schemas.microsoft.com/office/drawing/2014/main" id="{CFB23F9B-5041-41C5-8FA2-B43E13448B1F}"/>
                </a:ext>
              </a:extLst>
            </p:cNvPr>
            <p:cNvGrpSpPr/>
            <p:nvPr/>
          </p:nvGrpSpPr>
          <p:grpSpPr>
            <a:xfrm>
              <a:off x="6502381" y="1690902"/>
              <a:ext cx="2026498" cy="3793146"/>
              <a:chOff x="6979708" y="1690902"/>
              <a:chExt cx="2026498" cy="3793146"/>
            </a:xfrm>
          </p:grpSpPr>
          <p:sp>
            <p:nvSpPr>
              <p:cNvPr id="23" name="íŝļiḍé">
                <a:extLst>
                  <a:ext uri="{FF2B5EF4-FFF2-40B4-BE49-F238E27FC236}">
                    <a16:creationId xmlns:a16="http://schemas.microsoft.com/office/drawing/2014/main" id="{5F280EAB-DF57-49D4-B80F-517FC0ED81AB}"/>
                  </a:ext>
                </a:extLst>
              </p:cNvPr>
              <p:cNvSpPr/>
              <p:nvPr/>
            </p:nvSpPr>
            <p:spPr bwMode="auto">
              <a:xfrm>
                <a:off x="7002582" y="1690902"/>
                <a:ext cx="1980746" cy="578882"/>
              </a:xfrm>
              <a:prstGeom prst="roundRect">
                <a:avLst/>
              </a:prstGeom>
              <a:solidFill>
                <a:schemeClr val="accent1"/>
              </a:solidFill>
              <a:ln w="38100">
                <a:noFill/>
              </a:ln>
              <a:extLst/>
            </p:spPr>
            <p:style>
              <a:lnRef idx="2">
                <a:schemeClr val="dk1"/>
              </a:lnRef>
              <a:fillRef idx="1">
                <a:schemeClr val="lt1"/>
              </a:fillRef>
              <a:effectRef idx="0">
                <a:schemeClr val="dk1"/>
              </a:effectRef>
              <a:fontRef idx="minor">
                <a:schemeClr val="dk1"/>
              </a:fontRef>
            </p:style>
            <p:txBody>
              <a:bodyPr wrap="none" rtlCol="0" anchor="ctr">
                <a:spAutoFit/>
              </a:bodyPr>
              <a:lstStyle/>
              <a:p>
                <a:pPr algn="ctr"/>
                <a:r>
                  <a:rPr lang="zh-CN" altLang="en-US" sz="2800" b="1" dirty="0" smtClean="0">
                    <a:solidFill>
                      <a:schemeClr val="bg1"/>
                    </a:solidFill>
                    <a:latin typeface="Arial"/>
                    <a:ea typeface="Microsoft YaHei"/>
                    <a:cs typeface="+mn-ea"/>
                    <a:sym typeface="Arial"/>
                  </a:rPr>
                  <a:t>接口单一   </a:t>
                </a:r>
                <a:endParaRPr lang="zh-CN" altLang="en-US" sz="2800" b="1" dirty="0">
                  <a:solidFill>
                    <a:schemeClr val="bg1"/>
                  </a:solidFill>
                  <a:latin typeface="Arial"/>
                  <a:ea typeface="Microsoft YaHei"/>
                  <a:cs typeface="+mn-ea"/>
                  <a:sym typeface="Arial"/>
                </a:endParaRPr>
              </a:p>
            </p:txBody>
          </p:sp>
          <p:sp>
            <p:nvSpPr>
              <p:cNvPr id="20" name="ís1ïḑé">
                <a:extLst>
                  <a:ext uri="{FF2B5EF4-FFF2-40B4-BE49-F238E27FC236}">
                    <a16:creationId xmlns:a16="http://schemas.microsoft.com/office/drawing/2014/main" id="{D36FD721-CC64-4EB4-920D-768643ECE567}"/>
                  </a:ext>
                </a:extLst>
              </p:cNvPr>
              <p:cNvSpPr/>
              <p:nvPr/>
            </p:nvSpPr>
            <p:spPr bwMode="auto">
              <a:xfrm>
                <a:off x="7048448" y="3286360"/>
                <a:ext cx="1889021" cy="578882"/>
              </a:xfrm>
              <a:prstGeom prst="roundRect">
                <a:avLst/>
              </a:prstGeom>
              <a:solidFill>
                <a:schemeClr val="accent2"/>
              </a:solidFill>
              <a:ln w="38100">
                <a:noFill/>
              </a:ln>
              <a:extLst/>
            </p:spPr>
            <p:style>
              <a:lnRef idx="2">
                <a:schemeClr val="dk1"/>
              </a:lnRef>
              <a:fillRef idx="1">
                <a:schemeClr val="lt1"/>
              </a:fillRef>
              <a:effectRef idx="0">
                <a:schemeClr val="dk1"/>
              </a:effectRef>
              <a:fontRef idx="minor">
                <a:schemeClr val="dk1"/>
              </a:fontRef>
            </p:style>
            <p:txBody>
              <a:bodyPr wrap="none" rtlCol="0" anchor="ctr">
                <a:spAutoFit/>
              </a:bodyPr>
              <a:lstStyle/>
              <a:p>
                <a:pPr algn="ctr"/>
                <a:r>
                  <a:rPr lang="zh-CN" altLang="en-US" sz="2800" b="1" dirty="0" smtClean="0">
                    <a:solidFill>
                      <a:schemeClr val="bg1"/>
                    </a:solidFill>
                    <a:latin typeface="Arial"/>
                    <a:ea typeface="Microsoft YaHei"/>
                    <a:cs typeface="+mn-ea"/>
                    <a:sym typeface="Arial"/>
                  </a:rPr>
                  <a:t>接口细化  </a:t>
                </a:r>
                <a:endParaRPr lang="zh-CN" altLang="en-US" sz="2800" b="1" dirty="0">
                  <a:solidFill>
                    <a:schemeClr val="bg1"/>
                  </a:solidFill>
                  <a:latin typeface="Arial"/>
                  <a:ea typeface="Microsoft YaHei"/>
                  <a:cs typeface="+mn-ea"/>
                  <a:sym typeface="Arial"/>
                </a:endParaRPr>
              </a:p>
            </p:txBody>
          </p:sp>
          <p:sp>
            <p:nvSpPr>
              <p:cNvPr id="17" name="ï$ḻíḑe">
                <a:extLst>
                  <a:ext uri="{FF2B5EF4-FFF2-40B4-BE49-F238E27FC236}">
                    <a16:creationId xmlns:a16="http://schemas.microsoft.com/office/drawing/2014/main" id="{8330971E-8E88-48FA-A43D-E1E42F34C84E}"/>
                  </a:ext>
                </a:extLst>
              </p:cNvPr>
              <p:cNvSpPr/>
              <p:nvPr/>
            </p:nvSpPr>
            <p:spPr bwMode="auto">
              <a:xfrm>
                <a:off x="6979708" y="4905166"/>
                <a:ext cx="2026498" cy="578882"/>
              </a:xfrm>
              <a:prstGeom prst="roundRect">
                <a:avLst/>
              </a:prstGeom>
              <a:solidFill>
                <a:schemeClr val="accent3"/>
              </a:solidFill>
              <a:ln w="38100">
                <a:noFill/>
              </a:ln>
              <a:extLst/>
            </p:spPr>
            <p:style>
              <a:lnRef idx="2">
                <a:schemeClr val="dk1"/>
              </a:lnRef>
              <a:fillRef idx="1">
                <a:schemeClr val="lt1"/>
              </a:fillRef>
              <a:effectRef idx="0">
                <a:schemeClr val="dk1"/>
              </a:effectRef>
              <a:fontRef idx="minor">
                <a:schemeClr val="dk1"/>
              </a:fontRef>
            </p:style>
            <p:txBody>
              <a:bodyPr wrap="none" rtlCol="0" anchor="ctr">
                <a:spAutoFit/>
              </a:bodyPr>
              <a:lstStyle/>
              <a:p>
                <a:pPr algn="ctr"/>
                <a:r>
                  <a:rPr lang="zh-CN" altLang="en-US" sz="2800" b="1" dirty="0" smtClean="0">
                    <a:solidFill>
                      <a:schemeClr val="bg1"/>
                    </a:solidFill>
                    <a:latin typeface="Arial"/>
                    <a:ea typeface="Microsoft YaHei"/>
                    <a:cs typeface="+mn-ea"/>
                    <a:sym typeface="Arial"/>
                  </a:rPr>
                  <a:t>接口方法少</a:t>
                </a:r>
                <a:endParaRPr lang="zh-CN" altLang="en-US" sz="2800" b="1" dirty="0">
                  <a:solidFill>
                    <a:schemeClr val="bg1"/>
                  </a:solidFill>
                  <a:latin typeface="Arial"/>
                  <a:ea typeface="Microsoft YaHei"/>
                  <a:cs typeface="+mn-ea"/>
                  <a:sym typeface="Arial"/>
                </a:endParaRPr>
              </a:p>
            </p:txBody>
          </p:sp>
        </p:grpSp>
      </p:grpSp>
      <p:sp>
        <p:nvSpPr>
          <p:cNvPr id="14" name="标题 1"/>
          <p:cNvSpPr>
            <a:spLocks noGrp="1"/>
          </p:cNvSpPr>
          <p:nvPr>
            <p:ph type="title"/>
          </p:nvPr>
        </p:nvSpPr>
        <p:spPr>
          <a:xfrm>
            <a:off x="1137925" y="205921"/>
            <a:ext cx="10401280" cy="695186"/>
          </a:xfrm>
        </p:spPr>
        <p:txBody>
          <a:bodyPr/>
          <a:lstStyle/>
          <a:p>
            <a:r>
              <a:rPr lang="zh-CN" altLang="en-US" sz="3200" b="0" dirty="0" smtClean="0">
                <a:latin typeface="Arial"/>
                <a:ea typeface="Microsoft YaHei"/>
                <a:cs typeface="+mn-ea"/>
                <a:sym typeface="Arial"/>
              </a:rPr>
              <a:t>接口隔离原则</a:t>
            </a:r>
            <a:endParaRPr lang="zh-CN" altLang="en-US" sz="3200" b="0" dirty="0">
              <a:latin typeface="Arial"/>
              <a:ea typeface="Microsoft YaHei"/>
              <a:cs typeface="+mn-ea"/>
              <a:sym typeface="Arial"/>
            </a:endParaRPr>
          </a:p>
        </p:txBody>
      </p:sp>
      <p:grpSp>
        <p:nvGrpSpPr>
          <p:cNvPr id="15" name="组合 14">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16" name="椭圆 15">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18" name="椭圆 17">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Tree>
    <p:extLst>
      <p:ext uri="{BB962C8B-B14F-4D97-AF65-F5344CB8AC3E}">
        <p14:creationId xmlns:p14="http://schemas.microsoft.com/office/powerpoint/2010/main" val="2358548725"/>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descr="D:\我的文档\11053419\Desktop\timg.gi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95361" y="1557190"/>
            <a:ext cx="3897890" cy="2732421"/>
          </a:xfrm>
          <a:prstGeom prst="rect">
            <a:avLst/>
          </a:prstGeom>
          <a:noFill/>
          <a:extLst>
            <a:ext uri="{909E8E84-426E-40DD-AFC4-6F175D3DCCD1}">
              <a14:hiddenFill xmlns:a14="http://schemas.microsoft.com/office/drawing/2010/main">
                <a:solidFill>
                  <a:srgbClr val="FFFFFF"/>
                </a:solidFill>
              </a14:hiddenFill>
            </a:ext>
          </a:extLst>
        </p:spPr>
      </p:pic>
      <p:pic>
        <p:nvPicPr>
          <p:cNvPr id="10243" name="Picture 3" descr="D:\我的文档\11053419\Desktop\timg (6).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96000" y="1540220"/>
            <a:ext cx="4785053" cy="276635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1900480" y="4988859"/>
            <a:ext cx="3088380" cy="1384995"/>
          </a:xfrm>
          <a:prstGeom prst="rect">
            <a:avLst/>
          </a:prstGeom>
          <a:noFill/>
        </p:spPr>
        <p:txBody>
          <a:bodyPr wrap="square" rtlCol="0">
            <a:spAutoFit/>
          </a:bodyPr>
          <a:lstStyle/>
          <a:p>
            <a:pPr marL="457200" indent="-457200">
              <a:buFont typeface="Wingdings" panose="05000000000000000000" pitchFamily="2" charset="2"/>
              <a:buChar char="ü"/>
            </a:pPr>
            <a:r>
              <a:rPr lang="zh-CN" altLang="en-US" sz="2800" b="1" dirty="0" smtClean="0">
                <a:solidFill>
                  <a:schemeClr val="accent1"/>
                </a:solidFill>
                <a:latin typeface="Arial"/>
                <a:ea typeface="Microsoft YaHei"/>
                <a:cs typeface="+mn-ea"/>
                <a:sym typeface="Arial"/>
              </a:rPr>
              <a:t>司机会开车</a:t>
            </a:r>
            <a:endParaRPr lang="en-US" altLang="zh-CN" sz="2800" b="1" dirty="0" smtClean="0">
              <a:solidFill>
                <a:schemeClr val="accent1"/>
              </a:solidFill>
              <a:latin typeface="Arial"/>
              <a:ea typeface="Microsoft YaHei"/>
              <a:cs typeface="+mn-ea"/>
              <a:sym typeface="Arial"/>
            </a:endParaRPr>
          </a:p>
          <a:p>
            <a:pPr marL="457200" indent="-457200">
              <a:buFont typeface="Wingdings" panose="05000000000000000000" pitchFamily="2" charset="2"/>
              <a:buChar char="ü"/>
            </a:pPr>
            <a:r>
              <a:rPr lang="zh-CN" altLang="en-US" sz="2800" b="1" dirty="0" smtClean="0">
                <a:solidFill>
                  <a:schemeClr val="accent1"/>
                </a:solidFill>
                <a:latin typeface="Arial"/>
                <a:ea typeface="Microsoft YaHei"/>
                <a:cs typeface="+mn-ea"/>
                <a:sym typeface="Arial"/>
              </a:rPr>
              <a:t>会开奥迪车</a:t>
            </a:r>
            <a:endParaRPr lang="en-US" altLang="zh-CN" sz="2800" b="1" dirty="0" smtClean="0">
              <a:solidFill>
                <a:schemeClr val="accent1"/>
              </a:solidFill>
              <a:latin typeface="Arial"/>
              <a:ea typeface="Microsoft YaHei"/>
              <a:cs typeface="+mn-ea"/>
              <a:sym typeface="Arial"/>
            </a:endParaRPr>
          </a:p>
          <a:p>
            <a:pPr marL="457200" indent="-457200">
              <a:buFont typeface="Wingdings" panose="05000000000000000000" pitchFamily="2" charset="2"/>
              <a:buChar char="ü"/>
            </a:pPr>
            <a:r>
              <a:rPr lang="zh-CN" altLang="en-US" sz="2800" b="1" dirty="0" smtClean="0">
                <a:solidFill>
                  <a:schemeClr val="accent1"/>
                </a:solidFill>
                <a:latin typeface="Arial"/>
                <a:ea typeface="Microsoft YaHei"/>
                <a:cs typeface="+mn-ea"/>
                <a:sym typeface="Arial"/>
              </a:rPr>
              <a:t>会开别克车</a:t>
            </a:r>
            <a:endParaRPr lang="zh-CN" altLang="en-US" sz="2800" b="1" dirty="0">
              <a:solidFill>
                <a:schemeClr val="accent1"/>
              </a:solidFill>
              <a:latin typeface="Arial"/>
              <a:ea typeface="Microsoft YaHei"/>
              <a:cs typeface="+mn-ea"/>
              <a:sym typeface="Arial"/>
            </a:endParaRPr>
          </a:p>
        </p:txBody>
      </p:sp>
      <p:sp>
        <p:nvSpPr>
          <p:cNvPr id="6" name="矩形 5"/>
          <p:cNvSpPr/>
          <p:nvPr/>
        </p:nvSpPr>
        <p:spPr>
          <a:xfrm>
            <a:off x="5864634" y="5219691"/>
            <a:ext cx="1576072" cy="923330"/>
          </a:xfrm>
          <a:prstGeom prst="rect">
            <a:avLst/>
          </a:prstGeom>
          <a:noFill/>
        </p:spPr>
        <p:txBody>
          <a:bodyPr wrap="none" lIns="91440" tIns="45720" rIns="91440" bIns="45720">
            <a:spAutoFit/>
          </a:bodyPr>
          <a:lstStyle/>
          <a:p>
            <a:pPr algn="ctr"/>
            <a:r>
              <a:rPr lang="zh-CN" altLang="en-US" sz="5400" b="1" cap="none" spc="0" dirty="0" smtClean="0">
                <a:ln w="900" cmpd="sng">
                  <a:solidFill>
                    <a:schemeClr val="accent1">
                      <a:satMod val="190000"/>
                      <a:alpha val="55000"/>
                    </a:schemeClr>
                  </a:solidFill>
                  <a:prstDash val="solid"/>
                </a:ln>
                <a:solidFill>
                  <a:schemeClr val="accent1">
                    <a:satMod val="200000"/>
                    <a:tint val="3000"/>
                  </a:schemeClr>
                </a:solidFill>
                <a:effectLst>
                  <a:innerShdw blurRad="101600" dist="76200" dir="5400000">
                    <a:schemeClr val="accent1">
                      <a:satMod val="190000"/>
                      <a:tint val="100000"/>
                      <a:alpha val="74000"/>
                    </a:schemeClr>
                  </a:innerShdw>
                </a:effectLst>
                <a:latin typeface="Arial"/>
                <a:ea typeface="Microsoft YaHei"/>
                <a:cs typeface="+mn-ea"/>
                <a:sym typeface="Arial"/>
              </a:rPr>
              <a:t>司机</a:t>
            </a:r>
            <a:endParaRPr lang="zh-CN" altLang="en-US" sz="5400" b="1" cap="none" spc="0" dirty="0">
              <a:ln w="900" cmpd="sng">
                <a:solidFill>
                  <a:schemeClr val="accent1">
                    <a:satMod val="190000"/>
                    <a:alpha val="55000"/>
                  </a:schemeClr>
                </a:solidFill>
                <a:prstDash val="solid"/>
              </a:ln>
              <a:solidFill>
                <a:schemeClr val="accent1">
                  <a:satMod val="200000"/>
                  <a:tint val="3000"/>
                </a:schemeClr>
              </a:solidFill>
              <a:effectLst>
                <a:innerShdw blurRad="101600" dist="76200" dir="5400000">
                  <a:schemeClr val="accent1">
                    <a:satMod val="190000"/>
                    <a:tint val="100000"/>
                    <a:alpha val="74000"/>
                  </a:schemeClr>
                </a:innerShdw>
              </a:effectLst>
              <a:latin typeface="Arial"/>
              <a:ea typeface="Microsoft YaHei"/>
              <a:cs typeface="+mn-ea"/>
              <a:sym typeface="Arial"/>
            </a:endParaRPr>
          </a:p>
        </p:txBody>
      </p:sp>
      <p:sp>
        <p:nvSpPr>
          <p:cNvPr id="7" name="矩形 6"/>
          <p:cNvSpPr/>
          <p:nvPr/>
        </p:nvSpPr>
        <p:spPr>
          <a:xfrm>
            <a:off x="9232734" y="5219691"/>
            <a:ext cx="880369" cy="923330"/>
          </a:xfrm>
          <a:prstGeom prst="rect">
            <a:avLst/>
          </a:prstGeom>
          <a:noFill/>
        </p:spPr>
        <p:txBody>
          <a:bodyPr wrap="none" lIns="91440" tIns="45720" rIns="91440" bIns="45720">
            <a:spAutoFit/>
          </a:bodyPr>
          <a:lstStyle/>
          <a:p>
            <a:pPr algn="ctr"/>
            <a:r>
              <a:rPr lang="zh-CN" altLang="en-US" sz="5400" b="1" cap="none" spc="0" dirty="0" smtClean="0">
                <a:ln w="900" cmpd="sng">
                  <a:solidFill>
                    <a:schemeClr val="accent1">
                      <a:satMod val="190000"/>
                      <a:alpha val="55000"/>
                    </a:schemeClr>
                  </a:solidFill>
                  <a:prstDash val="solid"/>
                </a:ln>
                <a:solidFill>
                  <a:schemeClr val="accent1">
                    <a:satMod val="200000"/>
                    <a:tint val="3000"/>
                  </a:schemeClr>
                </a:solidFill>
                <a:effectLst>
                  <a:innerShdw blurRad="101600" dist="76200" dir="5400000">
                    <a:schemeClr val="accent1">
                      <a:satMod val="190000"/>
                      <a:tint val="100000"/>
                      <a:alpha val="74000"/>
                    </a:schemeClr>
                  </a:innerShdw>
                </a:effectLst>
                <a:latin typeface="Arial"/>
                <a:ea typeface="Microsoft YaHei"/>
                <a:cs typeface="+mn-ea"/>
                <a:sym typeface="Arial"/>
              </a:rPr>
              <a:t>车</a:t>
            </a:r>
            <a:endParaRPr lang="zh-CN" altLang="en-US" sz="5400" b="1" cap="none" spc="0" dirty="0">
              <a:ln w="900" cmpd="sng">
                <a:solidFill>
                  <a:schemeClr val="accent1">
                    <a:satMod val="190000"/>
                    <a:alpha val="55000"/>
                  </a:schemeClr>
                </a:solidFill>
                <a:prstDash val="solid"/>
              </a:ln>
              <a:solidFill>
                <a:schemeClr val="accent1">
                  <a:satMod val="200000"/>
                  <a:tint val="3000"/>
                </a:schemeClr>
              </a:solidFill>
              <a:effectLst>
                <a:innerShdw blurRad="101600" dist="76200" dir="5400000">
                  <a:schemeClr val="accent1">
                    <a:satMod val="190000"/>
                    <a:tint val="100000"/>
                    <a:alpha val="74000"/>
                  </a:schemeClr>
                </a:innerShdw>
              </a:effectLst>
              <a:latin typeface="Arial"/>
              <a:ea typeface="Microsoft YaHei"/>
              <a:cs typeface="+mn-ea"/>
              <a:sym typeface="Arial"/>
            </a:endParaRPr>
          </a:p>
        </p:txBody>
      </p:sp>
      <p:cxnSp>
        <p:nvCxnSpPr>
          <p:cNvPr id="9" name="直接箭头连接符 8"/>
          <p:cNvCxnSpPr/>
          <p:nvPr/>
        </p:nvCxnSpPr>
        <p:spPr>
          <a:xfrm>
            <a:off x="7664824" y="5681356"/>
            <a:ext cx="1465729" cy="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sp>
        <p:nvSpPr>
          <p:cNvPr id="10" name="标题 1"/>
          <p:cNvSpPr txBox="1">
            <a:spLocks/>
          </p:cNvSpPr>
          <p:nvPr/>
        </p:nvSpPr>
        <p:spPr>
          <a:xfrm>
            <a:off x="1137925" y="205921"/>
            <a:ext cx="10401280" cy="695186"/>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3200" b="0" dirty="0" smtClean="0">
                <a:latin typeface="Arial"/>
                <a:ea typeface="Microsoft YaHei"/>
                <a:cs typeface="+mn-ea"/>
                <a:sym typeface="Arial"/>
              </a:rPr>
              <a:t>依赖倒置原则</a:t>
            </a:r>
            <a:endParaRPr lang="zh-CN" altLang="en-US" sz="3200" b="0" dirty="0">
              <a:latin typeface="Arial"/>
              <a:ea typeface="Microsoft YaHei"/>
              <a:cs typeface="+mn-ea"/>
              <a:sym typeface="Arial"/>
            </a:endParaRPr>
          </a:p>
        </p:txBody>
      </p:sp>
      <p:grpSp>
        <p:nvGrpSpPr>
          <p:cNvPr id="11" name="组合 10">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12" name="椭圆 11">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13" name="椭圆 12">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Tree>
    <p:extLst>
      <p:ext uri="{BB962C8B-B14F-4D97-AF65-F5344CB8AC3E}">
        <p14:creationId xmlns:p14="http://schemas.microsoft.com/office/powerpoint/2010/main" val="313013652"/>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2809"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404468" y="805714"/>
            <a:ext cx="10756372" cy="4851201"/>
            <a:chOff x="686965" y="1277799"/>
            <a:chExt cx="10756372" cy="4851201"/>
          </a:xfrm>
        </p:grpSpPr>
        <p:sp>
          <p:nvSpPr>
            <p:cNvPr id="4" name="ïşlïḑè"/>
            <p:cNvSpPr/>
            <p:nvPr/>
          </p:nvSpPr>
          <p:spPr bwMode="auto">
            <a:xfrm>
              <a:off x="1701800" y="269353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a:ea typeface="Microsoft YaHei"/>
                <a:cs typeface="+mn-ea"/>
                <a:sym typeface="Arial"/>
              </a:endParaRPr>
            </a:p>
          </p:txBody>
        </p:sp>
        <p:sp>
          <p:nvSpPr>
            <p:cNvPr id="5" name="ïṧ1íḑè"/>
            <p:cNvSpPr/>
            <p:nvPr/>
          </p:nvSpPr>
          <p:spPr bwMode="auto">
            <a:xfrm>
              <a:off x="1701800" y="269353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a:ea typeface="Microsoft YaHei"/>
                <a:cs typeface="+mn-ea"/>
                <a:sym typeface="Arial"/>
              </a:endParaRPr>
            </a:p>
          </p:txBody>
        </p:sp>
        <p:sp>
          <p:nvSpPr>
            <p:cNvPr id="6" name="ïśḷîḓé"/>
            <p:cNvSpPr/>
            <p:nvPr/>
          </p:nvSpPr>
          <p:spPr bwMode="auto">
            <a:xfrm>
              <a:off x="5363703" y="16422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a:ea typeface="Microsoft YaHei"/>
                <a:cs typeface="+mn-ea"/>
                <a:sym typeface="Arial"/>
              </a:endParaRPr>
            </a:p>
          </p:txBody>
        </p:sp>
        <p:sp>
          <p:nvSpPr>
            <p:cNvPr id="7" name="îṩļidé"/>
            <p:cNvSpPr/>
            <p:nvPr/>
          </p:nvSpPr>
          <p:spPr bwMode="auto">
            <a:xfrm>
              <a:off x="1797050" y="269512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a:ea typeface="Microsoft YaHei"/>
                <a:cs typeface="+mn-ea"/>
                <a:sym typeface="Arial"/>
              </a:endParaRPr>
            </a:p>
          </p:txBody>
        </p:sp>
        <p:sp>
          <p:nvSpPr>
            <p:cNvPr id="8" name="ïşļîďe"/>
            <p:cNvSpPr/>
            <p:nvPr/>
          </p:nvSpPr>
          <p:spPr bwMode="auto">
            <a:xfrm>
              <a:off x="1797050" y="269512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latin typeface="Arial"/>
                <a:ea typeface="Microsoft YaHei"/>
                <a:cs typeface="+mn-ea"/>
                <a:sym typeface="Arial"/>
              </a:endParaRPr>
            </a:p>
          </p:txBody>
        </p:sp>
        <p:sp>
          <p:nvSpPr>
            <p:cNvPr id="9" name="íŝḻíḋé"/>
            <p:cNvSpPr/>
            <p:nvPr/>
          </p:nvSpPr>
          <p:spPr bwMode="auto">
            <a:xfrm rot="18988399" flipH="1">
              <a:off x="1807957" y="2600909"/>
              <a:ext cx="1203050" cy="1201446"/>
            </a:xfrm>
            <a:custGeom>
              <a:avLst/>
              <a:gdLst>
                <a:gd name="T0" fmla="*/ 3188 w 3399"/>
                <a:gd name="T1" fmla="*/ 209 h 3399"/>
                <a:gd name="T2" fmla="*/ 2961 w 3399"/>
                <a:gd name="T3" fmla="*/ 104 h 3399"/>
                <a:gd name="T4" fmla="*/ 1582 w 3399"/>
                <a:gd name="T5" fmla="*/ 562 h 3399"/>
                <a:gd name="T6" fmla="*/ 855 w 3399"/>
                <a:gd name="T7" fmla="*/ 624 h 3399"/>
                <a:gd name="T8" fmla="*/ 684 w 3399"/>
                <a:gd name="T9" fmla="*/ 795 h 3399"/>
                <a:gd name="T10" fmla="*/ 1099 w 3399"/>
                <a:gd name="T11" fmla="*/ 1209 h 3399"/>
                <a:gd name="T12" fmla="*/ 978 w 3399"/>
                <a:gd name="T13" fmla="*/ 2218 h 3399"/>
                <a:gd name="T14" fmla="*/ 336 w 3399"/>
                <a:gd name="T15" fmla="*/ 2339 h 3399"/>
                <a:gd name="T16" fmla="*/ 111 w 3399"/>
                <a:gd name="T17" fmla="*/ 2565 h 3399"/>
                <a:gd name="T18" fmla="*/ 550 w 3399"/>
                <a:gd name="T19" fmla="*/ 2769 h 3399"/>
                <a:gd name="T20" fmla="*/ 643 w 3399"/>
                <a:gd name="T21" fmla="*/ 2883 h 3399"/>
                <a:gd name="T22" fmla="*/ 835 w 3399"/>
                <a:gd name="T23" fmla="*/ 3289 h 3399"/>
                <a:gd name="T24" fmla="*/ 1061 w 3399"/>
                <a:gd name="T25" fmla="*/ 3063 h 3399"/>
                <a:gd name="T26" fmla="*/ 1182 w 3399"/>
                <a:gd name="T27" fmla="*/ 2421 h 3399"/>
                <a:gd name="T28" fmla="*/ 2190 w 3399"/>
                <a:gd name="T29" fmla="*/ 2299 h 3399"/>
                <a:gd name="T30" fmla="*/ 2605 w 3399"/>
                <a:gd name="T31" fmla="*/ 2713 h 3399"/>
                <a:gd name="T32" fmla="*/ 2775 w 3399"/>
                <a:gd name="T33" fmla="*/ 2543 h 3399"/>
                <a:gd name="T34" fmla="*/ 2837 w 3399"/>
                <a:gd name="T35" fmla="*/ 1816 h 3399"/>
                <a:gd name="T36" fmla="*/ 3294 w 3399"/>
                <a:gd name="T37" fmla="*/ 436 h 3399"/>
                <a:gd name="T38" fmla="*/ 3188 w 3399"/>
                <a:gd name="T39" fmla="*/ 210 h 3399"/>
                <a:gd name="T40" fmla="*/ 3188 w 3399"/>
                <a:gd name="T41" fmla="*/ 210 h 3399"/>
                <a:gd name="T42" fmla="*/ 3188 w 3399"/>
                <a:gd name="T43" fmla="*/ 210 h 3399"/>
                <a:gd name="T44" fmla="*/ 3188 w 3399"/>
                <a:gd name="T45" fmla="*/ 209 h 3399"/>
                <a:gd name="T46" fmla="*/ 3188 w 3399"/>
                <a:gd name="T47" fmla="*/ 209 h 3399"/>
                <a:gd name="T48" fmla="*/ 2864 w 3399"/>
                <a:gd name="T49" fmla="*/ 824 h 3399"/>
                <a:gd name="T50" fmla="*/ 2578 w 3399"/>
                <a:gd name="T51" fmla="*/ 821 h 3399"/>
                <a:gd name="T52" fmla="*/ 2574 w 3399"/>
                <a:gd name="T53" fmla="*/ 534 h 3399"/>
                <a:gd name="T54" fmla="*/ 2861 w 3399"/>
                <a:gd name="T55" fmla="*/ 537 h 3399"/>
                <a:gd name="T56" fmla="*/ 2864 w 3399"/>
                <a:gd name="T57" fmla="*/ 824 h 3399"/>
                <a:gd name="T58" fmla="*/ 2864 w 3399"/>
                <a:gd name="T59" fmla="*/ 824 h 3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399" h="3399">
                  <a:moveTo>
                    <a:pt x="3188" y="209"/>
                  </a:moveTo>
                  <a:cubicBezTo>
                    <a:pt x="3132" y="154"/>
                    <a:pt x="3037" y="117"/>
                    <a:pt x="2961" y="104"/>
                  </a:cubicBezTo>
                  <a:cubicBezTo>
                    <a:pt x="2375" y="0"/>
                    <a:pt x="1855" y="327"/>
                    <a:pt x="1582" y="562"/>
                  </a:cubicBezTo>
                  <a:cubicBezTo>
                    <a:pt x="1431" y="552"/>
                    <a:pt x="855" y="624"/>
                    <a:pt x="855" y="624"/>
                  </a:cubicBezTo>
                  <a:cubicBezTo>
                    <a:pt x="551" y="663"/>
                    <a:pt x="684" y="795"/>
                    <a:pt x="684" y="795"/>
                  </a:cubicBezTo>
                  <a:cubicBezTo>
                    <a:pt x="1099" y="1209"/>
                    <a:pt x="1099" y="1209"/>
                    <a:pt x="1099" y="1209"/>
                  </a:cubicBezTo>
                  <a:cubicBezTo>
                    <a:pt x="884" y="1916"/>
                    <a:pt x="1014" y="2047"/>
                    <a:pt x="978" y="2218"/>
                  </a:cubicBezTo>
                  <a:cubicBezTo>
                    <a:pt x="942" y="2389"/>
                    <a:pt x="655" y="2319"/>
                    <a:pt x="336" y="2339"/>
                  </a:cubicBezTo>
                  <a:cubicBezTo>
                    <a:pt x="18" y="2359"/>
                    <a:pt x="0" y="2473"/>
                    <a:pt x="111" y="2565"/>
                  </a:cubicBezTo>
                  <a:cubicBezTo>
                    <a:pt x="194" y="2634"/>
                    <a:pt x="436" y="2727"/>
                    <a:pt x="550" y="2769"/>
                  </a:cubicBezTo>
                  <a:cubicBezTo>
                    <a:pt x="577" y="2783"/>
                    <a:pt x="616" y="2814"/>
                    <a:pt x="643" y="2883"/>
                  </a:cubicBezTo>
                  <a:cubicBezTo>
                    <a:pt x="688" y="3005"/>
                    <a:pt x="772" y="3213"/>
                    <a:pt x="835" y="3289"/>
                  </a:cubicBezTo>
                  <a:cubicBezTo>
                    <a:pt x="927" y="3399"/>
                    <a:pt x="1041" y="3382"/>
                    <a:pt x="1061" y="3063"/>
                  </a:cubicBezTo>
                  <a:cubicBezTo>
                    <a:pt x="1081" y="2744"/>
                    <a:pt x="1011" y="2458"/>
                    <a:pt x="1182" y="2421"/>
                  </a:cubicBezTo>
                  <a:cubicBezTo>
                    <a:pt x="1353" y="2385"/>
                    <a:pt x="1483" y="2515"/>
                    <a:pt x="2190" y="2299"/>
                  </a:cubicBezTo>
                  <a:cubicBezTo>
                    <a:pt x="2605" y="2713"/>
                    <a:pt x="2605" y="2713"/>
                    <a:pt x="2605" y="2713"/>
                  </a:cubicBezTo>
                  <a:cubicBezTo>
                    <a:pt x="2605" y="2713"/>
                    <a:pt x="2737" y="2847"/>
                    <a:pt x="2775" y="2543"/>
                  </a:cubicBezTo>
                  <a:cubicBezTo>
                    <a:pt x="2775" y="2543"/>
                    <a:pt x="2847" y="1967"/>
                    <a:pt x="2837" y="1816"/>
                  </a:cubicBezTo>
                  <a:cubicBezTo>
                    <a:pt x="3072" y="1542"/>
                    <a:pt x="3399" y="1022"/>
                    <a:pt x="3294" y="436"/>
                  </a:cubicBezTo>
                  <a:cubicBezTo>
                    <a:pt x="3280" y="360"/>
                    <a:pt x="3244" y="266"/>
                    <a:pt x="3188" y="210"/>
                  </a:cubicBezTo>
                  <a:cubicBezTo>
                    <a:pt x="3188" y="210"/>
                    <a:pt x="3188" y="210"/>
                    <a:pt x="3188" y="210"/>
                  </a:cubicBezTo>
                  <a:cubicBezTo>
                    <a:pt x="3188" y="210"/>
                    <a:pt x="3188" y="210"/>
                    <a:pt x="3188" y="210"/>
                  </a:cubicBezTo>
                  <a:cubicBezTo>
                    <a:pt x="3188" y="209"/>
                    <a:pt x="3188" y="209"/>
                    <a:pt x="3188" y="209"/>
                  </a:cubicBezTo>
                  <a:cubicBezTo>
                    <a:pt x="3188" y="209"/>
                    <a:pt x="3188" y="209"/>
                    <a:pt x="3188" y="209"/>
                  </a:cubicBezTo>
                  <a:close/>
                  <a:moveTo>
                    <a:pt x="2864" y="824"/>
                  </a:moveTo>
                  <a:cubicBezTo>
                    <a:pt x="2786" y="902"/>
                    <a:pt x="2657" y="900"/>
                    <a:pt x="2578" y="821"/>
                  </a:cubicBezTo>
                  <a:cubicBezTo>
                    <a:pt x="2497" y="740"/>
                    <a:pt x="2496" y="612"/>
                    <a:pt x="2574" y="534"/>
                  </a:cubicBezTo>
                  <a:cubicBezTo>
                    <a:pt x="2652" y="456"/>
                    <a:pt x="2780" y="457"/>
                    <a:pt x="2861" y="537"/>
                  </a:cubicBezTo>
                  <a:cubicBezTo>
                    <a:pt x="2940" y="617"/>
                    <a:pt x="2942" y="746"/>
                    <a:pt x="2864" y="824"/>
                  </a:cubicBezTo>
                  <a:cubicBezTo>
                    <a:pt x="2864" y="824"/>
                    <a:pt x="2864" y="824"/>
                    <a:pt x="2864" y="824"/>
                  </a:cubicBezTo>
                  <a:close/>
                </a:path>
              </a:pathLst>
            </a:custGeom>
            <a:solidFill>
              <a:schemeClr val="accent2"/>
            </a:solidFill>
            <a:ln>
              <a:noFill/>
            </a:ln>
          </p:spPr>
          <p:txBody>
            <a:bodyPr anchor="ctr"/>
            <a:lstStyle/>
            <a:p>
              <a:pPr algn="ctr"/>
              <a:endParaRPr>
                <a:latin typeface="Arial"/>
                <a:ea typeface="Microsoft YaHei"/>
                <a:cs typeface="+mn-ea"/>
                <a:sym typeface="Arial"/>
              </a:endParaRPr>
            </a:p>
          </p:txBody>
        </p:sp>
        <p:sp>
          <p:nvSpPr>
            <p:cNvPr id="10" name="îṣlîḋe">
              <a:extLst>
                <a:ext uri="{FF2B5EF4-FFF2-40B4-BE49-F238E27FC236}">
                  <a16:creationId xmlns:a16="http://schemas.microsoft.com/office/drawing/2014/main" id="{3D24A952-2871-47A2-B237-0D6AE027BC4E}"/>
                </a:ext>
              </a:extLst>
            </p:cNvPr>
            <p:cNvSpPr txBox="1"/>
            <p:nvPr/>
          </p:nvSpPr>
          <p:spPr>
            <a:xfrm>
              <a:off x="686965" y="4148415"/>
              <a:ext cx="3445033" cy="443756"/>
            </a:xfrm>
            <a:prstGeom prst="rect">
              <a:avLst/>
            </a:prstGeom>
            <a:noFill/>
          </p:spPr>
          <p:txBody>
            <a:bodyPr wrap="none" lIns="90000" tIns="46800" rIns="90000" bIns="46800" rtlCol="0" anchor="b" anchorCtr="0">
              <a:noAutofit/>
            </a:bodyPr>
            <a:lstStyle/>
            <a:p>
              <a:pPr algn="ctr"/>
              <a:r>
                <a:rPr lang="zh-CN" altLang="en-US" sz="4000" b="1" i="1" dirty="0" smtClean="0">
                  <a:solidFill>
                    <a:schemeClr val="accent1"/>
                  </a:solidFill>
                  <a:latin typeface="Arial"/>
                  <a:ea typeface="Microsoft YaHei"/>
                  <a:cs typeface="+mn-ea"/>
                  <a:sym typeface="Arial"/>
                </a:rPr>
                <a:t>降低 </a:t>
              </a:r>
              <a:r>
                <a:rPr lang="zh-CN" altLang="en-US" sz="3600" dirty="0" smtClean="0">
                  <a:solidFill>
                    <a:srgbClr val="333333"/>
                  </a:solidFill>
                  <a:latin typeface="Arial"/>
                  <a:ea typeface="Microsoft YaHei"/>
                  <a:cs typeface="+mn-ea"/>
                  <a:sym typeface="Arial"/>
                </a:rPr>
                <a:t>复杂</a:t>
              </a:r>
              <a:r>
                <a:rPr lang="zh-CN" altLang="en-US" sz="3600" dirty="0">
                  <a:solidFill>
                    <a:srgbClr val="333333"/>
                  </a:solidFill>
                  <a:latin typeface="Arial"/>
                  <a:ea typeface="Microsoft YaHei"/>
                  <a:cs typeface="+mn-ea"/>
                  <a:sym typeface="Arial"/>
                </a:rPr>
                <a:t>度</a:t>
              </a:r>
              <a:endParaRPr lang="en-US" altLang="zh-CN" sz="3600" b="1" dirty="0">
                <a:latin typeface="Arial"/>
                <a:ea typeface="Microsoft YaHei"/>
                <a:cs typeface="+mn-ea"/>
                <a:sym typeface="Arial"/>
              </a:endParaRPr>
            </a:p>
          </p:txBody>
        </p:sp>
        <p:sp>
          <p:nvSpPr>
            <p:cNvPr id="12" name="ïŝḷîdê"/>
            <p:cNvSpPr/>
            <p:nvPr/>
          </p:nvSpPr>
          <p:spPr bwMode="auto">
            <a:xfrm rot="18988399" flipH="1">
              <a:off x="9190073" y="2600908"/>
              <a:ext cx="1203050" cy="1201446"/>
            </a:xfrm>
            <a:custGeom>
              <a:avLst/>
              <a:gdLst>
                <a:gd name="T0" fmla="*/ 3188 w 3399"/>
                <a:gd name="T1" fmla="*/ 209 h 3399"/>
                <a:gd name="T2" fmla="*/ 2961 w 3399"/>
                <a:gd name="T3" fmla="*/ 104 h 3399"/>
                <a:gd name="T4" fmla="*/ 1582 w 3399"/>
                <a:gd name="T5" fmla="*/ 562 h 3399"/>
                <a:gd name="T6" fmla="*/ 855 w 3399"/>
                <a:gd name="T7" fmla="*/ 624 h 3399"/>
                <a:gd name="T8" fmla="*/ 684 w 3399"/>
                <a:gd name="T9" fmla="*/ 795 h 3399"/>
                <a:gd name="T10" fmla="*/ 1099 w 3399"/>
                <a:gd name="T11" fmla="*/ 1209 h 3399"/>
                <a:gd name="T12" fmla="*/ 978 w 3399"/>
                <a:gd name="T13" fmla="*/ 2218 h 3399"/>
                <a:gd name="T14" fmla="*/ 336 w 3399"/>
                <a:gd name="T15" fmla="*/ 2339 h 3399"/>
                <a:gd name="T16" fmla="*/ 111 w 3399"/>
                <a:gd name="T17" fmla="*/ 2565 h 3399"/>
                <a:gd name="T18" fmla="*/ 550 w 3399"/>
                <a:gd name="T19" fmla="*/ 2769 h 3399"/>
                <a:gd name="T20" fmla="*/ 643 w 3399"/>
                <a:gd name="T21" fmla="*/ 2883 h 3399"/>
                <a:gd name="T22" fmla="*/ 835 w 3399"/>
                <a:gd name="T23" fmla="*/ 3289 h 3399"/>
                <a:gd name="T24" fmla="*/ 1061 w 3399"/>
                <a:gd name="T25" fmla="*/ 3063 h 3399"/>
                <a:gd name="T26" fmla="*/ 1182 w 3399"/>
                <a:gd name="T27" fmla="*/ 2421 h 3399"/>
                <a:gd name="T28" fmla="*/ 2190 w 3399"/>
                <a:gd name="T29" fmla="*/ 2299 h 3399"/>
                <a:gd name="T30" fmla="*/ 2605 w 3399"/>
                <a:gd name="T31" fmla="*/ 2713 h 3399"/>
                <a:gd name="T32" fmla="*/ 2775 w 3399"/>
                <a:gd name="T33" fmla="*/ 2543 h 3399"/>
                <a:gd name="T34" fmla="*/ 2837 w 3399"/>
                <a:gd name="T35" fmla="*/ 1816 h 3399"/>
                <a:gd name="T36" fmla="*/ 3294 w 3399"/>
                <a:gd name="T37" fmla="*/ 436 h 3399"/>
                <a:gd name="T38" fmla="*/ 3188 w 3399"/>
                <a:gd name="T39" fmla="*/ 210 h 3399"/>
                <a:gd name="T40" fmla="*/ 3188 w 3399"/>
                <a:gd name="T41" fmla="*/ 210 h 3399"/>
                <a:gd name="T42" fmla="*/ 3188 w 3399"/>
                <a:gd name="T43" fmla="*/ 210 h 3399"/>
                <a:gd name="T44" fmla="*/ 3188 w 3399"/>
                <a:gd name="T45" fmla="*/ 209 h 3399"/>
                <a:gd name="T46" fmla="*/ 3188 w 3399"/>
                <a:gd name="T47" fmla="*/ 209 h 3399"/>
                <a:gd name="T48" fmla="*/ 2864 w 3399"/>
                <a:gd name="T49" fmla="*/ 824 h 3399"/>
                <a:gd name="T50" fmla="*/ 2578 w 3399"/>
                <a:gd name="T51" fmla="*/ 821 h 3399"/>
                <a:gd name="T52" fmla="*/ 2574 w 3399"/>
                <a:gd name="T53" fmla="*/ 534 h 3399"/>
                <a:gd name="T54" fmla="*/ 2861 w 3399"/>
                <a:gd name="T55" fmla="*/ 537 h 3399"/>
                <a:gd name="T56" fmla="*/ 2864 w 3399"/>
                <a:gd name="T57" fmla="*/ 824 h 3399"/>
                <a:gd name="T58" fmla="*/ 2864 w 3399"/>
                <a:gd name="T59" fmla="*/ 824 h 3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399" h="3399">
                  <a:moveTo>
                    <a:pt x="3188" y="209"/>
                  </a:moveTo>
                  <a:cubicBezTo>
                    <a:pt x="3132" y="154"/>
                    <a:pt x="3037" y="117"/>
                    <a:pt x="2961" y="104"/>
                  </a:cubicBezTo>
                  <a:cubicBezTo>
                    <a:pt x="2375" y="0"/>
                    <a:pt x="1855" y="327"/>
                    <a:pt x="1582" y="562"/>
                  </a:cubicBezTo>
                  <a:cubicBezTo>
                    <a:pt x="1431" y="552"/>
                    <a:pt x="855" y="624"/>
                    <a:pt x="855" y="624"/>
                  </a:cubicBezTo>
                  <a:cubicBezTo>
                    <a:pt x="551" y="663"/>
                    <a:pt x="684" y="795"/>
                    <a:pt x="684" y="795"/>
                  </a:cubicBezTo>
                  <a:cubicBezTo>
                    <a:pt x="1099" y="1209"/>
                    <a:pt x="1099" y="1209"/>
                    <a:pt x="1099" y="1209"/>
                  </a:cubicBezTo>
                  <a:cubicBezTo>
                    <a:pt x="884" y="1916"/>
                    <a:pt x="1014" y="2047"/>
                    <a:pt x="978" y="2218"/>
                  </a:cubicBezTo>
                  <a:cubicBezTo>
                    <a:pt x="942" y="2389"/>
                    <a:pt x="655" y="2319"/>
                    <a:pt x="336" y="2339"/>
                  </a:cubicBezTo>
                  <a:cubicBezTo>
                    <a:pt x="18" y="2359"/>
                    <a:pt x="0" y="2473"/>
                    <a:pt x="111" y="2565"/>
                  </a:cubicBezTo>
                  <a:cubicBezTo>
                    <a:pt x="194" y="2634"/>
                    <a:pt x="436" y="2727"/>
                    <a:pt x="550" y="2769"/>
                  </a:cubicBezTo>
                  <a:cubicBezTo>
                    <a:pt x="577" y="2783"/>
                    <a:pt x="616" y="2814"/>
                    <a:pt x="643" y="2883"/>
                  </a:cubicBezTo>
                  <a:cubicBezTo>
                    <a:pt x="688" y="3005"/>
                    <a:pt x="772" y="3213"/>
                    <a:pt x="835" y="3289"/>
                  </a:cubicBezTo>
                  <a:cubicBezTo>
                    <a:pt x="927" y="3399"/>
                    <a:pt x="1041" y="3382"/>
                    <a:pt x="1061" y="3063"/>
                  </a:cubicBezTo>
                  <a:cubicBezTo>
                    <a:pt x="1081" y="2744"/>
                    <a:pt x="1011" y="2458"/>
                    <a:pt x="1182" y="2421"/>
                  </a:cubicBezTo>
                  <a:cubicBezTo>
                    <a:pt x="1353" y="2385"/>
                    <a:pt x="1483" y="2515"/>
                    <a:pt x="2190" y="2299"/>
                  </a:cubicBezTo>
                  <a:cubicBezTo>
                    <a:pt x="2605" y="2713"/>
                    <a:pt x="2605" y="2713"/>
                    <a:pt x="2605" y="2713"/>
                  </a:cubicBezTo>
                  <a:cubicBezTo>
                    <a:pt x="2605" y="2713"/>
                    <a:pt x="2737" y="2847"/>
                    <a:pt x="2775" y="2543"/>
                  </a:cubicBezTo>
                  <a:cubicBezTo>
                    <a:pt x="2775" y="2543"/>
                    <a:pt x="2847" y="1967"/>
                    <a:pt x="2837" y="1816"/>
                  </a:cubicBezTo>
                  <a:cubicBezTo>
                    <a:pt x="3072" y="1542"/>
                    <a:pt x="3399" y="1022"/>
                    <a:pt x="3294" y="436"/>
                  </a:cubicBezTo>
                  <a:cubicBezTo>
                    <a:pt x="3280" y="360"/>
                    <a:pt x="3244" y="266"/>
                    <a:pt x="3188" y="210"/>
                  </a:cubicBezTo>
                  <a:cubicBezTo>
                    <a:pt x="3188" y="210"/>
                    <a:pt x="3188" y="210"/>
                    <a:pt x="3188" y="210"/>
                  </a:cubicBezTo>
                  <a:cubicBezTo>
                    <a:pt x="3188" y="210"/>
                    <a:pt x="3188" y="210"/>
                    <a:pt x="3188" y="210"/>
                  </a:cubicBezTo>
                  <a:cubicBezTo>
                    <a:pt x="3188" y="209"/>
                    <a:pt x="3188" y="209"/>
                    <a:pt x="3188" y="209"/>
                  </a:cubicBezTo>
                  <a:cubicBezTo>
                    <a:pt x="3188" y="209"/>
                    <a:pt x="3188" y="209"/>
                    <a:pt x="3188" y="209"/>
                  </a:cubicBezTo>
                  <a:close/>
                  <a:moveTo>
                    <a:pt x="2864" y="824"/>
                  </a:moveTo>
                  <a:cubicBezTo>
                    <a:pt x="2786" y="902"/>
                    <a:pt x="2657" y="900"/>
                    <a:pt x="2578" y="821"/>
                  </a:cubicBezTo>
                  <a:cubicBezTo>
                    <a:pt x="2497" y="740"/>
                    <a:pt x="2496" y="612"/>
                    <a:pt x="2574" y="534"/>
                  </a:cubicBezTo>
                  <a:cubicBezTo>
                    <a:pt x="2652" y="456"/>
                    <a:pt x="2780" y="457"/>
                    <a:pt x="2861" y="537"/>
                  </a:cubicBezTo>
                  <a:cubicBezTo>
                    <a:pt x="2940" y="617"/>
                    <a:pt x="2942" y="746"/>
                    <a:pt x="2864" y="824"/>
                  </a:cubicBezTo>
                  <a:cubicBezTo>
                    <a:pt x="2864" y="824"/>
                    <a:pt x="2864" y="824"/>
                    <a:pt x="2864" y="824"/>
                  </a:cubicBezTo>
                  <a:close/>
                </a:path>
              </a:pathLst>
            </a:custGeom>
            <a:solidFill>
              <a:schemeClr val="accent6"/>
            </a:solidFill>
            <a:ln>
              <a:noFill/>
            </a:ln>
          </p:spPr>
          <p:txBody>
            <a:bodyPr anchor="ctr"/>
            <a:lstStyle/>
            <a:p>
              <a:pPr algn="ctr"/>
              <a:endParaRPr>
                <a:latin typeface="Arial"/>
                <a:ea typeface="Microsoft YaHei"/>
                <a:cs typeface="+mn-ea"/>
                <a:sym typeface="Arial"/>
              </a:endParaRPr>
            </a:p>
          </p:txBody>
        </p:sp>
        <p:sp>
          <p:nvSpPr>
            <p:cNvPr id="13" name="îṧḻîdé">
              <a:extLst>
                <a:ext uri="{FF2B5EF4-FFF2-40B4-BE49-F238E27FC236}">
                  <a16:creationId xmlns:a16="http://schemas.microsoft.com/office/drawing/2014/main" id="{3D24A952-2871-47A2-B237-0D6AE027BC4E}"/>
                </a:ext>
              </a:extLst>
            </p:cNvPr>
            <p:cNvSpPr txBox="1"/>
            <p:nvPr/>
          </p:nvSpPr>
          <p:spPr>
            <a:xfrm>
              <a:off x="7912795" y="4057119"/>
              <a:ext cx="3530542" cy="626349"/>
            </a:xfrm>
            <a:prstGeom prst="rect">
              <a:avLst/>
            </a:prstGeom>
            <a:noFill/>
          </p:spPr>
          <p:txBody>
            <a:bodyPr wrap="none" lIns="90000" tIns="46800" rIns="90000" bIns="46800" rtlCol="0" anchor="b" anchorCtr="0">
              <a:noAutofit/>
            </a:bodyPr>
            <a:lstStyle/>
            <a:p>
              <a:pPr algn="ctr"/>
              <a:r>
                <a:rPr lang="zh-CN" altLang="en-US" sz="4000" b="1" i="1" dirty="0" smtClean="0">
                  <a:solidFill>
                    <a:schemeClr val="accent1"/>
                  </a:solidFill>
                  <a:latin typeface="Arial"/>
                  <a:ea typeface="Microsoft YaHei"/>
                  <a:cs typeface="+mn-ea"/>
                  <a:sym typeface="Arial"/>
                </a:rPr>
                <a:t>降低 </a:t>
              </a:r>
              <a:r>
                <a:rPr lang="zh-CN" altLang="en-US" sz="3600" dirty="0" smtClean="0">
                  <a:solidFill>
                    <a:srgbClr val="333333"/>
                  </a:solidFill>
                  <a:latin typeface="Arial"/>
                  <a:ea typeface="Microsoft YaHei"/>
                  <a:cs typeface="+mn-ea"/>
                  <a:sym typeface="Arial"/>
                </a:rPr>
                <a:t>变更风险</a:t>
              </a:r>
              <a:endParaRPr lang="en-US" altLang="zh-CN" sz="3600" b="1" dirty="0">
                <a:latin typeface="Arial"/>
                <a:ea typeface="Microsoft YaHei"/>
                <a:cs typeface="+mn-ea"/>
                <a:sym typeface="Arial"/>
              </a:endParaRPr>
            </a:p>
          </p:txBody>
        </p:sp>
        <p:grpSp>
          <p:nvGrpSpPr>
            <p:cNvPr id="15" name="íṧḷïḑè"/>
            <p:cNvGrpSpPr/>
            <p:nvPr/>
          </p:nvGrpSpPr>
          <p:grpSpPr>
            <a:xfrm>
              <a:off x="4131998" y="1277799"/>
              <a:ext cx="4422823" cy="2215031"/>
              <a:chOff x="4131998" y="1277799"/>
              <a:chExt cx="4422823" cy="2215031"/>
            </a:xfrm>
          </p:grpSpPr>
          <p:sp>
            <p:nvSpPr>
              <p:cNvPr id="18" name="íŝ1ide"/>
              <p:cNvSpPr/>
              <p:nvPr/>
            </p:nvSpPr>
            <p:spPr bwMode="auto">
              <a:xfrm rot="18988399" flipH="1">
                <a:off x="5494475" y="1277799"/>
                <a:ext cx="1203050" cy="1201446"/>
              </a:xfrm>
              <a:custGeom>
                <a:avLst/>
                <a:gdLst>
                  <a:gd name="T0" fmla="*/ 3188 w 3399"/>
                  <a:gd name="T1" fmla="*/ 209 h 3399"/>
                  <a:gd name="T2" fmla="*/ 2961 w 3399"/>
                  <a:gd name="T3" fmla="*/ 104 h 3399"/>
                  <a:gd name="T4" fmla="*/ 1582 w 3399"/>
                  <a:gd name="T5" fmla="*/ 562 h 3399"/>
                  <a:gd name="T6" fmla="*/ 855 w 3399"/>
                  <a:gd name="T7" fmla="*/ 624 h 3399"/>
                  <a:gd name="T8" fmla="*/ 684 w 3399"/>
                  <a:gd name="T9" fmla="*/ 795 h 3399"/>
                  <a:gd name="T10" fmla="*/ 1099 w 3399"/>
                  <a:gd name="T11" fmla="*/ 1209 h 3399"/>
                  <a:gd name="T12" fmla="*/ 978 w 3399"/>
                  <a:gd name="T13" fmla="*/ 2218 h 3399"/>
                  <a:gd name="T14" fmla="*/ 336 w 3399"/>
                  <a:gd name="T15" fmla="*/ 2339 h 3399"/>
                  <a:gd name="T16" fmla="*/ 111 w 3399"/>
                  <a:gd name="T17" fmla="*/ 2565 h 3399"/>
                  <a:gd name="T18" fmla="*/ 550 w 3399"/>
                  <a:gd name="T19" fmla="*/ 2769 h 3399"/>
                  <a:gd name="T20" fmla="*/ 643 w 3399"/>
                  <a:gd name="T21" fmla="*/ 2883 h 3399"/>
                  <a:gd name="T22" fmla="*/ 835 w 3399"/>
                  <a:gd name="T23" fmla="*/ 3289 h 3399"/>
                  <a:gd name="T24" fmla="*/ 1061 w 3399"/>
                  <a:gd name="T25" fmla="*/ 3063 h 3399"/>
                  <a:gd name="T26" fmla="*/ 1182 w 3399"/>
                  <a:gd name="T27" fmla="*/ 2421 h 3399"/>
                  <a:gd name="T28" fmla="*/ 2190 w 3399"/>
                  <a:gd name="T29" fmla="*/ 2299 h 3399"/>
                  <a:gd name="T30" fmla="*/ 2605 w 3399"/>
                  <a:gd name="T31" fmla="*/ 2713 h 3399"/>
                  <a:gd name="T32" fmla="*/ 2775 w 3399"/>
                  <a:gd name="T33" fmla="*/ 2543 h 3399"/>
                  <a:gd name="T34" fmla="*/ 2837 w 3399"/>
                  <a:gd name="T35" fmla="*/ 1816 h 3399"/>
                  <a:gd name="T36" fmla="*/ 3294 w 3399"/>
                  <a:gd name="T37" fmla="*/ 436 h 3399"/>
                  <a:gd name="T38" fmla="*/ 3188 w 3399"/>
                  <a:gd name="T39" fmla="*/ 210 h 3399"/>
                  <a:gd name="T40" fmla="*/ 3188 w 3399"/>
                  <a:gd name="T41" fmla="*/ 210 h 3399"/>
                  <a:gd name="T42" fmla="*/ 3188 w 3399"/>
                  <a:gd name="T43" fmla="*/ 210 h 3399"/>
                  <a:gd name="T44" fmla="*/ 3188 w 3399"/>
                  <a:gd name="T45" fmla="*/ 209 h 3399"/>
                  <a:gd name="T46" fmla="*/ 3188 w 3399"/>
                  <a:gd name="T47" fmla="*/ 209 h 3399"/>
                  <a:gd name="T48" fmla="*/ 2864 w 3399"/>
                  <a:gd name="T49" fmla="*/ 824 h 3399"/>
                  <a:gd name="T50" fmla="*/ 2578 w 3399"/>
                  <a:gd name="T51" fmla="*/ 821 h 3399"/>
                  <a:gd name="T52" fmla="*/ 2574 w 3399"/>
                  <a:gd name="T53" fmla="*/ 534 h 3399"/>
                  <a:gd name="T54" fmla="*/ 2861 w 3399"/>
                  <a:gd name="T55" fmla="*/ 537 h 3399"/>
                  <a:gd name="T56" fmla="*/ 2864 w 3399"/>
                  <a:gd name="T57" fmla="*/ 824 h 3399"/>
                  <a:gd name="T58" fmla="*/ 2864 w 3399"/>
                  <a:gd name="T59" fmla="*/ 824 h 3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399" h="3399">
                    <a:moveTo>
                      <a:pt x="3188" y="209"/>
                    </a:moveTo>
                    <a:cubicBezTo>
                      <a:pt x="3132" y="154"/>
                      <a:pt x="3037" y="117"/>
                      <a:pt x="2961" y="104"/>
                    </a:cubicBezTo>
                    <a:cubicBezTo>
                      <a:pt x="2375" y="0"/>
                      <a:pt x="1855" y="327"/>
                      <a:pt x="1582" y="562"/>
                    </a:cubicBezTo>
                    <a:cubicBezTo>
                      <a:pt x="1431" y="552"/>
                      <a:pt x="855" y="624"/>
                      <a:pt x="855" y="624"/>
                    </a:cubicBezTo>
                    <a:cubicBezTo>
                      <a:pt x="551" y="663"/>
                      <a:pt x="684" y="795"/>
                      <a:pt x="684" y="795"/>
                    </a:cubicBezTo>
                    <a:cubicBezTo>
                      <a:pt x="1099" y="1209"/>
                      <a:pt x="1099" y="1209"/>
                      <a:pt x="1099" y="1209"/>
                    </a:cubicBezTo>
                    <a:cubicBezTo>
                      <a:pt x="884" y="1916"/>
                      <a:pt x="1014" y="2047"/>
                      <a:pt x="978" y="2218"/>
                    </a:cubicBezTo>
                    <a:cubicBezTo>
                      <a:pt x="942" y="2389"/>
                      <a:pt x="655" y="2319"/>
                      <a:pt x="336" y="2339"/>
                    </a:cubicBezTo>
                    <a:cubicBezTo>
                      <a:pt x="18" y="2359"/>
                      <a:pt x="0" y="2473"/>
                      <a:pt x="111" y="2565"/>
                    </a:cubicBezTo>
                    <a:cubicBezTo>
                      <a:pt x="194" y="2634"/>
                      <a:pt x="436" y="2727"/>
                      <a:pt x="550" y="2769"/>
                    </a:cubicBezTo>
                    <a:cubicBezTo>
                      <a:pt x="577" y="2783"/>
                      <a:pt x="616" y="2814"/>
                      <a:pt x="643" y="2883"/>
                    </a:cubicBezTo>
                    <a:cubicBezTo>
                      <a:pt x="688" y="3005"/>
                      <a:pt x="772" y="3213"/>
                      <a:pt x="835" y="3289"/>
                    </a:cubicBezTo>
                    <a:cubicBezTo>
                      <a:pt x="927" y="3399"/>
                      <a:pt x="1041" y="3382"/>
                      <a:pt x="1061" y="3063"/>
                    </a:cubicBezTo>
                    <a:cubicBezTo>
                      <a:pt x="1081" y="2744"/>
                      <a:pt x="1011" y="2458"/>
                      <a:pt x="1182" y="2421"/>
                    </a:cubicBezTo>
                    <a:cubicBezTo>
                      <a:pt x="1353" y="2385"/>
                      <a:pt x="1483" y="2515"/>
                      <a:pt x="2190" y="2299"/>
                    </a:cubicBezTo>
                    <a:cubicBezTo>
                      <a:pt x="2605" y="2713"/>
                      <a:pt x="2605" y="2713"/>
                      <a:pt x="2605" y="2713"/>
                    </a:cubicBezTo>
                    <a:cubicBezTo>
                      <a:pt x="2605" y="2713"/>
                      <a:pt x="2737" y="2847"/>
                      <a:pt x="2775" y="2543"/>
                    </a:cubicBezTo>
                    <a:cubicBezTo>
                      <a:pt x="2775" y="2543"/>
                      <a:pt x="2847" y="1967"/>
                      <a:pt x="2837" y="1816"/>
                    </a:cubicBezTo>
                    <a:cubicBezTo>
                      <a:pt x="3072" y="1542"/>
                      <a:pt x="3399" y="1022"/>
                      <a:pt x="3294" y="436"/>
                    </a:cubicBezTo>
                    <a:cubicBezTo>
                      <a:pt x="3280" y="360"/>
                      <a:pt x="3244" y="266"/>
                      <a:pt x="3188" y="210"/>
                    </a:cubicBezTo>
                    <a:cubicBezTo>
                      <a:pt x="3188" y="210"/>
                      <a:pt x="3188" y="210"/>
                      <a:pt x="3188" y="210"/>
                    </a:cubicBezTo>
                    <a:cubicBezTo>
                      <a:pt x="3188" y="210"/>
                      <a:pt x="3188" y="210"/>
                      <a:pt x="3188" y="210"/>
                    </a:cubicBezTo>
                    <a:cubicBezTo>
                      <a:pt x="3188" y="209"/>
                      <a:pt x="3188" y="209"/>
                      <a:pt x="3188" y="209"/>
                    </a:cubicBezTo>
                    <a:cubicBezTo>
                      <a:pt x="3188" y="209"/>
                      <a:pt x="3188" y="209"/>
                      <a:pt x="3188" y="209"/>
                    </a:cubicBezTo>
                    <a:close/>
                    <a:moveTo>
                      <a:pt x="2864" y="824"/>
                    </a:moveTo>
                    <a:cubicBezTo>
                      <a:pt x="2786" y="902"/>
                      <a:pt x="2657" y="900"/>
                      <a:pt x="2578" y="821"/>
                    </a:cubicBezTo>
                    <a:cubicBezTo>
                      <a:pt x="2497" y="740"/>
                      <a:pt x="2496" y="612"/>
                      <a:pt x="2574" y="534"/>
                    </a:cubicBezTo>
                    <a:cubicBezTo>
                      <a:pt x="2652" y="456"/>
                      <a:pt x="2780" y="457"/>
                      <a:pt x="2861" y="537"/>
                    </a:cubicBezTo>
                    <a:cubicBezTo>
                      <a:pt x="2940" y="617"/>
                      <a:pt x="2942" y="746"/>
                      <a:pt x="2864" y="824"/>
                    </a:cubicBezTo>
                    <a:cubicBezTo>
                      <a:pt x="2864" y="824"/>
                      <a:pt x="2864" y="824"/>
                      <a:pt x="2864" y="824"/>
                    </a:cubicBezTo>
                    <a:close/>
                  </a:path>
                </a:pathLst>
              </a:custGeom>
              <a:solidFill>
                <a:schemeClr val="accent1"/>
              </a:solidFill>
              <a:ln>
                <a:noFill/>
              </a:ln>
            </p:spPr>
            <p:txBody>
              <a:bodyPr anchor="ctr"/>
              <a:lstStyle/>
              <a:p>
                <a:pPr algn="ctr"/>
                <a:endParaRPr>
                  <a:latin typeface="Arial"/>
                  <a:ea typeface="Microsoft YaHei"/>
                  <a:cs typeface="+mn-ea"/>
                  <a:sym typeface="Arial"/>
                </a:endParaRPr>
              </a:p>
            </p:txBody>
          </p:sp>
          <p:sp>
            <p:nvSpPr>
              <p:cNvPr id="20" name="iṧlíḑe">
                <a:extLst>
                  <a:ext uri="{FF2B5EF4-FFF2-40B4-BE49-F238E27FC236}">
                    <a16:creationId xmlns:a16="http://schemas.microsoft.com/office/drawing/2014/main" id="{3D24A952-2871-47A2-B237-0D6AE027BC4E}"/>
                  </a:ext>
                </a:extLst>
              </p:cNvPr>
              <p:cNvSpPr txBox="1"/>
              <p:nvPr/>
            </p:nvSpPr>
            <p:spPr>
              <a:xfrm>
                <a:off x="4131998" y="2687381"/>
                <a:ext cx="4422823" cy="805449"/>
              </a:xfrm>
              <a:prstGeom prst="rect">
                <a:avLst/>
              </a:prstGeom>
              <a:noFill/>
            </p:spPr>
            <p:txBody>
              <a:bodyPr wrap="none" lIns="90000" tIns="46800" rIns="90000" bIns="46800" rtlCol="0" anchor="b" anchorCtr="0">
                <a:noAutofit/>
              </a:bodyPr>
              <a:lstStyle/>
              <a:p>
                <a:r>
                  <a:rPr lang="zh-CN" altLang="en-US" sz="4000" b="1" i="1" dirty="0" smtClean="0">
                    <a:solidFill>
                      <a:schemeClr val="accent1"/>
                    </a:solidFill>
                    <a:latin typeface="Arial"/>
                    <a:ea typeface="Microsoft YaHei"/>
                    <a:cs typeface="+mn-ea"/>
                    <a:sym typeface="Arial"/>
                  </a:rPr>
                  <a:t>提高 </a:t>
                </a:r>
                <a:r>
                  <a:rPr lang="zh-CN" altLang="en-US" sz="3600" dirty="0" smtClean="0">
                    <a:solidFill>
                      <a:srgbClr val="333333"/>
                    </a:solidFill>
                    <a:latin typeface="Arial"/>
                    <a:ea typeface="Microsoft YaHei"/>
                    <a:cs typeface="+mn-ea"/>
                    <a:sym typeface="Arial"/>
                  </a:rPr>
                  <a:t>可读性可维护性</a:t>
                </a:r>
                <a:endParaRPr lang="en-US" altLang="zh-CN" sz="3600" b="1" dirty="0">
                  <a:latin typeface="Arial"/>
                  <a:ea typeface="Microsoft YaHei"/>
                  <a:cs typeface="+mn-ea"/>
                  <a:sym typeface="Arial"/>
                </a:endParaRPr>
              </a:p>
            </p:txBody>
          </p:sp>
        </p:grpSp>
        <p:cxnSp>
          <p:nvCxnSpPr>
            <p:cNvPr id="16" name="直接连接符 15"/>
            <p:cNvCxnSpPr/>
            <p:nvPr/>
          </p:nvCxnSpPr>
          <p:spPr>
            <a:xfrm>
              <a:off x="4250530" y="4221000"/>
              <a:ext cx="0" cy="190800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17" name="直接连接符 16"/>
            <p:cNvCxnSpPr/>
            <p:nvPr/>
          </p:nvCxnSpPr>
          <p:spPr>
            <a:xfrm>
              <a:off x="7912794" y="4221000"/>
              <a:ext cx="0" cy="190800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sp>
        <p:nvSpPr>
          <p:cNvPr id="19" name="标题 1"/>
          <p:cNvSpPr>
            <a:spLocks noGrp="1"/>
          </p:cNvSpPr>
          <p:nvPr>
            <p:ph type="title"/>
          </p:nvPr>
        </p:nvSpPr>
        <p:spPr>
          <a:xfrm>
            <a:off x="1137925" y="205921"/>
            <a:ext cx="10401280" cy="695186"/>
          </a:xfrm>
        </p:spPr>
        <p:txBody>
          <a:bodyPr/>
          <a:lstStyle/>
          <a:p>
            <a:r>
              <a:rPr lang="zh-CN" altLang="en-US" sz="3200" b="0" dirty="0" smtClean="0">
                <a:latin typeface="Arial"/>
                <a:ea typeface="Microsoft YaHei"/>
                <a:cs typeface="+mn-ea"/>
                <a:sym typeface="Arial"/>
              </a:rPr>
              <a:t>原则有什么作用？</a:t>
            </a:r>
            <a:endParaRPr lang="zh-CN" altLang="en-US" sz="3200" b="0" dirty="0">
              <a:latin typeface="Arial"/>
              <a:ea typeface="Microsoft YaHei"/>
              <a:cs typeface="+mn-ea"/>
              <a:sym typeface="Arial"/>
            </a:endParaRPr>
          </a:p>
        </p:txBody>
      </p:sp>
      <p:grpSp>
        <p:nvGrpSpPr>
          <p:cNvPr id="21" name="组合 20">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22" name="椭圆 21">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23" name="椭圆 22">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
        <p:nvSpPr>
          <p:cNvPr id="2" name="矩形 1"/>
          <p:cNvSpPr/>
          <p:nvPr/>
        </p:nvSpPr>
        <p:spPr>
          <a:xfrm>
            <a:off x="4506911" y="5160966"/>
            <a:ext cx="7160936" cy="1569660"/>
          </a:xfrm>
          <a:prstGeom prst="rect">
            <a:avLst/>
          </a:prstGeom>
          <a:noFill/>
        </p:spPr>
        <p:txBody>
          <a:bodyPr wrap="none" lIns="91440" tIns="45720" rIns="91440" bIns="45720">
            <a:spAutoFit/>
          </a:bodyPr>
          <a:lstStyle/>
          <a:p>
            <a:r>
              <a:rPr lang="en-US" altLang="zh-CN" sz="4800" b="0" cap="none" spc="0" dirty="0" smtClean="0">
                <a:ln w="0"/>
                <a:solidFill>
                  <a:srgbClr val="CC3300"/>
                </a:solidFill>
                <a:effectLst>
                  <a:outerShdw blurRad="38100" dist="25400" dir="5400000" algn="ctr" rotWithShape="0">
                    <a:srgbClr val="6E747A">
                      <a:alpha val="43000"/>
                    </a:srgbClr>
                  </a:outerShdw>
                </a:effectLst>
                <a:latin typeface="Blackadder ITC" panose="04020505051007020D02" pitchFamily="82" charset="0"/>
              </a:rPr>
              <a:t>Next</a:t>
            </a:r>
            <a:r>
              <a:rPr lang="zh-CN" altLang="en-US" sz="4800" b="0" cap="none" spc="0" dirty="0" smtClean="0">
                <a:ln w="0"/>
                <a:solidFill>
                  <a:srgbClr val="CC3300"/>
                </a:solidFill>
                <a:effectLst>
                  <a:outerShdw blurRad="38100" dist="25400" dir="5400000" algn="ctr" rotWithShape="0">
                    <a:srgbClr val="6E747A">
                      <a:alpha val="43000"/>
                    </a:srgbClr>
                  </a:outerShdw>
                </a:effectLst>
                <a:latin typeface="Blackadder ITC" panose="04020505051007020D02" pitchFamily="82" charset="0"/>
              </a:rPr>
              <a:t>：</a:t>
            </a:r>
            <a:endParaRPr lang="en-US" altLang="zh-CN" sz="4800" b="0" cap="none" spc="0" dirty="0" smtClean="0">
              <a:ln w="0"/>
              <a:solidFill>
                <a:srgbClr val="CC3300"/>
              </a:solidFill>
              <a:effectLst>
                <a:outerShdw blurRad="38100" dist="25400" dir="5400000" algn="ctr" rotWithShape="0">
                  <a:srgbClr val="6E747A">
                    <a:alpha val="43000"/>
                  </a:srgbClr>
                </a:outerShdw>
              </a:effectLst>
              <a:latin typeface="Blackadder ITC" panose="04020505051007020D02" pitchFamily="82" charset="0"/>
            </a:endParaRPr>
          </a:p>
          <a:p>
            <a:pPr algn="ctr"/>
            <a:r>
              <a:rPr lang="zh-CN" altLang="en-US" sz="3200" b="0" cap="none" spc="0" dirty="0" smtClean="0">
                <a:ln w="0"/>
                <a:solidFill>
                  <a:schemeClr val="accent1"/>
                </a:solidFill>
                <a:effectLst>
                  <a:outerShdw blurRad="38100" dist="25400" dir="5400000" algn="ctr" rotWithShape="0">
                    <a:srgbClr val="6E747A">
                      <a:alpha val="43000"/>
                    </a:srgbClr>
                  </a:outerShdw>
                </a:effectLst>
              </a:rPr>
              <a:t>遵循面向对象设计原则的</a:t>
            </a:r>
            <a:r>
              <a:rPr lang="zh-CN" altLang="en-US" sz="4800" b="0" cap="none" spc="0" dirty="0" smtClean="0">
                <a:ln w="0"/>
                <a:solidFill>
                  <a:srgbClr val="CC3300"/>
                </a:solidFill>
                <a:effectLst>
                  <a:outerShdw blurRad="38100" dist="25400" dir="5400000" algn="ctr" rotWithShape="0">
                    <a:srgbClr val="6E747A">
                      <a:alpha val="43000"/>
                    </a:srgbClr>
                  </a:outerShdw>
                </a:effectLst>
                <a:latin typeface="华文行楷" panose="02010800040101010101" pitchFamily="2" charset="-122"/>
                <a:ea typeface="华文行楷" panose="02010800040101010101" pitchFamily="2" charset="-122"/>
              </a:rPr>
              <a:t>设计模式</a:t>
            </a:r>
            <a:endParaRPr lang="zh-CN" altLang="en-US" sz="4800" b="0" cap="none" spc="0" dirty="0">
              <a:ln w="0"/>
              <a:solidFill>
                <a:srgbClr val="CC3300"/>
              </a:solidFill>
              <a:effectLst>
                <a:outerShdw blurRad="38100" dist="25400" dir="5400000" algn="ctr" rotWithShape="0">
                  <a:srgbClr val="6E747A">
                    <a:alpha val="43000"/>
                  </a:srgbClr>
                </a:outerShdw>
              </a:effectLst>
              <a:latin typeface="华文行楷" panose="02010800040101010101" pitchFamily="2" charset="-122"/>
              <a:ea typeface="华文行楷" panose="02010800040101010101" pitchFamily="2" charset="-122"/>
            </a:endParaRPr>
          </a:p>
        </p:txBody>
      </p:sp>
    </p:spTree>
    <p:extLst>
      <p:ext uri="{BB962C8B-B14F-4D97-AF65-F5344CB8AC3E}">
        <p14:creationId xmlns:p14="http://schemas.microsoft.com/office/powerpoint/2010/main" val="4591276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标题 1"/>
          <p:cNvSpPr txBox="1">
            <a:spLocks/>
          </p:cNvSpPr>
          <p:nvPr/>
        </p:nvSpPr>
        <p:spPr>
          <a:xfrm>
            <a:off x="1264023" y="226532"/>
            <a:ext cx="10560464" cy="452005"/>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b="0" dirty="0">
                <a:latin typeface="Arial"/>
                <a:ea typeface="Microsoft YaHei"/>
                <a:cs typeface="+mn-ea"/>
                <a:sym typeface="Arial"/>
              </a:rPr>
              <a:t>练习</a:t>
            </a:r>
            <a:r>
              <a:rPr lang="zh-CN" altLang="en-US" b="0" dirty="0" smtClean="0">
                <a:latin typeface="Arial"/>
                <a:ea typeface="Microsoft YaHei"/>
                <a:cs typeface="+mn-ea"/>
                <a:sym typeface="Arial"/>
              </a:rPr>
              <a:t>：以下代码有什么问题？</a:t>
            </a:r>
            <a:endParaRPr lang="zh-CN" altLang="en-US" b="0" dirty="0">
              <a:latin typeface="Arial"/>
              <a:ea typeface="Microsoft YaHei"/>
              <a:cs typeface="+mn-ea"/>
              <a:sym typeface="Arial"/>
            </a:endParaRPr>
          </a:p>
        </p:txBody>
      </p:sp>
      <mc:AlternateContent xmlns:mc="http://schemas.openxmlformats.org/markup-compatibility/2006" xmlns:we="http://schemas.microsoft.com/office/webextensions/webextension/2010/11" xmlns:pca="http://schemas.microsoft.com/office/powerpoint/2013/contentapp">
        <mc:Choice Requires="we pca">
          <p:graphicFrame>
            <p:nvGraphicFramePr>
              <p:cNvPr id="4" name="加载项 3" title="Code Presenter Pro"/>
              <p:cNvGraphicFramePr>
                <a:graphicFrameLocks noGrp="1"/>
              </p:cNvGraphicFramePr>
              <p:nvPr>
                <p:extLst/>
              </p:nvPr>
            </p:nvGraphicFramePr>
            <p:xfrm>
              <a:off x="2015490" y="1440751"/>
              <a:ext cx="8161020" cy="4838701"/>
            </p:xfrm>
            <a:graphic>
              <a:graphicData uri="http://schemas.microsoft.com/office/webextensions/webextension/2010/11">
                <we:webextensionref xmlns:we="http://schemas.microsoft.com/office/webextensions/webextension/2010/11" xmlns:r="http://schemas.openxmlformats.org/officeDocument/2006/relationships" r:id="rId3"/>
              </a:graphicData>
            </a:graphic>
          </p:graphicFrame>
        </mc:Choice>
        <mc:Fallback xmlns="">
          <p:pic>
            <p:nvPicPr>
              <p:cNvPr id="4" name="加载项 3" title="Code Presenter Pro"/>
              <p:cNvPicPr>
                <a:picLocks noGrp="1" noRot="1" noChangeAspect="1" noMove="1" noResize="1" noEditPoints="1" noAdjustHandles="1" noChangeArrowheads="1" noChangeShapeType="1"/>
              </p:cNvPicPr>
              <p:nvPr/>
            </p:nvPicPr>
            <p:blipFill>
              <a:blip r:embed="rId4"/>
              <a:stretch>
                <a:fillRect/>
              </a:stretch>
            </p:blipFill>
            <p:spPr>
              <a:xfrm>
                <a:off x="2015490" y="1440751"/>
                <a:ext cx="8161020" cy="4838701"/>
              </a:xfrm>
              <a:prstGeom prst="rect">
                <a:avLst/>
              </a:prstGeom>
            </p:spPr>
          </p:pic>
        </mc:Fallback>
      </mc:AlternateContent>
      <p:sp>
        <p:nvSpPr>
          <p:cNvPr id="5" name="矩形 4"/>
          <p:cNvSpPr/>
          <p:nvPr/>
        </p:nvSpPr>
        <p:spPr>
          <a:xfrm>
            <a:off x="1786890" y="1247093"/>
            <a:ext cx="8618220" cy="522601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a:ea typeface="Microsoft YaHei"/>
              <a:cs typeface="+mn-ea"/>
              <a:sym typeface="Arial"/>
            </a:endParaRPr>
          </a:p>
        </p:txBody>
      </p:sp>
      <p:grpSp>
        <p:nvGrpSpPr>
          <p:cNvPr id="6" name="组合 5">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7" name="椭圆 6">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8" name="椭圆 7">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Tree>
    <p:extLst>
      <p:ext uri="{BB962C8B-B14F-4D97-AF65-F5344CB8AC3E}">
        <p14:creationId xmlns:p14="http://schemas.microsoft.com/office/powerpoint/2010/main" val="39544584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标题 1"/>
          <p:cNvSpPr txBox="1">
            <a:spLocks/>
          </p:cNvSpPr>
          <p:nvPr/>
        </p:nvSpPr>
        <p:spPr>
          <a:xfrm>
            <a:off x="1264023" y="226532"/>
            <a:ext cx="10560464" cy="452005"/>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b="0" dirty="0">
                <a:latin typeface="Arial"/>
                <a:ea typeface="Microsoft YaHei"/>
                <a:cs typeface="+mn-ea"/>
                <a:sym typeface="Arial"/>
              </a:rPr>
              <a:t>练习</a:t>
            </a:r>
            <a:r>
              <a:rPr lang="zh-CN" altLang="en-US" b="0" dirty="0" smtClean="0">
                <a:latin typeface="Arial"/>
                <a:ea typeface="Microsoft YaHei"/>
                <a:cs typeface="+mn-ea"/>
                <a:sym typeface="Arial"/>
              </a:rPr>
              <a:t>：</a:t>
            </a:r>
            <a:r>
              <a:rPr lang="zh-CN" altLang="en-US" b="0" dirty="0">
                <a:latin typeface="Arial"/>
                <a:ea typeface="Microsoft YaHei"/>
                <a:cs typeface="+mn-ea"/>
                <a:sym typeface="Arial"/>
              </a:rPr>
              <a:t>以下代码</a:t>
            </a:r>
            <a:r>
              <a:rPr lang="zh-CN" altLang="en-US" b="0" dirty="0" smtClean="0">
                <a:latin typeface="Arial"/>
                <a:ea typeface="Microsoft YaHei"/>
                <a:cs typeface="+mn-ea"/>
                <a:sym typeface="Arial"/>
              </a:rPr>
              <a:t>违反</a:t>
            </a:r>
            <a:r>
              <a:rPr lang="zh-CN" altLang="en-US" b="0" dirty="0">
                <a:latin typeface="Arial"/>
                <a:ea typeface="Microsoft YaHei"/>
                <a:cs typeface="+mn-ea"/>
                <a:sym typeface="Arial"/>
              </a:rPr>
              <a:t>哪个原则？</a:t>
            </a:r>
          </a:p>
        </p:txBody>
      </p:sp>
      <p:sp>
        <p:nvSpPr>
          <p:cNvPr id="5" name="矩形 4"/>
          <p:cNvSpPr/>
          <p:nvPr/>
        </p:nvSpPr>
        <p:spPr>
          <a:xfrm>
            <a:off x="1786890" y="1247093"/>
            <a:ext cx="8618220" cy="522601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a:ea typeface="Microsoft YaHei"/>
              <a:cs typeface="+mn-ea"/>
              <a:sym typeface="Arial"/>
            </a:endParaRPr>
          </a:p>
        </p:txBody>
      </p:sp>
      <p:grpSp>
        <p:nvGrpSpPr>
          <p:cNvPr id="6" name="组合 5">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7" name="椭圆 6">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8" name="椭圆 7">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grpSp>
        <p:nvGrpSpPr>
          <p:cNvPr id="9" name="组合 8"/>
          <p:cNvGrpSpPr/>
          <p:nvPr/>
        </p:nvGrpSpPr>
        <p:grpSpPr>
          <a:xfrm>
            <a:off x="1863110" y="1438835"/>
            <a:ext cx="8316314" cy="4814048"/>
            <a:chOff x="3413778" y="2322473"/>
            <a:chExt cx="5085112" cy="3326351"/>
          </a:xfrm>
        </p:grpSpPr>
        <p:pic>
          <p:nvPicPr>
            <p:cNvPr id="10" name="图片 9"/>
            <p:cNvPicPr>
              <a:picLocks noChangeAspect="1"/>
            </p:cNvPicPr>
            <p:nvPr/>
          </p:nvPicPr>
          <p:blipFill>
            <a:blip r:embed="rId3"/>
            <a:stretch>
              <a:fillRect/>
            </a:stretch>
          </p:blipFill>
          <p:spPr>
            <a:xfrm>
              <a:off x="3413778" y="2322473"/>
              <a:ext cx="5085112" cy="3326351"/>
            </a:xfrm>
            <a:prstGeom prst="rect">
              <a:avLst/>
            </a:prstGeom>
          </p:spPr>
        </p:pic>
        <p:cxnSp>
          <p:nvCxnSpPr>
            <p:cNvPr id="11" name="直接连接符 10"/>
            <p:cNvCxnSpPr/>
            <p:nvPr/>
          </p:nvCxnSpPr>
          <p:spPr>
            <a:xfrm>
              <a:off x="4391360" y="2705391"/>
              <a:ext cx="661626" cy="0"/>
            </a:xfrm>
            <a:prstGeom prst="line">
              <a:avLst/>
            </a:prstGeom>
            <a:ln w="254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2" name="矩形 11"/>
            <p:cNvSpPr/>
            <p:nvPr/>
          </p:nvSpPr>
          <p:spPr>
            <a:xfrm>
              <a:off x="4441371" y="2952206"/>
              <a:ext cx="3141618" cy="509451"/>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a:ea typeface="Microsoft YaHei"/>
                <a:cs typeface="+mn-ea"/>
                <a:sym typeface="Arial"/>
              </a:endParaRPr>
            </a:p>
          </p:txBody>
        </p:sp>
        <p:sp>
          <p:nvSpPr>
            <p:cNvPr id="13" name="矩形 12"/>
            <p:cNvSpPr/>
            <p:nvPr/>
          </p:nvSpPr>
          <p:spPr>
            <a:xfrm>
              <a:off x="4441371" y="3546566"/>
              <a:ext cx="3141618" cy="391885"/>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a:ea typeface="Microsoft YaHei"/>
                <a:cs typeface="+mn-ea"/>
                <a:sym typeface="Arial"/>
              </a:endParaRPr>
            </a:p>
          </p:txBody>
        </p:sp>
        <p:sp>
          <p:nvSpPr>
            <p:cNvPr id="14" name="矩形 13"/>
            <p:cNvSpPr/>
            <p:nvPr/>
          </p:nvSpPr>
          <p:spPr>
            <a:xfrm>
              <a:off x="4441371" y="4023360"/>
              <a:ext cx="3141618" cy="378823"/>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a:ea typeface="Microsoft YaHei"/>
                <a:cs typeface="+mn-ea"/>
                <a:sym typeface="Arial"/>
              </a:endParaRPr>
            </a:p>
          </p:txBody>
        </p:sp>
      </p:grpSp>
    </p:spTree>
    <p:extLst>
      <p:ext uri="{BB962C8B-B14F-4D97-AF65-F5344CB8AC3E}">
        <p14:creationId xmlns:p14="http://schemas.microsoft.com/office/powerpoint/2010/main" val="14847859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矩形 4"/>
          <p:cNvSpPr>
            <a:spLocks noChangeAspect="1"/>
          </p:cNvSpPr>
          <p:nvPr/>
        </p:nvSpPr>
        <p:spPr>
          <a:xfrm>
            <a:off x="0" y="0"/>
            <a:ext cx="12192000" cy="6858000"/>
          </a:xfrm>
          <a:prstGeom prst="rect">
            <a:avLst/>
          </a:prstGeom>
          <a:blipFill dpi="0" rotWithShape="1">
            <a:blip r:embed="rId3"/>
            <a:srcRect/>
            <a:stretch>
              <a:fillRect/>
            </a:stretch>
          </a:blipFill>
          <a:ln w="25400" cap="flat" cmpd="sng" algn="ctr">
            <a:noFill/>
            <a:prstDash val="solid"/>
          </a:ln>
          <a:effectLst/>
          <a:extLst>
            <a:ext uri="{91240B29-F687-4F45-9708-019B960494DF}">
              <a14:hiddenLine xmlns:a14="http://schemas.microsoft.com/office/drawing/2010/main" w="25400" cap="flat" cmpd="sng" algn="ctr">
                <a:solidFill>
                  <a:schemeClr val="dk1"/>
                </a:solidFill>
                <a:prstDash val="solid"/>
              </a14:hiddenLine>
            </a:ext>
          </a:extLst>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a:p>
        </p:txBody>
      </p:sp>
      <p:sp>
        <p:nvSpPr>
          <p:cNvPr id="6" name="矩形 5"/>
          <p:cNvSpPr/>
          <p:nvPr/>
        </p:nvSpPr>
        <p:spPr>
          <a:xfrm>
            <a:off x="4618671" y="2967335"/>
            <a:ext cx="2954656" cy="923330"/>
          </a:xfrm>
          <a:prstGeom prst="rect">
            <a:avLst/>
          </a:prstGeom>
          <a:noFill/>
        </p:spPr>
        <p:txBody>
          <a:bodyPr wrap="none" lIns="91440" tIns="45720" rIns="91440" bIns="45720">
            <a:spAutoFit/>
          </a:bodyPr>
          <a:lstStyle/>
          <a:p>
            <a:pPr algn="ctr"/>
            <a:r>
              <a:rPr lang="zh-CN" altLang="en-US" sz="5400" b="1" cap="none" spc="0" dirty="0" smtClean="0">
                <a:ln w="12700">
                  <a:solidFill>
                    <a:srgbClr val="BC9638"/>
                  </a:solidFill>
                  <a:prstDash val="solid"/>
                </a:ln>
                <a:solidFill>
                  <a:srgbClr val="FFC000"/>
                </a:solidFill>
                <a:effectLst>
                  <a:outerShdw dist="38100" dir="2640000" algn="bl" rotWithShape="0">
                    <a:schemeClr val="accent1"/>
                  </a:outerShdw>
                </a:effectLst>
              </a:rPr>
              <a:t>设计模式</a:t>
            </a:r>
            <a:endParaRPr lang="zh-CN" altLang="en-US" sz="5400" b="1" cap="none" spc="0" dirty="0">
              <a:ln w="12700">
                <a:solidFill>
                  <a:srgbClr val="BC9638"/>
                </a:solidFill>
                <a:prstDash val="solid"/>
              </a:ln>
              <a:solidFill>
                <a:srgbClr val="FFC000"/>
              </a:solidFill>
              <a:effectLst>
                <a:outerShdw dist="38100" dir="2640000" algn="bl" rotWithShape="0">
                  <a:schemeClr val="accent1"/>
                </a:outerShdw>
              </a:effectLst>
            </a:endParaRPr>
          </a:p>
        </p:txBody>
      </p:sp>
    </p:spTree>
    <p:extLst>
      <p:ext uri="{BB962C8B-B14F-4D97-AF65-F5344CB8AC3E}">
        <p14:creationId xmlns:p14="http://schemas.microsoft.com/office/powerpoint/2010/main" val="31731651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185989"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669925" y="1026203"/>
            <a:ext cx="11256131" cy="5097147"/>
            <a:chOff x="669925" y="1026203"/>
            <a:chExt cx="11256131" cy="5097147"/>
          </a:xfrm>
        </p:grpSpPr>
        <p:grpSp>
          <p:nvGrpSpPr>
            <p:cNvPr id="4" name="îšļïḓè">
              <a:extLst>
                <a:ext uri="{FF2B5EF4-FFF2-40B4-BE49-F238E27FC236}">
                  <a16:creationId xmlns:a16="http://schemas.microsoft.com/office/drawing/2014/main" id="{01463E7C-84E4-4239-B7AF-26EC426048A6}"/>
                </a:ext>
              </a:extLst>
            </p:cNvPr>
            <p:cNvGrpSpPr/>
            <p:nvPr/>
          </p:nvGrpSpPr>
          <p:grpSpPr>
            <a:xfrm>
              <a:off x="7623285" y="1026203"/>
              <a:ext cx="4302771" cy="3774398"/>
              <a:chOff x="5799708" y="985366"/>
              <a:chExt cx="5990753" cy="5255097"/>
            </a:xfrm>
          </p:grpSpPr>
          <p:sp>
            <p:nvSpPr>
              <p:cNvPr id="21" name="ísļiḓe">
                <a:extLst>
                  <a:ext uri="{FF2B5EF4-FFF2-40B4-BE49-F238E27FC236}">
                    <a16:creationId xmlns:a16="http://schemas.microsoft.com/office/drawing/2014/main" id="{A749C389-62E8-4010-86B4-38D09F94317C}"/>
                  </a:ext>
                </a:extLst>
              </p:cNvPr>
              <p:cNvSpPr/>
              <p:nvPr/>
            </p:nvSpPr>
            <p:spPr bwMode="auto">
              <a:xfrm flipH="1" flipV="1">
                <a:off x="5808880" y="1130296"/>
                <a:ext cx="5416904" cy="5110167"/>
              </a:xfrm>
              <a:prstGeom prst="rtTriangle">
                <a:avLst/>
              </a:prstGeom>
              <a:solidFill>
                <a:schemeClr val="tx2">
                  <a:lumMod val="20000"/>
                  <a:lumOff val="8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ormAutofit/>
              </a:bodyPr>
              <a:lstStyle/>
              <a:p>
                <a:pPr algn="ctr" defTabSz="914377"/>
                <a:endParaRPr lang="zh-CN" altLang="en-US" sz="2000" b="1" dirty="0">
                  <a:solidFill>
                    <a:schemeClr val="lt1"/>
                  </a:solidFill>
                </a:endParaRPr>
              </a:p>
            </p:txBody>
          </p:sp>
          <p:sp>
            <p:nvSpPr>
              <p:cNvPr id="22" name="i$ļíḑe">
                <a:extLst>
                  <a:ext uri="{FF2B5EF4-FFF2-40B4-BE49-F238E27FC236}">
                    <a16:creationId xmlns:a16="http://schemas.microsoft.com/office/drawing/2014/main" id="{43846234-672E-43F1-9104-3C0B231D1BBC}"/>
                  </a:ext>
                </a:extLst>
              </p:cNvPr>
              <p:cNvSpPr/>
              <p:nvPr/>
            </p:nvSpPr>
            <p:spPr>
              <a:xfrm rot="16200000" flipH="1">
                <a:off x="6037707" y="892301"/>
                <a:ext cx="4950078" cy="5426075"/>
              </a:xfrm>
              <a:prstGeom prst="rtTriangle">
                <a:avLst/>
              </a:prstGeom>
              <a:pattFill prst="pct5">
                <a:fgClr>
                  <a:srgbClr val="E4E6EA"/>
                </a:fgClr>
                <a:bgClr>
                  <a:srgbClr val="ADB5BF"/>
                </a:bgClr>
              </a:pattFill>
              <a:ln w="1905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377"/>
                <a:endParaRPr lang="zh-CN" altLang="en-US"/>
              </a:p>
            </p:txBody>
          </p:sp>
          <p:sp>
            <p:nvSpPr>
              <p:cNvPr id="23" name="í$ḻîḓe">
                <a:extLst>
                  <a:ext uri="{FF2B5EF4-FFF2-40B4-BE49-F238E27FC236}">
                    <a16:creationId xmlns:a16="http://schemas.microsoft.com/office/drawing/2014/main" id="{D226A33D-7D6E-435B-8D8B-CE5E27963342}"/>
                  </a:ext>
                </a:extLst>
              </p:cNvPr>
              <p:cNvSpPr/>
              <p:nvPr/>
            </p:nvSpPr>
            <p:spPr bwMode="auto">
              <a:xfrm flipH="1" flipV="1">
                <a:off x="6480320" y="985366"/>
                <a:ext cx="5310141" cy="4950077"/>
              </a:xfrm>
              <a:prstGeom prst="rtTriangle">
                <a:avLst/>
              </a:prstGeom>
              <a:solidFill>
                <a:schemeClr val="tx1">
                  <a:alpha val="7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ormAutofit/>
              </a:bodyPr>
              <a:lstStyle/>
              <a:p>
                <a:pPr algn="ctr" defTabSz="914377"/>
                <a:endParaRPr lang="zh-CN" altLang="en-US" sz="2000" b="1" dirty="0">
                  <a:solidFill>
                    <a:schemeClr val="lt1"/>
                  </a:solidFill>
                </a:endParaRPr>
              </a:p>
            </p:txBody>
          </p:sp>
        </p:grpSp>
        <p:grpSp>
          <p:nvGrpSpPr>
            <p:cNvPr id="6" name="îšliḍé">
              <a:extLst>
                <a:ext uri="{FF2B5EF4-FFF2-40B4-BE49-F238E27FC236}">
                  <a16:creationId xmlns:a16="http://schemas.microsoft.com/office/drawing/2014/main" id="{34CBD522-67FF-4F9D-B85B-109718E1C88C}"/>
                </a:ext>
              </a:extLst>
            </p:cNvPr>
            <p:cNvGrpSpPr/>
            <p:nvPr/>
          </p:nvGrpSpPr>
          <p:grpSpPr>
            <a:xfrm>
              <a:off x="702135" y="2349500"/>
              <a:ext cx="759637" cy="3773850"/>
              <a:chOff x="626721" y="2349500"/>
              <a:chExt cx="759637" cy="3773850"/>
            </a:xfrm>
          </p:grpSpPr>
          <p:sp>
            <p:nvSpPr>
              <p:cNvPr id="18" name="išḻîďê">
                <a:extLst>
                  <a:ext uri="{FF2B5EF4-FFF2-40B4-BE49-F238E27FC236}">
                    <a16:creationId xmlns:a16="http://schemas.microsoft.com/office/drawing/2014/main" id="{BCF2376D-61BD-4760-9A4F-D5358BA494F9}"/>
                  </a:ext>
                </a:extLst>
              </p:cNvPr>
              <p:cNvSpPr/>
              <p:nvPr/>
            </p:nvSpPr>
            <p:spPr>
              <a:xfrm>
                <a:off x="626721" y="2349500"/>
                <a:ext cx="498332" cy="48210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lnSpcReduction="10000"/>
              </a:bodyPr>
              <a:lstStyle/>
              <a:p>
                <a:pPr algn="ctr">
                  <a:lnSpc>
                    <a:spcPct val="110000"/>
                  </a:lnSpc>
                </a:pPr>
                <a:r>
                  <a:rPr lang="en-US" altLang="zh-CN" sz="1600" b="1" dirty="0">
                    <a:solidFill>
                      <a:schemeClr val="bg1"/>
                    </a:solidFill>
                  </a:rPr>
                  <a:t>1</a:t>
                </a:r>
              </a:p>
            </p:txBody>
          </p:sp>
          <p:sp>
            <p:nvSpPr>
              <p:cNvPr id="19" name="ïsḻïḋe">
                <a:extLst>
                  <a:ext uri="{FF2B5EF4-FFF2-40B4-BE49-F238E27FC236}">
                    <a16:creationId xmlns:a16="http://schemas.microsoft.com/office/drawing/2014/main" id="{BF2257CC-59B7-4F9D-8F3C-D12F4673F8CC}"/>
                  </a:ext>
                </a:extLst>
              </p:cNvPr>
              <p:cNvSpPr/>
              <p:nvPr/>
            </p:nvSpPr>
            <p:spPr>
              <a:xfrm>
                <a:off x="670967" y="5444744"/>
                <a:ext cx="715391" cy="678606"/>
              </a:xfrm>
              <a:custGeom>
                <a:avLst/>
                <a:gdLst>
                  <a:gd name="T0" fmla="*/ 1312 w 1990"/>
                  <a:gd name="T1" fmla="*/ 1552 h 1954"/>
                  <a:gd name="T2" fmla="*/ 291 w 1990"/>
                  <a:gd name="T3" fmla="*/ 1746 h 1954"/>
                  <a:gd name="T4" fmla="*/ 0 w 1990"/>
                  <a:gd name="T5" fmla="*/ 540 h 1954"/>
                  <a:gd name="T6" fmla="*/ 515 w 1990"/>
                  <a:gd name="T7" fmla="*/ 249 h 1954"/>
                  <a:gd name="T8" fmla="*/ 1205 w 1990"/>
                  <a:gd name="T9" fmla="*/ 0 h 1954"/>
                  <a:gd name="T10" fmla="*/ 1496 w 1990"/>
                  <a:gd name="T11" fmla="*/ 489 h 1954"/>
                  <a:gd name="T12" fmla="*/ 1413 w 1990"/>
                  <a:gd name="T13" fmla="*/ 291 h 1954"/>
                  <a:gd name="T14" fmla="*/ 802 w 1990"/>
                  <a:gd name="T15" fmla="*/ 83 h 1954"/>
                  <a:gd name="T16" fmla="*/ 1039 w 1990"/>
                  <a:gd name="T17" fmla="*/ 249 h 1954"/>
                  <a:gd name="T18" fmla="*/ 1243 w 1990"/>
                  <a:gd name="T19" fmla="*/ 499 h 1954"/>
                  <a:gd name="T20" fmla="*/ 291 w 1990"/>
                  <a:gd name="T21" fmla="*/ 333 h 1954"/>
                  <a:gd name="T22" fmla="*/ 83 w 1990"/>
                  <a:gd name="T23" fmla="*/ 1455 h 1954"/>
                  <a:gd name="T24" fmla="*/ 1039 w 1990"/>
                  <a:gd name="T25" fmla="*/ 1663 h 1954"/>
                  <a:gd name="T26" fmla="*/ 1641 w 1990"/>
                  <a:gd name="T27" fmla="*/ 1453 h 1954"/>
                  <a:gd name="T28" fmla="*/ 1138 w 1990"/>
                  <a:gd name="T29" fmla="*/ 583 h 1954"/>
                  <a:gd name="T30" fmla="*/ 1641 w 1990"/>
                  <a:gd name="T31" fmla="*/ 1453 h 1954"/>
                  <a:gd name="T32" fmla="*/ 1752 w 1990"/>
                  <a:gd name="T33" fmla="*/ 809 h 1954"/>
                  <a:gd name="T34" fmla="*/ 1026 w 1990"/>
                  <a:gd name="T35" fmla="*/ 1228 h 1954"/>
                  <a:gd name="T36" fmla="*/ 1767 w 1990"/>
                  <a:gd name="T37" fmla="*/ 1422 h 1954"/>
                  <a:gd name="T38" fmla="*/ 1717 w 1990"/>
                  <a:gd name="T39" fmla="*/ 1835 h 1954"/>
                  <a:gd name="T40" fmla="*/ 1767 w 1990"/>
                  <a:gd name="T41" fmla="*/ 1422 h 1954"/>
                  <a:gd name="T42" fmla="*/ 1739 w 1990"/>
                  <a:gd name="T43" fmla="*/ 1874 h 1954"/>
                  <a:gd name="T44" fmla="*/ 1956 w 1990"/>
                  <a:gd name="T45" fmla="*/ 1749 h 1954"/>
                  <a:gd name="T46" fmla="*/ 249 w 1990"/>
                  <a:gd name="T47" fmla="*/ 551 h 1954"/>
                  <a:gd name="T48" fmla="*/ 803 w 1990"/>
                  <a:gd name="T49" fmla="*/ 613 h 1954"/>
                  <a:gd name="T50" fmla="*/ 675 w 1990"/>
                  <a:gd name="T51" fmla="*/ 828 h 1954"/>
                  <a:gd name="T52" fmla="*/ 249 w 1990"/>
                  <a:gd name="T53" fmla="*/ 890 h 1954"/>
                  <a:gd name="T54" fmla="*/ 675 w 1990"/>
                  <a:gd name="T55" fmla="*/ 828 h 1954"/>
                  <a:gd name="T56" fmla="*/ 675 w 1990"/>
                  <a:gd name="T57" fmla="*/ 1167 h 1954"/>
                  <a:gd name="T58" fmla="*/ 249 w 1990"/>
                  <a:gd name="T59" fmla="*/ 1105 h 1954"/>
                  <a:gd name="T60" fmla="*/ 249 w 1990"/>
                  <a:gd name="T61" fmla="*/ 1444 h 1954"/>
                  <a:gd name="T62" fmla="*/ 803 w 1990"/>
                  <a:gd name="T63" fmla="*/ 1382 h 1954"/>
                  <a:gd name="T64" fmla="*/ 249 w 1990"/>
                  <a:gd name="T65" fmla="*/ 1444 h 1954"/>
                  <a:gd name="T66" fmla="*/ 1179 w 1990"/>
                  <a:gd name="T67" fmla="*/ 961 h 1954"/>
                  <a:gd name="T68" fmla="*/ 1300 w 1990"/>
                  <a:gd name="T69" fmla="*/ 1219 h 1954"/>
                  <a:gd name="T70" fmla="*/ 1604 w 1990"/>
                  <a:gd name="T71" fmla="*/ 858 h 1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90" h="1954">
                    <a:moveTo>
                      <a:pt x="1231" y="1534"/>
                    </a:moveTo>
                    <a:cubicBezTo>
                      <a:pt x="1258" y="1542"/>
                      <a:pt x="1285" y="1548"/>
                      <a:pt x="1312" y="1552"/>
                    </a:cubicBezTo>
                    <a:cubicBezTo>
                      <a:pt x="1272" y="1665"/>
                      <a:pt x="1165" y="1746"/>
                      <a:pt x="1039" y="1746"/>
                    </a:cubicBezTo>
                    <a:lnTo>
                      <a:pt x="291" y="1746"/>
                    </a:lnTo>
                    <a:cubicBezTo>
                      <a:pt x="131" y="1746"/>
                      <a:pt x="0" y="1615"/>
                      <a:pt x="0" y="1455"/>
                    </a:cubicBezTo>
                    <a:lnTo>
                      <a:pt x="0" y="540"/>
                    </a:lnTo>
                    <a:cubicBezTo>
                      <a:pt x="0" y="380"/>
                      <a:pt x="131" y="249"/>
                      <a:pt x="291" y="249"/>
                    </a:cubicBezTo>
                    <a:lnTo>
                      <a:pt x="515" y="249"/>
                    </a:lnTo>
                    <a:cubicBezTo>
                      <a:pt x="535" y="109"/>
                      <a:pt x="656" y="0"/>
                      <a:pt x="802" y="0"/>
                    </a:cubicBezTo>
                    <a:lnTo>
                      <a:pt x="1205" y="0"/>
                    </a:lnTo>
                    <a:cubicBezTo>
                      <a:pt x="1366" y="0"/>
                      <a:pt x="1496" y="131"/>
                      <a:pt x="1496" y="291"/>
                    </a:cubicBezTo>
                    <a:lnTo>
                      <a:pt x="1496" y="489"/>
                    </a:lnTo>
                    <a:cubicBezTo>
                      <a:pt x="1469" y="484"/>
                      <a:pt x="1441" y="480"/>
                      <a:pt x="1413" y="479"/>
                    </a:cubicBezTo>
                    <a:lnTo>
                      <a:pt x="1413" y="291"/>
                    </a:lnTo>
                    <a:cubicBezTo>
                      <a:pt x="1413" y="176"/>
                      <a:pt x="1320" y="83"/>
                      <a:pt x="1205" y="83"/>
                    </a:cubicBezTo>
                    <a:lnTo>
                      <a:pt x="802" y="83"/>
                    </a:lnTo>
                    <a:cubicBezTo>
                      <a:pt x="701" y="83"/>
                      <a:pt x="617" y="155"/>
                      <a:pt x="598" y="249"/>
                    </a:cubicBezTo>
                    <a:lnTo>
                      <a:pt x="1039" y="249"/>
                    </a:lnTo>
                    <a:cubicBezTo>
                      <a:pt x="1180" y="249"/>
                      <a:pt x="1297" y="349"/>
                      <a:pt x="1324" y="482"/>
                    </a:cubicBezTo>
                    <a:cubicBezTo>
                      <a:pt x="1297" y="485"/>
                      <a:pt x="1270" y="491"/>
                      <a:pt x="1243" y="499"/>
                    </a:cubicBezTo>
                    <a:cubicBezTo>
                      <a:pt x="1224" y="404"/>
                      <a:pt x="1140" y="333"/>
                      <a:pt x="1039" y="333"/>
                    </a:cubicBezTo>
                    <a:lnTo>
                      <a:pt x="291" y="333"/>
                    </a:lnTo>
                    <a:cubicBezTo>
                      <a:pt x="177" y="333"/>
                      <a:pt x="83" y="426"/>
                      <a:pt x="83" y="540"/>
                    </a:cubicBezTo>
                    <a:lnTo>
                      <a:pt x="83" y="1455"/>
                    </a:lnTo>
                    <a:cubicBezTo>
                      <a:pt x="83" y="1569"/>
                      <a:pt x="177" y="1663"/>
                      <a:pt x="291" y="1663"/>
                    </a:cubicBezTo>
                    <a:lnTo>
                      <a:pt x="1039" y="1663"/>
                    </a:lnTo>
                    <a:cubicBezTo>
                      <a:pt x="1126" y="1663"/>
                      <a:pt x="1200" y="1609"/>
                      <a:pt x="1231" y="1534"/>
                    </a:cubicBezTo>
                    <a:close/>
                    <a:moveTo>
                      <a:pt x="1641" y="1453"/>
                    </a:moveTo>
                    <a:cubicBezTo>
                      <a:pt x="1401" y="1591"/>
                      <a:pt x="1093" y="1509"/>
                      <a:pt x="955" y="1269"/>
                    </a:cubicBezTo>
                    <a:cubicBezTo>
                      <a:pt x="816" y="1029"/>
                      <a:pt x="899" y="722"/>
                      <a:pt x="1138" y="583"/>
                    </a:cubicBezTo>
                    <a:cubicBezTo>
                      <a:pt x="1378" y="445"/>
                      <a:pt x="1686" y="527"/>
                      <a:pt x="1824" y="767"/>
                    </a:cubicBezTo>
                    <a:cubicBezTo>
                      <a:pt x="1963" y="1007"/>
                      <a:pt x="1880" y="1314"/>
                      <a:pt x="1641" y="1453"/>
                    </a:cubicBezTo>
                    <a:close/>
                    <a:moveTo>
                      <a:pt x="1599" y="1381"/>
                    </a:moveTo>
                    <a:cubicBezTo>
                      <a:pt x="1799" y="1266"/>
                      <a:pt x="1868" y="1009"/>
                      <a:pt x="1752" y="809"/>
                    </a:cubicBezTo>
                    <a:cubicBezTo>
                      <a:pt x="1637" y="608"/>
                      <a:pt x="1380" y="539"/>
                      <a:pt x="1180" y="655"/>
                    </a:cubicBezTo>
                    <a:cubicBezTo>
                      <a:pt x="980" y="771"/>
                      <a:pt x="911" y="1027"/>
                      <a:pt x="1026" y="1228"/>
                    </a:cubicBezTo>
                    <a:cubicBezTo>
                      <a:pt x="1142" y="1428"/>
                      <a:pt x="1399" y="1497"/>
                      <a:pt x="1599" y="1381"/>
                    </a:cubicBezTo>
                    <a:close/>
                    <a:moveTo>
                      <a:pt x="1767" y="1422"/>
                    </a:moveTo>
                    <a:lnTo>
                      <a:pt x="1551" y="1547"/>
                    </a:lnTo>
                    <a:lnTo>
                      <a:pt x="1717" y="1835"/>
                    </a:lnTo>
                    <a:lnTo>
                      <a:pt x="1933" y="1710"/>
                    </a:lnTo>
                    <a:lnTo>
                      <a:pt x="1767" y="1422"/>
                    </a:lnTo>
                    <a:close/>
                    <a:moveTo>
                      <a:pt x="1956" y="1749"/>
                    </a:moveTo>
                    <a:lnTo>
                      <a:pt x="1739" y="1874"/>
                    </a:lnTo>
                    <a:cubicBezTo>
                      <a:pt x="1774" y="1934"/>
                      <a:pt x="1850" y="1954"/>
                      <a:pt x="1910" y="1919"/>
                    </a:cubicBezTo>
                    <a:cubicBezTo>
                      <a:pt x="1969" y="1885"/>
                      <a:pt x="1990" y="1809"/>
                      <a:pt x="1956" y="1749"/>
                    </a:cubicBezTo>
                    <a:close/>
                    <a:moveTo>
                      <a:pt x="803" y="551"/>
                    </a:moveTo>
                    <a:lnTo>
                      <a:pt x="249" y="551"/>
                    </a:lnTo>
                    <a:lnTo>
                      <a:pt x="249" y="613"/>
                    </a:lnTo>
                    <a:lnTo>
                      <a:pt x="803" y="613"/>
                    </a:lnTo>
                    <a:lnTo>
                      <a:pt x="803" y="551"/>
                    </a:lnTo>
                    <a:close/>
                    <a:moveTo>
                      <a:pt x="675" y="828"/>
                    </a:moveTo>
                    <a:lnTo>
                      <a:pt x="249" y="828"/>
                    </a:lnTo>
                    <a:lnTo>
                      <a:pt x="249" y="890"/>
                    </a:lnTo>
                    <a:lnTo>
                      <a:pt x="675" y="890"/>
                    </a:lnTo>
                    <a:lnTo>
                      <a:pt x="675" y="828"/>
                    </a:lnTo>
                    <a:close/>
                    <a:moveTo>
                      <a:pt x="249" y="1167"/>
                    </a:moveTo>
                    <a:lnTo>
                      <a:pt x="675" y="1167"/>
                    </a:lnTo>
                    <a:lnTo>
                      <a:pt x="675" y="1105"/>
                    </a:lnTo>
                    <a:lnTo>
                      <a:pt x="249" y="1105"/>
                    </a:lnTo>
                    <a:lnTo>
                      <a:pt x="249" y="1167"/>
                    </a:lnTo>
                    <a:close/>
                    <a:moveTo>
                      <a:pt x="249" y="1444"/>
                    </a:moveTo>
                    <a:lnTo>
                      <a:pt x="803" y="1444"/>
                    </a:lnTo>
                    <a:lnTo>
                      <a:pt x="803" y="1382"/>
                    </a:lnTo>
                    <a:lnTo>
                      <a:pt x="249" y="1382"/>
                    </a:lnTo>
                    <a:lnTo>
                      <a:pt x="249" y="1444"/>
                    </a:lnTo>
                    <a:close/>
                    <a:moveTo>
                      <a:pt x="1308" y="1105"/>
                    </a:moveTo>
                    <a:lnTo>
                      <a:pt x="1179" y="961"/>
                    </a:lnTo>
                    <a:lnTo>
                      <a:pt x="1118" y="1017"/>
                    </a:lnTo>
                    <a:lnTo>
                      <a:pt x="1300" y="1219"/>
                    </a:lnTo>
                    <a:lnTo>
                      <a:pt x="1657" y="922"/>
                    </a:lnTo>
                    <a:lnTo>
                      <a:pt x="1604" y="858"/>
                    </a:lnTo>
                    <a:lnTo>
                      <a:pt x="1308" y="1105"/>
                    </a:lnTo>
                    <a:close/>
                  </a:path>
                </a:pathLst>
              </a:cu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endParaRPr/>
              </a:p>
            </p:txBody>
          </p:sp>
        </p:grpSp>
        <p:grpSp>
          <p:nvGrpSpPr>
            <p:cNvPr id="7" name="îšliḍê">
              <a:extLst>
                <a:ext uri="{FF2B5EF4-FFF2-40B4-BE49-F238E27FC236}">
                  <a16:creationId xmlns:a16="http://schemas.microsoft.com/office/drawing/2014/main" id="{41C43039-84D1-457A-91FC-70D884416A5D}"/>
                </a:ext>
              </a:extLst>
            </p:cNvPr>
            <p:cNvGrpSpPr/>
            <p:nvPr/>
          </p:nvGrpSpPr>
          <p:grpSpPr>
            <a:xfrm>
              <a:off x="4043363" y="2349500"/>
              <a:ext cx="750147" cy="3773850"/>
              <a:chOff x="636211" y="2349500"/>
              <a:chExt cx="750147" cy="3773850"/>
            </a:xfrm>
          </p:grpSpPr>
          <p:sp>
            <p:nvSpPr>
              <p:cNvPr id="15" name="îşḷíḍe">
                <a:extLst>
                  <a:ext uri="{FF2B5EF4-FFF2-40B4-BE49-F238E27FC236}">
                    <a16:creationId xmlns:a16="http://schemas.microsoft.com/office/drawing/2014/main" id="{EA079DA2-AD5D-46B6-8BDA-55A5EB6E883A}"/>
                  </a:ext>
                </a:extLst>
              </p:cNvPr>
              <p:cNvSpPr/>
              <p:nvPr/>
            </p:nvSpPr>
            <p:spPr>
              <a:xfrm>
                <a:off x="636211" y="2349500"/>
                <a:ext cx="498332" cy="48210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lnSpcReduction="10000"/>
              </a:bodyPr>
              <a:lstStyle/>
              <a:p>
                <a:pPr algn="ctr">
                  <a:lnSpc>
                    <a:spcPct val="110000"/>
                  </a:lnSpc>
                </a:pPr>
                <a:r>
                  <a:rPr lang="en-US" altLang="zh-CN" sz="1600" b="1" dirty="0">
                    <a:solidFill>
                      <a:schemeClr val="bg1"/>
                    </a:solidFill>
                  </a:rPr>
                  <a:t>2</a:t>
                </a:r>
              </a:p>
            </p:txBody>
          </p:sp>
          <p:sp>
            <p:nvSpPr>
              <p:cNvPr id="16" name="ïṣľiďé">
                <a:extLst>
                  <a:ext uri="{FF2B5EF4-FFF2-40B4-BE49-F238E27FC236}">
                    <a16:creationId xmlns:a16="http://schemas.microsoft.com/office/drawing/2014/main" id="{5E22FD8F-4417-4DC7-8202-474614555792}"/>
                  </a:ext>
                </a:extLst>
              </p:cNvPr>
              <p:cNvSpPr/>
              <p:nvPr/>
            </p:nvSpPr>
            <p:spPr>
              <a:xfrm>
                <a:off x="670967" y="5444744"/>
                <a:ext cx="715391" cy="678606"/>
              </a:xfrm>
              <a:custGeom>
                <a:avLst/>
                <a:gdLst>
                  <a:gd name="T0" fmla="*/ 1312 w 1990"/>
                  <a:gd name="T1" fmla="*/ 1552 h 1954"/>
                  <a:gd name="T2" fmla="*/ 291 w 1990"/>
                  <a:gd name="T3" fmla="*/ 1746 h 1954"/>
                  <a:gd name="T4" fmla="*/ 0 w 1990"/>
                  <a:gd name="T5" fmla="*/ 540 h 1954"/>
                  <a:gd name="T6" fmla="*/ 515 w 1990"/>
                  <a:gd name="T7" fmla="*/ 249 h 1954"/>
                  <a:gd name="T8" fmla="*/ 1205 w 1990"/>
                  <a:gd name="T9" fmla="*/ 0 h 1954"/>
                  <a:gd name="T10" fmla="*/ 1496 w 1990"/>
                  <a:gd name="T11" fmla="*/ 489 h 1954"/>
                  <a:gd name="T12" fmla="*/ 1413 w 1990"/>
                  <a:gd name="T13" fmla="*/ 291 h 1954"/>
                  <a:gd name="T14" fmla="*/ 802 w 1990"/>
                  <a:gd name="T15" fmla="*/ 83 h 1954"/>
                  <a:gd name="T16" fmla="*/ 1039 w 1990"/>
                  <a:gd name="T17" fmla="*/ 249 h 1954"/>
                  <a:gd name="T18" fmla="*/ 1243 w 1990"/>
                  <a:gd name="T19" fmla="*/ 499 h 1954"/>
                  <a:gd name="T20" fmla="*/ 291 w 1990"/>
                  <a:gd name="T21" fmla="*/ 333 h 1954"/>
                  <a:gd name="T22" fmla="*/ 83 w 1990"/>
                  <a:gd name="T23" fmla="*/ 1455 h 1954"/>
                  <a:gd name="T24" fmla="*/ 1039 w 1990"/>
                  <a:gd name="T25" fmla="*/ 1663 h 1954"/>
                  <a:gd name="T26" fmla="*/ 1641 w 1990"/>
                  <a:gd name="T27" fmla="*/ 1453 h 1954"/>
                  <a:gd name="T28" fmla="*/ 1138 w 1990"/>
                  <a:gd name="T29" fmla="*/ 583 h 1954"/>
                  <a:gd name="T30" fmla="*/ 1641 w 1990"/>
                  <a:gd name="T31" fmla="*/ 1453 h 1954"/>
                  <a:gd name="T32" fmla="*/ 1752 w 1990"/>
                  <a:gd name="T33" fmla="*/ 809 h 1954"/>
                  <a:gd name="T34" fmla="*/ 1026 w 1990"/>
                  <a:gd name="T35" fmla="*/ 1228 h 1954"/>
                  <a:gd name="T36" fmla="*/ 1767 w 1990"/>
                  <a:gd name="T37" fmla="*/ 1422 h 1954"/>
                  <a:gd name="T38" fmla="*/ 1717 w 1990"/>
                  <a:gd name="T39" fmla="*/ 1835 h 1954"/>
                  <a:gd name="T40" fmla="*/ 1767 w 1990"/>
                  <a:gd name="T41" fmla="*/ 1422 h 1954"/>
                  <a:gd name="T42" fmla="*/ 1739 w 1990"/>
                  <a:gd name="T43" fmla="*/ 1874 h 1954"/>
                  <a:gd name="T44" fmla="*/ 1956 w 1990"/>
                  <a:gd name="T45" fmla="*/ 1749 h 1954"/>
                  <a:gd name="T46" fmla="*/ 249 w 1990"/>
                  <a:gd name="T47" fmla="*/ 551 h 1954"/>
                  <a:gd name="T48" fmla="*/ 803 w 1990"/>
                  <a:gd name="T49" fmla="*/ 613 h 1954"/>
                  <a:gd name="T50" fmla="*/ 675 w 1990"/>
                  <a:gd name="T51" fmla="*/ 828 h 1954"/>
                  <a:gd name="T52" fmla="*/ 249 w 1990"/>
                  <a:gd name="T53" fmla="*/ 890 h 1954"/>
                  <a:gd name="T54" fmla="*/ 675 w 1990"/>
                  <a:gd name="T55" fmla="*/ 828 h 1954"/>
                  <a:gd name="T56" fmla="*/ 675 w 1990"/>
                  <a:gd name="T57" fmla="*/ 1167 h 1954"/>
                  <a:gd name="T58" fmla="*/ 249 w 1990"/>
                  <a:gd name="T59" fmla="*/ 1105 h 1954"/>
                  <a:gd name="T60" fmla="*/ 249 w 1990"/>
                  <a:gd name="T61" fmla="*/ 1444 h 1954"/>
                  <a:gd name="T62" fmla="*/ 803 w 1990"/>
                  <a:gd name="T63" fmla="*/ 1382 h 1954"/>
                  <a:gd name="T64" fmla="*/ 249 w 1990"/>
                  <a:gd name="T65" fmla="*/ 1444 h 1954"/>
                  <a:gd name="T66" fmla="*/ 1179 w 1990"/>
                  <a:gd name="T67" fmla="*/ 961 h 1954"/>
                  <a:gd name="T68" fmla="*/ 1300 w 1990"/>
                  <a:gd name="T69" fmla="*/ 1219 h 1954"/>
                  <a:gd name="T70" fmla="*/ 1604 w 1990"/>
                  <a:gd name="T71" fmla="*/ 858 h 1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90" h="1954">
                    <a:moveTo>
                      <a:pt x="1231" y="1534"/>
                    </a:moveTo>
                    <a:cubicBezTo>
                      <a:pt x="1258" y="1542"/>
                      <a:pt x="1285" y="1548"/>
                      <a:pt x="1312" y="1552"/>
                    </a:cubicBezTo>
                    <a:cubicBezTo>
                      <a:pt x="1272" y="1665"/>
                      <a:pt x="1165" y="1746"/>
                      <a:pt x="1039" y="1746"/>
                    </a:cubicBezTo>
                    <a:lnTo>
                      <a:pt x="291" y="1746"/>
                    </a:lnTo>
                    <a:cubicBezTo>
                      <a:pt x="131" y="1746"/>
                      <a:pt x="0" y="1615"/>
                      <a:pt x="0" y="1455"/>
                    </a:cubicBezTo>
                    <a:lnTo>
                      <a:pt x="0" y="540"/>
                    </a:lnTo>
                    <a:cubicBezTo>
                      <a:pt x="0" y="380"/>
                      <a:pt x="131" y="249"/>
                      <a:pt x="291" y="249"/>
                    </a:cubicBezTo>
                    <a:lnTo>
                      <a:pt x="515" y="249"/>
                    </a:lnTo>
                    <a:cubicBezTo>
                      <a:pt x="535" y="109"/>
                      <a:pt x="656" y="0"/>
                      <a:pt x="802" y="0"/>
                    </a:cubicBezTo>
                    <a:lnTo>
                      <a:pt x="1205" y="0"/>
                    </a:lnTo>
                    <a:cubicBezTo>
                      <a:pt x="1366" y="0"/>
                      <a:pt x="1496" y="131"/>
                      <a:pt x="1496" y="291"/>
                    </a:cubicBezTo>
                    <a:lnTo>
                      <a:pt x="1496" y="489"/>
                    </a:lnTo>
                    <a:cubicBezTo>
                      <a:pt x="1469" y="484"/>
                      <a:pt x="1441" y="480"/>
                      <a:pt x="1413" y="479"/>
                    </a:cubicBezTo>
                    <a:lnTo>
                      <a:pt x="1413" y="291"/>
                    </a:lnTo>
                    <a:cubicBezTo>
                      <a:pt x="1413" y="176"/>
                      <a:pt x="1320" y="83"/>
                      <a:pt x="1205" y="83"/>
                    </a:cubicBezTo>
                    <a:lnTo>
                      <a:pt x="802" y="83"/>
                    </a:lnTo>
                    <a:cubicBezTo>
                      <a:pt x="701" y="83"/>
                      <a:pt x="617" y="155"/>
                      <a:pt x="598" y="249"/>
                    </a:cubicBezTo>
                    <a:lnTo>
                      <a:pt x="1039" y="249"/>
                    </a:lnTo>
                    <a:cubicBezTo>
                      <a:pt x="1180" y="249"/>
                      <a:pt x="1297" y="349"/>
                      <a:pt x="1324" y="482"/>
                    </a:cubicBezTo>
                    <a:cubicBezTo>
                      <a:pt x="1297" y="485"/>
                      <a:pt x="1270" y="491"/>
                      <a:pt x="1243" y="499"/>
                    </a:cubicBezTo>
                    <a:cubicBezTo>
                      <a:pt x="1224" y="404"/>
                      <a:pt x="1140" y="333"/>
                      <a:pt x="1039" y="333"/>
                    </a:cubicBezTo>
                    <a:lnTo>
                      <a:pt x="291" y="333"/>
                    </a:lnTo>
                    <a:cubicBezTo>
                      <a:pt x="177" y="333"/>
                      <a:pt x="83" y="426"/>
                      <a:pt x="83" y="540"/>
                    </a:cubicBezTo>
                    <a:lnTo>
                      <a:pt x="83" y="1455"/>
                    </a:lnTo>
                    <a:cubicBezTo>
                      <a:pt x="83" y="1569"/>
                      <a:pt x="177" y="1663"/>
                      <a:pt x="291" y="1663"/>
                    </a:cubicBezTo>
                    <a:lnTo>
                      <a:pt x="1039" y="1663"/>
                    </a:lnTo>
                    <a:cubicBezTo>
                      <a:pt x="1126" y="1663"/>
                      <a:pt x="1200" y="1609"/>
                      <a:pt x="1231" y="1534"/>
                    </a:cubicBezTo>
                    <a:close/>
                    <a:moveTo>
                      <a:pt x="1641" y="1453"/>
                    </a:moveTo>
                    <a:cubicBezTo>
                      <a:pt x="1401" y="1591"/>
                      <a:pt x="1093" y="1509"/>
                      <a:pt x="955" y="1269"/>
                    </a:cubicBezTo>
                    <a:cubicBezTo>
                      <a:pt x="816" y="1029"/>
                      <a:pt x="899" y="722"/>
                      <a:pt x="1138" y="583"/>
                    </a:cubicBezTo>
                    <a:cubicBezTo>
                      <a:pt x="1378" y="445"/>
                      <a:pt x="1686" y="527"/>
                      <a:pt x="1824" y="767"/>
                    </a:cubicBezTo>
                    <a:cubicBezTo>
                      <a:pt x="1963" y="1007"/>
                      <a:pt x="1880" y="1314"/>
                      <a:pt x="1641" y="1453"/>
                    </a:cubicBezTo>
                    <a:close/>
                    <a:moveTo>
                      <a:pt x="1599" y="1381"/>
                    </a:moveTo>
                    <a:cubicBezTo>
                      <a:pt x="1799" y="1266"/>
                      <a:pt x="1868" y="1009"/>
                      <a:pt x="1752" y="809"/>
                    </a:cubicBezTo>
                    <a:cubicBezTo>
                      <a:pt x="1637" y="608"/>
                      <a:pt x="1380" y="539"/>
                      <a:pt x="1180" y="655"/>
                    </a:cubicBezTo>
                    <a:cubicBezTo>
                      <a:pt x="980" y="771"/>
                      <a:pt x="911" y="1027"/>
                      <a:pt x="1026" y="1228"/>
                    </a:cubicBezTo>
                    <a:cubicBezTo>
                      <a:pt x="1142" y="1428"/>
                      <a:pt x="1399" y="1497"/>
                      <a:pt x="1599" y="1381"/>
                    </a:cubicBezTo>
                    <a:close/>
                    <a:moveTo>
                      <a:pt x="1767" y="1422"/>
                    </a:moveTo>
                    <a:lnTo>
                      <a:pt x="1551" y="1547"/>
                    </a:lnTo>
                    <a:lnTo>
                      <a:pt x="1717" y="1835"/>
                    </a:lnTo>
                    <a:lnTo>
                      <a:pt x="1933" y="1710"/>
                    </a:lnTo>
                    <a:lnTo>
                      <a:pt x="1767" y="1422"/>
                    </a:lnTo>
                    <a:close/>
                    <a:moveTo>
                      <a:pt x="1956" y="1749"/>
                    </a:moveTo>
                    <a:lnTo>
                      <a:pt x="1739" y="1874"/>
                    </a:lnTo>
                    <a:cubicBezTo>
                      <a:pt x="1774" y="1934"/>
                      <a:pt x="1850" y="1954"/>
                      <a:pt x="1910" y="1919"/>
                    </a:cubicBezTo>
                    <a:cubicBezTo>
                      <a:pt x="1969" y="1885"/>
                      <a:pt x="1990" y="1809"/>
                      <a:pt x="1956" y="1749"/>
                    </a:cubicBezTo>
                    <a:close/>
                    <a:moveTo>
                      <a:pt x="803" y="551"/>
                    </a:moveTo>
                    <a:lnTo>
                      <a:pt x="249" y="551"/>
                    </a:lnTo>
                    <a:lnTo>
                      <a:pt x="249" y="613"/>
                    </a:lnTo>
                    <a:lnTo>
                      <a:pt x="803" y="613"/>
                    </a:lnTo>
                    <a:lnTo>
                      <a:pt x="803" y="551"/>
                    </a:lnTo>
                    <a:close/>
                    <a:moveTo>
                      <a:pt x="675" y="828"/>
                    </a:moveTo>
                    <a:lnTo>
                      <a:pt x="249" y="828"/>
                    </a:lnTo>
                    <a:lnTo>
                      <a:pt x="249" y="890"/>
                    </a:lnTo>
                    <a:lnTo>
                      <a:pt x="675" y="890"/>
                    </a:lnTo>
                    <a:lnTo>
                      <a:pt x="675" y="828"/>
                    </a:lnTo>
                    <a:close/>
                    <a:moveTo>
                      <a:pt x="249" y="1167"/>
                    </a:moveTo>
                    <a:lnTo>
                      <a:pt x="675" y="1167"/>
                    </a:lnTo>
                    <a:lnTo>
                      <a:pt x="675" y="1105"/>
                    </a:lnTo>
                    <a:lnTo>
                      <a:pt x="249" y="1105"/>
                    </a:lnTo>
                    <a:lnTo>
                      <a:pt x="249" y="1167"/>
                    </a:lnTo>
                    <a:close/>
                    <a:moveTo>
                      <a:pt x="249" y="1444"/>
                    </a:moveTo>
                    <a:lnTo>
                      <a:pt x="803" y="1444"/>
                    </a:lnTo>
                    <a:lnTo>
                      <a:pt x="803" y="1382"/>
                    </a:lnTo>
                    <a:lnTo>
                      <a:pt x="249" y="1382"/>
                    </a:lnTo>
                    <a:lnTo>
                      <a:pt x="249" y="1444"/>
                    </a:lnTo>
                    <a:close/>
                    <a:moveTo>
                      <a:pt x="1308" y="1105"/>
                    </a:moveTo>
                    <a:lnTo>
                      <a:pt x="1179" y="961"/>
                    </a:lnTo>
                    <a:lnTo>
                      <a:pt x="1118" y="1017"/>
                    </a:lnTo>
                    <a:lnTo>
                      <a:pt x="1300" y="1219"/>
                    </a:lnTo>
                    <a:lnTo>
                      <a:pt x="1657" y="922"/>
                    </a:lnTo>
                    <a:lnTo>
                      <a:pt x="1604" y="858"/>
                    </a:lnTo>
                    <a:lnTo>
                      <a:pt x="1308" y="1105"/>
                    </a:ln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endParaRPr/>
              </a:p>
            </p:txBody>
          </p:sp>
        </p:grpSp>
        <p:grpSp>
          <p:nvGrpSpPr>
            <p:cNvPr id="8" name="işľiďé">
              <a:extLst>
                <a:ext uri="{FF2B5EF4-FFF2-40B4-BE49-F238E27FC236}">
                  <a16:creationId xmlns:a16="http://schemas.microsoft.com/office/drawing/2014/main" id="{5A359D12-4E98-4C12-9251-72D83FD7AE0D}"/>
                </a:ext>
              </a:extLst>
            </p:cNvPr>
            <p:cNvGrpSpPr/>
            <p:nvPr/>
          </p:nvGrpSpPr>
          <p:grpSpPr>
            <a:xfrm>
              <a:off x="7395109" y="2349500"/>
              <a:ext cx="730139" cy="3773850"/>
              <a:chOff x="656219" y="2349500"/>
              <a:chExt cx="730139" cy="3773850"/>
            </a:xfrm>
          </p:grpSpPr>
          <p:sp>
            <p:nvSpPr>
              <p:cNvPr id="12" name="íṩlîḍé">
                <a:extLst>
                  <a:ext uri="{FF2B5EF4-FFF2-40B4-BE49-F238E27FC236}">
                    <a16:creationId xmlns:a16="http://schemas.microsoft.com/office/drawing/2014/main" id="{A4837995-F699-442A-976E-30397954BAEE}"/>
                  </a:ext>
                </a:extLst>
              </p:cNvPr>
              <p:cNvSpPr/>
              <p:nvPr/>
            </p:nvSpPr>
            <p:spPr>
              <a:xfrm>
                <a:off x="656219" y="2349500"/>
                <a:ext cx="498332" cy="48210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lnSpcReduction="10000"/>
              </a:bodyPr>
              <a:lstStyle/>
              <a:p>
                <a:pPr algn="ctr">
                  <a:lnSpc>
                    <a:spcPct val="110000"/>
                  </a:lnSpc>
                </a:pPr>
                <a:r>
                  <a:rPr lang="en-US" altLang="zh-CN" sz="1600" b="1" dirty="0">
                    <a:solidFill>
                      <a:schemeClr val="bg1"/>
                    </a:solidFill>
                  </a:rPr>
                  <a:t>3</a:t>
                </a:r>
              </a:p>
            </p:txBody>
          </p:sp>
          <p:sp>
            <p:nvSpPr>
              <p:cNvPr id="13" name="íŝḻïḍè">
                <a:extLst>
                  <a:ext uri="{FF2B5EF4-FFF2-40B4-BE49-F238E27FC236}">
                    <a16:creationId xmlns:a16="http://schemas.microsoft.com/office/drawing/2014/main" id="{A74C9F5E-CB4C-4D18-B757-788340A5C936}"/>
                  </a:ext>
                </a:extLst>
              </p:cNvPr>
              <p:cNvSpPr/>
              <p:nvPr/>
            </p:nvSpPr>
            <p:spPr>
              <a:xfrm>
                <a:off x="670967" y="5444744"/>
                <a:ext cx="715391" cy="678606"/>
              </a:xfrm>
              <a:custGeom>
                <a:avLst/>
                <a:gdLst>
                  <a:gd name="T0" fmla="*/ 1312 w 1990"/>
                  <a:gd name="T1" fmla="*/ 1552 h 1954"/>
                  <a:gd name="T2" fmla="*/ 291 w 1990"/>
                  <a:gd name="T3" fmla="*/ 1746 h 1954"/>
                  <a:gd name="T4" fmla="*/ 0 w 1990"/>
                  <a:gd name="T5" fmla="*/ 540 h 1954"/>
                  <a:gd name="T6" fmla="*/ 515 w 1990"/>
                  <a:gd name="T7" fmla="*/ 249 h 1954"/>
                  <a:gd name="T8" fmla="*/ 1205 w 1990"/>
                  <a:gd name="T9" fmla="*/ 0 h 1954"/>
                  <a:gd name="T10" fmla="*/ 1496 w 1990"/>
                  <a:gd name="T11" fmla="*/ 489 h 1954"/>
                  <a:gd name="T12" fmla="*/ 1413 w 1990"/>
                  <a:gd name="T13" fmla="*/ 291 h 1954"/>
                  <a:gd name="T14" fmla="*/ 802 w 1990"/>
                  <a:gd name="T15" fmla="*/ 83 h 1954"/>
                  <a:gd name="T16" fmla="*/ 1039 w 1990"/>
                  <a:gd name="T17" fmla="*/ 249 h 1954"/>
                  <a:gd name="T18" fmla="*/ 1243 w 1990"/>
                  <a:gd name="T19" fmla="*/ 499 h 1954"/>
                  <a:gd name="T20" fmla="*/ 291 w 1990"/>
                  <a:gd name="T21" fmla="*/ 333 h 1954"/>
                  <a:gd name="T22" fmla="*/ 83 w 1990"/>
                  <a:gd name="T23" fmla="*/ 1455 h 1954"/>
                  <a:gd name="T24" fmla="*/ 1039 w 1990"/>
                  <a:gd name="T25" fmla="*/ 1663 h 1954"/>
                  <a:gd name="T26" fmla="*/ 1641 w 1990"/>
                  <a:gd name="T27" fmla="*/ 1453 h 1954"/>
                  <a:gd name="T28" fmla="*/ 1138 w 1990"/>
                  <a:gd name="T29" fmla="*/ 583 h 1954"/>
                  <a:gd name="T30" fmla="*/ 1641 w 1990"/>
                  <a:gd name="T31" fmla="*/ 1453 h 1954"/>
                  <a:gd name="T32" fmla="*/ 1752 w 1990"/>
                  <a:gd name="T33" fmla="*/ 809 h 1954"/>
                  <a:gd name="T34" fmla="*/ 1026 w 1990"/>
                  <a:gd name="T35" fmla="*/ 1228 h 1954"/>
                  <a:gd name="T36" fmla="*/ 1767 w 1990"/>
                  <a:gd name="T37" fmla="*/ 1422 h 1954"/>
                  <a:gd name="T38" fmla="*/ 1717 w 1990"/>
                  <a:gd name="T39" fmla="*/ 1835 h 1954"/>
                  <a:gd name="T40" fmla="*/ 1767 w 1990"/>
                  <a:gd name="T41" fmla="*/ 1422 h 1954"/>
                  <a:gd name="T42" fmla="*/ 1739 w 1990"/>
                  <a:gd name="T43" fmla="*/ 1874 h 1954"/>
                  <a:gd name="T44" fmla="*/ 1956 w 1990"/>
                  <a:gd name="T45" fmla="*/ 1749 h 1954"/>
                  <a:gd name="T46" fmla="*/ 249 w 1990"/>
                  <a:gd name="T47" fmla="*/ 551 h 1954"/>
                  <a:gd name="T48" fmla="*/ 803 w 1990"/>
                  <a:gd name="T49" fmla="*/ 613 h 1954"/>
                  <a:gd name="T50" fmla="*/ 675 w 1990"/>
                  <a:gd name="T51" fmla="*/ 828 h 1954"/>
                  <a:gd name="T52" fmla="*/ 249 w 1990"/>
                  <a:gd name="T53" fmla="*/ 890 h 1954"/>
                  <a:gd name="T54" fmla="*/ 675 w 1990"/>
                  <a:gd name="T55" fmla="*/ 828 h 1954"/>
                  <a:gd name="T56" fmla="*/ 675 w 1990"/>
                  <a:gd name="T57" fmla="*/ 1167 h 1954"/>
                  <a:gd name="T58" fmla="*/ 249 w 1990"/>
                  <a:gd name="T59" fmla="*/ 1105 h 1954"/>
                  <a:gd name="T60" fmla="*/ 249 w 1990"/>
                  <a:gd name="T61" fmla="*/ 1444 h 1954"/>
                  <a:gd name="T62" fmla="*/ 803 w 1990"/>
                  <a:gd name="T63" fmla="*/ 1382 h 1954"/>
                  <a:gd name="T64" fmla="*/ 249 w 1990"/>
                  <a:gd name="T65" fmla="*/ 1444 h 1954"/>
                  <a:gd name="T66" fmla="*/ 1179 w 1990"/>
                  <a:gd name="T67" fmla="*/ 961 h 1954"/>
                  <a:gd name="T68" fmla="*/ 1300 w 1990"/>
                  <a:gd name="T69" fmla="*/ 1219 h 1954"/>
                  <a:gd name="T70" fmla="*/ 1604 w 1990"/>
                  <a:gd name="T71" fmla="*/ 858 h 1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90" h="1954">
                    <a:moveTo>
                      <a:pt x="1231" y="1534"/>
                    </a:moveTo>
                    <a:cubicBezTo>
                      <a:pt x="1258" y="1542"/>
                      <a:pt x="1285" y="1548"/>
                      <a:pt x="1312" y="1552"/>
                    </a:cubicBezTo>
                    <a:cubicBezTo>
                      <a:pt x="1272" y="1665"/>
                      <a:pt x="1165" y="1746"/>
                      <a:pt x="1039" y="1746"/>
                    </a:cubicBezTo>
                    <a:lnTo>
                      <a:pt x="291" y="1746"/>
                    </a:lnTo>
                    <a:cubicBezTo>
                      <a:pt x="131" y="1746"/>
                      <a:pt x="0" y="1615"/>
                      <a:pt x="0" y="1455"/>
                    </a:cubicBezTo>
                    <a:lnTo>
                      <a:pt x="0" y="540"/>
                    </a:lnTo>
                    <a:cubicBezTo>
                      <a:pt x="0" y="380"/>
                      <a:pt x="131" y="249"/>
                      <a:pt x="291" y="249"/>
                    </a:cubicBezTo>
                    <a:lnTo>
                      <a:pt x="515" y="249"/>
                    </a:lnTo>
                    <a:cubicBezTo>
                      <a:pt x="535" y="109"/>
                      <a:pt x="656" y="0"/>
                      <a:pt x="802" y="0"/>
                    </a:cubicBezTo>
                    <a:lnTo>
                      <a:pt x="1205" y="0"/>
                    </a:lnTo>
                    <a:cubicBezTo>
                      <a:pt x="1366" y="0"/>
                      <a:pt x="1496" y="131"/>
                      <a:pt x="1496" y="291"/>
                    </a:cubicBezTo>
                    <a:lnTo>
                      <a:pt x="1496" y="489"/>
                    </a:lnTo>
                    <a:cubicBezTo>
                      <a:pt x="1469" y="484"/>
                      <a:pt x="1441" y="480"/>
                      <a:pt x="1413" y="479"/>
                    </a:cubicBezTo>
                    <a:lnTo>
                      <a:pt x="1413" y="291"/>
                    </a:lnTo>
                    <a:cubicBezTo>
                      <a:pt x="1413" y="176"/>
                      <a:pt x="1320" y="83"/>
                      <a:pt x="1205" y="83"/>
                    </a:cubicBezTo>
                    <a:lnTo>
                      <a:pt x="802" y="83"/>
                    </a:lnTo>
                    <a:cubicBezTo>
                      <a:pt x="701" y="83"/>
                      <a:pt x="617" y="155"/>
                      <a:pt x="598" y="249"/>
                    </a:cubicBezTo>
                    <a:lnTo>
                      <a:pt x="1039" y="249"/>
                    </a:lnTo>
                    <a:cubicBezTo>
                      <a:pt x="1180" y="249"/>
                      <a:pt x="1297" y="349"/>
                      <a:pt x="1324" y="482"/>
                    </a:cubicBezTo>
                    <a:cubicBezTo>
                      <a:pt x="1297" y="485"/>
                      <a:pt x="1270" y="491"/>
                      <a:pt x="1243" y="499"/>
                    </a:cubicBezTo>
                    <a:cubicBezTo>
                      <a:pt x="1224" y="404"/>
                      <a:pt x="1140" y="333"/>
                      <a:pt x="1039" y="333"/>
                    </a:cubicBezTo>
                    <a:lnTo>
                      <a:pt x="291" y="333"/>
                    </a:lnTo>
                    <a:cubicBezTo>
                      <a:pt x="177" y="333"/>
                      <a:pt x="83" y="426"/>
                      <a:pt x="83" y="540"/>
                    </a:cubicBezTo>
                    <a:lnTo>
                      <a:pt x="83" y="1455"/>
                    </a:lnTo>
                    <a:cubicBezTo>
                      <a:pt x="83" y="1569"/>
                      <a:pt x="177" y="1663"/>
                      <a:pt x="291" y="1663"/>
                    </a:cubicBezTo>
                    <a:lnTo>
                      <a:pt x="1039" y="1663"/>
                    </a:lnTo>
                    <a:cubicBezTo>
                      <a:pt x="1126" y="1663"/>
                      <a:pt x="1200" y="1609"/>
                      <a:pt x="1231" y="1534"/>
                    </a:cubicBezTo>
                    <a:close/>
                    <a:moveTo>
                      <a:pt x="1641" y="1453"/>
                    </a:moveTo>
                    <a:cubicBezTo>
                      <a:pt x="1401" y="1591"/>
                      <a:pt x="1093" y="1509"/>
                      <a:pt x="955" y="1269"/>
                    </a:cubicBezTo>
                    <a:cubicBezTo>
                      <a:pt x="816" y="1029"/>
                      <a:pt x="899" y="722"/>
                      <a:pt x="1138" y="583"/>
                    </a:cubicBezTo>
                    <a:cubicBezTo>
                      <a:pt x="1378" y="445"/>
                      <a:pt x="1686" y="527"/>
                      <a:pt x="1824" y="767"/>
                    </a:cubicBezTo>
                    <a:cubicBezTo>
                      <a:pt x="1963" y="1007"/>
                      <a:pt x="1880" y="1314"/>
                      <a:pt x="1641" y="1453"/>
                    </a:cubicBezTo>
                    <a:close/>
                    <a:moveTo>
                      <a:pt x="1599" y="1381"/>
                    </a:moveTo>
                    <a:cubicBezTo>
                      <a:pt x="1799" y="1266"/>
                      <a:pt x="1868" y="1009"/>
                      <a:pt x="1752" y="809"/>
                    </a:cubicBezTo>
                    <a:cubicBezTo>
                      <a:pt x="1637" y="608"/>
                      <a:pt x="1380" y="539"/>
                      <a:pt x="1180" y="655"/>
                    </a:cubicBezTo>
                    <a:cubicBezTo>
                      <a:pt x="980" y="771"/>
                      <a:pt x="911" y="1027"/>
                      <a:pt x="1026" y="1228"/>
                    </a:cubicBezTo>
                    <a:cubicBezTo>
                      <a:pt x="1142" y="1428"/>
                      <a:pt x="1399" y="1497"/>
                      <a:pt x="1599" y="1381"/>
                    </a:cubicBezTo>
                    <a:close/>
                    <a:moveTo>
                      <a:pt x="1767" y="1422"/>
                    </a:moveTo>
                    <a:lnTo>
                      <a:pt x="1551" y="1547"/>
                    </a:lnTo>
                    <a:lnTo>
                      <a:pt x="1717" y="1835"/>
                    </a:lnTo>
                    <a:lnTo>
                      <a:pt x="1933" y="1710"/>
                    </a:lnTo>
                    <a:lnTo>
                      <a:pt x="1767" y="1422"/>
                    </a:lnTo>
                    <a:close/>
                    <a:moveTo>
                      <a:pt x="1956" y="1749"/>
                    </a:moveTo>
                    <a:lnTo>
                      <a:pt x="1739" y="1874"/>
                    </a:lnTo>
                    <a:cubicBezTo>
                      <a:pt x="1774" y="1934"/>
                      <a:pt x="1850" y="1954"/>
                      <a:pt x="1910" y="1919"/>
                    </a:cubicBezTo>
                    <a:cubicBezTo>
                      <a:pt x="1969" y="1885"/>
                      <a:pt x="1990" y="1809"/>
                      <a:pt x="1956" y="1749"/>
                    </a:cubicBezTo>
                    <a:close/>
                    <a:moveTo>
                      <a:pt x="803" y="551"/>
                    </a:moveTo>
                    <a:lnTo>
                      <a:pt x="249" y="551"/>
                    </a:lnTo>
                    <a:lnTo>
                      <a:pt x="249" y="613"/>
                    </a:lnTo>
                    <a:lnTo>
                      <a:pt x="803" y="613"/>
                    </a:lnTo>
                    <a:lnTo>
                      <a:pt x="803" y="551"/>
                    </a:lnTo>
                    <a:close/>
                    <a:moveTo>
                      <a:pt x="675" y="828"/>
                    </a:moveTo>
                    <a:lnTo>
                      <a:pt x="249" y="828"/>
                    </a:lnTo>
                    <a:lnTo>
                      <a:pt x="249" y="890"/>
                    </a:lnTo>
                    <a:lnTo>
                      <a:pt x="675" y="890"/>
                    </a:lnTo>
                    <a:lnTo>
                      <a:pt x="675" y="828"/>
                    </a:lnTo>
                    <a:close/>
                    <a:moveTo>
                      <a:pt x="249" y="1167"/>
                    </a:moveTo>
                    <a:lnTo>
                      <a:pt x="675" y="1167"/>
                    </a:lnTo>
                    <a:lnTo>
                      <a:pt x="675" y="1105"/>
                    </a:lnTo>
                    <a:lnTo>
                      <a:pt x="249" y="1105"/>
                    </a:lnTo>
                    <a:lnTo>
                      <a:pt x="249" y="1167"/>
                    </a:lnTo>
                    <a:close/>
                    <a:moveTo>
                      <a:pt x="249" y="1444"/>
                    </a:moveTo>
                    <a:lnTo>
                      <a:pt x="803" y="1444"/>
                    </a:lnTo>
                    <a:lnTo>
                      <a:pt x="803" y="1382"/>
                    </a:lnTo>
                    <a:lnTo>
                      <a:pt x="249" y="1382"/>
                    </a:lnTo>
                    <a:lnTo>
                      <a:pt x="249" y="1444"/>
                    </a:lnTo>
                    <a:close/>
                    <a:moveTo>
                      <a:pt x="1308" y="1105"/>
                    </a:moveTo>
                    <a:lnTo>
                      <a:pt x="1179" y="961"/>
                    </a:lnTo>
                    <a:lnTo>
                      <a:pt x="1118" y="1017"/>
                    </a:lnTo>
                    <a:lnTo>
                      <a:pt x="1300" y="1219"/>
                    </a:lnTo>
                    <a:lnTo>
                      <a:pt x="1657" y="922"/>
                    </a:lnTo>
                    <a:lnTo>
                      <a:pt x="1604" y="858"/>
                    </a:lnTo>
                    <a:lnTo>
                      <a:pt x="1308" y="1105"/>
                    </a:lnTo>
                    <a:close/>
                  </a:path>
                </a:pathLst>
              </a:custGeom>
              <a:solidFill>
                <a:schemeClr val="accent3">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endParaRPr/>
              </a:p>
            </p:txBody>
          </p:sp>
        </p:grpSp>
        <p:cxnSp>
          <p:nvCxnSpPr>
            <p:cNvPr id="9" name="直接连接符 8">
              <a:extLst>
                <a:ext uri="{FF2B5EF4-FFF2-40B4-BE49-F238E27FC236}">
                  <a16:creationId xmlns:a16="http://schemas.microsoft.com/office/drawing/2014/main" id="{8945DD5A-4D31-44FB-8D1D-96663A70ECF8}"/>
                </a:ext>
              </a:extLst>
            </p:cNvPr>
            <p:cNvCxnSpPr/>
            <p:nvPr/>
          </p:nvCxnSpPr>
          <p:spPr>
            <a:xfrm>
              <a:off x="669925" y="1378857"/>
              <a:ext cx="0" cy="4744493"/>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0" name="直接连接符 9">
              <a:extLst>
                <a:ext uri="{FF2B5EF4-FFF2-40B4-BE49-F238E27FC236}">
                  <a16:creationId xmlns:a16="http://schemas.microsoft.com/office/drawing/2014/main" id="{2567BBEB-05BF-439B-8734-2745F5D7FCAC}"/>
                </a:ext>
              </a:extLst>
            </p:cNvPr>
            <p:cNvCxnSpPr/>
            <p:nvPr/>
          </p:nvCxnSpPr>
          <p:spPr>
            <a:xfrm>
              <a:off x="3978733" y="1378857"/>
              <a:ext cx="0" cy="4744493"/>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1" name="直接连接符 10">
              <a:extLst>
                <a:ext uri="{FF2B5EF4-FFF2-40B4-BE49-F238E27FC236}">
                  <a16:creationId xmlns:a16="http://schemas.microsoft.com/office/drawing/2014/main" id="{6B82608C-4B02-431E-A589-BDE20633B58F}"/>
                </a:ext>
              </a:extLst>
            </p:cNvPr>
            <p:cNvCxnSpPr/>
            <p:nvPr/>
          </p:nvCxnSpPr>
          <p:spPr>
            <a:xfrm>
              <a:off x="7325248" y="1364343"/>
              <a:ext cx="0" cy="4759007"/>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
        <p:nvSpPr>
          <p:cNvPr id="24" name="文本框 23"/>
          <p:cNvSpPr txBox="1"/>
          <p:nvPr/>
        </p:nvSpPr>
        <p:spPr>
          <a:xfrm>
            <a:off x="1245420" y="2349500"/>
            <a:ext cx="2336800" cy="369332"/>
          </a:xfrm>
          <a:prstGeom prst="rect">
            <a:avLst/>
          </a:prstGeom>
          <a:noFill/>
        </p:spPr>
        <p:txBody>
          <a:bodyPr wrap="square" rtlCol="0">
            <a:spAutoFit/>
          </a:bodyPr>
          <a:lstStyle/>
          <a:p>
            <a:r>
              <a:rPr lang="zh-CN" altLang="en-US" dirty="0" smtClean="0"/>
              <a:t>创建型模式</a:t>
            </a:r>
            <a:endParaRPr lang="zh-CN" altLang="en-US" dirty="0"/>
          </a:p>
        </p:txBody>
      </p:sp>
      <p:sp>
        <p:nvSpPr>
          <p:cNvPr id="25" name="文本框 24"/>
          <p:cNvSpPr txBox="1"/>
          <p:nvPr/>
        </p:nvSpPr>
        <p:spPr>
          <a:xfrm>
            <a:off x="4542035" y="2349500"/>
            <a:ext cx="1814285" cy="369332"/>
          </a:xfrm>
          <a:prstGeom prst="rect">
            <a:avLst/>
          </a:prstGeom>
          <a:noFill/>
        </p:spPr>
        <p:txBody>
          <a:bodyPr wrap="square" rtlCol="0">
            <a:spAutoFit/>
          </a:bodyPr>
          <a:lstStyle/>
          <a:p>
            <a:r>
              <a:rPr lang="zh-CN" altLang="en-US" dirty="0" smtClean="0"/>
              <a:t>结构型模式</a:t>
            </a:r>
            <a:endParaRPr lang="zh-CN" altLang="en-US" dirty="0"/>
          </a:p>
        </p:txBody>
      </p:sp>
      <p:sp>
        <p:nvSpPr>
          <p:cNvPr id="26" name="文本框 25"/>
          <p:cNvSpPr txBox="1"/>
          <p:nvPr/>
        </p:nvSpPr>
        <p:spPr>
          <a:xfrm>
            <a:off x="7894601" y="2349500"/>
            <a:ext cx="2191657" cy="369332"/>
          </a:xfrm>
          <a:prstGeom prst="rect">
            <a:avLst/>
          </a:prstGeom>
          <a:noFill/>
        </p:spPr>
        <p:txBody>
          <a:bodyPr wrap="square" rtlCol="0">
            <a:spAutoFit/>
          </a:bodyPr>
          <a:lstStyle/>
          <a:p>
            <a:r>
              <a:rPr lang="zh-CN" altLang="en-US" dirty="0" smtClean="0"/>
              <a:t>行为型模式</a:t>
            </a:r>
            <a:endParaRPr lang="zh-CN" altLang="en-US" dirty="0"/>
          </a:p>
        </p:txBody>
      </p:sp>
      <p:pic>
        <p:nvPicPr>
          <p:cNvPr id="1026" name="Picture 2" descr="https://ss0.bdstatic.com/94oJfD_bAAcT8t7mm9GUKT-xh_/timg?image&amp;quality=100&amp;size=b4000_4000&amp;sec=1537442289&amp;di=5468b45115eeaab7b98ca21be341d942&amp;src=http://pic.58pic.com/10/68/70/24bOOOPIC82.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41984" y="2993472"/>
            <a:ext cx="2288845" cy="2140071"/>
          </a:xfrm>
          <a:prstGeom prst="rect">
            <a:avLst/>
          </a:prstGeom>
          <a:noFill/>
          <a:extLst>
            <a:ext uri="{909E8E84-426E-40DD-AFC4-6F175D3DCCD1}">
              <a14:hiddenFill xmlns:a14="http://schemas.microsoft.com/office/drawing/2010/main">
                <a:solidFill>
                  <a:srgbClr val="FFFFFF"/>
                </a:solidFill>
              </a14:hiddenFill>
            </a:ext>
          </a:extLst>
        </p:spPr>
      </p:pic>
      <p:grpSp>
        <p:nvGrpSpPr>
          <p:cNvPr id="2" name="组合 1"/>
          <p:cNvGrpSpPr/>
          <p:nvPr/>
        </p:nvGrpSpPr>
        <p:grpSpPr>
          <a:xfrm>
            <a:off x="7830315" y="2921336"/>
            <a:ext cx="2930344" cy="2228566"/>
            <a:chOff x="7676696" y="3550442"/>
            <a:chExt cx="3949246" cy="2545557"/>
          </a:xfrm>
        </p:grpSpPr>
        <p:grpSp>
          <p:nvGrpSpPr>
            <p:cNvPr id="108" name="ace72938-a541-4a33-b0fe-87ae5e82073a"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2"/>
              </p:custDataLst>
            </p:nvPr>
          </p:nvGrpSpPr>
          <p:grpSpPr>
            <a:xfrm>
              <a:off x="7676696" y="3550442"/>
              <a:ext cx="3400227" cy="2545557"/>
              <a:chOff x="3313113" y="1355726"/>
              <a:chExt cx="5557838" cy="4160838"/>
            </a:xfrm>
          </p:grpSpPr>
          <p:sp>
            <p:nvSpPr>
              <p:cNvPr id="109" name="iśḻídê">
                <a:extLst>
                  <a:ext uri="{FF2B5EF4-FFF2-40B4-BE49-F238E27FC236}">
                    <a16:creationId xmlns:a16="http://schemas.microsoft.com/office/drawing/2014/main" id="{AE6BA1B5-EC77-4F93-A879-70F09EA40FF9}"/>
                  </a:ext>
                </a:extLst>
              </p:cNvPr>
              <p:cNvSpPr/>
              <p:nvPr/>
            </p:nvSpPr>
            <p:spPr bwMode="auto">
              <a:xfrm>
                <a:off x="3313113" y="1997076"/>
                <a:ext cx="5286375" cy="3519488"/>
              </a:xfrm>
              <a:custGeom>
                <a:avLst/>
                <a:gdLst>
                  <a:gd name="T0" fmla="*/ 183 w 4071"/>
                  <a:gd name="T1" fmla="*/ 250 h 2714"/>
                  <a:gd name="T2" fmla="*/ 170 w 4071"/>
                  <a:gd name="T3" fmla="*/ 743 h 2714"/>
                  <a:gd name="T4" fmla="*/ 143 w 4071"/>
                  <a:gd name="T5" fmla="*/ 1047 h 2714"/>
                  <a:gd name="T6" fmla="*/ 18 w 4071"/>
                  <a:gd name="T7" fmla="*/ 1464 h 2714"/>
                  <a:gd name="T8" fmla="*/ 194 w 4071"/>
                  <a:gd name="T9" fmla="*/ 1828 h 2714"/>
                  <a:gd name="T10" fmla="*/ 299 w 4071"/>
                  <a:gd name="T11" fmla="*/ 1859 h 2714"/>
                  <a:gd name="T12" fmla="*/ 432 w 4071"/>
                  <a:gd name="T13" fmla="*/ 2104 h 2714"/>
                  <a:gd name="T14" fmla="*/ 416 w 4071"/>
                  <a:gd name="T15" fmla="*/ 2396 h 2714"/>
                  <a:gd name="T16" fmla="*/ 469 w 4071"/>
                  <a:gd name="T17" fmla="*/ 2549 h 2714"/>
                  <a:gd name="T18" fmla="*/ 603 w 4071"/>
                  <a:gd name="T19" fmla="*/ 2620 h 2714"/>
                  <a:gd name="T20" fmla="*/ 1079 w 4071"/>
                  <a:gd name="T21" fmla="*/ 2699 h 2714"/>
                  <a:gd name="T22" fmla="*/ 1466 w 4071"/>
                  <a:gd name="T23" fmla="*/ 2449 h 2714"/>
                  <a:gd name="T24" fmla="*/ 1519 w 4071"/>
                  <a:gd name="T25" fmla="*/ 2283 h 2714"/>
                  <a:gd name="T26" fmla="*/ 1642 w 4071"/>
                  <a:gd name="T27" fmla="*/ 2170 h 2714"/>
                  <a:gd name="T28" fmla="*/ 1743 w 4071"/>
                  <a:gd name="T29" fmla="*/ 2186 h 2714"/>
                  <a:gd name="T30" fmla="*/ 2212 w 4071"/>
                  <a:gd name="T31" fmla="*/ 2332 h 2714"/>
                  <a:gd name="T32" fmla="*/ 2433 w 4071"/>
                  <a:gd name="T33" fmla="*/ 2343 h 2714"/>
                  <a:gd name="T34" fmla="*/ 2519 w 4071"/>
                  <a:gd name="T35" fmla="*/ 2267 h 2714"/>
                  <a:gd name="T36" fmla="*/ 2965 w 4071"/>
                  <a:gd name="T37" fmla="*/ 1490 h 2714"/>
                  <a:gd name="T38" fmla="*/ 2983 w 4071"/>
                  <a:gd name="T39" fmla="*/ 1171 h 2714"/>
                  <a:gd name="T40" fmla="*/ 3132 w 4071"/>
                  <a:gd name="T41" fmla="*/ 899 h 2714"/>
                  <a:gd name="T42" fmla="*/ 3373 w 4071"/>
                  <a:gd name="T43" fmla="*/ 839 h 2714"/>
                  <a:gd name="T44" fmla="*/ 3764 w 4071"/>
                  <a:gd name="T45" fmla="*/ 743 h 2714"/>
                  <a:gd name="T46" fmla="*/ 4045 w 4071"/>
                  <a:gd name="T47" fmla="*/ 469 h 2714"/>
                  <a:gd name="T48" fmla="*/ 4062 w 4071"/>
                  <a:gd name="T49" fmla="*/ 354 h 2714"/>
                  <a:gd name="T50" fmla="*/ 3913 w 4071"/>
                  <a:gd name="T51" fmla="*/ 214 h 2714"/>
                  <a:gd name="T52" fmla="*/ 3303 w 4071"/>
                  <a:gd name="T53" fmla="*/ 37 h 2714"/>
                  <a:gd name="T54" fmla="*/ 3013 w 4071"/>
                  <a:gd name="T55" fmla="*/ 1 h 2714"/>
                  <a:gd name="T56" fmla="*/ 2762 w 4071"/>
                  <a:gd name="T57" fmla="*/ 32 h 2714"/>
                  <a:gd name="T58" fmla="*/ 565 w 4071"/>
                  <a:gd name="T59" fmla="*/ 82 h 2714"/>
                  <a:gd name="T60" fmla="*/ 183 w 4071"/>
                  <a:gd name="T61" fmla="*/ 250 h 2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071" h="2714">
                    <a:moveTo>
                      <a:pt x="183" y="250"/>
                    </a:moveTo>
                    <a:cubicBezTo>
                      <a:pt x="98" y="395"/>
                      <a:pt x="156" y="576"/>
                      <a:pt x="170" y="743"/>
                    </a:cubicBezTo>
                    <a:cubicBezTo>
                      <a:pt x="178" y="845"/>
                      <a:pt x="169" y="948"/>
                      <a:pt x="143" y="1047"/>
                    </a:cubicBezTo>
                    <a:cubicBezTo>
                      <a:pt x="107" y="1188"/>
                      <a:pt x="36" y="1320"/>
                      <a:pt x="18" y="1464"/>
                    </a:cubicBezTo>
                    <a:cubicBezTo>
                      <a:pt x="0" y="1608"/>
                      <a:pt x="56" y="1778"/>
                      <a:pt x="194" y="1828"/>
                    </a:cubicBezTo>
                    <a:cubicBezTo>
                      <a:pt x="228" y="1840"/>
                      <a:pt x="265" y="1844"/>
                      <a:pt x="299" y="1859"/>
                    </a:cubicBezTo>
                    <a:cubicBezTo>
                      <a:pt x="389" y="1899"/>
                      <a:pt x="429" y="2006"/>
                      <a:pt x="432" y="2104"/>
                    </a:cubicBezTo>
                    <a:cubicBezTo>
                      <a:pt x="435" y="2202"/>
                      <a:pt x="411" y="2299"/>
                      <a:pt x="416" y="2396"/>
                    </a:cubicBezTo>
                    <a:cubicBezTo>
                      <a:pt x="418" y="2451"/>
                      <a:pt x="431" y="2509"/>
                      <a:pt x="469" y="2549"/>
                    </a:cubicBezTo>
                    <a:cubicBezTo>
                      <a:pt x="504" y="2586"/>
                      <a:pt x="554" y="2604"/>
                      <a:pt x="603" y="2620"/>
                    </a:cubicBezTo>
                    <a:cubicBezTo>
                      <a:pt x="757" y="2670"/>
                      <a:pt x="918" y="2714"/>
                      <a:pt x="1079" y="2699"/>
                    </a:cubicBezTo>
                    <a:cubicBezTo>
                      <a:pt x="1240" y="2683"/>
                      <a:pt x="1404" y="2596"/>
                      <a:pt x="1466" y="2449"/>
                    </a:cubicBezTo>
                    <a:cubicBezTo>
                      <a:pt x="1488" y="2395"/>
                      <a:pt x="1497" y="2337"/>
                      <a:pt x="1519" y="2283"/>
                    </a:cubicBezTo>
                    <a:cubicBezTo>
                      <a:pt x="1542" y="2230"/>
                      <a:pt x="1584" y="2179"/>
                      <a:pt x="1642" y="2170"/>
                    </a:cubicBezTo>
                    <a:cubicBezTo>
                      <a:pt x="1676" y="2166"/>
                      <a:pt x="1710" y="2176"/>
                      <a:pt x="1743" y="2186"/>
                    </a:cubicBezTo>
                    <a:cubicBezTo>
                      <a:pt x="2212" y="2332"/>
                      <a:pt x="2212" y="2332"/>
                      <a:pt x="2212" y="2332"/>
                    </a:cubicBezTo>
                    <a:cubicBezTo>
                      <a:pt x="2284" y="2355"/>
                      <a:pt x="2365" y="2376"/>
                      <a:pt x="2433" y="2343"/>
                    </a:cubicBezTo>
                    <a:cubicBezTo>
                      <a:pt x="2467" y="2326"/>
                      <a:pt x="2494" y="2296"/>
                      <a:pt x="2519" y="2267"/>
                    </a:cubicBezTo>
                    <a:cubicBezTo>
                      <a:pt x="2720" y="2038"/>
                      <a:pt x="2928" y="1790"/>
                      <a:pt x="2965" y="1490"/>
                    </a:cubicBezTo>
                    <a:cubicBezTo>
                      <a:pt x="2978" y="1384"/>
                      <a:pt x="2968" y="1276"/>
                      <a:pt x="2983" y="1171"/>
                    </a:cubicBezTo>
                    <a:cubicBezTo>
                      <a:pt x="2997" y="1065"/>
                      <a:pt x="3041" y="956"/>
                      <a:pt x="3132" y="899"/>
                    </a:cubicBezTo>
                    <a:cubicBezTo>
                      <a:pt x="3203" y="855"/>
                      <a:pt x="3290" y="848"/>
                      <a:pt x="3373" y="839"/>
                    </a:cubicBezTo>
                    <a:cubicBezTo>
                      <a:pt x="3507" y="825"/>
                      <a:pt x="3642" y="800"/>
                      <a:pt x="3764" y="743"/>
                    </a:cubicBezTo>
                    <a:cubicBezTo>
                      <a:pt x="3885" y="685"/>
                      <a:pt x="3993" y="591"/>
                      <a:pt x="4045" y="469"/>
                    </a:cubicBezTo>
                    <a:cubicBezTo>
                      <a:pt x="4061" y="432"/>
                      <a:pt x="4071" y="392"/>
                      <a:pt x="4062" y="354"/>
                    </a:cubicBezTo>
                    <a:cubicBezTo>
                      <a:pt x="4047" y="285"/>
                      <a:pt x="3978" y="243"/>
                      <a:pt x="3913" y="214"/>
                    </a:cubicBezTo>
                    <a:cubicBezTo>
                      <a:pt x="3720" y="126"/>
                      <a:pt x="3511" y="79"/>
                      <a:pt x="3303" y="37"/>
                    </a:cubicBezTo>
                    <a:cubicBezTo>
                      <a:pt x="3207" y="18"/>
                      <a:pt x="3111" y="0"/>
                      <a:pt x="3013" y="1"/>
                    </a:cubicBezTo>
                    <a:cubicBezTo>
                      <a:pt x="2929" y="2"/>
                      <a:pt x="2845" y="17"/>
                      <a:pt x="2762" y="32"/>
                    </a:cubicBezTo>
                    <a:cubicBezTo>
                      <a:pt x="2050" y="154"/>
                      <a:pt x="1280" y="231"/>
                      <a:pt x="565" y="82"/>
                    </a:cubicBezTo>
                    <a:cubicBezTo>
                      <a:pt x="416" y="51"/>
                      <a:pt x="265" y="111"/>
                      <a:pt x="183" y="250"/>
                    </a:cubicBezTo>
                  </a:path>
                </a:pathLst>
              </a:custGeom>
              <a:solidFill>
                <a:srgbClr val="009688">
                  <a:alpha val="10000"/>
                </a:srgbClr>
              </a:solidFill>
              <a:ln>
                <a:noFill/>
              </a:ln>
            </p:spPr>
            <p:txBody>
              <a:bodyPr anchor="ctr"/>
              <a:lstStyle/>
              <a:p>
                <a:pPr algn="ctr"/>
                <a:endParaRPr/>
              </a:p>
            </p:txBody>
          </p:sp>
          <p:sp>
            <p:nvSpPr>
              <p:cNvPr id="110" name="íSḻïḍe">
                <a:extLst>
                  <a:ext uri="{FF2B5EF4-FFF2-40B4-BE49-F238E27FC236}">
                    <a16:creationId xmlns:a16="http://schemas.microsoft.com/office/drawing/2014/main" id="{9173D507-42F7-4954-9EA3-7C8E7605D758}"/>
                  </a:ext>
                </a:extLst>
              </p:cNvPr>
              <p:cNvSpPr/>
              <p:nvPr/>
            </p:nvSpPr>
            <p:spPr bwMode="auto">
              <a:xfrm>
                <a:off x="4873626" y="1601788"/>
                <a:ext cx="3997325" cy="693738"/>
              </a:xfrm>
              <a:custGeom>
                <a:avLst/>
                <a:gdLst>
                  <a:gd name="T0" fmla="*/ 0 w 3078"/>
                  <a:gd name="T1" fmla="*/ 274 h 536"/>
                  <a:gd name="T2" fmla="*/ 1199 w 3078"/>
                  <a:gd name="T3" fmla="*/ 202 h 536"/>
                  <a:gd name="T4" fmla="*/ 2261 w 3078"/>
                  <a:gd name="T5" fmla="*/ 262 h 536"/>
                  <a:gd name="T6" fmla="*/ 2761 w 3078"/>
                  <a:gd name="T7" fmla="*/ 316 h 536"/>
                  <a:gd name="T8" fmla="*/ 3071 w 3078"/>
                  <a:gd name="T9" fmla="*/ 471 h 536"/>
                  <a:gd name="T10" fmla="*/ 0 w 3078"/>
                  <a:gd name="T11" fmla="*/ 497 h 536"/>
                  <a:gd name="T12" fmla="*/ 0 w 3078"/>
                  <a:gd name="T13" fmla="*/ 274 h 536"/>
                </a:gdLst>
                <a:ahLst/>
                <a:cxnLst>
                  <a:cxn ang="0">
                    <a:pos x="T0" y="T1"/>
                  </a:cxn>
                  <a:cxn ang="0">
                    <a:pos x="T2" y="T3"/>
                  </a:cxn>
                  <a:cxn ang="0">
                    <a:pos x="T4" y="T5"/>
                  </a:cxn>
                  <a:cxn ang="0">
                    <a:pos x="T6" y="T7"/>
                  </a:cxn>
                  <a:cxn ang="0">
                    <a:pos x="T8" y="T9"/>
                  </a:cxn>
                  <a:cxn ang="0">
                    <a:pos x="T10" y="T11"/>
                  </a:cxn>
                  <a:cxn ang="0">
                    <a:pos x="T12" y="T13"/>
                  </a:cxn>
                </a:cxnLst>
                <a:rect l="0" t="0" r="r" b="b"/>
                <a:pathLst>
                  <a:path w="3078" h="536">
                    <a:moveTo>
                      <a:pt x="0" y="274"/>
                    </a:moveTo>
                    <a:cubicBezTo>
                      <a:pt x="0" y="274"/>
                      <a:pt x="861" y="0"/>
                      <a:pt x="1199" y="202"/>
                    </a:cubicBezTo>
                    <a:cubicBezTo>
                      <a:pt x="1432" y="340"/>
                      <a:pt x="1957" y="300"/>
                      <a:pt x="2261" y="262"/>
                    </a:cubicBezTo>
                    <a:cubicBezTo>
                      <a:pt x="2430" y="241"/>
                      <a:pt x="2601" y="259"/>
                      <a:pt x="2761" y="316"/>
                    </a:cubicBezTo>
                    <a:cubicBezTo>
                      <a:pt x="2916" y="371"/>
                      <a:pt x="3078" y="437"/>
                      <a:pt x="3071" y="471"/>
                    </a:cubicBezTo>
                    <a:cubicBezTo>
                      <a:pt x="3058" y="536"/>
                      <a:pt x="0" y="497"/>
                      <a:pt x="0" y="497"/>
                    </a:cubicBezTo>
                    <a:cubicBezTo>
                      <a:pt x="0" y="274"/>
                      <a:pt x="0" y="274"/>
                      <a:pt x="0" y="274"/>
                    </a:cubicBezTo>
                  </a:path>
                </a:pathLst>
              </a:custGeom>
              <a:solidFill>
                <a:srgbClr val="009688">
                  <a:alpha val="40000"/>
                </a:srgbClr>
              </a:solidFill>
              <a:ln>
                <a:noFill/>
              </a:ln>
            </p:spPr>
            <p:txBody>
              <a:bodyPr anchor="ctr"/>
              <a:lstStyle/>
              <a:p>
                <a:pPr algn="ctr"/>
                <a:endParaRPr/>
              </a:p>
            </p:txBody>
          </p:sp>
          <p:sp>
            <p:nvSpPr>
              <p:cNvPr id="111" name="ïṥliḋé">
                <a:extLst>
                  <a:ext uri="{FF2B5EF4-FFF2-40B4-BE49-F238E27FC236}">
                    <a16:creationId xmlns:a16="http://schemas.microsoft.com/office/drawing/2014/main" id="{E085649B-7D79-4F36-93A2-B35AA04AA5B0}"/>
                  </a:ext>
                </a:extLst>
              </p:cNvPr>
              <p:cNvSpPr/>
              <p:nvPr/>
            </p:nvSpPr>
            <p:spPr bwMode="auto">
              <a:xfrm>
                <a:off x="4400551" y="2987676"/>
                <a:ext cx="3054350" cy="1298575"/>
              </a:xfrm>
              <a:custGeom>
                <a:avLst/>
                <a:gdLst>
                  <a:gd name="T0" fmla="*/ 553 w 2352"/>
                  <a:gd name="T1" fmla="*/ 0 h 1002"/>
                  <a:gd name="T2" fmla="*/ 2352 w 2352"/>
                  <a:gd name="T3" fmla="*/ 454 h 1002"/>
                  <a:gd name="T4" fmla="*/ 1983 w 2352"/>
                  <a:gd name="T5" fmla="*/ 1002 h 1002"/>
                  <a:gd name="T6" fmla="*/ 651 w 2352"/>
                  <a:gd name="T7" fmla="*/ 587 h 1002"/>
                  <a:gd name="T8" fmla="*/ 0 w 2352"/>
                  <a:gd name="T9" fmla="*/ 291 h 1002"/>
                  <a:gd name="T10" fmla="*/ 304 w 2352"/>
                  <a:gd name="T11" fmla="*/ 86 h 1002"/>
                  <a:gd name="T12" fmla="*/ 553 w 2352"/>
                  <a:gd name="T13" fmla="*/ 0 h 1002"/>
                </a:gdLst>
                <a:ahLst/>
                <a:cxnLst>
                  <a:cxn ang="0">
                    <a:pos x="T0" y="T1"/>
                  </a:cxn>
                  <a:cxn ang="0">
                    <a:pos x="T2" y="T3"/>
                  </a:cxn>
                  <a:cxn ang="0">
                    <a:pos x="T4" y="T5"/>
                  </a:cxn>
                  <a:cxn ang="0">
                    <a:pos x="T6" y="T7"/>
                  </a:cxn>
                  <a:cxn ang="0">
                    <a:pos x="T8" y="T9"/>
                  </a:cxn>
                  <a:cxn ang="0">
                    <a:pos x="T10" y="T11"/>
                  </a:cxn>
                  <a:cxn ang="0">
                    <a:pos x="T12" y="T13"/>
                  </a:cxn>
                </a:cxnLst>
                <a:rect l="0" t="0" r="r" b="b"/>
                <a:pathLst>
                  <a:path w="2352" h="1002">
                    <a:moveTo>
                      <a:pt x="553" y="0"/>
                    </a:moveTo>
                    <a:cubicBezTo>
                      <a:pt x="553" y="0"/>
                      <a:pt x="1799" y="505"/>
                      <a:pt x="2352" y="454"/>
                    </a:cubicBezTo>
                    <a:cubicBezTo>
                      <a:pt x="1983" y="1002"/>
                      <a:pt x="1983" y="1002"/>
                      <a:pt x="1983" y="1002"/>
                    </a:cubicBezTo>
                    <a:cubicBezTo>
                      <a:pt x="651" y="587"/>
                      <a:pt x="651" y="587"/>
                      <a:pt x="651" y="587"/>
                    </a:cubicBezTo>
                    <a:cubicBezTo>
                      <a:pt x="0" y="291"/>
                      <a:pt x="0" y="291"/>
                      <a:pt x="0" y="291"/>
                    </a:cubicBezTo>
                    <a:cubicBezTo>
                      <a:pt x="304" y="86"/>
                      <a:pt x="304" y="86"/>
                      <a:pt x="304" y="86"/>
                    </a:cubicBezTo>
                    <a:cubicBezTo>
                      <a:pt x="553" y="0"/>
                      <a:pt x="553" y="0"/>
                      <a:pt x="553" y="0"/>
                    </a:cubicBezTo>
                  </a:path>
                </a:pathLst>
              </a:custGeom>
              <a:solidFill>
                <a:srgbClr val="00968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2" name="îśḷïḑe">
                <a:extLst>
                  <a:ext uri="{FF2B5EF4-FFF2-40B4-BE49-F238E27FC236}">
                    <a16:creationId xmlns:a16="http://schemas.microsoft.com/office/drawing/2014/main" id="{7AD921EC-DE2C-44D4-8D8C-CE38213D8AD8}"/>
                  </a:ext>
                </a:extLst>
              </p:cNvPr>
              <p:cNvSpPr/>
              <p:nvPr/>
            </p:nvSpPr>
            <p:spPr bwMode="auto">
              <a:xfrm>
                <a:off x="4400551" y="2987676"/>
                <a:ext cx="3054350" cy="1298575"/>
              </a:xfrm>
              <a:custGeom>
                <a:avLst/>
                <a:gdLst>
                  <a:gd name="T0" fmla="*/ 553 w 2352"/>
                  <a:gd name="T1" fmla="*/ 0 h 1002"/>
                  <a:gd name="T2" fmla="*/ 2352 w 2352"/>
                  <a:gd name="T3" fmla="*/ 454 h 1002"/>
                  <a:gd name="T4" fmla="*/ 1983 w 2352"/>
                  <a:gd name="T5" fmla="*/ 1002 h 1002"/>
                  <a:gd name="T6" fmla="*/ 651 w 2352"/>
                  <a:gd name="T7" fmla="*/ 587 h 1002"/>
                  <a:gd name="T8" fmla="*/ 0 w 2352"/>
                  <a:gd name="T9" fmla="*/ 291 h 1002"/>
                  <a:gd name="T10" fmla="*/ 304 w 2352"/>
                  <a:gd name="T11" fmla="*/ 86 h 1002"/>
                  <a:gd name="T12" fmla="*/ 553 w 2352"/>
                  <a:gd name="T13" fmla="*/ 0 h 1002"/>
                </a:gdLst>
                <a:ahLst/>
                <a:cxnLst>
                  <a:cxn ang="0">
                    <a:pos x="T0" y="T1"/>
                  </a:cxn>
                  <a:cxn ang="0">
                    <a:pos x="T2" y="T3"/>
                  </a:cxn>
                  <a:cxn ang="0">
                    <a:pos x="T4" y="T5"/>
                  </a:cxn>
                  <a:cxn ang="0">
                    <a:pos x="T6" y="T7"/>
                  </a:cxn>
                  <a:cxn ang="0">
                    <a:pos x="T8" y="T9"/>
                  </a:cxn>
                  <a:cxn ang="0">
                    <a:pos x="T10" y="T11"/>
                  </a:cxn>
                  <a:cxn ang="0">
                    <a:pos x="T12" y="T13"/>
                  </a:cxn>
                </a:cxnLst>
                <a:rect l="0" t="0" r="r" b="b"/>
                <a:pathLst>
                  <a:path w="2352" h="1002">
                    <a:moveTo>
                      <a:pt x="553" y="0"/>
                    </a:moveTo>
                    <a:cubicBezTo>
                      <a:pt x="553" y="0"/>
                      <a:pt x="1799" y="505"/>
                      <a:pt x="2352" y="454"/>
                    </a:cubicBezTo>
                    <a:cubicBezTo>
                      <a:pt x="1983" y="1002"/>
                      <a:pt x="1983" y="1002"/>
                      <a:pt x="1983" y="1002"/>
                    </a:cubicBezTo>
                    <a:cubicBezTo>
                      <a:pt x="651" y="587"/>
                      <a:pt x="651" y="587"/>
                      <a:pt x="651" y="587"/>
                    </a:cubicBezTo>
                    <a:cubicBezTo>
                      <a:pt x="0" y="291"/>
                      <a:pt x="0" y="291"/>
                      <a:pt x="0" y="291"/>
                    </a:cubicBezTo>
                    <a:cubicBezTo>
                      <a:pt x="304" y="86"/>
                      <a:pt x="304" y="86"/>
                      <a:pt x="304" y="86"/>
                    </a:cubicBezTo>
                    <a:cubicBezTo>
                      <a:pt x="553" y="0"/>
                      <a:pt x="553" y="0"/>
                      <a:pt x="553" y="0"/>
                    </a:cubicBezTo>
                  </a:path>
                </a:pathLst>
              </a:custGeom>
              <a:solidFill>
                <a:srgbClr val="000000">
                  <a:alpha val="10000"/>
                </a:srgbClr>
              </a:solidFill>
              <a:ln>
                <a:noFill/>
              </a:ln>
            </p:spPr>
            <p:txBody>
              <a:bodyPr anchor="ctr"/>
              <a:lstStyle/>
              <a:p>
                <a:pPr algn="ctr"/>
                <a:endParaRPr/>
              </a:p>
            </p:txBody>
          </p:sp>
          <p:sp>
            <p:nvSpPr>
              <p:cNvPr id="113" name="íṡlíďe">
                <a:extLst>
                  <a:ext uri="{FF2B5EF4-FFF2-40B4-BE49-F238E27FC236}">
                    <a16:creationId xmlns:a16="http://schemas.microsoft.com/office/drawing/2014/main" id="{952D32C4-63FF-49D9-8113-107492F02ADD}"/>
                  </a:ext>
                </a:extLst>
              </p:cNvPr>
              <p:cNvSpPr/>
              <p:nvPr/>
            </p:nvSpPr>
            <p:spPr bwMode="auto">
              <a:xfrm>
                <a:off x="4400551" y="3184526"/>
                <a:ext cx="1084263" cy="252413"/>
              </a:xfrm>
              <a:custGeom>
                <a:avLst/>
                <a:gdLst>
                  <a:gd name="T0" fmla="*/ 412 w 683"/>
                  <a:gd name="T1" fmla="*/ 0 h 159"/>
                  <a:gd name="T2" fmla="*/ 683 w 683"/>
                  <a:gd name="T3" fmla="*/ 61 h 159"/>
                  <a:gd name="T4" fmla="*/ 130 w 683"/>
                  <a:gd name="T5" fmla="*/ 159 h 159"/>
                  <a:gd name="T6" fmla="*/ 0 w 683"/>
                  <a:gd name="T7" fmla="*/ 44 h 159"/>
                  <a:gd name="T8" fmla="*/ 412 w 683"/>
                  <a:gd name="T9" fmla="*/ 0 h 159"/>
                </a:gdLst>
                <a:ahLst/>
                <a:cxnLst>
                  <a:cxn ang="0">
                    <a:pos x="T0" y="T1"/>
                  </a:cxn>
                  <a:cxn ang="0">
                    <a:pos x="T2" y="T3"/>
                  </a:cxn>
                  <a:cxn ang="0">
                    <a:pos x="T4" y="T5"/>
                  </a:cxn>
                  <a:cxn ang="0">
                    <a:pos x="T6" y="T7"/>
                  </a:cxn>
                  <a:cxn ang="0">
                    <a:pos x="T8" y="T9"/>
                  </a:cxn>
                </a:cxnLst>
                <a:rect l="0" t="0" r="r" b="b"/>
                <a:pathLst>
                  <a:path w="683" h="159">
                    <a:moveTo>
                      <a:pt x="412" y="0"/>
                    </a:moveTo>
                    <a:lnTo>
                      <a:pt x="683" y="61"/>
                    </a:lnTo>
                    <a:lnTo>
                      <a:pt x="130" y="159"/>
                    </a:lnTo>
                    <a:lnTo>
                      <a:pt x="0" y="44"/>
                    </a:lnTo>
                    <a:lnTo>
                      <a:pt x="412" y="0"/>
                    </a:lnTo>
                    <a:close/>
                  </a:path>
                </a:pathLst>
              </a:custGeom>
              <a:solidFill>
                <a:srgbClr val="FFFFFF">
                  <a:alpha val="10000"/>
                </a:srgbClr>
              </a:solidFill>
              <a:ln>
                <a:noFill/>
              </a:ln>
            </p:spPr>
            <p:txBody>
              <a:bodyPr anchor="ctr"/>
              <a:lstStyle/>
              <a:p>
                <a:pPr algn="ctr"/>
                <a:endParaRPr/>
              </a:p>
            </p:txBody>
          </p:sp>
          <p:sp>
            <p:nvSpPr>
              <p:cNvPr id="114" name="íṧľiḓe">
                <a:extLst>
                  <a:ext uri="{FF2B5EF4-FFF2-40B4-BE49-F238E27FC236}">
                    <a16:creationId xmlns:a16="http://schemas.microsoft.com/office/drawing/2014/main" id="{B34C96A6-22D9-45CC-8B32-F8053C699F9D}"/>
                  </a:ext>
                </a:extLst>
              </p:cNvPr>
              <p:cNvSpPr/>
              <p:nvPr/>
            </p:nvSpPr>
            <p:spPr bwMode="auto">
              <a:xfrm>
                <a:off x="4400551" y="3184526"/>
                <a:ext cx="1084263" cy="252413"/>
              </a:xfrm>
              <a:custGeom>
                <a:avLst/>
                <a:gdLst>
                  <a:gd name="T0" fmla="*/ 412 w 683"/>
                  <a:gd name="T1" fmla="*/ 0 h 159"/>
                  <a:gd name="T2" fmla="*/ 683 w 683"/>
                  <a:gd name="T3" fmla="*/ 61 h 159"/>
                  <a:gd name="T4" fmla="*/ 130 w 683"/>
                  <a:gd name="T5" fmla="*/ 159 h 159"/>
                  <a:gd name="T6" fmla="*/ 0 w 683"/>
                  <a:gd name="T7" fmla="*/ 44 h 159"/>
                  <a:gd name="T8" fmla="*/ 412 w 683"/>
                  <a:gd name="T9" fmla="*/ 0 h 159"/>
                </a:gdLst>
                <a:ahLst/>
                <a:cxnLst>
                  <a:cxn ang="0">
                    <a:pos x="T0" y="T1"/>
                  </a:cxn>
                  <a:cxn ang="0">
                    <a:pos x="T2" y="T3"/>
                  </a:cxn>
                  <a:cxn ang="0">
                    <a:pos x="T4" y="T5"/>
                  </a:cxn>
                  <a:cxn ang="0">
                    <a:pos x="T6" y="T7"/>
                  </a:cxn>
                  <a:cxn ang="0">
                    <a:pos x="T8" y="T9"/>
                  </a:cxn>
                </a:cxnLst>
                <a:rect l="0" t="0" r="r" b="b"/>
                <a:pathLst>
                  <a:path w="683" h="159">
                    <a:moveTo>
                      <a:pt x="412" y="0"/>
                    </a:moveTo>
                    <a:lnTo>
                      <a:pt x="683" y="61"/>
                    </a:lnTo>
                    <a:lnTo>
                      <a:pt x="130" y="159"/>
                    </a:lnTo>
                    <a:lnTo>
                      <a:pt x="0" y="44"/>
                    </a:lnTo>
                    <a:lnTo>
                      <a:pt x="4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îş1iḍe">
                <a:extLst>
                  <a:ext uri="{FF2B5EF4-FFF2-40B4-BE49-F238E27FC236}">
                    <a16:creationId xmlns:a16="http://schemas.microsoft.com/office/drawing/2014/main" id="{1D835769-0F16-4863-9EE0-DD6674C02B41}"/>
                  </a:ext>
                </a:extLst>
              </p:cNvPr>
              <p:cNvSpPr/>
              <p:nvPr/>
            </p:nvSpPr>
            <p:spPr bwMode="auto">
              <a:xfrm>
                <a:off x="5246688" y="3395663"/>
                <a:ext cx="866775" cy="352425"/>
              </a:xfrm>
              <a:custGeom>
                <a:avLst/>
                <a:gdLst>
                  <a:gd name="T0" fmla="*/ 0 w 546"/>
                  <a:gd name="T1" fmla="*/ 117 h 222"/>
                  <a:gd name="T2" fmla="*/ 320 w 546"/>
                  <a:gd name="T3" fmla="*/ 0 h 222"/>
                  <a:gd name="T4" fmla="*/ 546 w 546"/>
                  <a:gd name="T5" fmla="*/ 75 h 222"/>
                  <a:gd name="T6" fmla="*/ 150 w 546"/>
                  <a:gd name="T7" fmla="*/ 222 h 222"/>
                  <a:gd name="T8" fmla="*/ 0 w 546"/>
                  <a:gd name="T9" fmla="*/ 117 h 222"/>
                </a:gdLst>
                <a:ahLst/>
                <a:cxnLst>
                  <a:cxn ang="0">
                    <a:pos x="T0" y="T1"/>
                  </a:cxn>
                  <a:cxn ang="0">
                    <a:pos x="T2" y="T3"/>
                  </a:cxn>
                  <a:cxn ang="0">
                    <a:pos x="T4" y="T5"/>
                  </a:cxn>
                  <a:cxn ang="0">
                    <a:pos x="T6" y="T7"/>
                  </a:cxn>
                  <a:cxn ang="0">
                    <a:pos x="T8" y="T9"/>
                  </a:cxn>
                </a:cxnLst>
                <a:rect l="0" t="0" r="r" b="b"/>
                <a:pathLst>
                  <a:path w="546" h="222">
                    <a:moveTo>
                      <a:pt x="0" y="117"/>
                    </a:moveTo>
                    <a:lnTo>
                      <a:pt x="320" y="0"/>
                    </a:lnTo>
                    <a:lnTo>
                      <a:pt x="546" y="75"/>
                    </a:lnTo>
                    <a:lnTo>
                      <a:pt x="150" y="222"/>
                    </a:lnTo>
                    <a:lnTo>
                      <a:pt x="0" y="117"/>
                    </a:lnTo>
                    <a:close/>
                  </a:path>
                </a:pathLst>
              </a:custGeom>
              <a:solidFill>
                <a:srgbClr val="FFFFFF">
                  <a:alpha val="10000"/>
                </a:srgbClr>
              </a:solidFill>
              <a:ln>
                <a:noFill/>
              </a:ln>
            </p:spPr>
            <p:txBody>
              <a:bodyPr anchor="ctr"/>
              <a:lstStyle/>
              <a:p>
                <a:pPr algn="ctr"/>
                <a:endParaRPr/>
              </a:p>
            </p:txBody>
          </p:sp>
          <p:sp>
            <p:nvSpPr>
              <p:cNvPr id="116" name="îs1ïḑê">
                <a:extLst>
                  <a:ext uri="{FF2B5EF4-FFF2-40B4-BE49-F238E27FC236}">
                    <a16:creationId xmlns:a16="http://schemas.microsoft.com/office/drawing/2014/main" id="{2553BC76-1F76-45AB-908A-52775E55D0E1}"/>
                  </a:ext>
                </a:extLst>
              </p:cNvPr>
              <p:cNvSpPr/>
              <p:nvPr/>
            </p:nvSpPr>
            <p:spPr bwMode="auto">
              <a:xfrm>
                <a:off x="5246688" y="3395663"/>
                <a:ext cx="866775" cy="352425"/>
              </a:xfrm>
              <a:custGeom>
                <a:avLst/>
                <a:gdLst>
                  <a:gd name="T0" fmla="*/ 0 w 546"/>
                  <a:gd name="T1" fmla="*/ 117 h 222"/>
                  <a:gd name="T2" fmla="*/ 320 w 546"/>
                  <a:gd name="T3" fmla="*/ 0 h 222"/>
                  <a:gd name="T4" fmla="*/ 546 w 546"/>
                  <a:gd name="T5" fmla="*/ 75 h 222"/>
                  <a:gd name="T6" fmla="*/ 150 w 546"/>
                  <a:gd name="T7" fmla="*/ 222 h 222"/>
                  <a:gd name="T8" fmla="*/ 0 w 546"/>
                  <a:gd name="T9" fmla="*/ 117 h 222"/>
                </a:gdLst>
                <a:ahLst/>
                <a:cxnLst>
                  <a:cxn ang="0">
                    <a:pos x="T0" y="T1"/>
                  </a:cxn>
                  <a:cxn ang="0">
                    <a:pos x="T2" y="T3"/>
                  </a:cxn>
                  <a:cxn ang="0">
                    <a:pos x="T4" y="T5"/>
                  </a:cxn>
                  <a:cxn ang="0">
                    <a:pos x="T6" y="T7"/>
                  </a:cxn>
                  <a:cxn ang="0">
                    <a:pos x="T8" y="T9"/>
                  </a:cxn>
                </a:cxnLst>
                <a:rect l="0" t="0" r="r" b="b"/>
                <a:pathLst>
                  <a:path w="546" h="222">
                    <a:moveTo>
                      <a:pt x="0" y="117"/>
                    </a:moveTo>
                    <a:lnTo>
                      <a:pt x="320" y="0"/>
                    </a:lnTo>
                    <a:lnTo>
                      <a:pt x="546" y="75"/>
                    </a:lnTo>
                    <a:lnTo>
                      <a:pt x="150" y="222"/>
                    </a:lnTo>
                    <a:lnTo>
                      <a:pt x="0" y="1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íṩ1ïďê">
                <a:extLst>
                  <a:ext uri="{FF2B5EF4-FFF2-40B4-BE49-F238E27FC236}">
                    <a16:creationId xmlns:a16="http://schemas.microsoft.com/office/drawing/2014/main" id="{323CC05D-5C2C-4AA7-928D-9FD7C682221B}"/>
                  </a:ext>
                </a:extLst>
              </p:cNvPr>
              <p:cNvSpPr/>
              <p:nvPr/>
            </p:nvSpPr>
            <p:spPr bwMode="auto">
              <a:xfrm>
                <a:off x="5946776" y="3640138"/>
                <a:ext cx="1057275" cy="312738"/>
              </a:xfrm>
              <a:custGeom>
                <a:avLst/>
                <a:gdLst>
                  <a:gd name="T0" fmla="*/ 0 w 666"/>
                  <a:gd name="T1" fmla="*/ 96 h 197"/>
                  <a:gd name="T2" fmla="*/ 352 w 666"/>
                  <a:gd name="T3" fmla="*/ 0 h 197"/>
                  <a:gd name="T4" fmla="*/ 666 w 666"/>
                  <a:gd name="T5" fmla="*/ 86 h 197"/>
                  <a:gd name="T6" fmla="*/ 333 w 666"/>
                  <a:gd name="T7" fmla="*/ 197 h 197"/>
                  <a:gd name="T8" fmla="*/ 0 w 666"/>
                  <a:gd name="T9" fmla="*/ 96 h 197"/>
                </a:gdLst>
                <a:ahLst/>
                <a:cxnLst>
                  <a:cxn ang="0">
                    <a:pos x="T0" y="T1"/>
                  </a:cxn>
                  <a:cxn ang="0">
                    <a:pos x="T2" y="T3"/>
                  </a:cxn>
                  <a:cxn ang="0">
                    <a:pos x="T4" y="T5"/>
                  </a:cxn>
                  <a:cxn ang="0">
                    <a:pos x="T6" y="T7"/>
                  </a:cxn>
                  <a:cxn ang="0">
                    <a:pos x="T8" y="T9"/>
                  </a:cxn>
                </a:cxnLst>
                <a:rect l="0" t="0" r="r" b="b"/>
                <a:pathLst>
                  <a:path w="666" h="197">
                    <a:moveTo>
                      <a:pt x="0" y="96"/>
                    </a:moveTo>
                    <a:lnTo>
                      <a:pt x="352" y="0"/>
                    </a:lnTo>
                    <a:lnTo>
                      <a:pt x="666" y="86"/>
                    </a:lnTo>
                    <a:lnTo>
                      <a:pt x="333" y="197"/>
                    </a:lnTo>
                    <a:lnTo>
                      <a:pt x="0" y="96"/>
                    </a:lnTo>
                    <a:close/>
                  </a:path>
                </a:pathLst>
              </a:custGeom>
              <a:solidFill>
                <a:srgbClr val="FFFFFF">
                  <a:alpha val="10000"/>
                </a:srgbClr>
              </a:solidFill>
              <a:ln>
                <a:noFill/>
              </a:ln>
            </p:spPr>
            <p:txBody>
              <a:bodyPr anchor="ctr"/>
              <a:lstStyle/>
              <a:p>
                <a:pPr algn="ctr"/>
                <a:endParaRPr/>
              </a:p>
            </p:txBody>
          </p:sp>
          <p:sp>
            <p:nvSpPr>
              <p:cNvPr id="118" name="îśḷïdê">
                <a:extLst>
                  <a:ext uri="{FF2B5EF4-FFF2-40B4-BE49-F238E27FC236}">
                    <a16:creationId xmlns:a16="http://schemas.microsoft.com/office/drawing/2014/main" id="{CE18C3D1-BE6B-4576-8B44-A73F739367B5}"/>
                  </a:ext>
                </a:extLst>
              </p:cNvPr>
              <p:cNvSpPr/>
              <p:nvPr/>
            </p:nvSpPr>
            <p:spPr bwMode="auto">
              <a:xfrm>
                <a:off x="5946776" y="3640138"/>
                <a:ext cx="1057275" cy="312738"/>
              </a:xfrm>
              <a:custGeom>
                <a:avLst/>
                <a:gdLst>
                  <a:gd name="T0" fmla="*/ 0 w 666"/>
                  <a:gd name="T1" fmla="*/ 96 h 197"/>
                  <a:gd name="T2" fmla="*/ 352 w 666"/>
                  <a:gd name="T3" fmla="*/ 0 h 197"/>
                  <a:gd name="T4" fmla="*/ 666 w 666"/>
                  <a:gd name="T5" fmla="*/ 86 h 197"/>
                  <a:gd name="T6" fmla="*/ 333 w 666"/>
                  <a:gd name="T7" fmla="*/ 197 h 197"/>
                  <a:gd name="T8" fmla="*/ 0 w 666"/>
                  <a:gd name="T9" fmla="*/ 96 h 197"/>
                </a:gdLst>
                <a:ahLst/>
                <a:cxnLst>
                  <a:cxn ang="0">
                    <a:pos x="T0" y="T1"/>
                  </a:cxn>
                  <a:cxn ang="0">
                    <a:pos x="T2" y="T3"/>
                  </a:cxn>
                  <a:cxn ang="0">
                    <a:pos x="T4" y="T5"/>
                  </a:cxn>
                  <a:cxn ang="0">
                    <a:pos x="T6" y="T7"/>
                  </a:cxn>
                  <a:cxn ang="0">
                    <a:pos x="T8" y="T9"/>
                  </a:cxn>
                </a:cxnLst>
                <a:rect l="0" t="0" r="r" b="b"/>
                <a:pathLst>
                  <a:path w="666" h="197">
                    <a:moveTo>
                      <a:pt x="0" y="96"/>
                    </a:moveTo>
                    <a:lnTo>
                      <a:pt x="352" y="0"/>
                    </a:lnTo>
                    <a:lnTo>
                      <a:pt x="666" y="86"/>
                    </a:lnTo>
                    <a:lnTo>
                      <a:pt x="333" y="197"/>
                    </a:lnTo>
                    <a:lnTo>
                      <a:pt x="0" y="9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îS1îḑé">
                <a:extLst>
                  <a:ext uri="{FF2B5EF4-FFF2-40B4-BE49-F238E27FC236}">
                    <a16:creationId xmlns:a16="http://schemas.microsoft.com/office/drawing/2014/main" id="{7C1A6BD5-0CE8-4A91-9C51-9B4422244E73}"/>
                  </a:ext>
                </a:extLst>
              </p:cNvPr>
              <p:cNvSpPr/>
              <p:nvPr/>
            </p:nvSpPr>
            <p:spPr bwMode="auto">
              <a:xfrm>
                <a:off x="4248151" y="2987676"/>
                <a:ext cx="869950" cy="315913"/>
              </a:xfrm>
              <a:custGeom>
                <a:avLst/>
                <a:gdLst>
                  <a:gd name="T0" fmla="*/ 0 w 548"/>
                  <a:gd name="T1" fmla="*/ 75 h 199"/>
                  <a:gd name="T2" fmla="*/ 548 w 548"/>
                  <a:gd name="T3" fmla="*/ 0 h 199"/>
                  <a:gd name="T4" fmla="*/ 548 w 548"/>
                  <a:gd name="T5" fmla="*/ 133 h 199"/>
                  <a:gd name="T6" fmla="*/ 89 w 548"/>
                  <a:gd name="T7" fmla="*/ 199 h 199"/>
                  <a:gd name="T8" fmla="*/ 0 w 548"/>
                  <a:gd name="T9" fmla="*/ 75 h 199"/>
                </a:gdLst>
                <a:ahLst/>
                <a:cxnLst>
                  <a:cxn ang="0">
                    <a:pos x="T0" y="T1"/>
                  </a:cxn>
                  <a:cxn ang="0">
                    <a:pos x="T2" y="T3"/>
                  </a:cxn>
                  <a:cxn ang="0">
                    <a:pos x="T4" y="T5"/>
                  </a:cxn>
                  <a:cxn ang="0">
                    <a:pos x="T6" y="T7"/>
                  </a:cxn>
                  <a:cxn ang="0">
                    <a:pos x="T8" y="T9"/>
                  </a:cxn>
                </a:cxnLst>
                <a:rect l="0" t="0" r="r" b="b"/>
                <a:pathLst>
                  <a:path w="548" h="199">
                    <a:moveTo>
                      <a:pt x="0" y="75"/>
                    </a:moveTo>
                    <a:lnTo>
                      <a:pt x="548" y="0"/>
                    </a:lnTo>
                    <a:lnTo>
                      <a:pt x="548" y="133"/>
                    </a:lnTo>
                    <a:lnTo>
                      <a:pt x="89" y="199"/>
                    </a:lnTo>
                    <a:lnTo>
                      <a:pt x="0" y="75"/>
                    </a:lnTo>
                    <a:close/>
                  </a:path>
                </a:pathLst>
              </a:custGeom>
              <a:solidFill>
                <a:srgbClr val="00968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îšḷiḑè">
                <a:extLst>
                  <a:ext uri="{FF2B5EF4-FFF2-40B4-BE49-F238E27FC236}">
                    <a16:creationId xmlns:a16="http://schemas.microsoft.com/office/drawing/2014/main" id="{30A14A1E-BDE2-4C89-B8E9-E1BE95866061}"/>
                  </a:ext>
                </a:extLst>
              </p:cNvPr>
              <p:cNvSpPr/>
              <p:nvPr/>
            </p:nvSpPr>
            <p:spPr bwMode="auto">
              <a:xfrm>
                <a:off x="4248151" y="2987676"/>
                <a:ext cx="869950" cy="315913"/>
              </a:xfrm>
              <a:custGeom>
                <a:avLst/>
                <a:gdLst>
                  <a:gd name="T0" fmla="*/ 0 w 548"/>
                  <a:gd name="T1" fmla="*/ 75 h 199"/>
                  <a:gd name="T2" fmla="*/ 548 w 548"/>
                  <a:gd name="T3" fmla="*/ 0 h 199"/>
                  <a:gd name="T4" fmla="*/ 548 w 548"/>
                  <a:gd name="T5" fmla="*/ 133 h 199"/>
                  <a:gd name="T6" fmla="*/ 89 w 548"/>
                  <a:gd name="T7" fmla="*/ 199 h 199"/>
                  <a:gd name="T8" fmla="*/ 0 w 548"/>
                  <a:gd name="T9" fmla="*/ 75 h 199"/>
                </a:gdLst>
                <a:ahLst/>
                <a:cxnLst>
                  <a:cxn ang="0">
                    <a:pos x="T0" y="T1"/>
                  </a:cxn>
                  <a:cxn ang="0">
                    <a:pos x="T2" y="T3"/>
                  </a:cxn>
                  <a:cxn ang="0">
                    <a:pos x="T4" y="T5"/>
                  </a:cxn>
                  <a:cxn ang="0">
                    <a:pos x="T6" y="T7"/>
                  </a:cxn>
                  <a:cxn ang="0">
                    <a:pos x="T8" y="T9"/>
                  </a:cxn>
                </a:cxnLst>
                <a:rect l="0" t="0" r="r" b="b"/>
                <a:pathLst>
                  <a:path w="548" h="199">
                    <a:moveTo>
                      <a:pt x="0" y="75"/>
                    </a:moveTo>
                    <a:lnTo>
                      <a:pt x="548" y="0"/>
                    </a:lnTo>
                    <a:lnTo>
                      <a:pt x="548" y="133"/>
                    </a:lnTo>
                    <a:lnTo>
                      <a:pt x="89" y="199"/>
                    </a:lnTo>
                    <a:lnTo>
                      <a:pt x="0" y="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íṣḻîdè">
                <a:extLst>
                  <a:ext uri="{FF2B5EF4-FFF2-40B4-BE49-F238E27FC236}">
                    <a16:creationId xmlns:a16="http://schemas.microsoft.com/office/drawing/2014/main" id="{E35E00E2-0649-4216-838D-F5FEC5A041B9}"/>
                  </a:ext>
                </a:extLst>
              </p:cNvPr>
              <p:cNvSpPr/>
              <p:nvPr/>
            </p:nvSpPr>
            <p:spPr bwMode="auto">
              <a:xfrm>
                <a:off x="4254501" y="3117851"/>
                <a:ext cx="1588" cy="3175"/>
              </a:xfrm>
              <a:custGeom>
                <a:avLst/>
                <a:gdLst>
                  <a:gd name="T0" fmla="*/ 0 w 1"/>
                  <a:gd name="T1" fmla="*/ 0 h 2"/>
                  <a:gd name="T2" fmla="*/ 0 w 1"/>
                  <a:gd name="T3" fmla="*/ 0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lnTo>
                      <a:pt x="0" y="0"/>
                    </a:lnTo>
                    <a:lnTo>
                      <a:pt x="1" y="2"/>
                    </a:lnTo>
                    <a:lnTo>
                      <a:pt x="0" y="0"/>
                    </a:lnTo>
                    <a:close/>
                  </a:path>
                </a:pathLst>
              </a:custGeom>
              <a:solidFill>
                <a:srgbClr val="1AA1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ïṩḷíďè">
                <a:extLst>
                  <a:ext uri="{FF2B5EF4-FFF2-40B4-BE49-F238E27FC236}">
                    <a16:creationId xmlns:a16="http://schemas.microsoft.com/office/drawing/2014/main" id="{629A0395-F8B1-4448-A1C3-7F3C20F43389}"/>
                  </a:ext>
                </a:extLst>
              </p:cNvPr>
              <p:cNvSpPr/>
              <p:nvPr/>
            </p:nvSpPr>
            <p:spPr bwMode="auto">
              <a:xfrm>
                <a:off x="4254501" y="3117851"/>
                <a:ext cx="1588" cy="3175"/>
              </a:xfrm>
              <a:custGeom>
                <a:avLst/>
                <a:gdLst>
                  <a:gd name="T0" fmla="*/ 0 w 1"/>
                  <a:gd name="T1" fmla="*/ 0 h 2"/>
                  <a:gd name="T2" fmla="*/ 0 w 1"/>
                  <a:gd name="T3" fmla="*/ 0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lnTo>
                      <a:pt x="0" y="0"/>
                    </a:lnTo>
                    <a:lnTo>
                      <a:pt x="1"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iṡḷîḍé">
                <a:extLst>
                  <a:ext uri="{FF2B5EF4-FFF2-40B4-BE49-F238E27FC236}">
                    <a16:creationId xmlns:a16="http://schemas.microsoft.com/office/drawing/2014/main" id="{B116F76C-E4C2-4CD9-AF33-FDE9ABC79072}"/>
                  </a:ext>
                </a:extLst>
              </p:cNvPr>
              <p:cNvSpPr/>
              <p:nvPr/>
            </p:nvSpPr>
            <p:spPr bwMode="auto">
              <a:xfrm>
                <a:off x="4273551" y="2987676"/>
                <a:ext cx="844550" cy="290513"/>
              </a:xfrm>
              <a:custGeom>
                <a:avLst/>
                <a:gdLst>
                  <a:gd name="T0" fmla="*/ 445 w 651"/>
                  <a:gd name="T1" fmla="*/ 31 h 224"/>
                  <a:gd name="T2" fmla="*/ 0 w 651"/>
                  <a:gd name="T3" fmla="*/ 98 h 224"/>
                  <a:gd name="T4" fmla="*/ 231 w 651"/>
                  <a:gd name="T5" fmla="*/ 224 h 224"/>
                  <a:gd name="T6" fmla="*/ 442 w 651"/>
                  <a:gd name="T7" fmla="*/ 193 h 224"/>
                  <a:gd name="T8" fmla="*/ 445 w 651"/>
                  <a:gd name="T9" fmla="*/ 31 h 224"/>
                  <a:gd name="T10" fmla="*/ 651 w 651"/>
                  <a:gd name="T11" fmla="*/ 0 h 224"/>
                  <a:gd name="T12" fmla="*/ 651 w 651"/>
                  <a:gd name="T13" fmla="*/ 0 h 224"/>
                  <a:gd name="T14" fmla="*/ 453 w 651"/>
                  <a:gd name="T15" fmla="*/ 30 h 224"/>
                  <a:gd name="T16" fmla="*/ 450 w 651"/>
                  <a:gd name="T17" fmla="*/ 192 h 224"/>
                  <a:gd name="T18" fmla="*/ 651 w 651"/>
                  <a:gd name="T19" fmla="*/ 163 h 224"/>
                  <a:gd name="T20" fmla="*/ 651 w 651"/>
                  <a:gd name="T21"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1" h="224">
                    <a:moveTo>
                      <a:pt x="445" y="31"/>
                    </a:moveTo>
                    <a:cubicBezTo>
                      <a:pt x="0" y="98"/>
                      <a:pt x="0" y="98"/>
                      <a:pt x="0" y="98"/>
                    </a:cubicBezTo>
                    <a:cubicBezTo>
                      <a:pt x="44" y="135"/>
                      <a:pt x="127" y="179"/>
                      <a:pt x="231" y="224"/>
                    </a:cubicBezTo>
                    <a:cubicBezTo>
                      <a:pt x="442" y="193"/>
                      <a:pt x="442" y="193"/>
                      <a:pt x="442" y="193"/>
                    </a:cubicBezTo>
                    <a:cubicBezTo>
                      <a:pt x="445" y="31"/>
                      <a:pt x="445" y="31"/>
                      <a:pt x="445" y="31"/>
                    </a:cubicBezTo>
                    <a:moveTo>
                      <a:pt x="651" y="0"/>
                    </a:moveTo>
                    <a:cubicBezTo>
                      <a:pt x="651" y="0"/>
                      <a:pt x="651" y="0"/>
                      <a:pt x="651" y="0"/>
                    </a:cubicBezTo>
                    <a:cubicBezTo>
                      <a:pt x="453" y="30"/>
                      <a:pt x="453" y="30"/>
                      <a:pt x="453" y="30"/>
                    </a:cubicBezTo>
                    <a:cubicBezTo>
                      <a:pt x="450" y="192"/>
                      <a:pt x="450" y="192"/>
                      <a:pt x="450" y="192"/>
                    </a:cubicBezTo>
                    <a:cubicBezTo>
                      <a:pt x="651" y="163"/>
                      <a:pt x="651" y="163"/>
                      <a:pt x="651" y="163"/>
                    </a:cubicBezTo>
                    <a:cubicBezTo>
                      <a:pt x="651" y="0"/>
                      <a:pt x="651" y="0"/>
                      <a:pt x="651" y="0"/>
                    </a:cubicBezTo>
                  </a:path>
                </a:pathLst>
              </a:custGeom>
              <a:solidFill>
                <a:srgbClr val="1AA1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íŝḻíḍè">
                <a:extLst>
                  <a:ext uri="{FF2B5EF4-FFF2-40B4-BE49-F238E27FC236}">
                    <a16:creationId xmlns:a16="http://schemas.microsoft.com/office/drawing/2014/main" id="{9AA84DB1-9C32-4AB6-B72D-5E5BC4ACFFC2}"/>
                  </a:ext>
                </a:extLst>
              </p:cNvPr>
              <p:cNvSpPr/>
              <p:nvPr/>
            </p:nvSpPr>
            <p:spPr bwMode="auto">
              <a:xfrm>
                <a:off x="3478213" y="1852613"/>
                <a:ext cx="4003675" cy="609600"/>
              </a:xfrm>
              <a:custGeom>
                <a:avLst/>
                <a:gdLst>
                  <a:gd name="T0" fmla="*/ 0 w 3084"/>
                  <a:gd name="T1" fmla="*/ 432 h 470"/>
                  <a:gd name="T2" fmla="*/ 224 w 3084"/>
                  <a:gd name="T3" fmla="*/ 148 h 470"/>
                  <a:gd name="T4" fmla="*/ 1199 w 3084"/>
                  <a:gd name="T5" fmla="*/ 136 h 470"/>
                  <a:gd name="T6" fmla="*/ 2493 w 3084"/>
                  <a:gd name="T7" fmla="*/ 162 h 470"/>
                  <a:gd name="T8" fmla="*/ 3071 w 3084"/>
                  <a:gd name="T9" fmla="*/ 406 h 470"/>
                  <a:gd name="T10" fmla="*/ 0 w 3084"/>
                  <a:gd name="T11" fmla="*/ 431 h 470"/>
                  <a:gd name="T12" fmla="*/ 0 w 3084"/>
                  <a:gd name="T13" fmla="*/ 432 h 470"/>
                </a:gdLst>
                <a:ahLst/>
                <a:cxnLst>
                  <a:cxn ang="0">
                    <a:pos x="T0" y="T1"/>
                  </a:cxn>
                  <a:cxn ang="0">
                    <a:pos x="T2" y="T3"/>
                  </a:cxn>
                  <a:cxn ang="0">
                    <a:pos x="T4" y="T5"/>
                  </a:cxn>
                  <a:cxn ang="0">
                    <a:pos x="T6" y="T7"/>
                  </a:cxn>
                  <a:cxn ang="0">
                    <a:pos x="T8" y="T9"/>
                  </a:cxn>
                  <a:cxn ang="0">
                    <a:pos x="T10" y="T11"/>
                  </a:cxn>
                  <a:cxn ang="0">
                    <a:pos x="T12" y="T13"/>
                  </a:cxn>
                </a:cxnLst>
                <a:rect l="0" t="0" r="r" b="b"/>
                <a:pathLst>
                  <a:path w="3084" h="470">
                    <a:moveTo>
                      <a:pt x="0" y="432"/>
                    </a:moveTo>
                    <a:cubicBezTo>
                      <a:pt x="0" y="297"/>
                      <a:pt x="93" y="179"/>
                      <a:pt x="224" y="148"/>
                    </a:cubicBezTo>
                    <a:cubicBezTo>
                      <a:pt x="503" y="81"/>
                      <a:pt x="971" y="0"/>
                      <a:pt x="1199" y="136"/>
                    </a:cubicBezTo>
                    <a:cubicBezTo>
                      <a:pt x="1538" y="337"/>
                      <a:pt x="2493" y="162"/>
                      <a:pt x="2493" y="162"/>
                    </a:cubicBezTo>
                    <a:cubicBezTo>
                      <a:pt x="2493" y="162"/>
                      <a:pt x="3084" y="342"/>
                      <a:pt x="3071" y="406"/>
                    </a:cubicBezTo>
                    <a:cubicBezTo>
                      <a:pt x="3058" y="470"/>
                      <a:pt x="0" y="431"/>
                      <a:pt x="0" y="431"/>
                    </a:cubicBezTo>
                    <a:cubicBezTo>
                      <a:pt x="0" y="432"/>
                      <a:pt x="0" y="432"/>
                      <a:pt x="0" y="432"/>
                    </a:cubicBezTo>
                  </a:path>
                </a:pathLst>
              </a:custGeom>
              <a:solidFill>
                <a:srgbClr val="00968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iSľíḋê">
                <a:extLst>
                  <a:ext uri="{FF2B5EF4-FFF2-40B4-BE49-F238E27FC236}">
                    <a16:creationId xmlns:a16="http://schemas.microsoft.com/office/drawing/2014/main" id="{2F07A214-58C0-43D7-96D5-0CE8CBE8C48D}"/>
                  </a:ext>
                </a:extLst>
              </p:cNvPr>
              <p:cNvSpPr/>
              <p:nvPr/>
            </p:nvSpPr>
            <p:spPr bwMode="auto">
              <a:xfrm>
                <a:off x="6334126" y="2011363"/>
                <a:ext cx="234950" cy="139700"/>
              </a:xfrm>
              <a:custGeom>
                <a:avLst/>
                <a:gdLst>
                  <a:gd name="T0" fmla="*/ 163 w 181"/>
                  <a:gd name="T1" fmla="*/ 81 h 108"/>
                  <a:gd name="T2" fmla="*/ 179 w 181"/>
                  <a:gd name="T3" fmla="*/ 57 h 108"/>
                  <a:gd name="T4" fmla="*/ 168 w 181"/>
                  <a:gd name="T5" fmla="*/ 31 h 108"/>
                  <a:gd name="T6" fmla="*/ 138 w 181"/>
                  <a:gd name="T7" fmla="*/ 42 h 108"/>
                  <a:gd name="T8" fmla="*/ 108 w 181"/>
                  <a:gd name="T9" fmla="*/ 56 h 108"/>
                  <a:gd name="T10" fmla="*/ 122 w 181"/>
                  <a:gd name="T11" fmla="*/ 14 h 108"/>
                  <a:gd name="T12" fmla="*/ 118 w 181"/>
                  <a:gd name="T13" fmla="*/ 6 h 108"/>
                  <a:gd name="T14" fmla="*/ 94 w 181"/>
                  <a:gd name="T15" fmla="*/ 7 h 108"/>
                  <a:gd name="T16" fmla="*/ 66 w 181"/>
                  <a:gd name="T17" fmla="*/ 80 h 108"/>
                  <a:gd name="T18" fmla="*/ 65 w 181"/>
                  <a:gd name="T19" fmla="*/ 50 h 108"/>
                  <a:gd name="T20" fmla="*/ 54 w 181"/>
                  <a:gd name="T21" fmla="*/ 24 h 108"/>
                  <a:gd name="T22" fmla="*/ 37 w 181"/>
                  <a:gd name="T23" fmla="*/ 20 h 108"/>
                  <a:gd name="T24" fmla="*/ 9 w 181"/>
                  <a:gd name="T25" fmla="*/ 28 h 108"/>
                  <a:gd name="T26" fmla="*/ 10 w 181"/>
                  <a:gd name="T27" fmla="*/ 62 h 108"/>
                  <a:gd name="T28" fmla="*/ 39 w 181"/>
                  <a:gd name="T29" fmla="*/ 85 h 108"/>
                  <a:gd name="T30" fmla="*/ 60 w 181"/>
                  <a:gd name="T31" fmla="*/ 105 h 108"/>
                  <a:gd name="T32" fmla="*/ 61 w 181"/>
                  <a:gd name="T33" fmla="*/ 108 h 108"/>
                  <a:gd name="T34" fmla="*/ 124 w 181"/>
                  <a:gd name="T35" fmla="*/ 108 h 108"/>
                  <a:gd name="T36" fmla="*/ 163 w 181"/>
                  <a:gd name="T37" fmla="*/ 81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1" h="108">
                    <a:moveTo>
                      <a:pt x="163" y="81"/>
                    </a:moveTo>
                    <a:cubicBezTo>
                      <a:pt x="170" y="75"/>
                      <a:pt x="177" y="67"/>
                      <a:pt x="179" y="57"/>
                    </a:cubicBezTo>
                    <a:cubicBezTo>
                      <a:pt x="181" y="47"/>
                      <a:pt x="177" y="35"/>
                      <a:pt x="168" y="31"/>
                    </a:cubicBezTo>
                    <a:cubicBezTo>
                      <a:pt x="157" y="27"/>
                      <a:pt x="146" y="35"/>
                      <a:pt x="138" y="42"/>
                    </a:cubicBezTo>
                    <a:cubicBezTo>
                      <a:pt x="129" y="49"/>
                      <a:pt x="119" y="58"/>
                      <a:pt x="108" y="56"/>
                    </a:cubicBezTo>
                    <a:cubicBezTo>
                      <a:pt x="120" y="46"/>
                      <a:pt x="125" y="30"/>
                      <a:pt x="122" y="14"/>
                    </a:cubicBezTo>
                    <a:cubicBezTo>
                      <a:pt x="121" y="11"/>
                      <a:pt x="120" y="8"/>
                      <a:pt x="118" y="6"/>
                    </a:cubicBezTo>
                    <a:cubicBezTo>
                      <a:pt x="112" y="0"/>
                      <a:pt x="101" y="2"/>
                      <a:pt x="94" y="7"/>
                    </a:cubicBezTo>
                    <a:cubicBezTo>
                      <a:pt x="72" y="23"/>
                      <a:pt x="66" y="53"/>
                      <a:pt x="66" y="80"/>
                    </a:cubicBezTo>
                    <a:cubicBezTo>
                      <a:pt x="64" y="70"/>
                      <a:pt x="66" y="60"/>
                      <a:pt x="65" y="50"/>
                    </a:cubicBezTo>
                    <a:cubicBezTo>
                      <a:pt x="65" y="40"/>
                      <a:pt x="63" y="29"/>
                      <a:pt x="54" y="24"/>
                    </a:cubicBezTo>
                    <a:cubicBezTo>
                      <a:pt x="49" y="21"/>
                      <a:pt x="43" y="19"/>
                      <a:pt x="37" y="20"/>
                    </a:cubicBezTo>
                    <a:cubicBezTo>
                      <a:pt x="27" y="19"/>
                      <a:pt x="16" y="20"/>
                      <a:pt x="9" y="28"/>
                    </a:cubicBezTo>
                    <a:cubicBezTo>
                      <a:pt x="0" y="37"/>
                      <a:pt x="3" y="52"/>
                      <a:pt x="10" y="62"/>
                    </a:cubicBezTo>
                    <a:cubicBezTo>
                      <a:pt x="17" y="72"/>
                      <a:pt x="29" y="78"/>
                      <a:pt x="39" y="85"/>
                    </a:cubicBezTo>
                    <a:cubicBezTo>
                      <a:pt x="47" y="90"/>
                      <a:pt x="54" y="97"/>
                      <a:pt x="60" y="105"/>
                    </a:cubicBezTo>
                    <a:cubicBezTo>
                      <a:pt x="60" y="106"/>
                      <a:pt x="61" y="107"/>
                      <a:pt x="61" y="108"/>
                    </a:cubicBezTo>
                    <a:cubicBezTo>
                      <a:pt x="124" y="108"/>
                      <a:pt x="124" y="108"/>
                      <a:pt x="124" y="108"/>
                    </a:cubicBezTo>
                    <a:cubicBezTo>
                      <a:pt x="138" y="101"/>
                      <a:pt x="151" y="92"/>
                      <a:pt x="163" y="81"/>
                    </a:cubicBezTo>
                    <a:close/>
                  </a:path>
                </a:pathLst>
              </a:custGeom>
              <a:solidFill>
                <a:srgbClr val="00968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i$ḻïḑè">
                <a:extLst>
                  <a:ext uri="{FF2B5EF4-FFF2-40B4-BE49-F238E27FC236}">
                    <a16:creationId xmlns:a16="http://schemas.microsoft.com/office/drawing/2014/main" id="{E8C03C48-2787-4312-933B-97434D346B3A}"/>
                  </a:ext>
                </a:extLst>
              </p:cNvPr>
              <p:cNvSpPr/>
              <p:nvPr/>
            </p:nvSpPr>
            <p:spPr bwMode="auto">
              <a:xfrm>
                <a:off x="4543426" y="1831976"/>
                <a:ext cx="234950" cy="141288"/>
              </a:xfrm>
              <a:custGeom>
                <a:avLst/>
                <a:gdLst>
                  <a:gd name="T0" fmla="*/ 163 w 181"/>
                  <a:gd name="T1" fmla="*/ 82 h 109"/>
                  <a:gd name="T2" fmla="*/ 179 w 181"/>
                  <a:gd name="T3" fmla="*/ 58 h 109"/>
                  <a:gd name="T4" fmla="*/ 168 w 181"/>
                  <a:gd name="T5" fmla="*/ 32 h 109"/>
                  <a:gd name="T6" fmla="*/ 137 w 181"/>
                  <a:gd name="T7" fmla="*/ 43 h 109"/>
                  <a:gd name="T8" fmla="*/ 108 w 181"/>
                  <a:gd name="T9" fmla="*/ 57 h 109"/>
                  <a:gd name="T10" fmla="*/ 122 w 181"/>
                  <a:gd name="T11" fmla="*/ 15 h 109"/>
                  <a:gd name="T12" fmla="*/ 118 w 181"/>
                  <a:gd name="T13" fmla="*/ 7 h 109"/>
                  <a:gd name="T14" fmla="*/ 94 w 181"/>
                  <a:gd name="T15" fmla="*/ 8 h 109"/>
                  <a:gd name="T16" fmla="*/ 66 w 181"/>
                  <a:gd name="T17" fmla="*/ 81 h 109"/>
                  <a:gd name="T18" fmla="*/ 65 w 181"/>
                  <a:gd name="T19" fmla="*/ 51 h 109"/>
                  <a:gd name="T20" fmla="*/ 54 w 181"/>
                  <a:gd name="T21" fmla="*/ 24 h 109"/>
                  <a:gd name="T22" fmla="*/ 37 w 181"/>
                  <a:gd name="T23" fmla="*/ 20 h 109"/>
                  <a:gd name="T24" fmla="*/ 9 w 181"/>
                  <a:gd name="T25" fmla="*/ 28 h 109"/>
                  <a:gd name="T26" fmla="*/ 10 w 181"/>
                  <a:gd name="T27" fmla="*/ 63 h 109"/>
                  <a:gd name="T28" fmla="*/ 39 w 181"/>
                  <a:gd name="T29" fmla="*/ 86 h 109"/>
                  <a:gd name="T30" fmla="*/ 60 w 181"/>
                  <a:gd name="T31" fmla="*/ 106 h 109"/>
                  <a:gd name="T32" fmla="*/ 61 w 181"/>
                  <a:gd name="T33" fmla="*/ 109 h 109"/>
                  <a:gd name="T34" fmla="*/ 124 w 181"/>
                  <a:gd name="T35" fmla="*/ 109 h 109"/>
                  <a:gd name="T36" fmla="*/ 163 w 181"/>
                  <a:gd name="T37" fmla="*/ 8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1" h="109">
                    <a:moveTo>
                      <a:pt x="163" y="82"/>
                    </a:moveTo>
                    <a:cubicBezTo>
                      <a:pt x="170" y="76"/>
                      <a:pt x="177" y="67"/>
                      <a:pt x="179" y="58"/>
                    </a:cubicBezTo>
                    <a:cubicBezTo>
                      <a:pt x="181" y="48"/>
                      <a:pt x="177" y="36"/>
                      <a:pt x="168" y="32"/>
                    </a:cubicBezTo>
                    <a:cubicBezTo>
                      <a:pt x="157" y="28"/>
                      <a:pt x="146" y="36"/>
                      <a:pt x="137" y="43"/>
                    </a:cubicBezTo>
                    <a:cubicBezTo>
                      <a:pt x="129" y="50"/>
                      <a:pt x="119" y="59"/>
                      <a:pt x="108" y="57"/>
                    </a:cubicBezTo>
                    <a:cubicBezTo>
                      <a:pt x="120" y="47"/>
                      <a:pt x="125" y="31"/>
                      <a:pt x="122" y="15"/>
                    </a:cubicBezTo>
                    <a:cubicBezTo>
                      <a:pt x="121" y="12"/>
                      <a:pt x="120" y="9"/>
                      <a:pt x="118" y="7"/>
                    </a:cubicBezTo>
                    <a:cubicBezTo>
                      <a:pt x="112" y="0"/>
                      <a:pt x="101" y="3"/>
                      <a:pt x="94" y="8"/>
                    </a:cubicBezTo>
                    <a:cubicBezTo>
                      <a:pt x="72" y="24"/>
                      <a:pt x="66" y="54"/>
                      <a:pt x="66" y="81"/>
                    </a:cubicBezTo>
                    <a:cubicBezTo>
                      <a:pt x="63" y="71"/>
                      <a:pt x="65" y="61"/>
                      <a:pt x="65" y="51"/>
                    </a:cubicBezTo>
                    <a:cubicBezTo>
                      <a:pt x="65" y="41"/>
                      <a:pt x="62" y="30"/>
                      <a:pt x="54" y="24"/>
                    </a:cubicBezTo>
                    <a:cubicBezTo>
                      <a:pt x="49" y="21"/>
                      <a:pt x="43" y="20"/>
                      <a:pt x="37" y="20"/>
                    </a:cubicBezTo>
                    <a:cubicBezTo>
                      <a:pt x="27" y="20"/>
                      <a:pt x="16" y="21"/>
                      <a:pt x="9" y="28"/>
                    </a:cubicBezTo>
                    <a:cubicBezTo>
                      <a:pt x="0" y="37"/>
                      <a:pt x="2" y="53"/>
                      <a:pt x="10" y="63"/>
                    </a:cubicBezTo>
                    <a:cubicBezTo>
                      <a:pt x="17" y="73"/>
                      <a:pt x="28" y="79"/>
                      <a:pt x="39" y="86"/>
                    </a:cubicBezTo>
                    <a:cubicBezTo>
                      <a:pt x="47" y="91"/>
                      <a:pt x="54" y="98"/>
                      <a:pt x="60" y="106"/>
                    </a:cubicBezTo>
                    <a:cubicBezTo>
                      <a:pt x="60" y="107"/>
                      <a:pt x="61" y="108"/>
                      <a:pt x="61" y="109"/>
                    </a:cubicBezTo>
                    <a:cubicBezTo>
                      <a:pt x="124" y="109"/>
                      <a:pt x="124" y="109"/>
                      <a:pt x="124" y="109"/>
                    </a:cubicBezTo>
                    <a:cubicBezTo>
                      <a:pt x="138" y="102"/>
                      <a:pt x="151" y="93"/>
                      <a:pt x="163" y="82"/>
                    </a:cubicBezTo>
                    <a:close/>
                  </a:path>
                </a:pathLst>
              </a:custGeom>
              <a:solidFill>
                <a:srgbClr val="00968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ïSlíḓé">
                <a:extLst>
                  <a:ext uri="{FF2B5EF4-FFF2-40B4-BE49-F238E27FC236}">
                    <a16:creationId xmlns:a16="http://schemas.microsoft.com/office/drawing/2014/main" id="{FEB84A98-3E4C-4E45-A0F5-FECCEFAD5AAC}"/>
                  </a:ext>
                </a:extLst>
              </p:cNvPr>
              <p:cNvSpPr/>
              <p:nvPr/>
            </p:nvSpPr>
            <p:spPr bwMode="auto">
              <a:xfrm>
                <a:off x="7202488" y="2216151"/>
                <a:ext cx="234950" cy="141288"/>
              </a:xfrm>
              <a:custGeom>
                <a:avLst/>
                <a:gdLst>
                  <a:gd name="T0" fmla="*/ 162 w 181"/>
                  <a:gd name="T1" fmla="*/ 82 h 109"/>
                  <a:gd name="T2" fmla="*/ 179 w 181"/>
                  <a:gd name="T3" fmla="*/ 57 h 109"/>
                  <a:gd name="T4" fmla="*/ 167 w 181"/>
                  <a:gd name="T5" fmla="*/ 32 h 109"/>
                  <a:gd name="T6" fmla="*/ 137 w 181"/>
                  <a:gd name="T7" fmla="*/ 43 h 109"/>
                  <a:gd name="T8" fmla="*/ 107 w 181"/>
                  <a:gd name="T9" fmla="*/ 57 h 109"/>
                  <a:gd name="T10" fmla="*/ 121 w 181"/>
                  <a:gd name="T11" fmla="*/ 15 h 109"/>
                  <a:gd name="T12" fmla="*/ 117 w 181"/>
                  <a:gd name="T13" fmla="*/ 6 h 109"/>
                  <a:gd name="T14" fmla="*/ 94 w 181"/>
                  <a:gd name="T15" fmla="*/ 8 h 109"/>
                  <a:gd name="T16" fmla="*/ 65 w 181"/>
                  <a:gd name="T17" fmla="*/ 81 h 109"/>
                  <a:gd name="T18" fmla="*/ 65 w 181"/>
                  <a:gd name="T19" fmla="*/ 51 h 109"/>
                  <a:gd name="T20" fmla="*/ 53 w 181"/>
                  <a:gd name="T21" fmla="*/ 24 h 109"/>
                  <a:gd name="T22" fmla="*/ 36 w 181"/>
                  <a:gd name="T23" fmla="*/ 20 h 109"/>
                  <a:gd name="T24" fmla="*/ 8 w 181"/>
                  <a:gd name="T25" fmla="*/ 28 h 109"/>
                  <a:gd name="T26" fmla="*/ 9 w 181"/>
                  <a:gd name="T27" fmla="*/ 62 h 109"/>
                  <a:gd name="T28" fmla="*/ 38 w 181"/>
                  <a:gd name="T29" fmla="*/ 86 h 109"/>
                  <a:gd name="T30" fmla="*/ 59 w 181"/>
                  <a:gd name="T31" fmla="*/ 105 h 109"/>
                  <a:gd name="T32" fmla="*/ 60 w 181"/>
                  <a:gd name="T33" fmla="*/ 109 h 109"/>
                  <a:gd name="T34" fmla="*/ 123 w 181"/>
                  <a:gd name="T35" fmla="*/ 109 h 109"/>
                  <a:gd name="T36" fmla="*/ 162 w 181"/>
                  <a:gd name="T37" fmla="*/ 8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1" h="109">
                    <a:moveTo>
                      <a:pt x="162" y="82"/>
                    </a:moveTo>
                    <a:cubicBezTo>
                      <a:pt x="169" y="75"/>
                      <a:pt x="176" y="67"/>
                      <a:pt x="179" y="57"/>
                    </a:cubicBezTo>
                    <a:cubicBezTo>
                      <a:pt x="181" y="47"/>
                      <a:pt x="176" y="36"/>
                      <a:pt x="167" y="32"/>
                    </a:cubicBezTo>
                    <a:cubicBezTo>
                      <a:pt x="157" y="28"/>
                      <a:pt x="145" y="35"/>
                      <a:pt x="137" y="43"/>
                    </a:cubicBezTo>
                    <a:cubicBezTo>
                      <a:pt x="128" y="50"/>
                      <a:pt x="118" y="58"/>
                      <a:pt x="107" y="57"/>
                    </a:cubicBezTo>
                    <a:cubicBezTo>
                      <a:pt x="119" y="46"/>
                      <a:pt x="124" y="30"/>
                      <a:pt x="121" y="15"/>
                    </a:cubicBezTo>
                    <a:cubicBezTo>
                      <a:pt x="121" y="12"/>
                      <a:pt x="119" y="9"/>
                      <a:pt x="117" y="6"/>
                    </a:cubicBezTo>
                    <a:cubicBezTo>
                      <a:pt x="111" y="0"/>
                      <a:pt x="101" y="3"/>
                      <a:pt x="94" y="8"/>
                    </a:cubicBezTo>
                    <a:cubicBezTo>
                      <a:pt x="71" y="23"/>
                      <a:pt x="65" y="54"/>
                      <a:pt x="65" y="81"/>
                    </a:cubicBezTo>
                    <a:cubicBezTo>
                      <a:pt x="63" y="71"/>
                      <a:pt x="65" y="61"/>
                      <a:pt x="65" y="51"/>
                    </a:cubicBezTo>
                    <a:cubicBezTo>
                      <a:pt x="65" y="41"/>
                      <a:pt x="62" y="29"/>
                      <a:pt x="53" y="24"/>
                    </a:cubicBezTo>
                    <a:cubicBezTo>
                      <a:pt x="48" y="21"/>
                      <a:pt x="42" y="20"/>
                      <a:pt x="36" y="20"/>
                    </a:cubicBezTo>
                    <a:cubicBezTo>
                      <a:pt x="26" y="20"/>
                      <a:pt x="15" y="21"/>
                      <a:pt x="8" y="28"/>
                    </a:cubicBezTo>
                    <a:cubicBezTo>
                      <a:pt x="0" y="37"/>
                      <a:pt x="2" y="52"/>
                      <a:pt x="9" y="62"/>
                    </a:cubicBezTo>
                    <a:cubicBezTo>
                      <a:pt x="17" y="72"/>
                      <a:pt x="28" y="79"/>
                      <a:pt x="38" y="86"/>
                    </a:cubicBezTo>
                    <a:cubicBezTo>
                      <a:pt x="47" y="91"/>
                      <a:pt x="54" y="97"/>
                      <a:pt x="59" y="105"/>
                    </a:cubicBezTo>
                    <a:cubicBezTo>
                      <a:pt x="60" y="107"/>
                      <a:pt x="60" y="108"/>
                      <a:pt x="60" y="109"/>
                    </a:cubicBezTo>
                    <a:cubicBezTo>
                      <a:pt x="123" y="109"/>
                      <a:pt x="123" y="109"/>
                      <a:pt x="123" y="109"/>
                    </a:cubicBezTo>
                    <a:cubicBezTo>
                      <a:pt x="137" y="102"/>
                      <a:pt x="150" y="93"/>
                      <a:pt x="162" y="82"/>
                    </a:cubicBezTo>
                    <a:close/>
                  </a:path>
                </a:pathLst>
              </a:custGeom>
              <a:solidFill>
                <a:srgbClr val="00968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iś1îḑè">
                <a:extLst>
                  <a:ext uri="{FF2B5EF4-FFF2-40B4-BE49-F238E27FC236}">
                    <a16:creationId xmlns:a16="http://schemas.microsoft.com/office/drawing/2014/main" id="{A915118B-C813-4CEB-A94E-F6DD445F2C5A}"/>
                  </a:ext>
                </a:extLst>
              </p:cNvPr>
              <p:cNvSpPr/>
              <p:nvPr/>
            </p:nvSpPr>
            <p:spPr bwMode="auto">
              <a:xfrm>
                <a:off x="6002338" y="2241551"/>
                <a:ext cx="219075" cy="369888"/>
              </a:xfrm>
              <a:custGeom>
                <a:avLst/>
                <a:gdLst>
                  <a:gd name="T0" fmla="*/ 169 w 169"/>
                  <a:gd name="T1" fmla="*/ 122 h 285"/>
                  <a:gd name="T2" fmla="*/ 82 w 169"/>
                  <a:gd name="T3" fmla="*/ 204 h 285"/>
                  <a:gd name="T4" fmla="*/ 57 w 169"/>
                  <a:gd name="T5" fmla="*/ 137 h 285"/>
                  <a:gd name="T6" fmla="*/ 0 w 169"/>
                  <a:gd name="T7" fmla="*/ 87 h 285"/>
                  <a:gd name="T8" fmla="*/ 41 w 169"/>
                  <a:gd name="T9" fmla="*/ 23 h 285"/>
                  <a:gd name="T10" fmla="*/ 105 w 169"/>
                  <a:gd name="T11" fmla="*/ 83 h 285"/>
                  <a:gd name="T12" fmla="*/ 169 w 169"/>
                  <a:gd name="T13" fmla="*/ 122 h 285"/>
                </a:gdLst>
                <a:ahLst/>
                <a:cxnLst>
                  <a:cxn ang="0">
                    <a:pos x="T0" y="T1"/>
                  </a:cxn>
                  <a:cxn ang="0">
                    <a:pos x="T2" y="T3"/>
                  </a:cxn>
                  <a:cxn ang="0">
                    <a:pos x="T4" y="T5"/>
                  </a:cxn>
                  <a:cxn ang="0">
                    <a:pos x="T6" y="T7"/>
                  </a:cxn>
                  <a:cxn ang="0">
                    <a:pos x="T8" y="T9"/>
                  </a:cxn>
                  <a:cxn ang="0">
                    <a:pos x="T10" y="T11"/>
                  </a:cxn>
                  <a:cxn ang="0">
                    <a:pos x="T12" y="T13"/>
                  </a:cxn>
                </a:cxnLst>
                <a:rect l="0" t="0" r="r" b="b"/>
                <a:pathLst>
                  <a:path w="169" h="285">
                    <a:moveTo>
                      <a:pt x="169" y="122"/>
                    </a:moveTo>
                    <a:cubicBezTo>
                      <a:pt x="169" y="122"/>
                      <a:pt x="88" y="285"/>
                      <a:pt x="82" y="204"/>
                    </a:cubicBezTo>
                    <a:cubicBezTo>
                      <a:pt x="80" y="179"/>
                      <a:pt x="72" y="156"/>
                      <a:pt x="57" y="137"/>
                    </a:cubicBezTo>
                    <a:cubicBezTo>
                      <a:pt x="43" y="116"/>
                      <a:pt x="23" y="99"/>
                      <a:pt x="0" y="87"/>
                    </a:cubicBezTo>
                    <a:cubicBezTo>
                      <a:pt x="0" y="87"/>
                      <a:pt x="47" y="0"/>
                      <a:pt x="41" y="23"/>
                    </a:cubicBezTo>
                    <a:cubicBezTo>
                      <a:pt x="38" y="35"/>
                      <a:pt x="72" y="61"/>
                      <a:pt x="105" y="83"/>
                    </a:cubicBezTo>
                    <a:cubicBezTo>
                      <a:pt x="137" y="104"/>
                      <a:pt x="169" y="122"/>
                      <a:pt x="169" y="122"/>
                    </a:cubicBezTo>
                  </a:path>
                </a:pathLst>
              </a:custGeom>
              <a:solidFill>
                <a:srgbClr val="FFB9B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ïşļiḓê">
                <a:extLst>
                  <a:ext uri="{FF2B5EF4-FFF2-40B4-BE49-F238E27FC236}">
                    <a16:creationId xmlns:a16="http://schemas.microsoft.com/office/drawing/2014/main" id="{A2D0C43F-98B0-4488-A75F-649DAA5F25D9}"/>
                  </a:ext>
                </a:extLst>
              </p:cNvPr>
              <p:cNvSpPr/>
              <p:nvPr/>
            </p:nvSpPr>
            <p:spPr bwMode="auto">
              <a:xfrm>
                <a:off x="5465763" y="3057526"/>
                <a:ext cx="312738" cy="534988"/>
              </a:xfrm>
              <a:custGeom>
                <a:avLst/>
                <a:gdLst>
                  <a:gd name="T0" fmla="*/ 199 w 241"/>
                  <a:gd name="T1" fmla="*/ 294 h 413"/>
                  <a:gd name="T2" fmla="*/ 201 w 241"/>
                  <a:gd name="T3" fmla="*/ 373 h 413"/>
                  <a:gd name="T4" fmla="*/ 186 w 241"/>
                  <a:gd name="T5" fmla="*/ 400 h 413"/>
                  <a:gd name="T6" fmla="*/ 181 w 241"/>
                  <a:gd name="T7" fmla="*/ 401 h 413"/>
                  <a:gd name="T8" fmla="*/ 59 w 241"/>
                  <a:gd name="T9" fmla="*/ 411 h 413"/>
                  <a:gd name="T10" fmla="*/ 9 w 241"/>
                  <a:gd name="T11" fmla="*/ 393 h 413"/>
                  <a:gd name="T12" fmla="*/ 25 w 241"/>
                  <a:gd name="T13" fmla="*/ 376 h 413"/>
                  <a:gd name="T14" fmla="*/ 112 w 241"/>
                  <a:gd name="T15" fmla="*/ 329 h 413"/>
                  <a:gd name="T16" fmla="*/ 141 w 241"/>
                  <a:gd name="T17" fmla="*/ 132 h 413"/>
                  <a:gd name="T18" fmla="*/ 137 w 241"/>
                  <a:gd name="T19" fmla="*/ 14 h 413"/>
                  <a:gd name="T20" fmla="*/ 142 w 241"/>
                  <a:gd name="T21" fmla="*/ 3 h 413"/>
                  <a:gd name="T22" fmla="*/ 147 w 241"/>
                  <a:gd name="T23" fmla="*/ 0 h 413"/>
                  <a:gd name="T24" fmla="*/ 158 w 241"/>
                  <a:gd name="T25" fmla="*/ 4 h 413"/>
                  <a:gd name="T26" fmla="*/ 239 w 241"/>
                  <a:gd name="T27" fmla="*/ 91 h 413"/>
                  <a:gd name="T28" fmla="*/ 237 w 241"/>
                  <a:gd name="T29" fmla="*/ 122 h 413"/>
                  <a:gd name="T30" fmla="*/ 199 w 241"/>
                  <a:gd name="T31" fmla="*/ 294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1" h="413">
                    <a:moveTo>
                      <a:pt x="199" y="294"/>
                    </a:moveTo>
                    <a:cubicBezTo>
                      <a:pt x="194" y="321"/>
                      <a:pt x="195" y="347"/>
                      <a:pt x="201" y="373"/>
                    </a:cubicBezTo>
                    <a:cubicBezTo>
                      <a:pt x="204" y="385"/>
                      <a:pt x="197" y="397"/>
                      <a:pt x="186" y="400"/>
                    </a:cubicBezTo>
                    <a:cubicBezTo>
                      <a:pt x="184" y="400"/>
                      <a:pt x="183" y="401"/>
                      <a:pt x="181" y="401"/>
                    </a:cubicBezTo>
                    <a:cubicBezTo>
                      <a:pt x="146" y="403"/>
                      <a:pt x="87" y="407"/>
                      <a:pt x="59" y="411"/>
                    </a:cubicBezTo>
                    <a:cubicBezTo>
                      <a:pt x="39" y="413"/>
                      <a:pt x="19" y="403"/>
                      <a:pt x="9" y="393"/>
                    </a:cubicBezTo>
                    <a:cubicBezTo>
                      <a:pt x="0" y="383"/>
                      <a:pt x="1" y="373"/>
                      <a:pt x="25" y="376"/>
                    </a:cubicBezTo>
                    <a:cubicBezTo>
                      <a:pt x="71" y="382"/>
                      <a:pt x="112" y="329"/>
                      <a:pt x="112" y="329"/>
                    </a:cubicBezTo>
                    <a:cubicBezTo>
                      <a:pt x="112" y="329"/>
                      <a:pt x="164" y="300"/>
                      <a:pt x="141" y="132"/>
                    </a:cubicBezTo>
                    <a:cubicBezTo>
                      <a:pt x="131" y="65"/>
                      <a:pt x="132" y="31"/>
                      <a:pt x="137" y="14"/>
                    </a:cubicBezTo>
                    <a:cubicBezTo>
                      <a:pt x="137" y="10"/>
                      <a:pt x="139" y="6"/>
                      <a:pt x="142" y="3"/>
                    </a:cubicBezTo>
                    <a:cubicBezTo>
                      <a:pt x="143" y="2"/>
                      <a:pt x="145" y="1"/>
                      <a:pt x="147" y="0"/>
                    </a:cubicBezTo>
                    <a:cubicBezTo>
                      <a:pt x="151" y="0"/>
                      <a:pt x="155" y="1"/>
                      <a:pt x="158" y="4"/>
                    </a:cubicBezTo>
                    <a:cubicBezTo>
                      <a:pt x="158" y="4"/>
                      <a:pt x="233" y="74"/>
                      <a:pt x="239" y="91"/>
                    </a:cubicBezTo>
                    <a:cubicBezTo>
                      <a:pt x="241" y="96"/>
                      <a:pt x="240" y="107"/>
                      <a:pt x="237" y="122"/>
                    </a:cubicBezTo>
                    <a:cubicBezTo>
                      <a:pt x="229" y="168"/>
                      <a:pt x="207" y="251"/>
                      <a:pt x="199" y="294"/>
                    </a:cubicBezTo>
                  </a:path>
                </a:pathLst>
              </a:custGeom>
              <a:solidFill>
                <a:srgbClr val="FFB9B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íS1îḑe">
                <a:extLst>
                  <a:ext uri="{FF2B5EF4-FFF2-40B4-BE49-F238E27FC236}">
                    <a16:creationId xmlns:a16="http://schemas.microsoft.com/office/drawing/2014/main" id="{B3394FF0-7D76-480B-BABF-4FF3BF565D1F}"/>
                  </a:ext>
                </a:extLst>
              </p:cNvPr>
              <p:cNvSpPr/>
              <p:nvPr/>
            </p:nvSpPr>
            <p:spPr bwMode="auto">
              <a:xfrm>
                <a:off x="5470526" y="3074988"/>
                <a:ext cx="303213" cy="515938"/>
              </a:xfrm>
              <a:custGeom>
                <a:avLst/>
                <a:gdLst>
                  <a:gd name="T0" fmla="*/ 133 w 233"/>
                  <a:gd name="T1" fmla="*/ 0 h 397"/>
                  <a:gd name="T2" fmla="*/ 133 w 233"/>
                  <a:gd name="T3" fmla="*/ 0 h 397"/>
                  <a:gd name="T4" fmla="*/ 129 w 233"/>
                  <a:gd name="T5" fmla="*/ 34 h 397"/>
                  <a:gd name="T6" fmla="*/ 137 w 233"/>
                  <a:gd name="T7" fmla="*/ 118 h 397"/>
                  <a:gd name="T8" fmla="*/ 143 w 233"/>
                  <a:gd name="T9" fmla="*/ 197 h 397"/>
                  <a:gd name="T10" fmla="*/ 108 w 233"/>
                  <a:gd name="T11" fmla="*/ 315 h 397"/>
                  <a:gd name="T12" fmla="*/ 28 w 233"/>
                  <a:gd name="T13" fmla="*/ 362 h 397"/>
                  <a:gd name="T14" fmla="*/ 21 w 233"/>
                  <a:gd name="T15" fmla="*/ 362 h 397"/>
                  <a:gd name="T16" fmla="*/ 13 w 233"/>
                  <a:gd name="T17" fmla="*/ 361 h 397"/>
                  <a:gd name="T18" fmla="*/ 0 w 233"/>
                  <a:gd name="T19" fmla="*/ 369 h 397"/>
                  <a:gd name="T20" fmla="*/ 5 w 233"/>
                  <a:gd name="T21" fmla="*/ 379 h 397"/>
                  <a:gd name="T22" fmla="*/ 48 w 233"/>
                  <a:gd name="T23" fmla="*/ 397 h 397"/>
                  <a:gd name="T24" fmla="*/ 55 w 233"/>
                  <a:gd name="T25" fmla="*/ 397 h 397"/>
                  <a:gd name="T26" fmla="*/ 177 w 233"/>
                  <a:gd name="T27" fmla="*/ 387 h 397"/>
                  <a:gd name="T28" fmla="*/ 182 w 233"/>
                  <a:gd name="T29" fmla="*/ 386 h 397"/>
                  <a:gd name="T30" fmla="*/ 198 w 233"/>
                  <a:gd name="T31" fmla="*/ 365 h 397"/>
                  <a:gd name="T32" fmla="*/ 197 w 233"/>
                  <a:gd name="T33" fmla="*/ 359 h 397"/>
                  <a:gd name="T34" fmla="*/ 191 w 233"/>
                  <a:gd name="T35" fmla="*/ 314 h 397"/>
                  <a:gd name="T36" fmla="*/ 195 w 233"/>
                  <a:gd name="T37" fmla="*/ 280 h 397"/>
                  <a:gd name="T38" fmla="*/ 233 w 233"/>
                  <a:gd name="T39" fmla="*/ 108 h 397"/>
                  <a:gd name="T40" fmla="*/ 230 w 233"/>
                  <a:gd name="T41" fmla="*/ 111 h 397"/>
                  <a:gd name="T42" fmla="*/ 224 w 233"/>
                  <a:gd name="T43" fmla="*/ 118 h 397"/>
                  <a:gd name="T44" fmla="*/ 223 w 233"/>
                  <a:gd name="T45" fmla="*/ 118 h 397"/>
                  <a:gd name="T46" fmla="*/ 218 w 233"/>
                  <a:gd name="T47" fmla="*/ 124 h 397"/>
                  <a:gd name="T48" fmla="*/ 133 w 233"/>
                  <a:gd name="T49" fmla="*/ 0 h 397"/>
                  <a:gd name="T50" fmla="*/ 133 w 233"/>
                  <a:gd name="T51"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3" h="397">
                    <a:moveTo>
                      <a:pt x="133" y="0"/>
                    </a:moveTo>
                    <a:cubicBezTo>
                      <a:pt x="133" y="0"/>
                      <a:pt x="133" y="0"/>
                      <a:pt x="133" y="0"/>
                    </a:cubicBezTo>
                    <a:cubicBezTo>
                      <a:pt x="131" y="8"/>
                      <a:pt x="129" y="18"/>
                      <a:pt x="129" y="34"/>
                    </a:cubicBezTo>
                    <a:cubicBezTo>
                      <a:pt x="129" y="53"/>
                      <a:pt x="131" y="80"/>
                      <a:pt x="137" y="118"/>
                    </a:cubicBezTo>
                    <a:cubicBezTo>
                      <a:pt x="141" y="149"/>
                      <a:pt x="143" y="174"/>
                      <a:pt x="143" y="197"/>
                    </a:cubicBezTo>
                    <a:cubicBezTo>
                      <a:pt x="143" y="296"/>
                      <a:pt x="108" y="315"/>
                      <a:pt x="108" y="315"/>
                    </a:cubicBezTo>
                    <a:cubicBezTo>
                      <a:pt x="108" y="315"/>
                      <a:pt x="71" y="362"/>
                      <a:pt x="28" y="362"/>
                    </a:cubicBezTo>
                    <a:cubicBezTo>
                      <a:pt x="25" y="362"/>
                      <a:pt x="23" y="362"/>
                      <a:pt x="21" y="362"/>
                    </a:cubicBezTo>
                    <a:cubicBezTo>
                      <a:pt x="18" y="361"/>
                      <a:pt x="15" y="361"/>
                      <a:pt x="13" y="361"/>
                    </a:cubicBezTo>
                    <a:cubicBezTo>
                      <a:pt x="4" y="361"/>
                      <a:pt x="0" y="364"/>
                      <a:pt x="0" y="369"/>
                    </a:cubicBezTo>
                    <a:cubicBezTo>
                      <a:pt x="0" y="372"/>
                      <a:pt x="2" y="375"/>
                      <a:pt x="5" y="379"/>
                    </a:cubicBezTo>
                    <a:cubicBezTo>
                      <a:pt x="14" y="388"/>
                      <a:pt x="30" y="397"/>
                      <a:pt x="48" y="397"/>
                    </a:cubicBezTo>
                    <a:cubicBezTo>
                      <a:pt x="51" y="397"/>
                      <a:pt x="53" y="397"/>
                      <a:pt x="55" y="397"/>
                    </a:cubicBezTo>
                    <a:cubicBezTo>
                      <a:pt x="83" y="393"/>
                      <a:pt x="142" y="389"/>
                      <a:pt x="177" y="387"/>
                    </a:cubicBezTo>
                    <a:cubicBezTo>
                      <a:pt x="179" y="387"/>
                      <a:pt x="180" y="386"/>
                      <a:pt x="182" y="386"/>
                    </a:cubicBezTo>
                    <a:cubicBezTo>
                      <a:pt x="192" y="383"/>
                      <a:pt x="198" y="374"/>
                      <a:pt x="198" y="365"/>
                    </a:cubicBezTo>
                    <a:cubicBezTo>
                      <a:pt x="198" y="363"/>
                      <a:pt x="198" y="361"/>
                      <a:pt x="197" y="359"/>
                    </a:cubicBezTo>
                    <a:cubicBezTo>
                      <a:pt x="193" y="344"/>
                      <a:pt x="191" y="329"/>
                      <a:pt x="191" y="314"/>
                    </a:cubicBezTo>
                    <a:cubicBezTo>
                      <a:pt x="191" y="303"/>
                      <a:pt x="193" y="292"/>
                      <a:pt x="195" y="280"/>
                    </a:cubicBezTo>
                    <a:cubicBezTo>
                      <a:pt x="203" y="237"/>
                      <a:pt x="225" y="154"/>
                      <a:pt x="233" y="108"/>
                    </a:cubicBezTo>
                    <a:cubicBezTo>
                      <a:pt x="232" y="109"/>
                      <a:pt x="231" y="110"/>
                      <a:pt x="230" y="111"/>
                    </a:cubicBezTo>
                    <a:cubicBezTo>
                      <a:pt x="226" y="115"/>
                      <a:pt x="224" y="118"/>
                      <a:pt x="224" y="118"/>
                    </a:cubicBezTo>
                    <a:cubicBezTo>
                      <a:pt x="223" y="118"/>
                      <a:pt x="223" y="118"/>
                      <a:pt x="223" y="118"/>
                    </a:cubicBezTo>
                    <a:cubicBezTo>
                      <a:pt x="221" y="120"/>
                      <a:pt x="219" y="122"/>
                      <a:pt x="218" y="124"/>
                    </a:cubicBezTo>
                    <a:cubicBezTo>
                      <a:pt x="175" y="118"/>
                      <a:pt x="142" y="24"/>
                      <a:pt x="133" y="0"/>
                    </a:cubicBezTo>
                    <a:cubicBezTo>
                      <a:pt x="133" y="0"/>
                      <a:pt x="133" y="0"/>
                      <a:pt x="133" y="0"/>
                    </a:cubicBezTo>
                  </a:path>
                </a:pathLst>
              </a:custGeom>
              <a:solidFill>
                <a:srgbClr val="F2B0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ïṣlïḋé">
                <a:extLst>
                  <a:ext uri="{FF2B5EF4-FFF2-40B4-BE49-F238E27FC236}">
                    <a16:creationId xmlns:a16="http://schemas.microsoft.com/office/drawing/2014/main" id="{5A804762-DC56-4698-8948-B59CFF7B0C34}"/>
                  </a:ext>
                </a:extLst>
              </p:cNvPr>
              <p:cNvSpPr/>
              <p:nvPr/>
            </p:nvSpPr>
            <p:spPr bwMode="auto">
              <a:xfrm>
                <a:off x="5995988" y="3438526"/>
                <a:ext cx="392113" cy="565150"/>
              </a:xfrm>
              <a:custGeom>
                <a:avLst/>
                <a:gdLst>
                  <a:gd name="T0" fmla="*/ 302 w 303"/>
                  <a:gd name="T1" fmla="*/ 419 h 436"/>
                  <a:gd name="T2" fmla="*/ 93 w 303"/>
                  <a:gd name="T3" fmla="*/ 430 h 436"/>
                  <a:gd name="T4" fmla="*/ 133 w 303"/>
                  <a:gd name="T5" fmla="*/ 389 h 436"/>
                  <a:gd name="T6" fmla="*/ 127 w 303"/>
                  <a:gd name="T7" fmla="*/ 239 h 436"/>
                  <a:gd name="T8" fmla="*/ 22 w 303"/>
                  <a:gd name="T9" fmla="*/ 76 h 436"/>
                  <a:gd name="T10" fmla="*/ 0 w 303"/>
                  <a:gd name="T11" fmla="*/ 41 h 436"/>
                  <a:gd name="T12" fmla="*/ 81 w 303"/>
                  <a:gd name="T13" fmla="*/ 6 h 436"/>
                  <a:gd name="T14" fmla="*/ 117 w 303"/>
                  <a:gd name="T15" fmla="*/ 28 h 436"/>
                  <a:gd name="T16" fmla="*/ 185 w 303"/>
                  <a:gd name="T17" fmla="*/ 174 h 436"/>
                  <a:gd name="T18" fmla="*/ 209 w 303"/>
                  <a:gd name="T19" fmla="*/ 267 h 436"/>
                  <a:gd name="T20" fmla="*/ 295 w 303"/>
                  <a:gd name="T21" fmla="*/ 404 h 436"/>
                  <a:gd name="T22" fmla="*/ 302 w 303"/>
                  <a:gd name="T23" fmla="*/ 419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3" h="436">
                    <a:moveTo>
                      <a:pt x="302" y="419"/>
                    </a:moveTo>
                    <a:cubicBezTo>
                      <a:pt x="296" y="436"/>
                      <a:pt x="93" y="430"/>
                      <a:pt x="93" y="430"/>
                    </a:cubicBezTo>
                    <a:cubicBezTo>
                      <a:pt x="64" y="407"/>
                      <a:pt x="133" y="389"/>
                      <a:pt x="133" y="389"/>
                    </a:cubicBezTo>
                    <a:cubicBezTo>
                      <a:pt x="220" y="372"/>
                      <a:pt x="127" y="239"/>
                      <a:pt x="127" y="239"/>
                    </a:cubicBezTo>
                    <a:cubicBezTo>
                      <a:pt x="22" y="76"/>
                      <a:pt x="22" y="76"/>
                      <a:pt x="22" y="76"/>
                    </a:cubicBezTo>
                    <a:cubicBezTo>
                      <a:pt x="0" y="41"/>
                      <a:pt x="0" y="41"/>
                      <a:pt x="0" y="41"/>
                    </a:cubicBezTo>
                    <a:cubicBezTo>
                      <a:pt x="0" y="41"/>
                      <a:pt x="29" y="0"/>
                      <a:pt x="81" y="6"/>
                    </a:cubicBezTo>
                    <a:cubicBezTo>
                      <a:pt x="93" y="7"/>
                      <a:pt x="105" y="16"/>
                      <a:pt x="117" y="28"/>
                    </a:cubicBezTo>
                    <a:cubicBezTo>
                      <a:pt x="155" y="68"/>
                      <a:pt x="185" y="152"/>
                      <a:pt x="185" y="174"/>
                    </a:cubicBezTo>
                    <a:cubicBezTo>
                      <a:pt x="185" y="187"/>
                      <a:pt x="197" y="226"/>
                      <a:pt x="209" y="267"/>
                    </a:cubicBezTo>
                    <a:cubicBezTo>
                      <a:pt x="225" y="319"/>
                      <a:pt x="256" y="365"/>
                      <a:pt x="295" y="404"/>
                    </a:cubicBezTo>
                    <a:cubicBezTo>
                      <a:pt x="300" y="409"/>
                      <a:pt x="303" y="414"/>
                      <a:pt x="302" y="419"/>
                    </a:cubicBezTo>
                  </a:path>
                </a:pathLst>
              </a:custGeom>
              <a:solidFill>
                <a:srgbClr val="FFB9B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îśḻíďè">
                <a:extLst>
                  <a:ext uri="{FF2B5EF4-FFF2-40B4-BE49-F238E27FC236}">
                    <a16:creationId xmlns:a16="http://schemas.microsoft.com/office/drawing/2014/main" id="{1534DE04-7308-44D9-9A71-7387923C302A}"/>
                  </a:ext>
                </a:extLst>
              </p:cNvPr>
              <p:cNvSpPr/>
              <p:nvPr/>
            </p:nvSpPr>
            <p:spPr bwMode="auto">
              <a:xfrm>
                <a:off x="5638801" y="3062288"/>
                <a:ext cx="134938" cy="153988"/>
              </a:xfrm>
              <a:custGeom>
                <a:avLst/>
                <a:gdLst>
                  <a:gd name="T0" fmla="*/ 103 w 103"/>
                  <a:gd name="T1" fmla="*/ 117 h 118"/>
                  <a:gd name="T2" fmla="*/ 103 w 103"/>
                  <a:gd name="T3" fmla="*/ 117 h 118"/>
                  <a:gd name="T4" fmla="*/ 103 w 103"/>
                  <a:gd name="T5" fmla="*/ 118 h 118"/>
                  <a:gd name="T6" fmla="*/ 103 w 103"/>
                  <a:gd name="T7" fmla="*/ 118 h 118"/>
                  <a:gd name="T8" fmla="*/ 103 w 103"/>
                  <a:gd name="T9" fmla="*/ 118 h 118"/>
                  <a:gd name="T10" fmla="*/ 103 w 103"/>
                  <a:gd name="T11" fmla="*/ 117 h 118"/>
                  <a:gd name="T12" fmla="*/ 7 w 103"/>
                  <a:gd name="T13" fmla="*/ 0 h 118"/>
                  <a:gd name="T14" fmla="*/ 1 w 103"/>
                  <a:gd name="T15" fmla="*/ 6 h 118"/>
                  <a:gd name="T16" fmla="*/ 3 w 103"/>
                  <a:gd name="T17" fmla="*/ 10 h 118"/>
                  <a:gd name="T18" fmla="*/ 7 w 103"/>
                  <a:gd name="T19" fmla="*/ 1 h 118"/>
                  <a:gd name="T20" fmla="*/ 7 w 103"/>
                  <a:gd name="T21" fmla="*/ 0 h 118"/>
                  <a:gd name="T22" fmla="*/ 7 w 103"/>
                  <a:gd name="T23"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118">
                    <a:moveTo>
                      <a:pt x="103" y="117"/>
                    </a:moveTo>
                    <a:cubicBezTo>
                      <a:pt x="103" y="117"/>
                      <a:pt x="103" y="117"/>
                      <a:pt x="103" y="117"/>
                    </a:cubicBezTo>
                    <a:cubicBezTo>
                      <a:pt x="103" y="117"/>
                      <a:pt x="103" y="118"/>
                      <a:pt x="103" y="118"/>
                    </a:cubicBezTo>
                    <a:cubicBezTo>
                      <a:pt x="103" y="118"/>
                      <a:pt x="103" y="118"/>
                      <a:pt x="103" y="118"/>
                    </a:cubicBezTo>
                    <a:cubicBezTo>
                      <a:pt x="103" y="118"/>
                      <a:pt x="103" y="118"/>
                      <a:pt x="103" y="118"/>
                    </a:cubicBezTo>
                    <a:cubicBezTo>
                      <a:pt x="103" y="118"/>
                      <a:pt x="103" y="117"/>
                      <a:pt x="103" y="117"/>
                    </a:cubicBezTo>
                    <a:moveTo>
                      <a:pt x="7" y="0"/>
                    </a:moveTo>
                    <a:cubicBezTo>
                      <a:pt x="2" y="3"/>
                      <a:pt x="0" y="5"/>
                      <a:pt x="1" y="6"/>
                    </a:cubicBezTo>
                    <a:cubicBezTo>
                      <a:pt x="1" y="7"/>
                      <a:pt x="2" y="8"/>
                      <a:pt x="3" y="10"/>
                    </a:cubicBezTo>
                    <a:cubicBezTo>
                      <a:pt x="3" y="7"/>
                      <a:pt x="5" y="4"/>
                      <a:pt x="7" y="1"/>
                    </a:cubicBezTo>
                    <a:cubicBezTo>
                      <a:pt x="7" y="0"/>
                      <a:pt x="7" y="0"/>
                      <a:pt x="7" y="0"/>
                    </a:cubicBezTo>
                    <a:cubicBezTo>
                      <a:pt x="7" y="0"/>
                      <a:pt x="7" y="0"/>
                      <a:pt x="7" y="0"/>
                    </a:cubicBezTo>
                  </a:path>
                </a:pathLst>
              </a:custGeom>
              <a:solidFill>
                <a:srgbClr val="00877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íSḻíḋe">
                <a:extLst>
                  <a:ext uri="{FF2B5EF4-FFF2-40B4-BE49-F238E27FC236}">
                    <a16:creationId xmlns:a16="http://schemas.microsoft.com/office/drawing/2014/main" id="{58DCB8EF-8DFC-4C01-9928-435A0163CF51}"/>
                  </a:ext>
                </a:extLst>
              </p:cNvPr>
              <p:cNvSpPr/>
              <p:nvPr/>
            </p:nvSpPr>
            <p:spPr bwMode="auto">
              <a:xfrm>
                <a:off x="5643563" y="3063876"/>
                <a:ext cx="130175" cy="173038"/>
              </a:xfrm>
              <a:custGeom>
                <a:avLst/>
                <a:gdLst>
                  <a:gd name="T0" fmla="*/ 100 w 100"/>
                  <a:gd name="T1" fmla="*/ 116 h 133"/>
                  <a:gd name="T2" fmla="*/ 97 w 100"/>
                  <a:gd name="T3" fmla="*/ 120 h 133"/>
                  <a:gd name="T4" fmla="*/ 100 w 100"/>
                  <a:gd name="T5" fmla="*/ 117 h 133"/>
                  <a:gd name="T6" fmla="*/ 100 w 100"/>
                  <a:gd name="T7" fmla="*/ 117 h 133"/>
                  <a:gd name="T8" fmla="*/ 100 w 100"/>
                  <a:gd name="T9" fmla="*/ 116 h 133"/>
                  <a:gd name="T10" fmla="*/ 4 w 100"/>
                  <a:gd name="T11" fmla="*/ 0 h 133"/>
                  <a:gd name="T12" fmla="*/ 0 w 100"/>
                  <a:gd name="T13" fmla="*/ 9 h 133"/>
                  <a:gd name="T14" fmla="*/ 0 w 100"/>
                  <a:gd name="T15" fmla="*/ 9 h 133"/>
                  <a:gd name="T16" fmla="*/ 85 w 100"/>
                  <a:gd name="T17" fmla="*/ 133 h 133"/>
                  <a:gd name="T18" fmla="*/ 90 w 100"/>
                  <a:gd name="T19" fmla="*/ 127 h 133"/>
                  <a:gd name="T20" fmla="*/ 4 w 100"/>
                  <a:gd name="T21"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133">
                    <a:moveTo>
                      <a:pt x="100" y="116"/>
                    </a:moveTo>
                    <a:cubicBezTo>
                      <a:pt x="99" y="118"/>
                      <a:pt x="98" y="119"/>
                      <a:pt x="97" y="120"/>
                    </a:cubicBezTo>
                    <a:cubicBezTo>
                      <a:pt x="98" y="119"/>
                      <a:pt x="99" y="118"/>
                      <a:pt x="100" y="117"/>
                    </a:cubicBezTo>
                    <a:cubicBezTo>
                      <a:pt x="100" y="117"/>
                      <a:pt x="100" y="117"/>
                      <a:pt x="100" y="117"/>
                    </a:cubicBezTo>
                    <a:cubicBezTo>
                      <a:pt x="100" y="117"/>
                      <a:pt x="100" y="116"/>
                      <a:pt x="100" y="116"/>
                    </a:cubicBezTo>
                    <a:moveTo>
                      <a:pt x="4" y="0"/>
                    </a:moveTo>
                    <a:cubicBezTo>
                      <a:pt x="2" y="3"/>
                      <a:pt x="0" y="6"/>
                      <a:pt x="0" y="9"/>
                    </a:cubicBezTo>
                    <a:cubicBezTo>
                      <a:pt x="0" y="9"/>
                      <a:pt x="0" y="9"/>
                      <a:pt x="0" y="9"/>
                    </a:cubicBezTo>
                    <a:cubicBezTo>
                      <a:pt x="9" y="33"/>
                      <a:pt x="42" y="127"/>
                      <a:pt x="85" y="133"/>
                    </a:cubicBezTo>
                    <a:cubicBezTo>
                      <a:pt x="86" y="131"/>
                      <a:pt x="88" y="129"/>
                      <a:pt x="90" y="127"/>
                    </a:cubicBezTo>
                    <a:cubicBezTo>
                      <a:pt x="44" y="120"/>
                      <a:pt x="10" y="13"/>
                      <a:pt x="4" y="0"/>
                    </a:cubicBezTo>
                  </a:path>
                </a:pathLst>
              </a:custGeom>
              <a:solidFill>
                <a:srgbClr val="D99E9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íṥľiḑe">
                <a:extLst>
                  <a:ext uri="{FF2B5EF4-FFF2-40B4-BE49-F238E27FC236}">
                    <a16:creationId xmlns:a16="http://schemas.microsoft.com/office/drawing/2014/main" id="{5139C960-D0E8-4934-BC65-352E63124BCC}"/>
                  </a:ext>
                </a:extLst>
              </p:cNvPr>
              <p:cNvSpPr/>
              <p:nvPr/>
            </p:nvSpPr>
            <p:spPr bwMode="auto">
              <a:xfrm>
                <a:off x="5640388" y="2897188"/>
                <a:ext cx="557213" cy="331788"/>
              </a:xfrm>
              <a:custGeom>
                <a:avLst/>
                <a:gdLst>
                  <a:gd name="T0" fmla="*/ 284 w 429"/>
                  <a:gd name="T1" fmla="*/ 0 h 256"/>
                  <a:gd name="T2" fmla="*/ 6 w 429"/>
                  <a:gd name="T3" fmla="*/ 128 h 256"/>
                  <a:gd name="T4" fmla="*/ 93 w 429"/>
                  <a:gd name="T5" fmla="*/ 256 h 256"/>
                  <a:gd name="T6" fmla="*/ 162 w 429"/>
                  <a:gd name="T7" fmla="*/ 221 h 256"/>
                  <a:gd name="T8" fmla="*/ 337 w 429"/>
                  <a:gd name="T9" fmla="*/ 105 h 256"/>
                  <a:gd name="T10" fmla="*/ 429 w 429"/>
                  <a:gd name="T11" fmla="*/ 35 h 256"/>
                  <a:gd name="T12" fmla="*/ 284 w 429"/>
                  <a:gd name="T13" fmla="*/ 0 h 256"/>
                </a:gdLst>
                <a:ahLst/>
                <a:cxnLst>
                  <a:cxn ang="0">
                    <a:pos x="T0" y="T1"/>
                  </a:cxn>
                  <a:cxn ang="0">
                    <a:pos x="T2" y="T3"/>
                  </a:cxn>
                  <a:cxn ang="0">
                    <a:pos x="T4" y="T5"/>
                  </a:cxn>
                  <a:cxn ang="0">
                    <a:pos x="T6" y="T7"/>
                  </a:cxn>
                  <a:cxn ang="0">
                    <a:pos x="T8" y="T9"/>
                  </a:cxn>
                  <a:cxn ang="0">
                    <a:pos x="T10" y="T11"/>
                  </a:cxn>
                  <a:cxn ang="0">
                    <a:pos x="T12" y="T13"/>
                  </a:cxn>
                </a:cxnLst>
                <a:rect l="0" t="0" r="r" b="b"/>
                <a:pathLst>
                  <a:path w="429" h="256">
                    <a:moveTo>
                      <a:pt x="284" y="0"/>
                    </a:moveTo>
                    <a:cubicBezTo>
                      <a:pt x="284" y="0"/>
                      <a:pt x="0" y="116"/>
                      <a:pt x="6" y="128"/>
                    </a:cubicBezTo>
                    <a:cubicBezTo>
                      <a:pt x="11" y="140"/>
                      <a:pt x="46" y="250"/>
                      <a:pt x="93" y="256"/>
                    </a:cubicBezTo>
                    <a:cubicBezTo>
                      <a:pt x="93" y="256"/>
                      <a:pt x="122" y="215"/>
                      <a:pt x="162" y="221"/>
                    </a:cubicBezTo>
                    <a:cubicBezTo>
                      <a:pt x="203" y="227"/>
                      <a:pt x="337" y="105"/>
                      <a:pt x="337" y="105"/>
                    </a:cubicBezTo>
                    <a:cubicBezTo>
                      <a:pt x="429" y="35"/>
                      <a:pt x="429" y="35"/>
                      <a:pt x="429" y="35"/>
                    </a:cubicBezTo>
                    <a:cubicBezTo>
                      <a:pt x="284" y="0"/>
                      <a:pt x="284" y="0"/>
                      <a:pt x="284" y="0"/>
                    </a:cubicBezTo>
                  </a:path>
                </a:pathLst>
              </a:custGeom>
              <a:solidFill>
                <a:srgbClr val="4C4C7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išľiḍé">
                <a:extLst>
                  <a:ext uri="{FF2B5EF4-FFF2-40B4-BE49-F238E27FC236}">
                    <a16:creationId xmlns:a16="http://schemas.microsoft.com/office/drawing/2014/main" id="{A5EE18DC-F2DA-42F0-B41B-D6F18807692B}"/>
                  </a:ext>
                </a:extLst>
              </p:cNvPr>
              <p:cNvSpPr/>
              <p:nvPr/>
            </p:nvSpPr>
            <p:spPr bwMode="auto">
              <a:xfrm>
                <a:off x="5648326" y="2921001"/>
                <a:ext cx="319088" cy="307975"/>
              </a:xfrm>
              <a:custGeom>
                <a:avLst/>
                <a:gdLst>
                  <a:gd name="T0" fmla="*/ 117 w 246"/>
                  <a:gd name="T1" fmla="*/ 49 h 237"/>
                  <a:gd name="T2" fmla="*/ 0 w 246"/>
                  <a:gd name="T3" fmla="*/ 109 h 237"/>
                  <a:gd name="T4" fmla="*/ 0 w 246"/>
                  <a:gd name="T5" fmla="*/ 109 h 237"/>
                  <a:gd name="T6" fmla="*/ 87 w 246"/>
                  <a:gd name="T7" fmla="*/ 237 h 237"/>
                  <a:gd name="T8" fmla="*/ 148 w 246"/>
                  <a:gd name="T9" fmla="*/ 202 h 237"/>
                  <a:gd name="T10" fmla="*/ 156 w 246"/>
                  <a:gd name="T11" fmla="*/ 202 h 237"/>
                  <a:gd name="T12" fmla="*/ 159 w 246"/>
                  <a:gd name="T13" fmla="*/ 202 h 237"/>
                  <a:gd name="T14" fmla="*/ 222 w 246"/>
                  <a:gd name="T15" fmla="*/ 173 h 237"/>
                  <a:gd name="T16" fmla="*/ 246 w 246"/>
                  <a:gd name="T17" fmla="*/ 51 h 237"/>
                  <a:gd name="T18" fmla="*/ 239 w 246"/>
                  <a:gd name="T19" fmla="*/ 52 h 237"/>
                  <a:gd name="T20" fmla="*/ 197 w 246"/>
                  <a:gd name="T21" fmla="*/ 80 h 237"/>
                  <a:gd name="T22" fmla="*/ 158 w 246"/>
                  <a:gd name="T23" fmla="*/ 96 h 237"/>
                  <a:gd name="T24" fmla="*/ 110 w 246"/>
                  <a:gd name="T25" fmla="*/ 80 h 237"/>
                  <a:gd name="T26" fmla="*/ 117 w 246"/>
                  <a:gd name="T27" fmla="*/ 49 h 237"/>
                  <a:gd name="T28" fmla="*/ 233 w 246"/>
                  <a:gd name="T29" fmla="*/ 0 h 237"/>
                  <a:gd name="T30" fmla="*/ 160 w 246"/>
                  <a:gd name="T31" fmla="*/ 31 h 237"/>
                  <a:gd name="T32" fmla="*/ 180 w 246"/>
                  <a:gd name="T33" fmla="*/ 28 h 237"/>
                  <a:gd name="T34" fmla="*/ 233 w 246"/>
                  <a:gd name="T35"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6" h="237">
                    <a:moveTo>
                      <a:pt x="117" y="49"/>
                    </a:moveTo>
                    <a:cubicBezTo>
                      <a:pt x="55" y="76"/>
                      <a:pt x="0" y="103"/>
                      <a:pt x="0" y="109"/>
                    </a:cubicBezTo>
                    <a:cubicBezTo>
                      <a:pt x="0" y="109"/>
                      <a:pt x="0" y="109"/>
                      <a:pt x="0" y="109"/>
                    </a:cubicBezTo>
                    <a:cubicBezTo>
                      <a:pt x="5" y="121"/>
                      <a:pt x="40" y="231"/>
                      <a:pt x="87" y="237"/>
                    </a:cubicBezTo>
                    <a:cubicBezTo>
                      <a:pt x="87" y="237"/>
                      <a:pt x="112" y="202"/>
                      <a:pt x="148" y="202"/>
                    </a:cubicBezTo>
                    <a:cubicBezTo>
                      <a:pt x="151" y="202"/>
                      <a:pt x="154" y="202"/>
                      <a:pt x="156" y="202"/>
                    </a:cubicBezTo>
                    <a:cubicBezTo>
                      <a:pt x="157" y="202"/>
                      <a:pt x="158" y="202"/>
                      <a:pt x="159" y="202"/>
                    </a:cubicBezTo>
                    <a:cubicBezTo>
                      <a:pt x="174" y="202"/>
                      <a:pt x="197" y="190"/>
                      <a:pt x="222" y="173"/>
                    </a:cubicBezTo>
                    <a:cubicBezTo>
                      <a:pt x="230" y="127"/>
                      <a:pt x="239" y="82"/>
                      <a:pt x="246" y="51"/>
                    </a:cubicBezTo>
                    <a:cubicBezTo>
                      <a:pt x="244" y="52"/>
                      <a:pt x="241" y="52"/>
                      <a:pt x="239" y="52"/>
                    </a:cubicBezTo>
                    <a:cubicBezTo>
                      <a:pt x="220" y="63"/>
                      <a:pt x="205" y="74"/>
                      <a:pt x="197" y="80"/>
                    </a:cubicBezTo>
                    <a:cubicBezTo>
                      <a:pt x="183" y="92"/>
                      <a:pt x="170" y="96"/>
                      <a:pt x="158" y="96"/>
                    </a:cubicBezTo>
                    <a:cubicBezTo>
                      <a:pt x="140" y="96"/>
                      <a:pt x="124" y="87"/>
                      <a:pt x="110" y="80"/>
                    </a:cubicBezTo>
                    <a:cubicBezTo>
                      <a:pt x="97" y="74"/>
                      <a:pt x="102" y="61"/>
                      <a:pt x="117" y="49"/>
                    </a:cubicBezTo>
                    <a:moveTo>
                      <a:pt x="233" y="0"/>
                    </a:moveTo>
                    <a:cubicBezTo>
                      <a:pt x="213" y="9"/>
                      <a:pt x="187" y="20"/>
                      <a:pt x="160" y="31"/>
                    </a:cubicBezTo>
                    <a:cubicBezTo>
                      <a:pt x="166" y="30"/>
                      <a:pt x="173" y="29"/>
                      <a:pt x="180" y="28"/>
                    </a:cubicBezTo>
                    <a:cubicBezTo>
                      <a:pt x="194" y="26"/>
                      <a:pt x="213" y="15"/>
                      <a:pt x="233" y="0"/>
                    </a:cubicBezTo>
                  </a:path>
                </a:pathLst>
              </a:custGeom>
              <a:solidFill>
                <a:srgbClr val="48487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i$ľiḍe">
                <a:extLst>
                  <a:ext uri="{FF2B5EF4-FFF2-40B4-BE49-F238E27FC236}">
                    <a16:creationId xmlns:a16="http://schemas.microsoft.com/office/drawing/2014/main" id="{103CA2F9-02BF-4980-9B2A-549FD7AFB38E}"/>
                  </a:ext>
                </a:extLst>
              </p:cNvPr>
              <p:cNvSpPr/>
              <p:nvPr/>
            </p:nvSpPr>
            <p:spPr bwMode="auto">
              <a:xfrm>
                <a:off x="6015038" y="3470276"/>
                <a:ext cx="138113" cy="66675"/>
              </a:xfrm>
              <a:custGeom>
                <a:avLst/>
                <a:gdLst>
                  <a:gd name="T0" fmla="*/ 98 w 107"/>
                  <a:gd name="T1" fmla="*/ 0 h 52"/>
                  <a:gd name="T2" fmla="*/ 101 w 107"/>
                  <a:gd name="T3" fmla="*/ 11 h 52"/>
                  <a:gd name="T4" fmla="*/ 0 w 107"/>
                  <a:gd name="T5" fmla="*/ 41 h 52"/>
                  <a:gd name="T6" fmla="*/ 7 w 107"/>
                  <a:gd name="T7" fmla="*/ 52 h 52"/>
                  <a:gd name="T8" fmla="*/ 107 w 107"/>
                  <a:gd name="T9" fmla="*/ 23 h 52"/>
                  <a:gd name="T10" fmla="*/ 102 w 107"/>
                  <a:gd name="T11" fmla="*/ 4 h 52"/>
                  <a:gd name="T12" fmla="*/ 98 w 107"/>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107" h="52">
                    <a:moveTo>
                      <a:pt x="98" y="0"/>
                    </a:moveTo>
                    <a:cubicBezTo>
                      <a:pt x="99" y="7"/>
                      <a:pt x="101" y="11"/>
                      <a:pt x="101" y="11"/>
                    </a:cubicBezTo>
                    <a:cubicBezTo>
                      <a:pt x="101" y="36"/>
                      <a:pt x="37" y="40"/>
                      <a:pt x="0" y="41"/>
                    </a:cubicBezTo>
                    <a:cubicBezTo>
                      <a:pt x="7" y="52"/>
                      <a:pt x="7" y="52"/>
                      <a:pt x="7" y="52"/>
                    </a:cubicBezTo>
                    <a:cubicBezTo>
                      <a:pt x="45" y="52"/>
                      <a:pt x="107" y="47"/>
                      <a:pt x="107" y="23"/>
                    </a:cubicBezTo>
                    <a:cubicBezTo>
                      <a:pt x="107" y="23"/>
                      <a:pt x="104" y="16"/>
                      <a:pt x="102" y="4"/>
                    </a:cubicBezTo>
                    <a:cubicBezTo>
                      <a:pt x="100" y="3"/>
                      <a:pt x="99" y="1"/>
                      <a:pt x="98" y="0"/>
                    </a:cubicBezTo>
                  </a:path>
                </a:pathLst>
              </a:custGeom>
              <a:solidFill>
                <a:srgbClr val="E5A6A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ís1ídè">
                <a:extLst>
                  <a:ext uri="{FF2B5EF4-FFF2-40B4-BE49-F238E27FC236}">
                    <a16:creationId xmlns:a16="http://schemas.microsoft.com/office/drawing/2014/main" id="{31ACEC5E-EC72-4A0A-9EE5-708AF897D83B}"/>
                  </a:ext>
                </a:extLst>
              </p:cNvPr>
              <p:cNvSpPr/>
              <p:nvPr/>
            </p:nvSpPr>
            <p:spPr bwMode="auto">
              <a:xfrm>
                <a:off x="5889626" y="2935288"/>
                <a:ext cx="387350" cy="593725"/>
              </a:xfrm>
              <a:custGeom>
                <a:avLst/>
                <a:gdLst>
                  <a:gd name="T0" fmla="*/ 70 w 299"/>
                  <a:gd name="T1" fmla="*/ 0 h 458"/>
                  <a:gd name="T2" fmla="*/ 24 w 299"/>
                  <a:gd name="T3" fmla="*/ 360 h 458"/>
                  <a:gd name="T4" fmla="*/ 70 w 299"/>
                  <a:gd name="T5" fmla="*/ 452 h 458"/>
                  <a:gd name="T6" fmla="*/ 198 w 299"/>
                  <a:gd name="T7" fmla="*/ 423 h 458"/>
                  <a:gd name="T8" fmla="*/ 198 w 299"/>
                  <a:gd name="T9" fmla="*/ 278 h 458"/>
                  <a:gd name="T10" fmla="*/ 212 w 299"/>
                  <a:gd name="T11" fmla="*/ 247 h 458"/>
                  <a:gd name="T12" fmla="*/ 274 w 299"/>
                  <a:gd name="T13" fmla="*/ 130 h 458"/>
                  <a:gd name="T14" fmla="*/ 296 w 299"/>
                  <a:gd name="T15" fmla="*/ 75 h 458"/>
                  <a:gd name="T16" fmla="*/ 70 w 299"/>
                  <a:gd name="T17" fmla="*/ 0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9" h="458">
                    <a:moveTo>
                      <a:pt x="70" y="0"/>
                    </a:moveTo>
                    <a:cubicBezTo>
                      <a:pt x="70" y="0"/>
                      <a:pt x="0" y="296"/>
                      <a:pt x="24" y="360"/>
                    </a:cubicBezTo>
                    <a:cubicBezTo>
                      <a:pt x="47" y="424"/>
                      <a:pt x="70" y="452"/>
                      <a:pt x="70" y="452"/>
                    </a:cubicBezTo>
                    <a:cubicBezTo>
                      <a:pt x="70" y="452"/>
                      <a:pt x="198" y="458"/>
                      <a:pt x="198" y="423"/>
                    </a:cubicBezTo>
                    <a:cubicBezTo>
                      <a:pt x="198" y="423"/>
                      <a:pt x="169" y="330"/>
                      <a:pt x="198" y="278"/>
                    </a:cubicBezTo>
                    <a:cubicBezTo>
                      <a:pt x="203" y="268"/>
                      <a:pt x="208" y="258"/>
                      <a:pt x="212" y="247"/>
                    </a:cubicBezTo>
                    <a:cubicBezTo>
                      <a:pt x="225" y="204"/>
                      <a:pt x="246" y="165"/>
                      <a:pt x="274" y="130"/>
                    </a:cubicBezTo>
                    <a:cubicBezTo>
                      <a:pt x="288" y="113"/>
                      <a:pt x="299" y="93"/>
                      <a:pt x="296" y="75"/>
                    </a:cubicBezTo>
                    <a:cubicBezTo>
                      <a:pt x="291" y="29"/>
                      <a:pt x="70" y="0"/>
                      <a:pt x="70" y="0"/>
                    </a:cubicBezTo>
                  </a:path>
                </a:pathLst>
              </a:custGeom>
              <a:solidFill>
                <a:srgbClr val="4C4C7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íṡ1iďê">
                <a:extLst>
                  <a:ext uri="{FF2B5EF4-FFF2-40B4-BE49-F238E27FC236}">
                    <a16:creationId xmlns:a16="http://schemas.microsoft.com/office/drawing/2014/main" id="{9192042F-2E0E-4FCC-AEC0-5838A1DB6101}"/>
                  </a:ext>
                </a:extLst>
              </p:cNvPr>
              <p:cNvSpPr/>
              <p:nvPr/>
            </p:nvSpPr>
            <p:spPr bwMode="auto">
              <a:xfrm>
                <a:off x="5573713" y="2611438"/>
                <a:ext cx="496888" cy="285750"/>
              </a:xfrm>
              <a:custGeom>
                <a:avLst/>
                <a:gdLst>
                  <a:gd name="T0" fmla="*/ 360 w 383"/>
                  <a:gd name="T1" fmla="*/ 0 h 220"/>
                  <a:gd name="T2" fmla="*/ 284 w 383"/>
                  <a:gd name="T3" fmla="*/ 110 h 220"/>
                  <a:gd name="T4" fmla="*/ 92 w 383"/>
                  <a:gd name="T5" fmla="*/ 145 h 220"/>
                  <a:gd name="T6" fmla="*/ 11 w 383"/>
                  <a:gd name="T7" fmla="*/ 186 h 220"/>
                  <a:gd name="T8" fmla="*/ 98 w 383"/>
                  <a:gd name="T9" fmla="*/ 197 h 220"/>
                  <a:gd name="T10" fmla="*/ 261 w 383"/>
                  <a:gd name="T11" fmla="*/ 197 h 220"/>
                  <a:gd name="T12" fmla="*/ 377 w 383"/>
                  <a:gd name="T13" fmla="*/ 99 h 220"/>
                  <a:gd name="T14" fmla="*/ 360 w 383"/>
                  <a:gd name="T15" fmla="*/ 0 h 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3" h="220">
                    <a:moveTo>
                      <a:pt x="360" y="0"/>
                    </a:moveTo>
                    <a:cubicBezTo>
                      <a:pt x="360" y="0"/>
                      <a:pt x="290" y="58"/>
                      <a:pt x="284" y="110"/>
                    </a:cubicBezTo>
                    <a:cubicBezTo>
                      <a:pt x="284" y="110"/>
                      <a:pt x="133" y="186"/>
                      <a:pt x="92" y="145"/>
                    </a:cubicBezTo>
                    <a:cubicBezTo>
                      <a:pt x="52" y="104"/>
                      <a:pt x="0" y="174"/>
                      <a:pt x="11" y="186"/>
                    </a:cubicBezTo>
                    <a:cubicBezTo>
                      <a:pt x="23" y="197"/>
                      <a:pt x="58" y="220"/>
                      <a:pt x="98" y="197"/>
                    </a:cubicBezTo>
                    <a:cubicBezTo>
                      <a:pt x="261" y="197"/>
                      <a:pt x="261" y="197"/>
                      <a:pt x="261" y="197"/>
                    </a:cubicBezTo>
                    <a:cubicBezTo>
                      <a:pt x="261" y="197"/>
                      <a:pt x="371" y="186"/>
                      <a:pt x="377" y="99"/>
                    </a:cubicBezTo>
                    <a:cubicBezTo>
                      <a:pt x="383" y="11"/>
                      <a:pt x="360" y="0"/>
                      <a:pt x="360" y="0"/>
                    </a:cubicBezTo>
                  </a:path>
                </a:pathLst>
              </a:custGeom>
              <a:solidFill>
                <a:srgbClr val="FFB9B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ïSḷïḋe">
                <a:extLst>
                  <a:ext uri="{FF2B5EF4-FFF2-40B4-BE49-F238E27FC236}">
                    <a16:creationId xmlns:a16="http://schemas.microsoft.com/office/drawing/2014/main" id="{E10DFD86-2EC3-4628-8768-6983E4BF1EFB}"/>
                  </a:ext>
                </a:extLst>
              </p:cNvPr>
              <p:cNvSpPr/>
              <p:nvPr/>
            </p:nvSpPr>
            <p:spPr bwMode="auto">
              <a:xfrm>
                <a:off x="5586413" y="2632076"/>
                <a:ext cx="431800" cy="247650"/>
              </a:xfrm>
              <a:custGeom>
                <a:avLst/>
                <a:gdLst>
                  <a:gd name="T0" fmla="*/ 332 w 332"/>
                  <a:gd name="T1" fmla="*/ 0 h 191"/>
                  <a:gd name="T2" fmla="*/ 274 w 332"/>
                  <a:gd name="T3" fmla="*/ 94 h 191"/>
                  <a:gd name="T4" fmla="*/ 121 w 332"/>
                  <a:gd name="T5" fmla="*/ 141 h 191"/>
                  <a:gd name="T6" fmla="*/ 82 w 332"/>
                  <a:gd name="T7" fmla="*/ 129 h 191"/>
                  <a:gd name="T8" fmla="*/ 55 w 332"/>
                  <a:gd name="T9" fmla="*/ 116 h 191"/>
                  <a:gd name="T10" fmla="*/ 0 w 332"/>
                  <a:gd name="T11" fmla="*/ 165 h 191"/>
                  <a:gd name="T12" fmla="*/ 1 w 332"/>
                  <a:gd name="T13" fmla="*/ 170 h 191"/>
                  <a:gd name="T14" fmla="*/ 53 w 332"/>
                  <a:gd name="T15" fmla="*/ 191 h 191"/>
                  <a:gd name="T16" fmla="*/ 88 w 332"/>
                  <a:gd name="T17" fmla="*/ 181 h 191"/>
                  <a:gd name="T18" fmla="*/ 251 w 332"/>
                  <a:gd name="T19" fmla="*/ 181 h 191"/>
                  <a:gd name="T20" fmla="*/ 321 w 332"/>
                  <a:gd name="T21" fmla="*/ 157 h 191"/>
                  <a:gd name="T22" fmla="*/ 326 w 332"/>
                  <a:gd name="T23" fmla="*/ 117 h 191"/>
                  <a:gd name="T24" fmla="*/ 326 w 332"/>
                  <a:gd name="T25" fmla="*/ 36 h 191"/>
                  <a:gd name="T26" fmla="*/ 332 w 332"/>
                  <a:gd name="T27"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2" h="191">
                    <a:moveTo>
                      <a:pt x="332" y="0"/>
                    </a:moveTo>
                    <a:cubicBezTo>
                      <a:pt x="311" y="21"/>
                      <a:pt x="278" y="59"/>
                      <a:pt x="274" y="94"/>
                    </a:cubicBezTo>
                    <a:cubicBezTo>
                      <a:pt x="274" y="94"/>
                      <a:pt x="180" y="141"/>
                      <a:pt x="121" y="141"/>
                    </a:cubicBezTo>
                    <a:cubicBezTo>
                      <a:pt x="105" y="141"/>
                      <a:pt x="91" y="138"/>
                      <a:pt x="82" y="129"/>
                    </a:cubicBezTo>
                    <a:cubicBezTo>
                      <a:pt x="73" y="120"/>
                      <a:pt x="64" y="116"/>
                      <a:pt x="55" y="116"/>
                    </a:cubicBezTo>
                    <a:cubicBezTo>
                      <a:pt x="26" y="116"/>
                      <a:pt x="0" y="150"/>
                      <a:pt x="0" y="165"/>
                    </a:cubicBezTo>
                    <a:cubicBezTo>
                      <a:pt x="0" y="167"/>
                      <a:pt x="0" y="169"/>
                      <a:pt x="1" y="170"/>
                    </a:cubicBezTo>
                    <a:cubicBezTo>
                      <a:pt x="9" y="178"/>
                      <a:pt x="28" y="191"/>
                      <a:pt x="53" y="191"/>
                    </a:cubicBezTo>
                    <a:cubicBezTo>
                      <a:pt x="64" y="191"/>
                      <a:pt x="76" y="188"/>
                      <a:pt x="88" y="181"/>
                    </a:cubicBezTo>
                    <a:cubicBezTo>
                      <a:pt x="251" y="181"/>
                      <a:pt x="251" y="181"/>
                      <a:pt x="251" y="181"/>
                    </a:cubicBezTo>
                    <a:cubicBezTo>
                      <a:pt x="251" y="181"/>
                      <a:pt x="288" y="177"/>
                      <a:pt x="321" y="157"/>
                    </a:cubicBezTo>
                    <a:cubicBezTo>
                      <a:pt x="327" y="141"/>
                      <a:pt x="330" y="127"/>
                      <a:pt x="326" y="117"/>
                    </a:cubicBezTo>
                    <a:cubicBezTo>
                      <a:pt x="321" y="102"/>
                      <a:pt x="323" y="69"/>
                      <a:pt x="326" y="36"/>
                    </a:cubicBezTo>
                    <a:cubicBezTo>
                      <a:pt x="327" y="24"/>
                      <a:pt x="329" y="12"/>
                      <a:pt x="332" y="0"/>
                    </a:cubicBezTo>
                  </a:path>
                </a:pathLst>
              </a:custGeom>
              <a:solidFill>
                <a:srgbClr val="F2B0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îŝ1iḓè">
                <a:extLst>
                  <a:ext uri="{FF2B5EF4-FFF2-40B4-BE49-F238E27FC236}">
                    <a16:creationId xmlns:a16="http://schemas.microsoft.com/office/drawing/2014/main" id="{036F38B0-D801-43AF-9934-79D721990776}"/>
                  </a:ext>
                </a:extLst>
              </p:cNvPr>
              <p:cNvSpPr/>
              <p:nvPr/>
            </p:nvSpPr>
            <p:spPr bwMode="auto">
              <a:xfrm>
                <a:off x="6070601" y="2389188"/>
                <a:ext cx="31750" cy="30163"/>
              </a:xfrm>
              <a:custGeom>
                <a:avLst/>
                <a:gdLst>
                  <a:gd name="T0" fmla="*/ 24 w 24"/>
                  <a:gd name="T1" fmla="*/ 0 h 23"/>
                  <a:gd name="T2" fmla="*/ 0 w 24"/>
                  <a:gd name="T3" fmla="*/ 16 h 23"/>
                  <a:gd name="T4" fmla="*/ 5 w 24"/>
                  <a:gd name="T5" fmla="*/ 23 h 23"/>
                  <a:gd name="T6" fmla="*/ 24 w 24"/>
                  <a:gd name="T7" fmla="*/ 0 h 23"/>
                </a:gdLst>
                <a:ahLst/>
                <a:cxnLst>
                  <a:cxn ang="0">
                    <a:pos x="T0" y="T1"/>
                  </a:cxn>
                  <a:cxn ang="0">
                    <a:pos x="T2" y="T3"/>
                  </a:cxn>
                  <a:cxn ang="0">
                    <a:pos x="T4" y="T5"/>
                  </a:cxn>
                  <a:cxn ang="0">
                    <a:pos x="T6" y="T7"/>
                  </a:cxn>
                </a:cxnLst>
                <a:rect l="0" t="0" r="r" b="b"/>
                <a:pathLst>
                  <a:path w="24" h="23">
                    <a:moveTo>
                      <a:pt x="24" y="0"/>
                    </a:moveTo>
                    <a:cubicBezTo>
                      <a:pt x="17" y="7"/>
                      <a:pt x="9" y="12"/>
                      <a:pt x="0" y="16"/>
                    </a:cubicBezTo>
                    <a:cubicBezTo>
                      <a:pt x="1" y="18"/>
                      <a:pt x="3" y="20"/>
                      <a:pt x="5" y="23"/>
                    </a:cubicBezTo>
                    <a:cubicBezTo>
                      <a:pt x="14" y="19"/>
                      <a:pt x="19" y="10"/>
                      <a:pt x="24" y="0"/>
                    </a:cubicBezTo>
                  </a:path>
                </a:pathLst>
              </a:custGeom>
              <a:solidFill>
                <a:srgbClr val="E5A6A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íṩḻíḋé">
                <a:extLst>
                  <a:ext uri="{FF2B5EF4-FFF2-40B4-BE49-F238E27FC236}">
                    <a16:creationId xmlns:a16="http://schemas.microsoft.com/office/drawing/2014/main" id="{8520E9D4-A4C5-42A2-AA10-FF5341AD6929}"/>
                  </a:ext>
                </a:extLst>
              </p:cNvPr>
              <p:cNvSpPr/>
              <p:nvPr/>
            </p:nvSpPr>
            <p:spPr bwMode="auto">
              <a:xfrm>
                <a:off x="5924551" y="2208213"/>
                <a:ext cx="209550" cy="211138"/>
              </a:xfrm>
              <a:custGeom>
                <a:avLst/>
                <a:gdLst>
                  <a:gd name="T0" fmla="*/ 162 w 162"/>
                  <a:gd name="T1" fmla="*/ 82 h 163"/>
                  <a:gd name="T2" fmla="*/ 81 w 162"/>
                  <a:gd name="T3" fmla="*/ 163 h 163"/>
                  <a:gd name="T4" fmla="*/ 0 w 162"/>
                  <a:gd name="T5" fmla="*/ 82 h 163"/>
                  <a:gd name="T6" fmla="*/ 81 w 162"/>
                  <a:gd name="T7" fmla="*/ 0 h 163"/>
                  <a:gd name="T8" fmla="*/ 162 w 162"/>
                  <a:gd name="T9" fmla="*/ 80 h 163"/>
                  <a:gd name="T10" fmla="*/ 162 w 162"/>
                  <a:gd name="T11" fmla="*/ 82 h 163"/>
                </a:gdLst>
                <a:ahLst/>
                <a:cxnLst>
                  <a:cxn ang="0">
                    <a:pos x="T0" y="T1"/>
                  </a:cxn>
                  <a:cxn ang="0">
                    <a:pos x="T2" y="T3"/>
                  </a:cxn>
                  <a:cxn ang="0">
                    <a:pos x="T4" y="T5"/>
                  </a:cxn>
                  <a:cxn ang="0">
                    <a:pos x="T6" y="T7"/>
                  </a:cxn>
                  <a:cxn ang="0">
                    <a:pos x="T8" y="T9"/>
                  </a:cxn>
                  <a:cxn ang="0">
                    <a:pos x="T10" y="T11"/>
                  </a:cxn>
                </a:cxnLst>
                <a:rect l="0" t="0" r="r" b="b"/>
                <a:pathLst>
                  <a:path w="162" h="163">
                    <a:moveTo>
                      <a:pt x="162" y="82"/>
                    </a:moveTo>
                    <a:cubicBezTo>
                      <a:pt x="162" y="126"/>
                      <a:pt x="126" y="163"/>
                      <a:pt x="81" y="163"/>
                    </a:cubicBezTo>
                    <a:cubicBezTo>
                      <a:pt x="36" y="163"/>
                      <a:pt x="0" y="126"/>
                      <a:pt x="0" y="82"/>
                    </a:cubicBezTo>
                    <a:cubicBezTo>
                      <a:pt x="0" y="37"/>
                      <a:pt x="36" y="0"/>
                      <a:pt x="81" y="0"/>
                    </a:cubicBezTo>
                    <a:cubicBezTo>
                      <a:pt x="125" y="0"/>
                      <a:pt x="162" y="36"/>
                      <a:pt x="162" y="80"/>
                    </a:cubicBezTo>
                    <a:cubicBezTo>
                      <a:pt x="162" y="82"/>
                      <a:pt x="162" y="82"/>
                      <a:pt x="162" y="82"/>
                    </a:cubicBezTo>
                  </a:path>
                </a:pathLst>
              </a:custGeom>
              <a:solidFill>
                <a:srgbClr val="FFB9B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ļïde">
                <a:extLst>
                  <a:ext uri="{FF2B5EF4-FFF2-40B4-BE49-F238E27FC236}">
                    <a16:creationId xmlns:a16="http://schemas.microsoft.com/office/drawing/2014/main" id="{0A6A633F-2A33-4C0C-AA6B-E616B85FA51C}"/>
                  </a:ext>
                </a:extLst>
              </p:cNvPr>
              <p:cNvSpPr/>
              <p:nvPr/>
            </p:nvSpPr>
            <p:spPr bwMode="auto">
              <a:xfrm>
                <a:off x="5989638" y="2519363"/>
                <a:ext cx="68263" cy="349250"/>
              </a:xfrm>
              <a:custGeom>
                <a:avLst/>
                <a:gdLst>
                  <a:gd name="T0" fmla="*/ 12 w 53"/>
                  <a:gd name="T1" fmla="*/ 243 h 269"/>
                  <a:gd name="T2" fmla="*/ 11 w 53"/>
                  <a:gd name="T3" fmla="*/ 244 h 269"/>
                  <a:gd name="T4" fmla="*/ 0 w 53"/>
                  <a:gd name="T5" fmla="*/ 269 h 269"/>
                  <a:gd name="T6" fmla="*/ 12 w 53"/>
                  <a:gd name="T7" fmla="*/ 243 h 269"/>
                  <a:gd name="T8" fmla="*/ 53 w 53"/>
                  <a:gd name="T9" fmla="*/ 0 h 269"/>
                  <a:gd name="T10" fmla="*/ 22 w 53"/>
                  <a:gd name="T11" fmla="*/ 87 h 269"/>
                  <a:gd name="T12" fmla="*/ 26 w 53"/>
                  <a:gd name="T13" fmla="*/ 83 h 269"/>
                  <a:gd name="T14" fmla="*/ 53 w 53"/>
                  <a:gd name="T15" fmla="*/ 0 h 2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269">
                    <a:moveTo>
                      <a:pt x="12" y="243"/>
                    </a:moveTo>
                    <a:cubicBezTo>
                      <a:pt x="12" y="243"/>
                      <a:pt x="11" y="243"/>
                      <a:pt x="11" y="244"/>
                    </a:cubicBezTo>
                    <a:cubicBezTo>
                      <a:pt x="8" y="252"/>
                      <a:pt x="4" y="260"/>
                      <a:pt x="0" y="269"/>
                    </a:cubicBezTo>
                    <a:cubicBezTo>
                      <a:pt x="5" y="260"/>
                      <a:pt x="9" y="251"/>
                      <a:pt x="12" y="243"/>
                    </a:cubicBezTo>
                    <a:moveTo>
                      <a:pt x="53" y="0"/>
                    </a:moveTo>
                    <a:cubicBezTo>
                      <a:pt x="38" y="28"/>
                      <a:pt x="28" y="57"/>
                      <a:pt x="22" y="87"/>
                    </a:cubicBezTo>
                    <a:cubicBezTo>
                      <a:pt x="23" y="86"/>
                      <a:pt x="25" y="85"/>
                      <a:pt x="26" y="83"/>
                    </a:cubicBezTo>
                    <a:cubicBezTo>
                      <a:pt x="31" y="54"/>
                      <a:pt x="40" y="26"/>
                      <a:pt x="53" y="0"/>
                    </a:cubicBezTo>
                  </a:path>
                </a:pathLst>
              </a:custGeom>
              <a:solidFill>
                <a:srgbClr val="00877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3" name="iSľiḓe">
                <a:extLst>
                  <a:ext uri="{FF2B5EF4-FFF2-40B4-BE49-F238E27FC236}">
                    <a16:creationId xmlns:a16="http://schemas.microsoft.com/office/drawing/2014/main" id="{67632B49-BC87-4FBA-8B2F-4A7AF97EC0A9}"/>
                  </a:ext>
                </a:extLst>
              </p:cNvPr>
              <p:cNvSpPr/>
              <p:nvPr/>
            </p:nvSpPr>
            <p:spPr bwMode="auto">
              <a:xfrm>
                <a:off x="6003926" y="2627313"/>
                <a:ext cx="19050" cy="207963"/>
              </a:xfrm>
              <a:custGeom>
                <a:avLst/>
                <a:gdLst>
                  <a:gd name="T0" fmla="*/ 15 w 15"/>
                  <a:gd name="T1" fmla="*/ 0 h 161"/>
                  <a:gd name="T2" fmla="*/ 11 w 15"/>
                  <a:gd name="T3" fmla="*/ 4 h 161"/>
                  <a:gd name="T4" fmla="*/ 5 w 15"/>
                  <a:gd name="T5" fmla="*/ 40 h 161"/>
                  <a:gd name="T6" fmla="*/ 5 w 15"/>
                  <a:gd name="T7" fmla="*/ 121 h 161"/>
                  <a:gd name="T8" fmla="*/ 0 w 15"/>
                  <a:gd name="T9" fmla="*/ 161 h 161"/>
                  <a:gd name="T10" fmla="*/ 1 w 15"/>
                  <a:gd name="T11" fmla="*/ 160 h 161"/>
                  <a:gd name="T12" fmla="*/ 11 w 15"/>
                  <a:gd name="T13" fmla="*/ 110 h 161"/>
                  <a:gd name="T14" fmla="*/ 10 w 15"/>
                  <a:gd name="T15" fmla="*/ 107 h 161"/>
                  <a:gd name="T16" fmla="*/ 8 w 15"/>
                  <a:gd name="T17" fmla="*/ 107 h 161"/>
                  <a:gd name="T18" fmla="*/ 10 w 15"/>
                  <a:gd name="T19" fmla="*/ 107 h 161"/>
                  <a:gd name="T20" fmla="*/ 11 w 15"/>
                  <a:gd name="T21" fmla="*/ 28 h 161"/>
                  <a:gd name="T22" fmla="*/ 15 w 15"/>
                  <a:gd name="T23"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61">
                    <a:moveTo>
                      <a:pt x="15" y="0"/>
                    </a:moveTo>
                    <a:cubicBezTo>
                      <a:pt x="14" y="2"/>
                      <a:pt x="12" y="3"/>
                      <a:pt x="11" y="4"/>
                    </a:cubicBezTo>
                    <a:cubicBezTo>
                      <a:pt x="8" y="16"/>
                      <a:pt x="6" y="28"/>
                      <a:pt x="5" y="40"/>
                    </a:cubicBezTo>
                    <a:cubicBezTo>
                      <a:pt x="2" y="73"/>
                      <a:pt x="0" y="106"/>
                      <a:pt x="5" y="121"/>
                    </a:cubicBezTo>
                    <a:cubicBezTo>
                      <a:pt x="9" y="131"/>
                      <a:pt x="6" y="145"/>
                      <a:pt x="0" y="161"/>
                    </a:cubicBezTo>
                    <a:cubicBezTo>
                      <a:pt x="0" y="160"/>
                      <a:pt x="1" y="160"/>
                      <a:pt x="1" y="160"/>
                    </a:cubicBezTo>
                    <a:cubicBezTo>
                      <a:pt x="10" y="139"/>
                      <a:pt x="15" y="121"/>
                      <a:pt x="11" y="110"/>
                    </a:cubicBezTo>
                    <a:cubicBezTo>
                      <a:pt x="11" y="109"/>
                      <a:pt x="11" y="108"/>
                      <a:pt x="10" y="107"/>
                    </a:cubicBezTo>
                    <a:cubicBezTo>
                      <a:pt x="8" y="107"/>
                      <a:pt x="8" y="107"/>
                      <a:pt x="8" y="107"/>
                    </a:cubicBezTo>
                    <a:cubicBezTo>
                      <a:pt x="8" y="107"/>
                      <a:pt x="9" y="107"/>
                      <a:pt x="10" y="107"/>
                    </a:cubicBezTo>
                    <a:cubicBezTo>
                      <a:pt x="6" y="91"/>
                      <a:pt x="8" y="59"/>
                      <a:pt x="11" y="28"/>
                    </a:cubicBezTo>
                    <a:cubicBezTo>
                      <a:pt x="12" y="19"/>
                      <a:pt x="13" y="10"/>
                      <a:pt x="15" y="0"/>
                    </a:cubicBezTo>
                  </a:path>
                </a:pathLst>
              </a:custGeom>
              <a:solidFill>
                <a:srgbClr val="D99E9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4" name="iSḻîḋè">
                <a:extLst>
                  <a:ext uri="{FF2B5EF4-FFF2-40B4-BE49-F238E27FC236}">
                    <a16:creationId xmlns:a16="http://schemas.microsoft.com/office/drawing/2014/main" id="{AC629236-8E9D-403E-842B-174853E1E06A}"/>
                  </a:ext>
                </a:extLst>
              </p:cNvPr>
              <p:cNvSpPr/>
              <p:nvPr/>
            </p:nvSpPr>
            <p:spPr bwMode="auto">
              <a:xfrm>
                <a:off x="6262688" y="3060701"/>
                <a:ext cx="19050" cy="15875"/>
              </a:xfrm>
              <a:custGeom>
                <a:avLst/>
                <a:gdLst>
                  <a:gd name="T0" fmla="*/ 6 w 15"/>
                  <a:gd name="T1" fmla="*/ 0 h 12"/>
                  <a:gd name="T2" fmla="*/ 0 w 15"/>
                  <a:gd name="T3" fmla="*/ 12 h 12"/>
                  <a:gd name="T4" fmla="*/ 5 w 15"/>
                  <a:gd name="T5" fmla="*/ 12 h 12"/>
                  <a:gd name="T6" fmla="*/ 14 w 15"/>
                  <a:gd name="T7" fmla="*/ 1 h 12"/>
                  <a:gd name="T8" fmla="*/ 14 w 15"/>
                  <a:gd name="T9" fmla="*/ 0 h 12"/>
                  <a:gd name="T10" fmla="*/ 11 w 15"/>
                  <a:gd name="T11" fmla="*/ 1 h 12"/>
                  <a:gd name="T12" fmla="*/ 6 w 15"/>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5" h="12">
                    <a:moveTo>
                      <a:pt x="6" y="0"/>
                    </a:moveTo>
                    <a:cubicBezTo>
                      <a:pt x="4" y="4"/>
                      <a:pt x="2" y="8"/>
                      <a:pt x="0" y="12"/>
                    </a:cubicBezTo>
                    <a:cubicBezTo>
                      <a:pt x="2" y="12"/>
                      <a:pt x="4" y="12"/>
                      <a:pt x="5" y="12"/>
                    </a:cubicBezTo>
                    <a:cubicBezTo>
                      <a:pt x="12" y="12"/>
                      <a:pt x="15" y="9"/>
                      <a:pt x="14" y="1"/>
                    </a:cubicBezTo>
                    <a:cubicBezTo>
                      <a:pt x="14" y="1"/>
                      <a:pt x="14" y="1"/>
                      <a:pt x="14" y="0"/>
                    </a:cubicBezTo>
                    <a:cubicBezTo>
                      <a:pt x="13" y="0"/>
                      <a:pt x="12" y="1"/>
                      <a:pt x="11" y="1"/>
                    </a:cubicBezTo>
                    <a:cubicBezTo>
                      <a:pt x="9" y="1"/>
                      <a:pt x="8" y="0"/>
                      <a:pt x="6" y="0"/>
                    </a:cubicBezTo>
                  </a:path>
                </a:pathLst>
              </a:custGeom>
              <a:solidFill>
                <a:srgbClr val="00877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5" name="ïśḻíḑé">
                <a:extLst>
                  <a:ext uri="{FF2B5EF4-FFF2-40B4-BE49-F238E27FC236}">
                    <a16:creationId xmlns:a16="http://schemas.microsoft.com/office/drawing/2014/main" id="{1BF14852-3BBB-4A17-B23E-34CAA34E5592}"/>
                  </a:ext>
                </a:extLst>
              </p:cNvPr>
              <p:cNvSpPr/>
              <p:nvPr/>
            </p:nvSpPr>
            <p:spPr bwMode="auto">
              <a:xfrm>
                <a:off x="5959476" y="2982913"/>
                <a:ext cx="9525" cy="6350"/>
              </a:xfrm>
              <a:custGeom>
                <a:avLst/>
                <a:gdLst>
                  <a:gd name="T0" fmla="*/ 8 w 8"/>
                  <a:gd name="T1" fmla="*/ 0 h 5"/>
                  <a:gd name="T2" fmla="*/ 0 w 8"/>
                  <a:gd name="T3" fmla="*/ 5 h 5"/>
                  <a:gd name="T4" fmla="*/ 7 w 8"/>
                  <a:gd name="T5" fmla="*/ 4 h 5"/>
                  <a:gd name="T6" fmla="*/ 8 w 8"/>
                  <a:gd name="T7" fmla="*/ 0 h 5"/>
                </a:gdLst>
                <a:ahLst/>
                <a:cxnLst>
                  <a:cxn ang="0">
                    <a:pos x="T0" y="T1"/>
                  </a:cxn>
                  <a:cxn ang="0">
                    <a:pos x="T2" y="T3"/>
                  </a:cxn>
                  <a:cxn ang="0">
                    <a:pos x="T4" y="T5"/>
                  </a:cxn>
                  <a:cxn ang="0">
                    <a:pos x="T6" y="T7"/>
                  </a:cxn>
                </a:cxnLst>
                <a:rect l="0" t="0" r="r" b="b"/>
                <a:pathLst>
                  <a:path w="8" h="5">
                    <a:moveTo>
                      <a:pt x="8" y="0"/>
                    </a:moveTo>
                    <a:cubicBezTo>
                      <a:pt x="5" y="1"/>
                      <a:pt x="3" y="3"/>
                      <a:pt x="0" y="5"/>
                    </a:cubicBezTo>
                    <a:cubicBezTo>
                      <a:pt x="2" y="5"/>
                      <a:pt x="5" y="5"/>
                      <a:pt x="7" y="4"/>
                    </a:cubicBezTo>
                    <a:cubicBezTo>
                      <a:pt x="7" y="3"/>
                      <a:pt x="8" y="1"/>
                      <a:pt x="8" y="0"/>
                    </a:cubicBezTo>
                  </a:path>
                </a:pathLst>
              </a:custGeom>
              <a:solidFill>
                <a:srgbClr val="4141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6" name="i$ľïdé">
                <a:extLst>
                  <a:ext uri="{FF2B5EF4-FFF2-40B4-BE49-F238E27FC236}">
                    <a16:creationId xmlns:a16="http://schemas.microsoft.com/office/drawing/2014/main" id="{B619DC15-14C9-492C-847A-30325A7BDC82}"/>
                  </a:ext>
                </a:extLst>
              </p:cNvPr>
              <p:cNvSpPr/>
              <p:nvPr/>
            </p:nvSpPr>
            <p:spPr bwMode="auto">
              <a:xfrm>
                <a:off x="5967413" y="2957513"/>
                <a:ext cx="303213" cy="119063"/>
              </a:xfrm>
              <a:custGeom>
                <a:avLst/>
                <a:gdLst>
                  <a:gd name="T0" fmla="*/ 96 w 233"/>
                  <a:gd name="T1" fmla="*/ 0 h 92"/>
                  <a:gd name="T2" fmla="*/ 52 w 233"/>
                  <a:gd name="T3" fmla="*/ 7 h 92"/>
                  <a:gd name="T4" fmla="*/ 52 w 233"/>
                  <a:gd name="T5" fmla="*/ 7 h 92"/>
                  <a:gd name="T6" fmla="*/ 52 w 233"/>
                  <a:gd name="T7" fmla="*/ 7 h 92"/>
                  <a:gd name="T8" fmla="*/ 13 w 233"/>
                  <a:gd name="T9" fmla="*/ 11 h 92"/>
                  <a:gd name="T10" fmla="*/ 1 w 233"/>
                  <a:gd name="T11" fmla="*/ 19 h 92"/>
                  <a:gd name="T12" fmla="*/ 0 w 233"/>
                  <a:gd name="T13" fmla="*/ 23 h 92"/>
                  <a:gd name="T14" fmla="*/ 90 w 233"/>
                  <a:gd name="T15" fmla="*/ 12 h 92"/>
                  <a:gd name="T16" fmla="*/ 227 w 233"/>
                  <a:gd name="T17" fmla="*/ 92 h 92"/>
                  <a:gd name="T18" fmla="*/ 233 w 233"/>
                  <a:gd name="T19" fmla="*/ 80 h 92"/>
                  <a:gd name="T20" fmla="*/ 96 w 233"/>
                  <a:gd name="T21"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92">
                    <a:moveTo>
                      <a:pt x="96" y="0"/>
                    </a:moveTo>
                    <a:cubicBezTo>
                      <a:pt x="96" y="0"/>
                      <a:pt x="76" y="4"/>
                      <a:pt x="52" y="7"/>
                    </a:cubicBezTo>
                    <a:cubicBezTo>
                      <a:pt x="52" y="7"/>
                      <a:pt x="52" y="7"/>
                      <a:pt x="52" y="7"/>
                    </a:cubicBezTo>
                    <a:cubicBezTo>
                      <a:pt x="52" y="7"/>
                      <a:pt x="52" y="7"/>
                      <a:pt x="52" y="7"/>
                    </a:cubicBezTo>
                    <a:cubicBezTo>
                      <a:pt x="39" y="9"/>
                      <a:pt x="26" y="10"/>
                      <a:pt x="13" y="11"/>
                    </a:cubicBezTo>
                    <a:cubicBezTo>
                      <a:pt x="9" y="14"/>
                      <a:pt x="5" y="16"/>
                      <a:pt x="1" y="19"/>
                    </a:cubicBezTo>
                    <a:cubicBezTo>
                      <a:pt x="1" y="20"/>
                      <a:pt x="0" y="22"/>
                      <a:pt x="0" y="23"/>
                    </a:cubicBezTo>
                    <a:cubicBezTo>
                      <a:pt x="36" y="21"/>
                      <a:pt x="90" y="12"/>
                      <a:pt x="90" y="12"/>
                    </a:cubicBezTo>
                    <a:cubicBezTo>
                      <a:pt x="90" y="12"/>
                      <a:pt x="190" y="85"/>
                      <a:pt x="227" y="92"/>
                    </a:cubicBezTo>
                    <a:cubicBezTo>
                      <a:pt x="229" y="88"/>
                      <a:pt x="231" y="84"/>
                      <a:pt x="233" y="80"/>
                    </a:cubicBezTo>
                    <a:cubicBezTo>
                      <a:pt x="195" y="73"/>
                      <a:pt x="96" y="0"/>
                      <a:pt x="96" y="0"/>
                    </a:cubicBezTo>
                  </a:path>
                </a:pathLst>
              </a:custGeom>
              <a:solidFill>
                <a:srgbClr val="4444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7" name="íSlíḋé">
                <a:extLst>
                  <a:ext uri="{FF2B5EF4-FFF2-40B4-BE49-F238E27FC236}">
                    <a16:creationId xmlns:a16="http://schemas.microsoft.com/office/drawing/2014/main" id="{9C944C62-8C74-4EB5-9B1A-AAEB30A2FBE7}"/>
                  </a:ext>
                </a:extLst>
              </p:cNvPr>
              <p:cNvSpPr/>
              <p:nvPr/>
            </p:nvSpPr>
            <p:spPr bwMode="auto">
              <a:xfrm>
                <a:off x="5930901" y="2362201"/>
                <a:ext cx="422275" cy="746125"/>
              </a:xfrm>
              <a:custGeom>
                <a:avLst/>
                <a:gdLst>
                  <a:gd name="T0" fmla="*/ 294 w 326"/>
                  <a:gd name="T1" fmla="*/ 337 h 575"/>
                  <a:gd name="T2" fmla="*/ 276 w 326"/>
                  <a:gd name="T3" fmla="*/ 529 h 575"/>
                  <a:gd name="T4" fmla="*/ 125 w 326"/>
                  <a:gd name="T5" fmla="*/ 459 h 575"/>
                  <a:gd name="T6" fmla="*/ 81 w 326"/>
                  <a:gd name="T7" fmla="*/ 466 h 575"/>
                  <a:gd name="T8" fmla="*/ 3 w 326"/>
                  <a:gd name="T9" fmla="*/ 465 h 575"/>
                  <a:gd name="T10" fmla="*/ 7 w 326"/>
                  <a:gd name="T11" fmla="*/ 458 h 575"/>
                  <a:gd name="T12" fmla="*/ 67 w 326"/>
                  <a:gd name="T13" fmla="*/ 314 h 575"/>
                  <a:gd name="T14" fmla="*/ 67 w 326"/>
                  <a:gd name="T15" fmla="*/ 232 h 575"/>
                  <a:gd name="T16" fmla="*/ 119 w 326"/>
                  <a:gd name="T17" fmla="*/ 81 h 575"/>
                  <a:gd name="T18" fmla="*/ 201 w 326"/>
                  <a:gd name="T19" fmla="*/ 0 h 575"/>
                  <a:gd name="T20" fmla="*/ 323 w 326"/>
                  <a:gd name="T21" fmla="*/ 134 h 575"/>
                  <a:gd name="T22" fmla="*/ 294 w 326"/>
                  <a:gd name="T23" fmla="*/ 337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6" h="575">
                    <a:moveTo>
                      <a:pt x="294" y="337"/>
                    </a:moveTo>
                    <a:cubicBezTo>
                      <a:pt x="294" y="337"/>
                      <a:pt x="270" y="482"/>
                      <a:pt x="276" y="529"/>
                    </a:cubicBezTo>
                    <a:cubicBezTo>
                      <a:pt x="282" y="575"/>
                      <a:pt x="125" y="459"/>
                      <a:pt x="125" y="459"/>
                    </a:cubicBezTo>
                    <a:cubicBezTo>
                      <a:pt x="125" y="459"/>
                      <a:pt x="105" y="463"/>
                      <a:pt x="81" y="466"/>
                    </a:cubicBezTo>
                    <a:cubicBezTo>
                      <a:pt x="45" y="471"/>
                      <a:pt x="0" y="475"/>
                      <a:pt x="3" y="465"/>
                    </a:cubicBezTo>
                    <a:cubicBezTo>
                      <a:pt x="4" y="462"/>
                      <a:pt x="5" y="460"/>
                      <a:pt x="7" y="458"/>
                    </a:cubicBezTo>
                    <a:cubicBezTo>
                      <a:pt x="22" y="429"/>
                      <a:pt x="78" y="345"/>
                      <a:pt x="67" y="314"/>
                    </a:cubicBezTo>
                    <a:cubicBezTo>
                      <a:pt x="62" y="299"/>
                      <a:pt x="64" y="265"/>
                      <a:pt x="67" y="232"/>
                    </a:cubicBezTo>
                    <a:cubicBezTo>
                      <a:pt x="72" y="179"/>
                      <a:pt x="90" y="127"/>
                      <a:pt x="119" y="81"/>
                    </a:cubicBezTo>
                    <a:cubicBezTo>
                      <a:pt x="201" y="0"/>
                      <a:pt x="201" y="0"/>
                      <a:pt x="201" y="0"/>
                    </a:cubicBezTo>
                    <a:cubicBezTo>
                      <a:pt x="201" y="0"/>
                      <a:pt x="317" y="23"/>
                      <a:pt x="323" y="134"/>
                    </a:cubicBezTo>
                    <a:cubicBezTo>
                      <a:pt x="326" y="203"/>
                      <a:pt x="316" y="272"/>
                      <a:pt x="294" y="337"/>
                    </a:cubicBezTo>
                  </a:path>
                </a:pathLst>
              </a:custGeom>
              <a:solidFill>
                <a:srgbClr val="CBCDD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8" name="isḻîḓe">
                <a:extLst>
                  <a:ext uri="{FF2B5EF4-FFF2-40B4-BE49-F238E27FC236}">
                    <a16:creationId xmlns:a16="http://schemas.microsoft.com/office/drawing/2014/main" id="{8BFFBC67-EB7D-4F84-9A14-60FDFD3856B7}"/>
                  </a:ext>
                </a:extLst>
              </p:cNvPr>
              <p:cNvSpPr/>
              <p:nvPr/>
            </p:nvSpPr>
            <p:spPr bwMode="auto">
              <a:xfrm>
                <a:off x="5910263" y="2208213"/>
                <a:ext cx="223838" cy="152400"/>
              </a:xfrm>
              <a:custGeom>
                <a:avLst/>
                <a:gdLst>
                  <a:gd name="T0" fmla="*/ 173 w 173"/>
                  <a:gd name="T1" fmla="*/ 82 h 118"/>
                  <a:gd name="T2" fmla="*/ 173 w 173"/>
                  <a:gd name="T3" fmla="*/ 82 h 118"/>
                  <a:gd name="T4" fmla="*/ 170 w 173"/>
                  <a:gd name="T5" fmla="*/ 105 h 118"/>
                  <a:gd name="T6" fmla="*/ 170 w 173"/>
                  <a:gd name="T7" fmla="*/ 105 h 118"/>
                  <a:gd name="T8" fmla="*/ 173 w 173"/>
                  <a:gd name="T9" fmla="*/ 82 h 118"/>
                  <a:gd name="T10" fmla="*/ 92 w 173"/>
                  <a:gd name="T11" fmla="*/ 0 h 118"/>
                  <a:gd name="T12" fmla="*/ 50 w 173"/>
                  <a:gd name="T13" fmla="*/ 12 h 118"/>
                  <a:gd name="T14" fmla="*/ 19 w 173"/>
                  <a:gd name="T15" fmla="*/ 118 h 118"/>
                  <a:gd name="T16" fmla="*/ 11 w 173"/>
                  <a:gd name="T17" fmla="*/ 82 h 118"/>
                  <a:gd name="T18" fmla="*/ 92 w 173"/>
                  <a:gd name="T19" fmla="*/ 0 h 118"/>
                  <a:gd name="T20" fmla="*/ 92 w 173"/>
                  <a:gd name="T21" fmla="*/ 0 h 118"/>
                  <a:gd name="T22" fmla="*/ 99 w 173"/>
                  <a:gd name="T23" fmla="*/ 0 h 118"/>
                  <a:gd name="T24" fmla="*/ 92 w 173"/>
                  <a:gd name="T2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118">
                    <a:moveTo>
                      <a:pt x="173" y="82"/>
                    </a:moveTo>
                    <a:cubicBezTo>
                      <a:pt x="173" y="82"/>
                      <a:pt x="173" y="82"/>
                      <a:pt x="173" y="82"/>
                    </a:cubicBezTo>
                    <a:cubicBezTo>
                      <a:pt x="173" y="90"/>
                      <a:pt x="172" y="97"/>
                      <a:pt x="170" y="105"/>
                    </a:cubicBezTo>
                    <a:cubicBezTo>
                      <a:pt x="170" y="105"/>
                      <a:pt x="170" y="105"/>
                      <a:pt x="170" y="105"/>
                    </a:cubicBezTo>
                    <a:cubicBezTo>
                      <a:pt x="172" y="97"/>
                      <a:pt x="173" y="89"/>
                      <a:pt x="173" y="82"/>
                    </a:cubicBezTo>
                    <a:moveTo>
                      <a:pt x="92" y="0"/>
                    </a:moveTo>
                    <a:cubicBezTo>
                      <a:pt x="77" y="0"/>
                      <a:pt x="63" y="4"/>
                      <a:pt x="50" y="12"/>
                    </a:cubicBezTo>
                    <a:cubicBezTo>
                      <a:pt x="13" y="34"/>
                      <a:pt x="0" y="80"/>
                      <a:pt x="19" y="118"/>
                    </a:cubicBezTo>
                    <a:cubicBezTo>
                      <a:pt x="14" y="107"/>
                      <a:pt x="11" y="95"/>
                      <a:pt x="11" y="82"/>
                    </a:cubicBezTo>
                    <a:cubicBezTo>
                      <a:pt x="11" y="37"/>
                      <a:pt x="47" y="0"/>
                      <a:pt x="92" y="0"/>
                    </a:cubicBezTo>
                    <a:cubicBezTo>
                      <a:pt x="92" y="0"/>
                      <a:pt x="92" y="0"/>
                      <a:pt x="92" y="0"/>
                    </a:cubicBezTo>
                    <a:cubicBezTo>
                      <a:pt x="95" y="0"/>
                      <a:pt x="97" y="0"/>
                      <a:pt x="99" y="0"/>
                    </a:cubicBezTo>
                    <a:cubicBezTo>
                      <a:pt x="96" y="0"/>
                      <a:pt x="94" y="0"/>
                      <a:pt x="92" y="0"/>
                    </a:cubicBezTo>
                  </a:path>
                </a:pathLst>
              </a:custGeom>
              <a:solidFill>
                <a:srgbClr val="00877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9" name="îṩḻïḓé">
                <a:extLst>
                  <a:ext uri="{FF2B5EF4-FFF2-40B4-BE49-F238E27FC236}">
                    <a16:creationId xmlns:a16="http://schemas.microsoft.com/office/drawing/2014/main" id="{C4250FE1-F454-4F24-8C9D-A1836A3B18B9}"/>
                  </a:ext>
                </a:extLst>
              </p:cNvPr>
              <p:cNvSpPr/>
              <p:nvPr/>
            </p:nvSpPr>
            <p:spPr bwMode="auto">
              <a:xfrm>
                <a:off x="6127751" y="2344738"/>
                <a:ext cx="3175" cy="6350"/>
              </a:xfrm>
              <a:custGeom>
                <a:avLst/>
                <a:gdLst>
                  <a:gd name="T0" fmla="*/ 0 w 2"/>
                  <a:gd name="T1" fmla="*/ 5 h 5"/>
                  <a:gd name="T2" fmla="*/ 0 w 2"/>
                  <a:gd name="T3" fmla="*/ 5 h 5"/>
                  <a:gd name="T4" fmla="*/ 0 w 2"/>
                  <a:gd name="T5" fmla="*/ 5 h 5"/>
                  <a:gd name="T6" fmla="*/ 2 w 2"/>
                  <a:gd name="T7" fmla="*/ 0 h 5"/>
                  <a:gd name="T8" fmla="*/ 0 w 2"/>
                  <a:gd name="T9" fmla="*/ 5 h 5"/>
                  <a:gd name="T10" fmla="*/ 2 w 2"/>
                  <a:gd name="T11" fmla="*/ 0 h 5"/>
                  <a:gd name="T12" fmla="*/ 2 w 2"/>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2" h="5">
                    <a:moveTo>
                      <a:pt x="0" y="5"/>
                    </a:moveTo>
                    <a:cubicBezTo>
                      <a:pt x="0" y="5"/>
                      <a:pt x="0" y="5"/>
                      <a:pt x="0" y="5"/>
                    </a:cubicBezTo>
                    <a:cubicBezTo>
                      <a:pt x="0" y="5"/>
                      <a:pt x="0" y="5"/>
                      <a:pt x="0" y="5"/>
                    </a:cubicBezTo>
                    <a:moveTo>
                      <a:pt x="2" y="0"/>
                    </a:moveTo>
                    <a:cubicBezTo>
                      <a:pt x="1" y="1"/>
                      <a:pt x="1" y="3"/>
                      <a:pt x="0" y="5"/>
                    </a:cubicBezTo>
                    <a:cubicBezTo>
                      <a:pt x="1" y="3"/>
                      <a:pt x="1" y="1"/>
                      <a:pt x="2" y="0"/>
                    </a:cubicBezTo>
                    <a:cubicBezTo>
                      <a:pt x="2" y="0"/>
                      <a:pt x="2" y="0"/>
                      <a:pt x="2" y="0"/>
                    </a:cubicBezTo>
                  </a:path>
                </a:pathLst>
              </a:custGeom>
              <a:solidFill>
                <a:srgbClr val="E5A6A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0" name="íṥlíḑê">
                <a:extLst>
                  <a:ext uri="{FF2B5EF4-FFF2-40B4-BE49-F238E27FC236}">
                    <a16:creationId xmlns:a16="http://schemas.microsoft.com/office/drawing/2014/main" id="{B0263578-A291-46CF-82D6-57A051A1B003}"/>
                  </a:ext>
                </a:extLst>
              </p:cNvPr>
              <p:cNvSpPr/>
              <p:nvPr/>
            </p:nvSpPr>
            <p:spPr bwMode="auto">
              <a:xfrm>
                <a:off x="5924551" y="2208213"/>
                <a:ext cx="209550" cy="158750"/>
              </a:xfrm>
              <a:custGeom>
                <a:avLst/>
                <a:gdLst>
                  <a:gd name="T0" fmla="*/ 81 w 162"/>
                  <a:gd name="T1" fmla="*/ 0 h 123"/>
                  <a:gd name="T2" fmla="*/ 81 w 162"/>
                  <a:gd name="T3" fmla="*/ 0 h 123"/>
                  <a:gd name="T4" fmla="*/ 0 w 162"/>
                  <a:gd name="T5" fmla="*/ 82 h 123"/>
                  <a:gd name="T6" fmla="*/ 8 w 162"/>
                  <a:gd name="T7" fmla="*/ 118 h 123"/>
                  <a:gd name="T8" fmla="*/ 11 w 162"/>
                  <a:gd name="T9" fmla="*/ 123 h 123"/>
                  <a:gd name="T10" fmla="*/ 31 w 162"/>
                  <a:gd name="T11" fmla="*/ 97 h 123"/>
                  <a:gd name="T12" fmla="*/ 39 w 162"/>
                  <a:gd name="T13" fmla="*/ 89 h 123"/>
                  <a:gd name="T14" fmla="*/ 45 w 162"/>
                  <a:gd name="T15" fmla="*/ 87 h 123"/>
                  <a:gd name="T16" fmla="*/ 65 w 162"/>
                  <a:gd name="T17" fmla="*/ 96 h 123"/>
                  <a:gd name="T18" fmla="*/ 83 w 162"/>
                  <a:gd name="T19" fmla="*/ 102 h 123"/>
                  <a:gd name="T20" fmla="*/ 91 w 162"/>
                  <a:gd name="T21" fmla="*/ 99 h 123"/>
                  <a:gd name="T22" fmla="*/ 96 w 162"/>
                  <a:gd name="T23" fmla="*/ 83 h 123"/>
                  <a:gd name="T24" fmla="*/ 96 w 162"/>
                  <a:gd name="T25" fmla="*/ 67 h 123"/>
                  <a:gd name="T26" fmla="*/ 106 w 162"/>
                  <a:gd name="T27" fmla="*/ 58 h 123"/>
                  <a:gd name="T28" fmla="*/ 108 w 162"/>
                  <a:gd name="T29" fmla="*/ 58 h 123"/>
                  <a:gd name="T30" fmla="*/ 115 w 162"/>
                  <a:gd name="T31" fmla="*/ 63 h 123"/>
                  <a:gd name="T32" fmla="*/ 138 w 162"/>
                  <a:gd name="T33" fmla="*/ 94 h 123"/>
                  <a:gd name="T34" fmla="*/ 155 w 162"/>
                  <a:gd name="T35" fmla="*/ 114 h 123"/>
                  <a:gd name="T36" fmla="*/ 157 w 162"/>
                  <a:gd name="T37" fmla="*/ 110 h 123"/>
                  <a:gd name="T38" fmla="*/ 157 w 162"/>
                  <a:gd name="T39" fmla="*/ 110 h 123"/>
                  <a:gd name="T40" fmla="*/ 157 w 162"/>
                  <a:gd name="T41" fmla="*/ 110 h 123"/>
                  <a:gd name="T42" fmla="*/ 159 w 162"/>
                  <a:gd name="T43" fmla="*/ 105 h 123"/>
                  <a:gd name="T44" fmla="*/ 162 w 162"/>
                  <a:gd name="T45" fmla="*/ 82 h 123"/>
                  <a:gd name="T46" fmla="*/ 162 w 162"/>
                  <a:gd name="T47" fmla="*/ 82 h 123"/>
                  <a:gd name="T48" fmla="*/ 162 w 162"/>
                  <a:gd name="T49" fmla="*/ 82 h 123"/>
                  <a:gd name="T50" fmla="*/ 150 w 162"/>
                  <a:gd name="T51" fmla="*/ 40 h 123"/>
                  <a:gd name="T52" fmla="*/ 88 w 162"/>
                  <a:gd name="T53" fmla="*/ 0 h 123"/>
                  <a:gd name="T54" fmla="*/ 81 w 162"/>
                  <a:gd name="T55"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2" h="123">
                    <a:moveTo>
                      <a:pt x="81" y="0"/>
                    </a:moveTo>
                    <a:cubicBezTo>
                      <a:pt x="81" y="0"/>
                      <a:pt x="81" y="0"/>
                      <a:pt x="81" y="0"/>
                    </a:cubicBezTo>
                    <a:cubicBezTo>
                      <a:pt x="36" y="0"/>
                      <a:pt x="0" y="37"/>
                      <a:pt x="0" y="82"/>
                    </a:cubicBezTo>
                    <a:cubicBezTo>
                      <a:pt x="0" y="95"/>
                      <a:pt x="3" y="107"/>
                      <a:pt x="8" y="118"/>
                    </a:cubicBezTo>
                    <a:cubicBezTo>
                      <a:pt x="9" y="120"/>
                      <a:pt x="10" y="122"/>
                      <a:pt x="11" y="123"/>
                    </a:cubicBezTo>
                    <a:cubicBezTo>
                      <a:pt x="19" y="115"/>
                      <a:pt x="25" y="106"/>
                      <a:pt x="31" y="97"/>
                    </a:cubicBezTo>
                    <a:cubicBezTo>
                      <a:pt x="33" y="93"/>
                      <a:pt x="36" y="91"/>
                      <a:pt x="39" y="89"/>
                    </a:cubicBezTo>
                    <a:cubicBezTo>
                      <a:pt x="41" y="88"/>
                      <a:pt x="43" y="87"/>
                      <a:pt x="45" y="87"/>
                    </a:cubicBezTo>
                    <a:cubicBezTo>
                      <a:pt x="52" y="87"/>
                      <a:pt x="59" y="92"/>
                      <a:pt x="65" y="96"/>
                    </a:cubicBezTo>
                    <a:cubicBezTo>
                      <a:pt x="70" y="99"/>
                      <a:pt x="77" y="102"/>
                      <a:pt x="83" y="102"/>
                    </a:cubicBezTo>
                    <a:cubicBezTo>
                      <a:pt x="86" y="102"/>
                      <a:pt x="89" y="101"/>
                      <a:pt x="91" y="99"/>
                    </a:cubicBezTo>
                    <a:cubicBezTo>
                      <a:pt x="95" y="95"/>
                      <a:pt x="96" y="89"/>
                      <a:pt x="96" y="83"/>
                    </a:cubicBezTo>
                    <a:cubicBezTo>
                      <a:pt x="95" y="78"/>
                      <a:pt x="95" y="72"/>
                      <a:pt x="96" y="67"/>
                    </a:cubicBezTo>
                    <a:cubicBezTo>
                      <a:pt x="97" y="62"/>
                      <a:pt x="101" y="58"/>
                      <a:pt x="106" y="58"/>
                    </a:cubicBezTo>
                    <a:cubicBezTo>
                      <a:pt x="106" y="58"/>
                      <a:pt x="107" y="58"/>
                      <a:pt x="108" y="58"/>
                    </a:cubicBezTo>
                    <a:cubicBezTo>
                      <a:pt x="111" y="59"/>
                      <a:pt x="113" y="61"/>
                      <a:pt x="115" y="63"/>
                    </a:cubicBezTo>
                    <a:cubicBezTo>
                      <a:pt x="123" y="73"/>
                      <a:pt x="131" y="83"/>
                      <a:pt x="138" y="94"/>
                    </a:cubicBezTo>
                    <a:cubicBezTo>
                      <a:pt x="142" y="102"/>
                      <a:pt x="148" y="109"/>
                      <a:pt x="155" y="114"/>
                    </a:cubicBezTo>
                    <a:cubicBezTo>
                      <a:pt x="156" y="113"/>
                      <a:pt x="156" y="111"/>
                      <a:pt x="157" y="110"/>
                    </a:cubicBezTo>
                    <a:cubicBezTo>
                      <a:pt x="157" y="110"/>
                      <a:pt x="157" y="110"/>
                      <a:pt x="157" y="110"/>
                    </a:cubicBezTo>
                    <a:cubicBezTo>
                      <a:pt x="157" y="110"/>
                      <a:pt x="157" y="110"/>
                      <a:pt x="157" y="110"/>
                    </a:cubicBezTo>
                    <a:cubicBezTo>
                      <a:pt x="158" y="108"/>
                      <a:pt x="158" y="106"/>
                      <a:pt x="159" y="105"/>
                    </a:cubicBezTo>
                    <a:cubicBezTo>
                      <a:pt x="161" y="97"/>
                      <a:pt x="162" y="90"/>
                      <a:pt x="162" y="82"/>
                    </a:cubicBezTo>
                    <a:cubicBezTo>
                      <a:pt x="162" y="82"/>
                      <a:pt x="162" y="82"/>
                      <a:pt x="162" y="82"/>
                    </a:cubicBezTo>
                    <a:cubicBezTo>
                      <a:pt x="162" y="82"/>
                      <a:pt x="162" y="82"/>
                      <a:pt x="162" y="82"/>
                    </a:cubicBezTo>
                    <a:cubicBezTo>
                      <a:pt x="162" y="67"/>
                      <a:pt x="158" y="52"/>
                      <a:pt x="150" y="40"/>
                    </a:cubicBezTo>
                    <a:cubicBezTo>
                      <a:pt x="137" y="16"/>
                      <a:pt x="113" y="3"/>
                      <a:pt x="88" y="0"/>
                    </a:cubicBezTo>
                    <a:cubicBezTo>
                      <a:pt x="86" y="0"/>
                      <a:pt x="84" y="0"/>
                      <a:pt x="81" y="0"/>
                    </a:cubicBezTo>
                  </a:path>
                </a:pathLst>
              </a:custGeom>
              <a:solidFill>
                <a:srgbClr val="E5A6A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1" name="ïṩḷïḑê">
                <a:extLst>
                  <a:ext uri="{FF2B5EF4-FFF2-40B4-BE49-F238E27FC236}">
                    <a16:creationId xmlns:a16="http://schemas.microsoft.com/office/drawing/2014/main" id="{D535523F-CB52-4B21-9461-A2F0ACB88923}"/>
                  </a:ext>
                </a:extLst>
              </p:cNvPr>
              <p:cNvSpPr/>
              <p:nvPr/>
            </p:nvSpPr>
            <p:spPr bwMode="auto">
              <a:xfrm>
                <a:off x="5838826" y="2143126"/>
                <a:ext cx="333375" cy="238125"/>
              </a:xfrm>
              <a:custGeom>
                <a:avLst/>
                <a:gdLst>
                  <a:gd name="T0" fmla="*/ 256 w 257"/>
                  <a:gd name="T1" fmla="*/ 82 h 183"/>
                  <a:gd name="T2" fmla="*/ 255 w 257"/>
                  <a:gd name="T3" fmla="*/ 60 h 183"/>
                  <a:gd name="T4" fmla="*/ 247 w 257"/>
                  <a:gd name="T5" fmla="*/ 43 h 183"/>
                  <a:gd name="T6" fmla="*/ 171 w 257"/>
                  <a:gd name="T7" fmla="*/ 3 h 183"/>
                  <a:gd name="T8" fmla="*/ 142 w 257"/>
                  <a:gd name="T9" fmla="*/ 4 h 183"/>
                  <a:gd name="T10" fmla="*/ 89 w 257"/>
                  <a:gd name="T11" fmla="*/ 2 h 183"/>
                  <a:gd name="T12" fmla="*/ 45 w 257"/>
                  <a:gd name="T13" fmla="*/ 27 h 183"/>
                  <a:gd name="T14" fmla="*/ 34 w 257"/>
                  <a:gd name="T15" fmla="*/ 58 h 183"/>
                  <a:gd name="T16" fmla="*/ 7 w 257"/>
                  <a:gd name="T17" fmla="*/ 85 h 183"/>
                  <a:gd name="T18" fmla="*/ 0 w 257"/>
                  <a:gd name="T19" fmla="*/ 105 h 183"/>
                  <a:gd name="T20" fmla="*/ 2 w 257"/>
                  <a:gd name="T21" fmla="*/ 111 h 183"/>
                  <a:gd name="T22" fmla="*/ 8 w 257"/>
                  <a:gd name="T23" fmla="*/ 118 h 183"/>
                  <a:gd name="T24" fmla="*/ 13 w 257"/>
                  <a:gd name="T25" fmla="*/ 149 h 183"/>
                  <a:gd name="T26" fmla="*/ 38 w 257"/>
                  <a:gd name="T27" fmla="*/ 173 h 183"/>
                  <a:gd name="T28" fmla="*/ 40 w 257"/>
                  <a:gd name="T29" fmla="*/ 179 h 183"/>
                  <a:gd name="T30" fmla="*/ 44 w 257"/>
                  <a:gd name="T31" fmla="*/ 181 h 183"/>
                  <a:gd name="T32" fmla="*/ 76 w 257"/>
                  <a:gd name="T33" fmla="*/ 169 h 183"/>
                  <a:gd name="T34" fmla="*/ 98 w 257"/>
                  <a:gd name="T35" fmla="*/ 141 h 183"/>
                  <a:gd name="T36" fmla="*/ 105 w 257"/>
                  <a:gd name="T37" fmla="*/ 133 h 183"/>
                  <a:gd name="T38" fmla="*/ 131 w 257"/>
                  <a:gd name="T39" fmla="*/ 140 h 183"/>
                  <a:gd name="T40" fmla="*/ 157 w 257"/>
                  <a:gd name="T41" fmla="*/ 143 h 183"/>
                  <a:gd name="T42" fmla="*/ 162 w 257"/>
                  <a:gd name="T43" fmla="*/ 127 h 183"/>
                  <a:gd name="T44" fmla="*/ 162 w 257"/>
                  <a:gd name="T45" fmla="*/ 111 h 183"/>
                  <a:gd name="T46" fmla="*/ 174 w 257"/>
                  <a:gd name="T47" fmla="*/ 102 h 183"/>
                  <a:gd name="T48" fmla="*/ 181 w 257"/>
                  <a:gd name="T49" fmla="*/ 108 h 183"/>
                  <a:gd name="T50" fmla="*/ 204 w 257"/>
                  <a:gd name="T51" fmla="*/ 138 h 183"/>
                  <a:gd name="T52" fmla="*/ 245 w 257"/>
                  <a:gd name="T53" fmla="*/ 155 h 183"/>
                  <a:gd name="T54" fmla="*/ 256 w 257"/>
                  <a:gd name="T55" fmla="*/ 8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7" h="183">
                    <a:moveTo>
                      <a:pt x="256" y="82"/>
                    </a:moveTo>
                    <a:cubicBezTo>
                      <a:pt x="257" y="75"/>
                      <a:pt x="257" y="67"/>
                      <a:pt x="255" y="60"/>
                    </a:cubicBezTo>
                    <a:cubicBezTo>
                      <a:pt x="254" y="54"/>
                      <a:pt x="251" y="48"/>
                      <a:pt x="247" y="43"/>
                    </a:cubicBezTo>
                    <a:cubicBezTo>
                      <a:pt x="229" y="19"/>
                      <a:pt x="201" y="4"/>
                      <a:pt x="171" y="3"/>
                    </a:cubicBezTo>
                    <a:cubicBezTo>
                      <a:pt x="161" y="3"/>
                      <a:pt x="151" y="4"/>
                      <a:pt x="142" y="4"/>
                    </a:cubicBezTo>
                    <a:cubicBezTo>
                      <a:pt x="124" y="4"/>
                      <a:pt x="106" y="0"/>
                      <a:pt x="89" y="2"/>
                    </a:cubicBezTo>
                    <a:cubicBezTo>
                      <a:pt x="71" y="3"/>
                      <a:pt x="52" y="11"/>
                      <a:pt x="45" y="27"/>
                    </a:cubicBezTo>
                    <a:cubicBezTo>
                      <a:pt x="40" y="37"/>
                      <a:pt x="40" y="49"/>
                      <a:pt x="34" y="58"/>
                    </a:cubicBezTo>
                    <a:cubicBezTo>
                      <a:pt x="27" y="69"/>
                      <a:pt x="14" y="75"/>
                      <a:pt x="7" y="85"/>
                    </a:cubicBezTo>
                    <a:cubicBezTo>
                      <a:pt x="3" y="91"/>
                      <a:pt x="0" y="98"/>
                      <a:pt x="0" y="105"/>
                    </a:cubicBezTo>
                    <a:cubicBezTo>
                      <a:pt x="0" y="107"/>
                      <a:pt x="1" y="109"/>
                      <a:pt x="2" y="111"/>
                    </a:cubicBezTo>
                    <a:cubicBezTo>
                      <a:pt x="4" y="114"/>
                      <a:pt x="6" y="116"/>
                      <a:pt x="8" y="118"/>
                    </a:cubicBezTo>
                    <a:cubicBezTo>
                      <a:pt x="17" y="126"/>
                      <a:pt x="19" y="139"/>
                      <a:pt x="13" y="149"/>
                    </a:cubicBezTo>
                    <a:cubicBezTo>
                      <a:pt x="26" y="152"/>
                      <a:pt x="35" y="161"/>
                      <a:pt x="38" y="173"/>
                    </a:cubicBezTo>
                    <a:cubicBezTo>
                      <a:pt x="38" y="175"/>
                      <a:pt x="39" y="177"/>
                      <a:pt x="40" y="179"/>
                    </a:cubicBezTo>
                    <a:cubicBezTo>
                      <a:pt x="41" y="180"/>
                      <a:pt x="42" y="180"/>
                      <a:pt x="44" y="181"/>
                    </a:cubicBezTo>
                    <a:cubicBezTo>
                      <a:pt x="56" y="183"/>
                      <a:pt x="67" y="177"/>
                      <a:pt x="76" y="169"/>
                    </a:cubicBezTo>
                    <a:cubicBezTo>
                      <a:pt x="84" y="161"/>
                      <a:pt x="91" y="150"/>
                      <a:pt x="98" y="141"/>
                    </a:cubicBezTo>
                    <a:cubicBezTo>
                      <a:pt x="99" y="138"/>
                      <a:pt x="102" y="135"/>
                      <a:pt x="105" y="133"/>
                    </a:cubicBezTo>
                    <a:cubicBezTo>
                      <a:pt x="114" y="129"/>
                      <a:pt x="123" y="135"/>
                      <a:pt x="131" y="140"/>
                    </a:cubicBezTo>
                    <a:cubicBezTo>
                      <a:pt x="139" y="145"/>
                      <a:pt x="150" y="150"/>
                      <a:pt x="157" y="143"/>
                    </a:cubicBezTo>
                    <a:cubicBezTo>
                      <a:pt x="161" y="139"/>
                      <a:pt x="163" y="133"/>
                      <a:pt x="162" y="127"/>
                    </a:cubicBezTo>
                    <a:cubicBezTo>
                      <a:pt x="161" y="122"/>
                      <a:pt x="161" y="116"/>
                      <a:pt x="162" y="111"/>
                    </a:cubicBezTo>
                    <a:cubicBezTo>
                      <a:pt x="163" y="105"/>
                      <a:pt x="169" y="100"/>
                      <a:pt x="174" y="102"/>
                    </a:cubicBezTo>
                    <a:cubicBezTo>
                      <a:pt x="177" y="103"/>
                      <a:pt x="179" y="105"/>
                      <a:pt x="181" y="108"/>
                    </a:cubicBezTo>
                    <a:cubicBezTo>
                      <a:pt x="189" y="117"/>
                      <a:pt x="197" y="128"/>
                      <a:pt x="204" y="138"/>
                    </a:cubicBezTo>
                    <a:cubicBezTo>
                      <a:pt x="211" y="150"/>
                      <a:pt x="234" y="178"/>
                      <a:pt x="245" y="155"/>
                    </a:cubicBezTo>
                    <a:cubicBezTo>
                      <a:pt x="255" y="134"/>
                      <a:pt x="255" y="105"/>
                      <a:pt x="256" y="82"/>
                    </a:cubicBezTo>
                    <a:close/>
                  </a:path>
                </a:pathLst>
              </a:custGeom>
              <a:solidFill>
                <a:srgbClr val="B96B6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2" name="îś1ïḓê">
                <a:extLst>
                  <a:ext uri="{FF2B5EF4-FFF2-40B4-BE49-F238E27FC236}">
                    <a16:creationId xmlns:a16="http://schemas.microsoft.com/office/drawing/2014/main" id="{04AB6FC1-3517-4485-BD0A-5D1329F7CCEE}"/>
                  </a:ext>
                </a:extLst>
              </p:cNvPr>
              <p:cNvSpPr/>
              <p:nvPr/>
            </p:nvSpPr>
            <p:spPr bwMode="auto">
              <a:xfrm>
                <a:off x="6013451" y="2765426"/>
                <a:ext cx="3175" cy="0"/>
              </a:xfrm>
              <a:custGeom>
                <a:avLst/>
                <a:gdLst>
                  <a:gd name="T0" fmla="*/ 2 w 2"/>
                  <a:gd name="T1" fmla="*/ 0 w 2"/>
                  <a:gd name="T2" fmla="*/ 2 w 2"/>
                  <a:gd name="T3" fmla="*/ 2 w 2"/>
                </a:gdLst>
                <a:ahLst/>
                <a:cxnLst>
                  <a:cxn ang="0">
                    <a:pos x="T0" y="0"/>
                  </a:cxn>
                  <a:cxn ang="0">
                    <a:pos x="T1" y="0"/>
                  </a:cxn>
                  <a:cxn ang="0">
                    <a:pos x="T2" y="0"/>
                  </a:cxn>
                  <a:cxn ang="0">
                    <a:pos x="T3" y="0"/>
                  </a:cxn>
                </a:cxnLst>
                <a:rect l="0" t="0" r="r" b="b"/>
                <a:pathLst>
                  <a:path w="2">
                    <a:moveTo>
                      <a:pt x="2" y="0"/>
                    </a:moveTo>
                    <a:cubicBezTo>
                      <a:pt x="1" y="0"/>
                      <a:pt x="0" y="0"/>
                      <a:pt x="0" y="0"/>
                    </a:cubicBezTo>
                    <a:cubicBezTo>
                      <a:pt x="2" y="0"/>
                      <a:pt x="2" y="0"/>
                      <a:pt x="2" y="0"/>
                    </a:cubicBezTo>
                    <a:cubicBezTo>
                      <a:pt x="2" y="0"/>
                      <a:pt x="2" y="0"/>
                      <a:pt x="2" y="0"/>
                    </a:cubicBezTo>
                  </a:path>
                </a:pathLst>
              </a:custGeom>
              <a:solidFill>
                <a:srgbClr val="C38E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3" name="ïşḷíḑe">
                <a:extLst>
                  <a:ext uri="{FF2B5EF4-FFF2-40B4-BE49-F238E27FC236}">
                    <a16:creationId xmlns:a16="http://schemas.microsoft.com/office/drawing/2014/main" id="{274456F0-3D84-4339-9118-CF4193019979}"/>
                  </a:ext>
                </a:extLst>
              </p:cNvPr>
              <p:cNvSpPr/>
              <p:nvPr/>
            </p:nvSpPr>
            <p:spPr bwMode="auto">
              <a:xfrm>
                <a:off x="6016626" y="2763838"/>
                <a:ext cx="292100" cy="33338"/>
              </a:xfrm>
              <a:custGeom>
                <a:avLst/>
                <a:gdLst>
                  <a:gd name="T0" fmla="*/ 171 w 225"/>
                  <a:gd name="T1" fmla="*/ 19 h 25"/>
                  <a:gd name="T2" fmla="*/ 168 w 225"/>
                  <a:gd name="T3" fmla="*/ 25 h 25"/>
                  <a:gd name="T4" fmla="*/ 190 w 225"/>
                  <a:gd name="T5" fmla="*/ 25 h 25"/>
                  <a:gd name="T6" fmla="*/ 225 w 225"/>
                  <a:gd name="T7" fmla="*/ 24 h 25"/>
                  <a:gd name="T8" fmla="*/ 171 w 225"/>
                  <a:gd name="T9" fmla="*/ 19 h 25"/>
                  <a:gd name="T10" fmla="*/ 30 w 225"/>
                  <a:gd name="T11" fmla="*/ 0 h 25"/>
                  <a:gd name="T12" fmla="*/ 0 w 225"/>
                  <a:gd name="T13" fmla="*/ 1 h 25"/>
                  <a:gd name="T14" fmla="*/ 0 w 225"/>
                  <a:gd name="T15" fmla="*/ 1 h 25"/>
                  <a:gd name="T16" fmla="*/ 64 w 225"/>
                  <a:gd name="T17" fmla="*/ 8 h 25"/>
                  <a:gd name="T18" fmla="*/ 69 w 225"/>
                  <a:gd name="T19" fmla="*/ 2 h 25"/>
                  <a:gd name="T20" fmla="*/ 30 w 225"/>
                  <a:gd name="T2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 h="25">
                    <a:moveTo>
                      <a:pt x="171" y="19"/>
                    </a:moveTo>
                    <a:cubicBezTo>
                      <a:pt x="170" y="21"/>
                      <a:pt x="169" y="23"/>
                      <a:pt x="168" y="25"/>
                    </a:cubicBezTo>
                    <a:cubicBezTo>
                      <a:pt x="176" y="25"/>
                      <a:pt x="184" y="25"/>
                      <a:pt x="190" y="25"/>
                    </a:cubicBezTo>
                    <a:cubicBezTo>
                      <a:pt x="210" y="25"/>
                      <a:pt x="225" y="24"/>
                      <a:pt x="225" y="24"/>
                    </a:cubicBezTo>
                    <a:cubicBezTo>
                      <a:pt x="171" y="19"/>
                      <a:pt x="171" y="19"/>
                      <a:pt x="171" y="19"/>
                    </a:cubicBezTo>
                    <a:moveTo>
                      <a:pt x="30" y="0"/>
                    </a:moveTo>
                    <a:cubicBezTo>
                      <a:pt x="16" y="0"/>
                      <a:pt x="5" y="0"/>
                      <a:pt x="0" y="1"/>
                    </a:cubicBezTo>
                    <a:cubicBezTo>
                      <a:pt x="0" y="1"/>
                      <a:pt x="0" y="1"/>
                      <a:pt x="0" y="1"/>
                    </a:cubicBezTo>
                    <a:cubicBezTo>
                      <a:pt x="64" y="8"/>
                      <a:pt x="64" y="8"/>
                      <a:pt x="64" y="8"/>
                    </a:cubicBezTo>
                    <a:cubicBezTo>
                      <a:pt x="65" y="5"/>
                      <a:pt x="67" y="3"/>
                      <a:pt x="69" y="2"/>
                    </a:cubicBezTo>
                    <a:cubicBezTo>
                      <a:pt x="56" y="0"/>
                      <a:pt x="42" y="0"/>
                      <a:pt x="30" y="0"/>
                    </a:cubicBezTo>
                  </a:path>
                </a:pathLst>
              </a:custGeom>
              <a:solidFill>
                <a:srgbClr val="B6B8C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4" name="îśľîďe">
                <a:extLst>
                  <a:ext uri="{FF2B5EF4-FFF2-40B4-BE49-F238E27FC236}">
                    <a16:creationId xmlns:a16="http://schemas.microsoft.com/office/drawing/2014/main" id="{1AE513E2-5F3E-45D8-946B-835AB1075ED1}"/>
                  </a:ext>
                </a:extLst>
              </p:cNvPr>
              <p:cNvSpPr/>
              <p:nvPr/>
            </p:nvSpPr>
            <p:spPr bwMode="auto">
              <a:xfrm>
                <a:off x="6216651" y="2616201"/>
                <a:ext cx="82550" cy="173038"/>
              </a:xfrm>
              <a:custGeom>
                <a:avLst/>
                <a:gdLst>
                  <a:gd name="T0" fmla="*/ 62 w 63"/>
                  <a:gd name="T1" fmla="*/ 0 h 133"/>
                  <a:gd name="T2" fmla="*/ 61 w 63"/>
                  <a:gd name="T3" fmla="*/ 7 h 133"/>
                  <a:gd name="T4" fmla="*/ 61 w 63"/>
                  <a:gd name="T5" fmla="*/ 7 h 133"/>
                  <a:gd name="T6" fmla="*/ 50 w 63"/>
                  <a:gd name="T7" fmla="*/ 1 h 133"/>
                  <a:gd name="T8" fmla="*/ 26 w 63"/>
                  <a:gd name="T9" fmla="*/ 71 h 133"/>
                  <a:gd name="T10" fmla="*/ 0 w 63"/>
                  <a:gd name="T11" fmla="*/ 131 h 133"/>
                  <a:gd name="T12" fmla="*/ 16 w 63"/>
                  <a:gd name="T13" fmla="*/ 133 h 133"/>
                  <a:gd name="T14" fmla="*/ 38 w 63"/>
                  <a:gd name="T15" fmla="*/ 83 h 133"/>
                  <a:gd name="T16" fmla="*/ 62 w 63"/>
                  <a:gd name="T17"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133">
                    <a:moveTo>
                      <a:pt x="62" y="0"/>
                    </a:moveTo>
                    <a:cubicBezTo>
                      <a:pt x="62" y="5"/>
                      <a:pt x="61" y="7"/>
                      <a:pt x="61" y="7"/>
                    </a:cubicBezTo>
                    <a:cubicBezTo>
                      <a:pt x="61" y="7"/>
                      <a:pt x="61" y="7"/>
                      <a:pt x="61" y="7"/>
                    </a:cubicBezTo>
                    <a:cubicBezTo>
                      <a:pt x="57" y="5"/>
                      <a:pt x="54" y="3"/>
                      <a:pt x="50" y="1"/>
                    </a:cubicBezTo>
                    <a:cubicBezTo>
                      <a:pt x="46" y="35"/>
                      <a:pt x="26" y="71"/>
                      <a:pt x="26" y="71"/>
                    </a:cubicBezTo>
                    <a:cubicBezTo>
                      <a:pt x="26" y="71"/>
                      <a:pt x="8" y="107"/>
                      <a:pt x="0" y="131"/>
                    </a:cubicBezTo>
                    <a:cubicBezTo>
                      <a:pt x="16" y="133"/>
                      <a:pt x="16" y="133"/>
                      <a:pt x="16" y="133"/>
                    </a:cubicBezTo>
                    <a:cubicBezTo>
                      <a:pt x="24" y="110"/>
                      <a:pt x="38" y="83"/>
                      <a:pt x="38" y="83"/>
                    </a:cubicBezTo>
                    <a:cubicBezTo>
                      <a:pt x="38" y="83"/>
                      <a:pt x="63" y="37"/>
                      <a:pt x="62" y="0"/>
                    </a:cubicBezTo>
                  </a:path>
                </a:pathLst>
              </a:custGeom>
              <a:solidFill>
                <a:srgbClr val="C1C3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5" name="ïṡľïḑè">
                <a:extLst>
                  <a:ext uri="{FF2B5EF4-FFF2-40B4-BE49-F238E27FC236}">
                    <a16:creationId xmlns:a16="http://schemas.microsoft.com/office/drawing/2014/main" id="{0C0AA41E-DD39-4E9C-9649-35E1947668EA}"/>
                  </a:ext>
                </a:extLst>
              </p:cNvPr>
              <p:cNvSpPr/>
              <p:nvPr/>
            </p:nvSpPr>
            <p:spPr bwMode="auto">
              <a:xfrm>
                <a:off x="5984876" y="2967038"/>
                <a:ext cx="50800" cy="4763"/>
              </a:xfrm>
              <a:custGeom>
                <a:avLst/>
                <a:gdLst>
                  <a:gd name="T0" fmla="*/ 39 w 39"/>
                  <a:gd name="T1" fmla="*/ 0 h 4"/>
                  <a:gd name="T2" fmla="*/ 0 w 39"/>
                  <a:gd name="T3" fmla="*/ 4 h 4"/>
                  <a:gd name="T4" fmla="*/ 0 w 39"/>
                  <a:gd name="T5" fmla="*/ 4 h 4"/>
                  <a:gd name="T6" fmla="*/ 39 w 39"/>
                  <a:gd name="T7" fmla="*/ 0 h 4"/>
                  <a:gd name="T8" fmla="*/ 39 w 39"/>
                  <a:gd name="T9" fmla="*/ 0 h 4"/>
                </a:gdLst>
                <a:ahLst/>
                <a:cxnLst>
                  <a:cxn ang="0">
                    <a:pos x="T0" y="T1"/>
                  </a:cxn>
                  <a:cxn ang="0">
                    <a:pos x="T2" y="T3"/>
                  </a:cxn>
                  <a:cxn ang="0">
                    <a:pos x="T4" y="T5"/>
                  </a:cxn>
                  <a:cxn ang="0">
                    <a:pos x="T6" y="T7"/>
                  </a:cxn>
                  <a:cxn ang="0">
                    <a:pos x="T8" y="T9"/>
                  </a:cxn>
                </a:cxnLst>
                <a:rect l="0" t="0" r="r" b="b"/>
                <a:pathLst>
                  <a:path w="39" h="4">
                    <a:moveTo>
                      <a:pt x="39" y="0"/>
                    </a:moveTo>
                    <a:cubicBezTo>
                      <a:pt x="27" y="2"/>
                      <a:pt x="13" y="3"/>
                      <a:pt x="0" y="4"/>
                    </a:cubicBezTo>
                    <a:cubicBezTo>
                      <a:pt x="0" y="4"/>
                      <a:pt x="0" y="4"/>
                      <a:pt x="0" y="4"/>
                    </a:cubicBezTo>
                    <a:cubicBezTo>
                      <a:pt x="13" y="3"/>
                      <a:pt x="26" y="2"/>
                      <a:pt x="39" y="0"/>
                    </a:cubicBezTo>
                    <a:cubicBezTo>
                      <a:pt x="39" y="0"/>
                      <a:pt x="39" y="0"/>
                      <a:pt x="39" y="0"/>
                    </a:cubicBezTo>
                  </a:path>
                </a:pathLst>
              </a:custGeom>
              <a:solidFill>
                <a:srgbClr val="4141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6" name="íşľíḍê">
                <a:extLst>
                  <a:ext uri="{FF2B5EF4-FFF2-40B4-BE49-F238E27FC236}">
                    <a16:creationId xmlns:a16="http://schemas.microsoft.com/office/drawing/2014/main" id="{794EF56F-6C30-4A48-9E74-7F7CAC969BB2}"/>
                  </a:ext>
                </a:extLst>
              </p:cNvPr>
              <p:cNvSpPr/>
              <p:nvPr/>
            </p:nvSpPr>
            <p:spPr bwMode="auto">
              <a:xfrm>
                <a:off x="5984876" y="2795588"/>
                <a:ext cx="249238" cy="176213"/>
              </a:xfrm>
              <a:custGeom>
                <a:avLst/>
                <a:gdLst>
                  <a:gd name="T0" fmla="*/ 177 w 192"/>
                  <a:gd name="T1" fmla="*/ 0 h 136"/>
                  <a:gd name="T2" fmla="*/ 176 w 192"/>
                  <a:gd name="T3" fmla="*/ 9 h 136"/>
                  <a:gd name="T4" fmla="*/ 153 w 192"/>
                  <a:gd name="T5" fmla="*/ 49 h 136"/>
                  <a:gd name="T6" fmla="*/ 0 w 192"/>
                  <a:gd name="T7" fmla="*/ 136 h 136"/>
                  <a:gd name="T8" fmla="*/ 39 w 192"/>
                  <a:gd name="T9" fmla="*/ 132 h 136"/>
                  <a:gd name="T10" fmla="*/ 164 w 192"/>
                  <a:gd name="T11" fmla="*/ 61 h 136"/>
                  <a:gd name="T12" fmla="*/ 188 w 192"/>
                  <a:gd name="T13" fmla="*/ 20 h 136"/>
                  <a:gd name="T14" fmla="*/ 192 w 192"/>
                  <a:gd name="T15" fmla="*/ 1 h 136"/>
                  <a:gd name="T16" fmla="*/ 177 w 192"/>
                  <a:gd name="T17"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136">
                    <a:moveTo>
                      <a:pt x="177" y="0"/>
                    </a:moveTo>
                    <a:cubicBezTo>
                      <a:pt x="177" y="3"/>
                      <a:pt x="176" y="6"/>
                      <a:pt x="176" y="9"/>
                    </a:cubicBezTo>
                    <a:cubicBezTo>
                      <a:pt x="176" y="26"/>
                      <a:pt x="153" y="49"/>
                      <a:pt x="153" y="49"/>
                    </a:cubicBezTo>
                    <a:cubicBezTo>
                      <a:pt x="153" y="49"/>
                      <a:pt x="65" y="97"/>
                      <a:pt x="0" y="136"/>
                    </a:cubicBezTo>
                    <a:cubicBezTo>
                      <a:pt x="13" y="135"/>
                      <a:pt x="27" y="134"/>
                      <a:pt x="39" y="132"/>
                    </a:cubicBezTo>
                    <a:cubicBezTo>
                      <a:pt x="99" y="97"/>
                      <a:pt x="164" y="61"/>
                      <a:pt x="164" y="61"/>
                    </a:cubicBezTo>
                    <a:cubicBezTo>
                      <a:pt x="164" y="61"/>
                      <a:pt x="188" y="38"/>
                      <a:pt x="188" y="20"/>
                    </a:cubicBezTo>
                    <a:cubicBezTo>
                      <a:pt x="188" y="16"/>
                      <a:pt x="190" y="9"/>
                      <a:pt x="192" y="1"/>
                    </a:cubicBezTo>
                    <a:cubicBezTo>
                      <a:pt x="187" y="0"/>
                      <a:pt x="182" y="0"/>
                      <a:pt x="177" y="0"/>
                    </a:cubicBezTo>
                  </a:path>
                </a:pathLst>
              </a:custGeom>
              <a:solidFill>
                <a:srgbClr val="C1C3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7" name="iṡļïḓé">
                <a:extLst>
                  <a:ext uri="{FF2B5EF4-FFF2-40B4-BE49-F238E27FC236}">
                    <a16:creationId xmlns:a16="http://schemas.microsoft.com/office/drawing/2014/main" id="{202E2689-485F-4E1A-90E1-825AE63158CC}"/>
                  </a:ext>
                </a:extLst>
              </p:cNvPr>
              <p:cNvSpPr/>
              <p:nvPr/>
            </p:nvSpPr>
            <p:spPr bwMode="auto">
              <a:xfrm>
                <a:off x="6215063" y="2786063"/>
                <a:ext cx="23813" cy="11113"/>
              </a:xfrm>
              <a:custGeom>
                <a:avLst/>
                <a:gdLst>
                  <a:gd name="T0" fmla="*/ 2 w 18"/>
                  <a:gd name="T1" fmla="*/ 0 h 8"/>
                  <a:gd name="T2" fmla="*/ 0 w 18"/>
                  <a:gd name="T3" fmla="*/ 7 h 8"/>
                  <a:gd name="T4" fmla="*/ 15 w 18"/>
                  <a:gd name="T5" fmla="*/ 8 h 8"/>
                  <a:gd name="T6" fmla="*/ 18 w 18"/>
                  <a:gd name="T7" fmla="*/ 2 h 8"/>
                  <a:gd name="T8" fmla="*/ 2 w 18"/>
                  <a:gd name="T9" fmla="*/ 0 h 8"/>
                </a:gdLst>
                <a:ahLst/>
                <a:cxnLst>
                  <a:cxn ang="0">
                    <a:pos x="T0" y="T1"/>
                  </a:cxn>
                  <a:cxn ang="0">
                    <a:pos x="T2" y="T3"/>
                  </a:cxn>
                  <a:cxn ang="0">
                    <a:pos x="T4" y="T5"/>
                  </a:cxn>
                  <a:cxn ang="0">
                    <a:pos x="T6" y="T7"/>
                  </a:cxn>
                  <a:cxn ang="0">
                    <a:pos x="T8" y="T9"/>
                  </a:cxn>
                </a:cxnLst>
                <a:rect l="0" t="0" r="r" b="b"/>
                <a:pathLst>
                  <a:path w="18" h="8">
                    <a:moveTo>
                      <a:pt x="2" y="0"/>
                    </a:moveTo>
                    <a:cubicBezTo>
                      <a:pt x="2" y="2"/>
                      <a:pt x="1" y="5"/>
                      <a:pt x="0" y="7"/>
                    </a:cubicBezTo>
                    <a:cubicBezTo>
                      <a:pt x="5" y="7"/>
                      <a:pt x="10" y="7"/>
                      <a:pt x="15" y="8"/>
                    </a:cubicBezTo>
                    <a:cubicBezTo>
                      <a:pt x="16" y="6"/>
                      <a:pt x="17" y="4"/>
                      <a:pt x="18" y="2"/>
                    </a:cubicBezTo>
                    <a:cubicBezTo>
                      <a:pt x="2" y="0"/>
                      <a:pt x="2" y="0"/>
                      <a:pt x="2" y="0"/>
                    </a:cubicBezTo>
                  </a:path>
                </a:pathLst>
              </a:custGeom>
              <a:solidFill>
                <a:srgbClr val="ADAF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8" name="iṣḷiďê">
                <a:extLst>
                  <a:ext uri="{FF2B5EF4-FFF2-40B4-BE49-F238E27FC236}">
                    <a16:creationId xmlns:a16="http://schemas.microsoft.com/office/drawing/2014/main" id="{31EAC012-8E6F-44B8-B1C9-E3FDFD3B3F22}"/>
                  </a:ext>
                </a:extLst>
              </p:cNvPr>
              <p:cNvSpPr/>
              <p:nvPr/>
            </p:nvSpPr>
            <p:spPr bwMode="auto">
              <a:xfrm>
                <a:off x="4248151" y="3089276"/>
                <a:ext cx="592138" cy="650875"/>
              </a:xfrm>
              <a:custGeom>
                <a:avLst/>
                <a:gdLst>
                  <a:gd name="T0" fmla="*/ 6 w 457"/>
                  <a:gd name="T1" fmla="*/ 24 h 501"/>
                  <a:gd name="T2" fmla="*/ 77 w 457"/>
                  <a:gd name="T3" fmla="*/ 313 h 501"/>
                  <a:gd name="T4" fmla="*/ 454 w 457"/>
                  <a:gd name="T5" fmla="*/ 501 h 501"/>
                  <a:gd name="T6" fmla="*/ 457 w 457"/>
                  <a:gd name="T7" fmla="*/ 366 h 501"/>
                  <a:gd name="T8" fmla="*/ 118 w 457"/>
                  <a:gd name="T9" fmla="*/ 212 h 501"/>
                  <a:gd name="T10" fmla="*/ 173 w 457"/>
                  <a:gd name="T11" fmla="*/ 175 h 501"/>
                  <a:gd name="T12" fmla="*/ 154 w 457"/>
                  <a:gd name="T13" fmla="*/ 159 h 501"/>
                  <a:gd name="T14" fmla="*/ 109 w 457"/>
                  <a:gd name="T15" fmla="*/ 165 h 501"/>
                  <a:gd name="T16" fmla="*/ 6 w 457"/>
                  <a:gd name="T17" fmla="*/ 24 h 501"/>
                  <a:gd name="T18" fmla="*/ 5 w 457"/>
                  <a:gd name="T19" fmla="*/ 20 h 501"/>
                  <a:gd name="T20" fmla="*/ 5 w 457"/>
                  <a:gd name="T21" fmla="*/ 21 h 501"/>
                  <a:gd name="T22" fmla="*/ 6 w 457"/>
                  <a:gd name="T23" fmla="*/ 21 h 501"/>
                  <a:gd name="T24" fmla="*/ 5 w 457"/>
                  <a:gd name="T25" fmla="*/ 20 h 501"/>
                  <a:gd name="T26" fmla="*/ 0 w 457"/>
                  <a:gd name="T27" fmla="*/ 0 h 501"/>
                  <a:gd name="T28" fmla="*/ 3 w 457"/>
                  <a:gd name="T29" fmla="*/ 13 h 501"/>
                  <a:gd name="T30" fmla="*/ 11 w 457"/>
                  <a:gd name="T31" fmla="*/ 12 h 501"/>
                  <a:gd name="T32" fmla="*/ 0 w 457"/>
                  <a:gd name="T33" fmla="*/ 0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7" h="501">
                    <a:moveTo>
                      <a:pt x="6" y="24"/>
                    </a:moveTo>
                    <a:cubicBezTo>
                      <a:pt x="77" y="313"/>
                      <a:pt x="77" y="313"/>
                      <a:pt x="77" y="313"/>
                    </a:cubicBezTo>
                    <a:cubicBezTo>
                      <a:pt x="77" y="313"/>
                      <a:pt x="226" y="395"/>
                      <a:pt x="454" y="501"/>
                    </a:cubicBezTo>
                    <a:cubicBezTo>
                      <a:pt x="457" y="366"/>
                      <a:pt x="457" y="366"/>
                      <a:pt x="457" y="366"/>
                    </a:cubicBezTo>
                    <a:cubicBezTo>
                      <a:pt x="118" y="212"/>
                      <a:pt x="118" y="212"/>
                      <a:pt x="118" y="212"/>
                    </a:cubicBezTo>
                    <a:cubicBezTo>
                      <a:pt x="173" y="175"/>
                      <a:pt x="173" y="175"/>
                      <a:pt x="173" y="175"/>
                    </a:cubicBezTo>
                    <a:cubicBezTo>
                      <a:pt x="154" y="159"/>
                      <a:pt x="154" y="159"/>
                      <a:pt x="154" y="159"/>
                    </a:cubicBezTo>
                    <a:cubicBezTo>
                      <a:pt x="109" y="165"/>
                      <a:pt x="109" y="165"/>
                      <a:pt x="109" y="165"/>
                    </a:cubicBezTo>
                    <a:cubicBezTo>
                      <a:pt x="6" y="24"/>
                      <a:pt x="6" y="24"/>
                      <a:pt x="6" y="24"/>
                    </a:cubicBezTo>
                    <a:moveTo>
                      <a:pt x="5" y="20"/>
                    </a:moveTo>
                    <a:cubicBezTo>
                      <a:pt x="5" y="21"/>
                      <a:pt x="5" y="21"/>
                      <a:pt x="5" y="21"/>
                    </a:cubicBezTo>
                    <a:cubicBezTo>
                      <a:pt x="6" y="21"/>
                      <a:pt x="6" y="21"/>
                      <a:pt x="6" y="21"/>
                    </a:cubicBezTo>
                    <a:cubicBezTo>
                      <a:pt x="5" y="20"/>
                      <a:pt x="5" y="20"/>
                      <a:pt x="5" y="20"/>
                    </a:cubicBezTo>
                    <a:moveTo>
                      <a:pt x="0" y="0"/>
                    </a:moveTo>
                    <a:cubicBezTo>
                      <a:pt x="3" y="13"/>
                      <a:pt x="3" y="13"/>
                      <a:pt x="3" y="13"/>
                    </a:cubicBezTo>
                    <a:cubicBezTo>
                      <a:pt x="11" y="12"/>
                      <a:pt x="11" y="12"/>
                      <a:pt x="11" y="12"/>
                    </a:cubicBezTo>
                    <a:cubicBezTo>
                      <a:pt x="7" y="8"/>
                      <a:pt x="3" y="4"/>
                      <a:pt x="0" y="0"/>
                    </a:cubicBezTo>
                  </a:path>
                </a:pathLst>
              </a:custGeom>
              <a:solidFill>
                <a:srgbClr val="00877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9" name="ïS1iďè">
                <a:extLst>
                  <a:ext uri="{FF2B5EF4-FFF2-40B4-BE49-F238E27FC236}">
                    <a16:creationId xmlns:a16="http://schemas.microsoft.com/office/drawing/2014/main" id="{A68998DF-DF33-4EAA-AA80-98A5539A4F5C}"/>
                  </a:ext>
                </a:extLst>
              </p:cNvPr>
              <p:cNvSpPr/>
              <p:nvPr/>
            </p:nvSpPr>
            <p:spPr bwMode="auto">
              <a:xfrm>
                <a:off x="4400551" y="3316288"/>
                <a:ext cx="442913" cy="247650"/>
              </a:xfrm>
              <a:custGeom>
                <a:avLst/>
                <a:gdLst>
                  <a:gd name="T0" fmla="*/ 45 w 279"/>
                  <a:gd name="T1" fmla="*/ 0 h 156"/>
                  <a:gd name="T2" fmla="*/ 0 w 279"/>
                  <a:gd name="T3" fmla="*/ 31 h 156"/>
                  <a:gd name="T4" fmla="*/ 277 w 279"/>
                  <a:gd name="T5" fmla="*/ 156 h 156"/>
                  <a:gd name="T6" fmla="*/ 279 w 279"/>
                  <a:gd name="T7" fmla="*/ 49 h 156"/>
                  <a:gd name="T8" fmla="*/ 130 w 279"/>
                  <a:gd name="T9" fmla="*/ 76 h 156"/>
                  <a:gd name="T10" fmla="*/ 45 w 279"/>
                  <a:gd name="T11" fmla="*/ 0 h 156"/>
                </a:gdLst>
                <a:ahLst/>
                <a:cxnLst>
                  <a:cxn ang="0">
                    <a:pos x="T0" y="T1"/>
                  </a:cxn>
                  <a:cxn ang="0">
                    <a:pos x="T2" y="T3"/>
                  </a:cxn>
                  <a:cxn ang="0">
                    <a:pos x="T4" y="T5"/>
                  </a:cxn>
                  <a:cxn ang="0">
                    <a:pos x="T6" y="T7"/>
                  </a:cxn>
                  <a:cxn ang="0">
                    <a:pos x="T8" y="T9"/>
                  </a:cxn>
                  <a:cxn ang="0">
                    <a:pos x="T10" y="T11"/>
                  </a:cxn>
                </a:cxnLst>
                <a:rect l="0" t="0" r="r" b="b"/>
                <a:pathLst>
                  <a:path w="279" h="156">
                    <a:moveTo>
                      <a:pt x="45" y="0"/>
                    </a:moveTo>
                    <a:lnTo>
                      <a:pt x="0" y="31"/>
                    </a:lnTo>
                    <a:lnTo>
                      <a:pt x="277" y="156"/>
                    </a:lnTo>
                    <a:lnTo>
                      <a:pt x="279" y="49"/>
                    </a:lnTo>
                    <a:lnTo>
                      <a:pt x="130" y="76"/>
                    </a:lnTo>
                    <a:lnTo>
                      <a:pt x="4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0" name="ísļîďe">
                <a:extLst>
                  <a:ext uri="{FF2B5EF4-FFF2-40B4-BE49-F238E27FC236}">
                    <a16:creationId xmlns:a16="http://schemas.microsoft.com/office/drawing/2014/main" id="{22BCFA24-A71D-4814-9F78-CD9034117D9D}"/>
                  </a:ext>
                </a:extLst>
              </p:cNvPr>
              <p:cNvSpPr/>
              <p:nvPr/>
            </p:nvSpPr>
            <p:spPr bwMode="auto">
              <a:xfrm>
                <a:off x="4400551" y="3316288"/>
                <a:ext cx="442913" cy="247650"/>
              </a:xfrm>
              <a:custGeom>
                <a:avLst/>
                <a:gdLst>
                  <a:gd name="T0" fmla="*/ 45 w 279"/>
                  <a:gd name="T1" fmla="*/ 0 h 156"/>
                  <a:gd name="T2" fmla="*/ 0 w 279"/>
                  <a:gd name="T3" fmla="*/ 31 h 156"/>
                  <a:gd name="T4" fmla="*/ 277 w 279"/>
                  <a:gd name="T5" fmla="*/ 156 h 156"/>
                  <a:gd name="T6" fmla="*/ 279 w 279"/>
                  <a:gd name="T7" fmla="*/ 49 h 156"/>
                  <a:gd name="T8" fmla="*/ 130 w 279"/>
                  <a:gd name="T9" fmla="*/ 76 h 156"/>
                  <a:gd name="T10" fmla="*/ 45 w 279"/>
                  <a:gd name="T11" fmla="*/ 0 h 156"/>
                </a:gdLst>
                <a:ahLst/>
                <a:cxnLst>
                  <a:cxn ang="0">
                    <a:pos x="T0" y="T1"/>
                  </a:cxn>
                  <a:cxn ang="0">
                    <a:pos x="T2" y="T3"/>
                  </a:cxn>
                  <a:cxn ang="0">
                    <a:pos x="T4" y="T5"/>
                  </a:cxn>
                  <a:cxn ang="0">
                    <a:pos x="T6" y="T7"/>
                  </a:cxn>
                  <a:cxn ang="0">
                    <a:pos x="T8" y="T9"/>
                  </a:cxn>
                  <a:cxn ang="0">
                    <a:pos x="T10" y="T11"/>
                  </a:cxn>
                </a:cxnLst>
                <a:rect l="0" t="0" r="r" b="b"/>
                <a:pathLst>
                  <a:path w="279" h="156">
                    <a:moveTo>
                      <a:pt x="45" y="0"/>
                    </a:moveTo>
                    <a:lnTo>
                      <a:pt x="0" y="31"/>
                    </a:lnTo>
                    <a:lnTo>
                      <a:pt x="277" y="156"/>
                    </a:lnTo>
                    <a:lnTo>
                      <a:pt x="279" y="49"/>
                    </a:lnTo>
                    <a:lnTo>
                      <a:pt x="130" y="76"/>
                    </a:lnTo>
                    <a:lnTo>
                      <a:pt x="4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1" name="îşḷîḑé">
                <a:extLst>
                  <a:ext uri="{FF2B5EF4-FFF2-40B4-BE49-F238E27FC236}">
                    <a16:creationId xmlns:a16="http://schemas.microsoft.com/office/drawing/2014/main" id="{DAB64A48-BB76-4FC6-A676-4D5D692BED61}"/>
                  </a:ext>
                </a:extLst>
              </p:cNvPr>
              <p:cNvSpPr/>
              <p:nvPr/>
            </p:nvSpPr>
            <p:spPr bwMode="auto">
              <a:xfrm>
                <a:off x="4448176" y="3278188"/>
                <a:ext cx="396875" cy="158750"/>
              </a:xfrm>
              <a:custGeom>
                <a:avLst/>
                <a:gdLst>
                  <a:gd name="T0" fmla="*/ 97 w 306"/>
                  <a:gd name="T1" fmla="*/ 0 h 123"/>
                  <a:gd name="T2" fmla="*/ 0 w 306"/>
                  <a:gd name="T3" fmla="*/ 14 h 123"/>
                  <a:gd name="T4" fmla="*/ 19 w 306"/>
                  <a:gd name="T5" fmla="*/ 30 h 123"/>
                  <a:gd name="T6" fmla="*/ 123 w 306"/>
                  <a:gd name="T7" fmla="*/ 123 h 123"/>
                  <a:gd name="T8" fmla="*/ 305 w 306"/>
                  <a:gd name="T9" fmla="*/ 90 h 123"/>
                  <a:gd name="T10" fmla="*/ 306 w 306"/>
                  <a:gd name="T11" fmla="*/ 83 h 123"/>
                  <a:gd name="T12" fmla="*/ 97 w 306"/>
                  <a:gd name="T13" fmla="*/ 0 h 123"/>
                </a:gdLst>
                <a:ahLst/>
                <a:cxnLst>
                  <a:cxn ang="0">
                    <a:pos x="T0" y="T1"/>
                  </a:cxn>
                  <a:cxn ang="0">
                    <a:pos x="T2" y="T3"/>
                  </a:cxn>
                  <a:cxn ang="0">
                    <a:pos x="T4" y="T5"/>
                  </a:cxn>
                  <a:cxn ang="0">
                    <a:pos x="T6" y="T7"/>
                  </a:cxn>
                  <a:cxn ang="0">
                    <a:pos x="T8" y="T9"/>
                  </a:cxn>
                  <a:cxn ang="0">
                    <a:pos x="T10" y="T11"/>
                  </a:cxn>
                  <a:cxn ang="0">
                    <a:pos x="T12" y="T13"/>
                  </a:cxn>
                </a:cxnLst>
                <a:rect l="0" t="0" r="r" b="b"/>
                <a:pathLst>
                  <a:path w="306" h="123">
                    <a:moveTo>
                      <a:pt x="97" y="0"/>
                    </a:moveTo>
                    <a:cubicBezTo>
                      <a:pt x="0" y="14"/>
                      <a:pt x="0" y="14"/>
                      <a:pt x="0" y="14"/>
                    </a:cubicBezTo>
                    <a:cubicBezTo>
                      <a:pt x="19" y="30"/>
                      <a:pt x="19" y="30"/>
                      <a:pt x="19" y="30"/>
                    </a:cubicBezTo>
                    <a:cubicBezTo>
                      <a:pt x="123" y="123"/>
                      <a:pt x="123" y="123"/>
                      <a:pt x="123" y="123"/>
                    </a:cubicBezTo>
                    <a:cubicBezTo>
                      <a:pt x="305" y="90"/>
                      <a:pt x="305" y="90"/>
                      <a:pt x="305" y="90"/>
                    </a:cubicBezTo>
                    <a:cubicBezTo>
                      <a:pt x="306" y="83"/>
                      <a:pt x="306" y="83"/>
                      <a:pt x="306" y="83"/>
                    </a:cubicBezTo>
                    <a:cubicBezTo>
                      <a:pt x="232" y="55"/>
                      <a:pt x="161" y="27"/>
                      <a:pt x="97" y="0"/>
                    </a:cubicBezTo>
                  </a:path>
                </a:pathLst>
              </a:custGeom>
              <a:solidFill>
                <a:srgbClr val="E5E5E5">
                  <a:alpha val="10000"/>
                </a:srgbClr>
              </a:solidFill>
              <a:ln>
                <a:noFill/>
              </a:ln>
            </p:spPr>
            <p:txBody>
              <a:bodyPr anchor="ctr"/>
              <a:lstStyle/>
              <a:p>
                <a:pPr algn="ctr"/>
                <a:endParaRPr/>
              </a:p>
            </p:txBody>
          </p:sp>
          <p:sp>
            <p:nvSpPr>
              <p:cNvPr id="162" name="íŝľïḋe">
                <a:extLst>
                  <a:ext uri="{FF2B5EF4-FFF2-40B4-BE49-F238E27FC236}">
                    <a16:creationId xmlns:a16="http://schemas.microsoft.com/office/drawing/2014/main" id="{8BE1999C-A39E-48E2-9A4F-E1E7077E6EB6}"/>
                  </a:ext>
                </a:extLst>
              </p:cNvPr>
              <p:cNvSpPr/>
              <p:nvPr/>
            </p:nvSpPr>
            <p:spPr bwMode="auto">
              <a:xfrm>
                <a:off x="4251326" y="3105151"/>
                <a:ext cx="22225" cy="12700"/>
              </a:xfrm>
              <a:custGeom>
                <a:avLst/>
                <a:gdLst>
                  <a:gd name="T0" fmla="*/ 8 w 17"/>
                  <a:gd name="T1" fmla="*/ 0 h 9"/>
                  <a:gd name="T2" fmla="*/ 0 w 17"/>
                  <a:gd name="T3" fmla="*/ 1 h 9"/>
                  <a:gd name="T4" fmla="*/ 2 w 17"/>
                  <a:gd name="T5" fmla="*/ 8 h 9"/>
                  <a:gd name="T6" fmla="*/ 3 w 17"/>
                  <a:gd name="T7" fmla="*/ 9 h 9"/>
                  <a:gd name="T8" fmla="*/ 17 w 17"/>
                  <a:gd name="T9" fmla="*/ 7 h 9"/>
                  <a:gd name="T10" fmla="*/ 8 w 17"/>
                  <a:gd name="T11" fmla="*/ 0 h 9"/>
                </a:gdLst>
                <a:ahLst/>
                <a:cxnLst>
                  <a:cxn ang="0">
                    <a:pos x="T0" y="T1"/>
                  </a:cxn>
                  <a:cxn ang="0">
                    <a:pos x="T2" y="T3"/>
                  </a:cxn>
                  <a:cxn ang="0">
                    <a:pos x="T4" y="T5"/>
                  </a:cxn>
                  <a:cxn ang="0">
                    <a:pos x="T6" y="T7"/>
                  </a:cxn>
                  <a:cxn ang="0">
                    <a:pos x="T8" y="T9"/>
                  </a:cxn>
                  <a:cxn ang="0">
                    <a:pos x="T10" y="T11"/>
                  </a:cxn>
                </a:cxnLst>
                <a:rect l="0" t="0" r="r" b="b"/>
                <a:pathLst>
                  <a:path w="17" h="9">
                    <a:moveTo>
                      <a:pt x="8" y="0"/>
                    </a:moveTo>
                    <a:cubicBezTo>
                      <a:pt x="0" y="1"/>
                      <a:pt x="0" y="1"/>
                      <a:pt x="0" y="1"/>
                    </a:cubicBezTo>
                    <a:cubicBezTo>
                      <a:pt x="2" y="8"/>
                      <a:pt x="2" y="8"/>
                      <a:pt x="2" y="8"/>
                    </a:cubicBezTo>
                    <a:cubicBezTo>
                      <a:pt x="3" y="9"/>
                      <a:pt x="3" y="9"/>
                      <a:pt x="3" y="9"/>
                    </a:cubicBezTo>
                    <a:cubicBezTo>
                      <a:pt x="17" y="7"/>
                      <a:pt x="17" y="7"/>
                      <a:pt x="17" y="7"/>
                    </a:cubicBezTo>
                    <a:cubicBezTo>
                      <a:pt x="14" y="5"/>
                      <a:pt x="11" y="2"/>
                      <a:pt x="8" y="0"/>
                    </a:cubicBezTo>
                  </a:path>
                </a:pathLst>
              </a:custGeom>
              <a:solidFill>
                <a:srgbClr val="00877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3" name="îṥļïḑè">
                <a:extLst>
                  <a:ext uri="{FF2B5EF4-FFF2-40B4-BE49-F238E27FC236}">
                    <a16:creationId xmlns:a16="http://schemas.microsoft.com/office/drawing/2014/main" id="{2C58C32D-D3AA-44E3-9CAA-F50C44E759F0}"/>
                  </a:ext>
                </a:extLst>
              </p:cNvPr>
              <p:cNvSpPr/>
              <p:nvPr/>
            </p:nvSpPr>
            <p:spPr bwMode="auto">
              <a:xfrm>
                <a:off x="4254501" y="3117851"/>
                <a:ext cx="134938" cy="185738"/>
              </a:xfrm>
              <a:custGeom>
                <a:avLst/>
                <a:gdLst>
                  <a:gd name="T0" fmla="*/ 1 w 85"/>
                  <a:gd name="T1" fmla="*/ 0 h 117"/>
                  <a:gd name="T2" fmla="*/ 0 w 85"/>
                  <a:gd name="T3" fmla="*/ 0 h 117"/>
                  <a:gd name="T4" fmla="*/ 1 w 85"/>
                  <a:gd name="T5" fmla="*/ 2 h 117"/>
                  <a:gd name="T6" fmla="*/ 85 w 85"/>
                  <a:gd name="T7" fmla="*/ 117 h 117"/>
                  <a:gd name="T8" fmla="*/ 1 w 85"/>
                  <a:gd name="T9" fmla="*/ 0 h 117"/>
                </a:gdLst>
                <a:ahLst/>
                <a:cxnLst>
                  <a:cxn ang="0">
                    <a:pos x="T0" y="T1"/>
                  </a:cxn>
                  <a:cxn ang="0">
                    <a:pos x="T2" y="T3"/>
                  </a:cxn>
                  <a:cxn ang="0">
                    <a:pos x="T4" y="T5"/>
                  </a:cxn>
                  <a:cxn ang="0">
                    <a:pos x="T6" y="T7"/>
                  </a:cxn>
                  <a:cxn ang="0">
                    <a:pos x="T8" y="T9"/>
                  </a:cxn>
                </a:cxnLst>
                <a:rect l="0" t="0" r="r" b="b"/>
                <a:pathLst>
                  <a:path w="85" h="117">
                    <a:moveTo>
                      <a:pt x="1" y="0"/>
                    </a:moveTo>
                    <a:lnTo>
                      <a:pt x="0" y="0"/>
                    </a:lnTo>
                    <a:lnTo>
                      <a:pt x="1" y="2"/>
                    </a:lnTo>
                    <a:lnTo>
                      <a:pt x="85" y="117"/>
                    </a:lnTo>
                    <a:lnTo>
                      <a:pt x="1" y="0"/>
                    </a:lnTo>
                    <a:close/>
                  </a:path>
                </a:pathLst>
              </a:custGeom>
              <a:solidFill>
                <a:srgbClr val="1791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4" name="iŝľîďé">
                <a:extLst>
                  <a:ext uri="{FF2B5EF4-FFF2-40B4-BE49-F238E27FC236}">
                    <a16:creationId xmlns:a16="http://schemas.microsoft.com/office/drawing/2014/main" id="{C066B4C7-297B-414F-81EC-DA0B66DADC78}"/>
                  </a:ext>
                </a:extLst>
              </p:cNvPr>
              <p:cNvSpPr/>
              <p:nvPr/>
            </p:nvSpPr>
            <p:spPr bwMode="auto">
              <a:xfrm>
                <a:off x="4254501" y="3117851"/>
                <a:ext cx="134938" cy="185738"/>
              </a:xfrm>
              <a:custGeom>
                <a:avLst/>
                <a:gdLst>
                  <a:gd name="T0" fmla="*/ 1 w 85"/>
                  <a:gd name="T1" fmla="*/ 0 h 117"/>
                  <a:gd name="T2" fmla="*/ 0 w 85"/>
                  <a:gd name="T3" fmla="*/ 0 h 117"/>
                  <a:gd name="T4" fmla="*/ 1 w 85"/>
                  <a:gd name="T5" fmla="*/ 2 h 117"/>
                  <a:gd name="T6" fmla="*/ 85 w 85"/>
                  <a:gd name="T7" fmla="*/ 117 h 117"/>
                  <a:gd name="T8" fmla="*/ 1 w 85"/>
                  <a:gd name="T9" fmla="*/ 0 h 117"/>
                </a:gdLst>
                <a:ahLst/>
                <a:cxnLst>
                  <a:cxn ang="0">
                    <a:pos x="T0" y="T1"/>
                  </a:cxn>
                  <a:cxn ang="0">
                    <a:pos x="T2" y="T3"/>
                  </a:cxn>
                  <a:cxn ang="0">
                    <a:pos x="T4" y="T5"/>
                  </a:cxn>
                  <a:cxn ang="0">
                    <a:pos x="T6" y="T7"/>
                  </a:cxn>
                  <a:cxn ang="0">
                    <a:pos x="T8" y="T9"/>
                  </a:cxn>
                </a:cxnLst>
                <a:rect l="0" t="0" r="r" b="b"/>
                <a:pathLst>
                  <a:path w="85" h="117">
                    <a:moveTo>
                      <a:pt x="1" y="0"/>
                    </a:moveTo>
                    <a:lnTo>
                      <a:pt x="0" y="0"/>
                    </a:lnTo>
                    <a:lnTo>
                      <a:pt x="1" y="2"/>
                    </a:lnTo>
                    <a:lnTo>
                      <a:pt x="85" y="117"/>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5" name="ís1iďè">
                <a:extLst>
                  <a:ext uri="{FF2B5EF4-FFF2-40B4-BE49-F238E27FC236}">
                    <a16:creationId xmlns:a16="http://schemas.microsoft.com/office/drawing/2014/main" id="{1CDFBC8A-5F89-4EA5-840E-DEF6CCF6450C}"/>
                  </a:ext>
                </a:extLst>
              </p:cNvPr>
              <p:cNvSpPr/>
              <p:nvPr/>
            </p:nvSpPr>
            <p:spPr bwMode="auto">
              <a:xfrm>
                <a:off x="4256088" y="3114676"/>
                <a:ext cx="317500" cy="188913"/>
              </a:xfrm>
              <a:custGeom>
                <a:avLst/>
                <a:gdLst>
                  <a:gd name="T0" fmla="*/ 14 w 245"/>
                  <a:gd name="T1" fmla="*/ 0 h 146"/>
                  <a:gd name="T2" fmla="*/ 0 w 245"/>
                  <a:gd name="T3" fmla="*/ 2 h 146"/>
                  <a:gd name="T4" fmla="*/ 103 w 245"/>
                  <a:gd name="T5" fmla="*/ 146 h 146"/>
                  <a:gd name="T6" fmla="*/ 245 w 245"/>
                  <a:gd name="T7" fmla="*/ 126 h 146"/>
                  <a:gd name="T8" fmla="*/ 14 w 245"/>
                  <a:gd name="T9" fmla="*/ 0 h 146"/>
                </a:gdLst>
                <a:ahLst/>
                <a:cxnLst>
                  <a:cxn ang="0">
                    <a:pos x="T0" y="T1"/>
                  </a:cxn>
                  <a:cxn ang="0">
                    <a:pos x="T2" y="T3"/>
                  </a:cxn>
                  <a:cxn ang="0">
                    <a:pos x="T4" y="T5"/>
                  </a:cxn>
                  <a:cxn ang="0">
                    <a:pos x="T6" y="T7"/>
                  </a:cxn>
                  <a:cxn ang="0">
                    <a:pos x="T8" y="T9"/>
                  </a:cxn>
                </a:cxnLst>
                <a:rect l="0" t="0" r="r" b="b"/>
                <a:pathLst>
                  <a:path w="245" h="146">
                    <a:moveTo>
                      <a:pt x="14" y="0"/>
                    </a:moveTo>
                    <a:cubicBezTo>
                      <a:pt x="0" y="2"/>
                      <a:pt x="0" y="2"/>
                      <a:pt x="0" y="2"/>
                    </a:cubicBezTo>
                    <a:cubicBezTo>
                      <a:pt x="103" y="146"/>
                      <a:pt x="103" y="146"/>
                      <a:pt x="103" y="146"/>
                    </a:cubicBezTo>
                    <a:cubicBezTo>
                      <a:pt x="245" y="126"/>
                      <a:pt x="245" y="126"/>
                      <a:pt x="245" y="126"/>
                    </a:cubicBezTo>
                    <a:cubicBezTo>
                      <a:pt x="141" y="81"/>
                      <a:pt x="58" y="37"/>
                      <a:pt x="14" y="0"/>
                    </a:cubicBezTo>
                  </a:path>
                </a:pathLst>
              </a:custGeom>
              <a:solidFill>
                <a:srgbClr val="1791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6" name="íṡľíḍê">
                <a:extLst>
                  <a:ext uri="{FF2B5EF4-FFF2-40B4-BE49-F238E27FC236}">
                    <a16:creationId xmlns:a16="http://schemas.microsoft.com/office/drawing/2014/main" id="{B930ADC7-DFB7-4FEF-9304-D534B16B3487}"/>
                  </a:ext>
                </a:extLst>
              </p:cNvPr>
              <p:cNvSpPr/>
              <p:nvPr/>
            </p:nvSpPr>
            <p:spPr bwMode="auto">
              <a:xfrm>
                <a:off x="7024688" y="3562351"/>
                <a:ext cx="427038" cy="781050"/>
              </a:xfrm>
              <a:custGeom>
                <a:avLst/>
                <a:gdLst>
                  <a:gd name="T0" fmla="*/ 315 w 328"/>
                  <a:gd name="T1" fmla="*/ 34 h 603"/>
                  <a:gd name="T2" fmla="*/ 91 w 328"/>
                  <a:gd name="T3" fmla="*/ 368 h 603"/>
                  <a:gd name="T4" fmla="*/ 0 w 328"/>
                  <a:gd name="T5" fmla="*/ 603 h 603"/>
                  <a:gd name="T6" fmla="*/ 93 w 328"/>
                  <a:gd name="T7" fmla="*/ 596 h 603"/>
                  <a:gd name="T8" fmla="*/ 315 w 328"/>
                  <a:gd name="T9" fmla="*/ 34 h 603"/>
                  <a:gd name="T10" fmla="*/ 328 w 328"/>
                  <a:gd name="T11" fmla="*/ 0 h 603"/>
                  <a:gd name="T12" fmla="*/ 293 w 328"/>
                  <a:gd name="T13" fmla="*/ 14 h 603"/>
                  <a:gd name="T14" fmla="*/ 324 w 328"/>
                  <a:gd name="T15" fmla="*/ 12 h 603"/>
                  <a:gd name="T16" fmla="*/ 328 w 328"/>
                  <a:gd name="T17" fmla="*/ 0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603">
                    <a:moveTo>
                      <a:pt x="315" y="34"/>
                    </a:moveTo>
                    <a:cubicBezTo>
                      <a:pt x="91" y="368"/>
                      <a:pt x="91" y="368"/>
                      <a:pt x="91" y="368"/>
                    </a:cubicBezTo>
                    <a:cubicBezTo>
                      <a:pt x="72" y="450"/>
                      <a:pt x="40" y="528"/>
                      <a:pt x="0" y="603"/>
                    </a:cubicBezTo>
                    <a:cubicBezTo>
                      <a:pt x="32" y="602"/>
                      <a:pt x="63" y="599"/>
                      <a:pt x="93" y="596"/>
                    </a:cubicBezTo>
                    <a:cubicBezTo>
                      <a:pt x="315" y="34"/>
                      <a:pt x="315" y="34"/>
                      <a:pt x="315" y="34"/>
                    </a:cubicBezTo>
                    <a:moveTo>
                      <a:pt x="328" y="0"/>
                    </a:moveTo>
                    <a:cubicBezTo>
                      <a:pt x="328" y="0"/>
                      <a:pt x="316" y="5"/>
                      <a:pt x="293" y="14"/>
                    </a:cubicBezTo>
                    <a:cubicBezTo>
                      <a:pt x="303" y="13"/>
                      <a:pt x="314" y="12"/>
                      <a:pt x="324" y="12"/>
                    </a:cubicBezTo>
                    <a:cubicBezTo>
                      <a:pt x="328" y="0"/>
                      <a:pt x="328" y="0"/>
                      <a:pt x="328"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7" name="ïṥ1iďe">
                <a:extLst>
                  <a:ext uri="{FF2B5EF4-FFF2-40B4-BE49-F238E27FC236}">
                    <a16:creationId xmlns:a16="http://schemas.microsoft.com/office/drawing/2014/main" id="{3EC28E1A-B8DB-45A3-8993-4D02FF42CB12}"/>
                  </a:ext>
                </a:extLst>
              </p:cNvPr>
              <p:cNvSpPr/>
              <p:nvPr/>
            </p:nvSpPr>
            <p:spPr bwMode="auto">
              <a:xfrm>
                <a:off x="4848226" y="3570288"/>
                <a:ext cx="2295525" cy="774700"/>
              </a:xfrm>
              <a:custGeom>
                <a:avLst/>
                <a:gdLst>
                  <a:gd name="T0" fmla="*/ 3 w 1768"/>
                  <a:gd name="T1" fmla="*/ 0 h 598"/>
                  <a:gd name="T2" fmla="*/ 0 w 1768"/>
                  <a:gd name="T3" fmla="*/ 134 h 598"/>
                  <a:gd name="T4" fmla="*/ 1619 w 1768"/>
                  <a:gd name="T5" fmla="*/ 598 h 598"/>
                  <a:gd name="T6" fmla="*/ 1677 w 1768"/>
                  <a:gd name="T7" fmla="*/ 597 h 598"/>
                  <a:gd name="T8" fmla="*/ 1768 w 1768"/>
                  <a:gd name="T9" fmla="*/ 362 h 598"/>
                  <a:gd name="T10" fmla="*/ 1639 w 1768"/>
                  <a:gd name="T11" fmla="*/ 553 h 598"/>
                  <a:gd name="T12" fmla="*/ 307 w 1768"/>
                  <a:gd name="T13" fmla="*/ 138 h 598"/>
                  <a:gd name="T14" fmla="*/ 3 w 1768"/>
                  <a:gd name="T15" fmla="*/ 0 h 5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68" h="598">
                    <a:moveTo>
                      <a:pt x="3" y="0"/>
                    </a:moveTo>
                    <a:cubicBezTo>
                      <a:pt x="0" y="134"/>
                      <a:pt x="0" y="134"/>
                      <a:pt x="0" y="134"/>
                    </a:cubicBezTo>
                    <a:cubicBezTo>
                      <a:pt x="418" y="328"/>
                      <a:pt x="1096" y="598"/>
                      <a:pt x="1619" y="598"/>
                    </a:cubicBezTo>
                    <a:cubicBezTo>
                      <a:pt x="1639" y="598"/>
                      <a:pt x="1658" y="598"/>
                      <a:pt x="1677" y="597"/>
                    </a:cubicBezTo>
                    <a:cubicBezTo>
                      <a:pt x="1717" y="522"/>
                      <a:pt x="1749" y="444"/>
                      <a:pt x="1768" y="362"/>
                    </a:cubicBezTo>
                    <a:cubicBezTo>
                      <a:pt x="1639" y="553"/>
                      <a:pt x="1639" y="553"/>
                      <a:pt x="1639" y="553"/>
                    </a:cubicBezTo>
                    <a:cubicBezTo>
                      <a:pt x="307" y="138"/>
                      <a:pt x="307" y="138"/>
                      <a:pt x="307" y="138"/>
                    </a:cubicBezTo>
                    <a:cubicBezTo>
                      <a:pt x="3" y="0"/>
                      <a:pt x="3" y="0"/>
                      <a:pt x="3" y="0"/>
                    </a:cubicBezTo>
                  </a:path>
                </a:pathLst>
              </a:custGeom>
              <a:solidFill>
                <a:srgbClr val="00877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8" name="íSḷïḓè">
                <a:extLst>
                  <a:ext uri="{FF2B5EF4-FFF2-40B4-BE49-F238E27FC236}">
                    <a16:creationId xmlns:a16="http://schemas.microsoft.com/office/drawing/2014/main" id="{5FB7693D-FCFC-486F-BDB2-0444CC92FDCA}"/>
                  </a:ext>
                </a:extLst>
              </p:cNvPr>
              <p:cNvSpPr/>
              <p:nvPr/>
            </p:nvSpPr>
            <p:spPr bwMode="auto">
              <a:xfrm>
                <a:off x="4854576" y="3389313"/>
                <a:ext cx="7938" cy="4763"/>
              </a:xfrm>
              <a:custGeom>
                <a:avLst/>
                <a:gdLst>
                  <a:gd name="T0" fmla="*/ 1 w 6"/>
                  <a:gd name="T1" fmla="*/ 0 h 3"/>
                  <a:gd name="T2" fmla="*/ 0 w 6"/>
                  <a:gd name="T3" fmla="*/ 3 h 3"/>
                  <a:gd name="T4" fmla="*/ 6 w 6"/>
                  <a:gd name="T5" fmla="*/ 2 h 3"/>
                  <a:gd name="T6" fmla="*/ 1 w 6"/>
                  <a:gd name="T7" fmla="*/ 0 h 3"/>
                </a:gdLst>
                <a:ahLst/>
                <a:cxnLst>
                  <a:cxn ang="0">
                    <a:pos x="T0" y="T1"/>
                  </a:cxn>
                  <a:cxn ang="0">
                    <a:pos x="T2" y="T3"/>
                  </a:cxn>
                  <a:cxn ang="0">
                    <a:pos x="T4" y="T5"/>
                  </a:cxn>
                  <a:cxn ang="0">
                    <a:pos x="T6" y="T7"/>
                  </a:cxn>
                </a:cxnLst>
                <a:rect l="0" t="0" r="r" b="b"/>
                <a:pathLst>
                  <a:path w="6" h="3">
                    <a:moveTo>
                      <a:pt x="1" y="0"/>
                    </a:moveTo>
                    <a:cubicBezTo>
                      <a:pt x="0" y="3"/>
                      <a:pt x="0" y="3"/>
                      <a:pt x="0" y="3"/>
                    </a:cubicBezTo>
                    <a:cubicBezTo>
                      <a:pt x="6" y="2"/>
                      <a:pt x="6" y="2"/>
                      <a:pt x="6" y="2"/>
                    </a:cubicBezTo>
                    <a:cubicBezTo>
                      <a:pt x="4" y="1"/>
                      <a:pt x="2" y="1"/>
                      <a:pt x="1"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9" name="ïṥļíḍè">
                <a:extLst>
                  <a:ext uri="{FF2B5EF4-FFF2-40B4-BE49-F238E27FC236}">
                    <a16:creationId xmlns:a16="http://schemas.microsoft.com/office/drawing/2014/main" id="{AA2DCF3F-B898-4CD8-BE70-4EB67F7B38D1}"/>
                  </a:ext>
                </a:extLst>
              </p:cNvPr>
              <p:cNvSpPr/>
              <p:nvPr/>
            </p:nvSpPr>
            <p:spPr bwMode="auto">
              <a:xfrm>
                <a:off x="5246688" y="3552826"/>
                <a:ext cx="447675" cy="195263"/>
              </a:xfrm>
              <a:custGeom>
                <a:avLst/>
                <a:gdLst>
                  <a:gd name="T0" fmla="*/ 60 w 345"/>
                  <a:gd name="T1" fmla="*/ 0 h 151"/>
                  <a:gd name="T2" fmla="*/ 0 w 345"/>
                  <a:gd name="T3" fmla="*/ 22 h 151"/>
                  <a:gd name="T4" fmla="*/ 184 w 345"/>
                  <a:gd name="T5" fmla="*/ 151 h 151"/>
                  <a:gd name="T6" fmla="*/ 345 w 345"/>
                  <a:gd name="T7" fmla="*/ 91 h 151"/>
                  <a:gd name="T8" fmla="*/ 60 w 345"/>
                  <a:gd name="T9" fmla="*/ 0 h 151"/>
                </a:gdLst>
                <a:ahLst/>
                <a:cxnLst>
                  <a:cxn ang="0">
                    <a:pos x="T0" y="T1"/>
                  </a:cxn>
                  <a:cxn ang="0">
                    <a:pos x="T2" y="T3"/>
                  </a:cxn>
                  <a:cxn ang="0">
                    <a:pos x="T4" y="T5"/>
                  </a:cxn>
                  <a:cxn ang="0">
                    <a:pos x="T6" y="T7"/>
                  </a:cxn>
                  <a:cxn ang="0">
                    <a:pos x="T8" y="T9"/>
                  </a:cxn>
                </a:cxnLst>
                <a:rect l="0" t="0" r="r" b="b"/>
                <a:pathLst>
                  <a:path w="345" h="151">
                    <a:moveTo>
                      <a:pt x="60" y="0"/>
                    </a:moveTo>
                    <a:cubicBezTo>
                      <a:pt x="0" y="22"/>
                      <a:pt x="0" y="22"/>
                      <a:pt x="0" y="22"/>
                    </a:cubicBezTo>
                    <a:cubicBezTo>
                      <a:pt x="184" y="151"/>
                      <a:pt x="184" y="151"/>
                      <a:pt x="184" y="151"/>
                    </a:cubicBezTo>
                    <a:cubicBezTo>
                      <a:pt x="345" y="91"/>
                      <a:pt x="345" y="91"/>
                      <a:pt x="345" y="91"/>
                    </a:cubicBezTo>
                    <a:cubicBezTo>
                      <a:pt x="272" y="69"/>
                      <a:pt x="171" y="37"/>
                      <a:pt x="60" y="0"/>
                    </a:cubicBezTo>
                  </a:path>
                </a:pathLst>
              </a:custGeom>
              <a:solidFill>
                <a:srgbClr val="E5E5E5">
                  <a:alpha val="10000"/>
                </a:srgbClr>
              </a:solidFill>
              <a:ln>
                <a:noFill/>
              </a:ln>
            </p:spPr>
            <p:txBody>
              <a:bodyPr anchor="ctr"/>
              <a:lstStyle/>
              <a:p>
                <a:pPr algn="ctr"/>
                <a:endParaRPr/>
              </a:p>
            </p:txBody>
          </p:sp>
          <p:sp>
            <p:nvSpPr>
              <p:cNvPr id="170" name="ïşḻiḋé">
                <a:extLst>
                  <a:ext uri="{FF2B5EF4-FFF2-40B4-BE49-F238E27FC236}">
                    <a16:creationId xmlns:a16="http://schemas.microsoft.com/office/drawing/2014/main" id="{F3322EC1-B943-4269-94E1-FA74DB3FCA31}"/>
                  </a:ext>
                </a:extLst>
              </p:cNvPr>
              <p:cNvSpPr/>
              <p:nvPr/>
            </p:nvSpPr>
            <p:spPr bwMode="auto">
              <a:xfrm>
                <a:off x="5946776" y="3725863"/>
                <a:ext cx="1057275" cy="227013"/>
              </a:xfrm>
              <a:custGeom>
                <a:avLst/>
                <a:gdLst>
                  <a:gd name="T0" fmla="*/ 113 w 814"/>
                  <a:gd name="T1" fmla="*/ 21 h 176"/>
                  <a:gd name="T2" fmla="*/ 0 w 814"/>
                  <a:gd name="T3" fmla="*/ 52 h 176"/>
                  <a:gd name="T4" fmla="*/ 207 w 814"/>
                  <a:gd name="T5" fmla="*/ 115 h 176"/>
                  <a:gd name="T6" fmla="*/ 170 w 814"/>
                  <a:gd name="T7" fmla="*/ 25 h 176"/>
                  <a:gd name="T8" fmla="*/ 113 w 814"/>
                  <a:gd name="T9" fmla="*/ 21 h 176"/>
                  <a:gd name="T10" fmla="*/ 670 w 814"/>
                  <a:gd name="T11" fmla="*/ 0 h 176"/>
                  <a:gd name="T12" fmla="*/ 300 w 814"/>
                  <a:gd name="T13" fmla="*/ 29 h 176"/>
                  <a:gd name="T14" fmla="*/ 241 w 814"/>
                  <a:gd name="T15" fmla="*/ 29 h 176"/>
                  <a:gd name="T16" fmla="*/ 246 w 814"/>
                  <a:gd name="T17" fmla="*/ 46 h 176"/>
                  <a:gd name="T18" fmla="*/ 297 w 814"/>
                  <a:gd name="T19" fmla="*/ 143 h 176"/>
                  <a:gd name="T20" fmla="*/ 407 w 814"/>
                  <a:gd name="T21" fmla="*/ 176 h 176"/>
                  <a:gd name="T22" fmla="*/ 814 w 814"/>
                  <a:gd name="T23" fmla="*/ 39 h 176"/>
                  <a:gd name="T24" fmla="*/ 670 w 814"/>
                  <a:gd name="T25"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4" h="176">
                    <a:moveTo>
                      <a:pt x="113" y="21"/>
                    </a:moveTo>
                    <a:cubicBezTo>
                      <a:pt x="0" y="52"/>
                      <a:pt x="0" y="52"/>
                      <a:pt x="0" y="52"/>
                    </a:cubicBezTo>
                    <a:cubicBezTo>
                      <a:pt x="207" y="115"/>
                      <a:pt x="207" y="115"/>
                      <a:pt x="207" y="115"/>
                    </a:cubicBezTo>
                    <a:cubicBezTo>
                      <a:pt x="203" y="82"/>
                      <a:pt x="180" y="42"/>
                      <a:pt x="170" y="25"/>
                    </a:cubicBezTo>
                    <a:cubicBezTo>
                      <a:pt x="151" y="24"/>
                      <a:pt x="132" y="23"/>
                      <a:pt x="113" y="21"/>
                    </a:cubicBezTo>
                    <a:moveTo>
                      <a:pt x="670" y="0"/>
                    </a:moveTo>
                    <a:cubicBezTo>
                      <a:pt x="558" y="17"/>
                      <a:pt x="433" y="29"/>
                      <a:pt x="300" y="29"/>
                    </a:cubicBezTo>
                    <a:cubicBezTo>
                      <a:pt x="280" y="29"/>
                      <a:pt x="261" y="29"/>
                      <a:pt x="241" y="29"/>
                    </a:cubicBezTo>
                    <a:cubicBezTo>
                      <a:pt x="242" y="34"/>
                      <a:pt x="244" y="40"/>
                      <a:pt x="246" y="46"/>
                    </a:cubicBezTo>
                    <a:cubicBezTo>
                      <a:pt x="257" y="81"/>
                      <a:pt x="275" y="113"/>
                      <a:pt x="297" y="143"/>
                    </a:cubicBezTo>
                    <a:cubicBezTo>
                      <a:pt x="407" y="176"/>
                      <a:pt x="407" y="176"/>
                      <a:pt x="407" y="176"/>
                    </a:cubicBezTo>
                    <a:cubicBezTo>
                      <a:pt x="814" y="39"/>
                      <a:pt x="814" y="39"/>
                      <a:pt x="814" y="39"/>
                    </a:cubicBezTo>
                    <a:cubicBezTo>
                      <a:pt x="670" y="0"/>
                      <a:pt x="670" y="0"/>
                      <a:pt x="670" y="0"/>
                    </a:cubicBezTo>
                  </a:path>
                </a:pathLst>
              </a:custGeom>
              <a:solidFill>
                <a:srgbClr val="E5E5E5">
                  <a:alpha val="10000"/>
                </a:srgbClr>
              </a:solidFill>
              <a:ln>
                <a:noFill/>
              </a:ln>
            </p:spPr>
            <p:txBody>
              <a:bodyPr anchor="ctr"/>
              <a:lstStyle/>
              <a:p>
                <a:pPr algn="ctr"/>
                <a:endParaRPr/>
              </a:p>
            </p:txBody>
          </p:sp>
          <p:sp>
            <p:nvSpPr>
              <p:cNvPr id="171" name="îsḻiḍê">
                <a:extLst>
                  <a:ext uri="{FF2B5EF4-FFF2-40B4-BE49-F238E27FC236}">
                    <a16:creationId xmlns:a16="http://schemas.microsoft.com/office/drawing/2014/main" id="{4EE066A0-766E-4CB1-AB84-C478B3E74FF8}"/>
                  </a:ext>
                </a:extLst>
              </p:cNvPr>
              <p:cNvSpPr/>
              <p:nvPr/>
            </p:nvSpPr>
            <p:spPr bwMode="auto">
              <a:xfrm>
                <a:off x="6078538" y="3757613"/>
                <a:ext cx="309563" cy="239713"/>
              </a:xfrm>
              <a:custGeom>
                <a:avLst/>
                <a:gdLst>
                  <a:gd name="T0" fmla="*/ 69 w 239"/>
                  <a:gd name="T1" fmla="*/ 0 h 185"/>
                  <a:gd name="T2" fmla="*/ 106 w 239"/>
                  <a:gd name="T3" fmla="*/ 90 h 185"/>
                  <a:gd name="T4" fmla="*/ 69 w 239"/>
                  <a:gd name="T5" fmla="*/ 143 h 185"/>
                  <a:gd name="T6" fmla="*/ 29 w 239"/>
                  <a:gd name="T7" fmla="*/ 184 h 185"/>
                  <a:gd name="T8" fmla="*/ 100 w 239"/>
                  <a:gd name="T9" fmla="*/ 185 h 185"/>
                  <a:gd name="T10" fmla="*/ 238 w 239"/>
                  <a:gd name="T11" fmla="*/ 173 h 185"/>
                  <a:gd name="T12" fmla="*/ 231 w 239"/>
                  <a:gd name="T13" fmla="*/ 158 h 185"/>
                  <a:gd name="T14" fmla="*/ 196 w 239"/>
                  <a:gd name="T15" fmla="*/ 118 h 185"/>
                  <a:gd name="T16" fmla="*/ 145 w 239"/>
                  <a:gd name="T17" fmla="*/ 21 h 185"/>
                  <a:gd name="T18" fmla="*/ 140 w 239"/>
                  <a:gd name="T19" fmla="*/ 4 h 185"/>
                  <a:gd name="T20" fmla="*/ 69 w 239"/>
                  <a:gd name="T21"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9" h="185">
                    <a:moveTo>
                      <a:pt x="69" y="0"/>
                    </a:moveTo>
                    <a:cubicBezTo>
                      <a:pt x="79" y="17"/>
                      <a:pt x="102" y="57"/>
                      <a:pt x="106" y="90"/>
                    </a:cubicBezTo>
                    <a:cubicBezTo>
                      <a:pt x="109" y="115"/>
                      <a:pt x="101" y="137"/>
                      <a:pt x="69" y="143"/>
                    </a:cubicBezTo>
                    <a:cubicBezTo>
                      <a:pt x="69" y="143"/>
                      <a:pt x="0" y="161"/>
                      <a:pt x="29" y="184"/>
                    </a:cubicBezTo>
                    <a:cubicBezTo>
                      <a:pt x="29" y="184"/>
                      <a:pt x="61" y="185"/>
                      <a:pt x="100" y="185"/>
                    </a:cubicBezTo>
                    <a:cubicBezTo>
                      <a:pt x="160" y="185"/>
                      <a:pt x="234" y="183"/>
                      <a:pt x="238" y="173"/>
                    </a:cubicBezTo>
                    <a:cubicBezTo>
                      <a:pt x="239" y="168"/>
                      <a:pt x="236" y="163"/>
                      <a:pt x="231" y="158"/>
                    </a:cubicBezTo>
                    <a:cubicBezTo>
                      <a:pt x="218" y="145"/>
                      <a:pt x="207" y="132"/>
                      <a:pt x="196" y="118"/>
                    </a:cubicBezTo>
                    <a:cubicBezTo>
                      <a:pt x="174" y="88"/>
                      <a:pt x="156" y="56"/>
                      <a:pt x="145" y="21"/>
                    </a:cubicBezTo>
                    <a:cubicBezTo>
                      <a:pt x="143" y="15"/>
                      <a:pt x="141" y="9"/>
                      <a:pt x="140" y="4"/>
                    </a:cubicBezTo>
                    <a:cubicBezTo>
                      <a:pt x="116" y="3"/>
                      <a:pt x="92" y="2"/>
                      <a:pt x="69" y="0"/>
                    </a:cubicBezTo>
                  </a:path>
                </a:pathLst>
              </a:custGeom>
              <a:solidFill>
                <a:srgbClr val="E5A6A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2" name="ï$1îdê">
                <a:extLst>
                  <a:ext uri="{FF2B5EF4-FFF2-40B4-BE49-F238E27FC236}">
                    <a16:creationId xmlns:a16="http://schemas.microsoft.com/office/drawing/2014/main" id="{26D47DA4-57C9-4D62-A556-6692E025BE33}"/>
                  </a:ext>
                </a:extLst>
              </p:cNvPr>
              <p:cNvSpPr/>
              <p:nvPr/>
            </p:nvSpPr>
            <p:spPr bwMode="auto">
              <a:xfrm>
                <a:off x="4248151" y="3101976"/>
                <a:ext cx="3203575" cy="1365250"/>
              </a:xfrm>
              <a:custGeom>
                <a:avLst/>
                <a:gdLst>
                  <a:gd name="T0" fmla="*/ 0 w 2467"/>
                  <a:gd name="T1" fmla="*/ 0 h 1053"/>
                  <a:gd name="T2" fmla="*/ 77 w 2467"/>
                  <a:gd name="T3" fmla="*/ 312 h 1053"/>
                  <a:gd name="T4" fmla="*/ 2232 w 2467"/>
                  <a:gd name="T5" fmla="*/ 959 h 1053"/>
                  <a:gd name="T6" fmla="*/ 2467 w 2467"/>
                  <a:gd name="T7" fmla="*/ 364 h 1053"/>
                  <a:gd name="T8" fmla="*/ 1271 w 2467"/>
                  <a:gd name="T9" fmla="*/ 491 h 1053"/>
                  <a:gd name="T10" fmla="*/ 1201 w 2467"/>
                  <a:gd name="T11" fmla="*/ 474 h 1053"/>
                  <a:gd name="T12" fmla="*/ 0 w 2467"/>
                  <a:gd name="T13" fmla="*/ 0 h 1053"/>
                </a:gdLst>
                <a:ahLst/>
                <a:cxnLst>
                  <a:cxn ang="0">
                    <a:pos x="T0" y="T1"/>
                  </a:cxn>
                  <a:cxn ang="0">
                    <a:pos x="T2" y="T3"/>
                  </a:cxn>
                  <a:cxn ang="0">
                    <a:pos x="T4" y="T5"/>
                  </a:cxn>
                  <a:cxn ang="0">
                    <a:pos x="T6" y="T7"/>
                  </a:cxn>
                  <a:cxn ang="0">
                    <a:pos x="T8" y="T9"/>
                  </a:cxn>
                  <a:cxn ang="0">
                    <a:pos x="T10" y="T11"/>
                  </a:cxn>
                  <a:cxn ang="0">
                    <a:pos x="T12" y="T13"/>
                  </a:cxn>
                </a:cxnLst>
                <a:rect l="0" t="0" r="r" b="b"/>
                <a:pathLst>
                  <a:path w="2467" h="1053">
                    <a:moveTo>
                      <a:pt x="0" y="0"/>
                    </a:moveTo>
                    <a:cubicBezTo>
                      <a:pt x="77" y="312"/>
                      <a:pt x="77" y="312"/>
                      <a:pt x="77" y="312"/>
                    </a:cubicBezTo>
                    <a:cubicBezTo>
                      <a:pt x="77" y="312"/>
                      <a:pt x="1422" y="1053"/>
                      <a:pt x="2232" y="959"/>
                    </a:cubicBezTo>
                    <a:cubicBezTo>
                      <a:pt x="2467" y="364"/>
                      <a:pt x="2467" y="364"/>
                      <a:pt x="2467" y="364"/>
                    </a:cubicBezTo>
                    <a:cubicBezTo>
                      <a:pt x="2467" y="364"/>
                      <a:pt x="1887" y="599"/>
                      <a:pt x="1271" y="491"/>
                    </a:cubicBezTo>
                    <a:cubicBezTo>
                      <a:pt x="1247" y="486"/>
                      <a:pt x="1224" y="481"/>
                      <a:pt x="1201" y="474"/>
                    </a:cubicBezTo>
                    <a:cubicBezTo>
                      <a:pt x="1017" y="419"/>
                      <a:pt x="123" y="146"/>
                      <a:pt x="0" y="0"/>
                    </a:cubicBezTo>
                    <a:close/>
                  </a:path>
                </a:pathLst>
              </a:custGeom>
              <a:solidFill>
                <a:srgbClr val="00968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3" name="iSḻídê">
                <a:extLst>
                  <a:ext uri="{FF2B5EF4-FFF2-40B4-BE49-F238E27FC236}">
                    <a16:creationId xmlns:a16="http://schemas.microsoft.com/office/drawing/2014/main" id="{7A595575-9AA8-4CBA-90D5-CE2F06760DA1}"/>
                  </a:ext>
                </a:extLst>
              </p:cNvPr>
              <p:cNvSpPr/>
              <p:nvPr/>
            </p:nvSpPr>
            <p:spPr bwMode="auto">
              <a:xfrm>
                <a:off x="4827588" y="2132013"/>
                <a:ext cx="1133475" cy="960438"/>
              </a:xfrm>
              <a:custGeom>
                <a:avLst/>
                <a:gdLst>
                  <a:gd name="T0" fmla="*/ 0 w 714"/>
                  <a:gd name="T1" fmla="*/ 19 h 605"/>
                  <a:gd name="T2" fmla="*/ 16 w 714"/>
                  <a:gd name="T3" fmla="*/ 0 h 605"/>
                  <a:gd name="T4" fmla="*/ 714 w 714"/>
                  <a:gd name="T5" fmla="*/ 586 h 605"/>
                  <a:gd name="T6" fmla="*/ 697 w 714"/>
                  <a:gd name="T7" fmla="*/ 605 h 605"/>
                  <a:gd name="T8" fmla="*/ 0 w 714"/>
                  <a:gd name="T9" fmla="*/ 19 h 605"/>
                </a:gdLst>
                <a:ahLst/>
                <a:cxnLst>
                  <a:cxn ang="0">
                    <a:pos x="T0" y="T1"/>
                  </a:cxn>
                  <a:cxn ang="0">
                    <a:pos x="T2" y="T3"/>
                  </a:cxn>
                  <a:cxn ang="0">
                    <a:pos x="T4" y="T5"/>
                  </a:cxn>
                  <a:cxn ang="0">
                    <a:pos x="T6" y="T7"/>
                  </a:cxn>
                  <a:cxn ang="0">
                    <a:pos x="T8" y="T9"/>
                  </a:cxn>
                </a:cxnLst>
                <a:rect l="0" t="0" r="r" b="b"/>
                <a:pathLst>
                  <a:path w="714" h="605">
                    <a:moveTo>
                      <a:pt x="0" y="19"/>
                    </a:moveTo>
                    <a:lnTo>
                      <a:pt x="16" y="0"/>
                    </a:lnTo>
                    <a:lnTo>
                      <a:pt x="714" y="586"/>
                    </a:lnTo>
                    <a:lnTo>
                      <a:pt x="697" y="605"/>
                    </a:lnTo>
                    <a:lnTo>
                      <a:pt x="0" y="19"/>
                    </a:lnTo>
                    <a:close/>
                  </a:path>
                </a:pathLst>
              </a:custGeom>
              <a:solidFill>
                <a:srgbClr val="53546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4" name="ïṥľîḍè">
                <a:extLst>
                  <a:ext uri="{FF2B5EF4-FFF2-40B4-BE49-F238E27FC236}">
                    <a16:creationId xmlns:a16="http://schemas.microsoft.com/office/drawing/2014/main" id="{2DFA2686-BAC2-4AB6-A808-A39B3171BE77}"/>
                  </a:ext>
                </a:extLst>
              </p:cNvPr>
              <p:cNvSpPr/>
              <p:nvPr/>
            </p:nvSpPr>
            <p:spPr bwMode="auto">
              <a:xfrm>
                <a:off x="5761038" y="2520951"/>
                <a:ext cx="542925" cy="541338"/>
              </a:xfrm>
              <a:custGeom>
                <a:avLst/>
                <a:gdLst>
                  <a:gd name="T0" fmla="*/ 302 w 418"/>
                  <a:gd name="T1" fmla="*/ 35 h 418"/>
                  <a:gd name="T2" fmla="*/ 273 w 418"/>
                  <a:gd name="T3" fmla="*/ 180 h 418"/>
                  <a:gd name="T4" fmla="*/ 93 w 418"/>
                  <a:gd name="T5" fmla="*/ 337 h 418"/>
                  <a:gd name="T6" fmla="*/ 23 w 418"/>
                  <a:gd name="T7" fmla="*/ 389 h 418"/>
                  <a:gd name="T8" fmla="*/ 110 w 418"/>
                  <a:gd name="T9" fmla="*/ 389 h 418"/>
                  <a:gd name="T10" fmla="*/ 325 w 418"/>
                  <a:gd name="T11" fmla="*/ 261 h 418"/>
                  <a:gd name="T12" fmla="*/ 348 w 418"/>
                  <a:gd name="T13" fmla="*/ 221 h 418"/>
                  <a:gd name="T14" fmla="*/ 377 w 418"/>
                  <a:gd name="T15" fmla="*/ 145 h 418"/>
                  <a:gd name="T16" fmla="*/ 394 w 418"/>
                  <a:gd name="T17" fmla="*/ 35 h 418"/>
                  <a:gd name="T18" fmla="*/ 302 w 418"/>
                  <a:gd name="T19" fmla="*/ 35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8" h="418">
                    <a:moveTo>
                      <a:pt x="302" y="35"/>
                    </a:moveTo>
                    <a:cubicBezTo>
                      <a:pt x="302" y="35"/>
                      <a:pt x="273" y="128"/>
                      <a:pt x="273" y="180"/>
                    </a:cubicBezTo>
                    <a:cubicBezTo>
                      <a:pt x="273" y="180"/>
                      <a:pt x="151" y="331"/>
                      <a:pt x="93" y="337"/>
                    </a:cubicBezTo>
                    <a:cubicBezTo>
                      <a:pt x="34" y="343"/>
                      <a:pt x="0" y="377"/>
                      <a:pt x="23" y="389"/>
                    </a:cubicBezTo>
                    <a:cubicBezTo>
                      <a:pt x="46" y="401"/>
                      <a:pt x="75" y="418"/>
                      <a:pt x="110" y="389"/>
                    </a:cubicBezTo>
                    <a:cubicBezTo>
                      <a:pt x="145" y="360"/>
                      <a:pt x="325" y="261"/>
                      <a:pt x="325" y="261"/>
                    </a:cubicBezTo>
                    <a:cubicBezTo>
                      <a:pt x="325" y="261"/>
                      <a:pt x="348" y="238"/>
                      <a:pt x="348" y="221"/>
                    </a:cubicBezTo>
                    <a:cubicBezTo>
                      <a:pt x="348" y="203"/>
                      <a:pt x="377" y="145"/>
                      <a:pt x="377" y="145"/>
                    </a:cubicBezTo>
                    <a:cubicBezTo>
                      <a:pt x="377" y="145"/>
                      <a:pt x="418" y="70"/>
                      <a:pt x="394" y="35"/>
                    </a:cubicBezTo>
                    <a:cubicBezTo>
                      <a:pt x="371" y="0"/>
                      <a:pt x="302" y="35"/>
                      <a:pt x="302" y="35"/>
                    </a:cubicBezTo>
                  </a:path>
                </a:pathLst>
              </a:custGeom>
              <a:solidFill>
                <a:srgbClr val="FFB9B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5" name="îSḻiḑè">
                <a:extLst>
                  <a:ext uri="{FF2B5EF4-FFF2-40B4-BE49-F238E27FC236}">
                    <a16:creationId xmlns:a16="http://schemas.microsoft.com/office/drawing/2014/main" id="{9179F9BD-6A4C-4A0B-9ACC-795E7413252A}"/>
                  </a:ext>
                </a:extLst>
              </p:cNvPr>
              <p:cNvSpPr/>
              <p:nvPr/>
            </p:nvSpPr>
            <p:spPr bwMode="auto">
              <a:xfrm>
                <a:off x="6110288" y="2444751"/>
                <a:ext cx="203200" cy="180975"/>
              </a:xfrm>
              <a:custGeom>
                <a:avLst/>
                <a:gdLst>
                  <a:gd name="T0" fmla="*/ 97 w 156"/>
                  <a:gd name="T1" fmla="*/ 0 h 139"/>
                  <a:gd name="T2" fmla="*/ 15 w 156"/>
                  <a:gd name="T3" fmla="*/ 139 h 139"/>
                  <a:gd name="T4" fmla="*/ 20 w 156"/>
                  <a:gd name="T5" fmla="*/ 137 h 139"/>
                  <a:gd name="T6" fmla="*/ 33 w 156"/>
                  <a:gd name="T7" fmla="*/ 93 h 139"/>
                  <a:gd name="T8" fmla="*/ 91 w 156"/>
                  <a:gd name="T9" fmla="*/ 77 h 139"/>
                  <a:gd name="T10" fmla="*/ 125 w 156"/>
                  <a:gd name="T11" fmla="*/ 93 h 139"/>
                  <a:gd name="T12" fmla="*/ 126 w 156"/>
                  <a:gd name="T13" fmla="*/ 94 h 139"/>
                  <a:gd name="T14" fmla="*/ 137 w 156"/>
                  <a:gd name="T15" fmla="*/ 104 h 139"/>
                  <a:gd name="T16" fmla="*/ 144 w 156"/>
                  <a:gd name="T17" fmla="*/ 132 h 139"/>
                  <a:gd name="T18" fmla="*/ 102 w 156"/>
                  <a:gd name="T19" fmla="*/ 0 h 139"/>
                  <a:gd name="T20" fmla="*/ 97 w 156"/>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39">
                    <a:moveTo>
                      <a:pt x="97" y="0"/>
                    </a:moveTo>
                    <a:cubicBezTo>
                      <a:pt x="77" y="0"/>
                      <a:pt x="0" y="9"/>
                      <a:pt x="15" y="139"/>
                    </a:cubicBezTo>
                    <a:cubicBezTo>
                      <a:pt x="15" y="139"/>
                      <a:pt x="17" y="138"/>
                      <a:pt x="20" y="137"/>
                    </a:cubicBezTo>
                    <a:cubicBezTo>
                      <a:pt x="27" y="112"/>
                      <a:pt x="33" y="93"/>
                      <a:pt x="33" y="93"/>
                    </a:cubicBezTo>
                    <a:cubicBezTo>
                      <a:pt x="33" y="93"/>
                      <a:pt x="64" y="77"/>
                      <a:pt x="91" y="77"/>
                    </a:cubicBezTo>
                    <a:cubicBezTo>
                      <a:pt x="105" y="77"/>
                      <a:pt x="118" y="81"/>
                      <a:pt x="125" y="93"/>
                    </a:cubicBezTo>
                    <a:cubicBezTo>
                      <a:pt x="126" y="93"/>
                      <a:pt x="126" y="94"/>
                      <a:pt x="126" y="94"/>
                    </a:cubicBezTo>
                    <a:cubicBezTo>
                      <a:pt x="131" y="97"/>
                      <a:pt x="134" y="100"/>
                      <a:pt x="137" y="104"/>
                    </a:cubicBezTo>
                    <a:cubicBezTo>
                      <a:pt x="142" y="112"/>
                      <a:pt x="144" y="122"/>
                      <a:pt x="144" y="132"/>
                    </a:cubicBezTo>
                    <a:cubicBezTo>
                      <a:pt x="148" y="106"/>
                      <a:pt x="156" y="25"/>
                      <a:pt x="102" y="0"/>
                    </a:cubicBezTo>
                    <a:cubicBezTo>
                      <a:pt x="102" y="0"/>
                      <a:pt x="100" y="0"/>
                      <a:pt x="97" y="0"/>
                    </a:cubicBezTo>
                  </a:path>
                </a:pathLst>
              </a:custGeom>
              <a:solidFill>
                <a:srgbClr val="B6B8C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6" name="ïṣľíḍé">
                <a:extLst>
                  <a:ext uri="{FF2B5EF4-FFF2-40B4-BE49-F238E27FC236}">
                    <a16:creationId xmlns:a16="http://schemas.microsoft.com/office/drawing/2014/main" id="{B6DFDA86-3323-485F-BB82-E7B631DB1273}"/>
                  </a:ext>
                </a:extLst>
              </p:cNvPr>
              <p:cNvSpPr/>
              <p:nvPr/>
            </p:nvSpPr>
            <p:spPr bwMode="auto">
              <a:xfrm>
                <a:off x="6273801" y="2566988"/>
                <a:ext cx="23813" cy="58738"/>
              </a:xfrm>
              <a:custGeom>
                <a:avLst/>
                <a:gdLst>
                  <a:gd name="T0" fmla="*/ 0 w 18"/>
                  <a:gd name="T1" fmla="*/ 0 h 45"/>
                  <a:gd name="T2" fmla="*/ 6 w 18"/>
                  <a:gd name="T3" fmla="*/ 39 h 45"/>
                  <a:gd name="T4" fmla="*/ 17 w 18"/>
                  <a:gd name="T5" fmla="*/ 45 h 45"/>
                  <a:gd name="T6" fmla="*/ 17 w 18"/>
                  <a:gd name="T7" fmla="*/ 45 h 45"/>
                  <a:gd name="T8" fmla="*/ 18 w 18"/>
                  <a:gd name="T9" fmla="*/ 38 h 45"/>
                  <a:gd name="T10" fmla="*/ 11 w 18"/>
                  <a:gd name="T11" fmla="*/ 10 h 45"/>
                  <a:gd name="T12" fmla="*/ 0 w 18"/>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18" h="45">
                    <a:moveTo>
                      <a:pt x="0" y="0"/>
                    </a:moveTo>
                    <a:cubicBezTo>
                      <a:pt x="7" y="11"/>
                      <a:pt x="8" y="25"/>
                      <a:pt x="6" y="39"/>
                    </a:cubicBezTo>
                    <a:cubicBezTo>
                      <a:pt x="10" y="41"/>
                      <a:pt x="13" y="43"/>
                      <a:pt x="17" y="45"/>
                    </a:cubicBezTo>
                    <a:cubicBezTo>
                      <a:pt x="17" y="45"/>
                      <a:pt x="17" y="45"/>
                      <a:pt x="17" y="45"/>
                    </a:cubicBezTo>
                    <a:cubicBezTo>
                      <a:pt x="17" y="45"/>
                      <a:pt x="18" y="43"/>
                      <a:pt x="18" y="38"/>
                    </a:cubicBezTo>
                    <a:cubicBezTo>
                      <a:pt x="18" y="28"/>
                      <a:pt x="16" y="18"/>
                      <a:pt x="11" y="10"/>
                    </a:cubicBezTo>
                    <a:cubicBezTo>
                      <a:pt x="8" y="6"/>
                      <a:pt x="5" y="3"/>
                      <a:pt x="0" y="0"/>
                    </a:cubicBezTo>
                  </a:path>
                </a:pathLst>
              </a:custGeom>
              <a:solidFill>
                <a:srgbClr val="ADAF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7" name="í$ļïdè">
                <a:extLst>
                  <a:ext uri="{FF2B5EF4-FFF2-40B4-BE49-F238E27FC236}">
                    <a16:creationId xmlns:a16="http://schemas.microsoft.com/office/drawing/2014/main" id="{4FFD2E80-6BA0-4F55-A0D4-46F6D54B45CE}"/>
                  </a:ext>
                </a:extLst>
              </p:cNvPr>
              <p:cNvSpPr/>
              <p:nvPr/>
            </p:nvSpPr>
            <p:spPr bwMode="auto">
              <a:xfrm>
                <a:off x="6137276" y="2544763"/>
                <a:ext cx="147638" cy="77788"/>
              </a:xfrm>
              <a:custGeom>
                <a:avLst/>
                <a:gdLst>
                  <a:gd name="T0" fmla="*/ 71 w 114"/>
                  <a:gd name="T1" fmla="*/ 0 h 60"/>
                  <a:gd name="T2" fmla="*/ 13 w 114"/>
                  <a:gd name="T3" fmla="*/ 16 h 60"/>
                  <a:gd name="T4" fmla="*/ 0 w 114"/>
                  <a:gd name="T5" fmla="*/ 60 h 60"/>
                  <a:gd name="T6" fmla="*/ 64 w 114"/>
                  <a:gd name="T7" fmla="*/ 44 h 60"/>
                  <a:gd name="T8" fmla="*/ 112 w 114"/>
                  <a:gd name="T9" fmla="*/ 56 h 60"/>
                  <a:gd name="T10" fmla="*/ 106 w 114"/>
                  <a:gd name="T11" fmla="*/ 17 h 60"/>
                  <a:gd name="T12" fmla="*/ 105 w 114"/>
                  <a:gd name="T13" fmla="*/ 16 h 60"/>
                  <a:gd name="T14" fmla="*/ 71 w 114"/>
                  <a:gd name="T15" fmla="*/ 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60">
                    <a:moveTo>
                      <a:pt x="71" y="0"/>
                    </a:moveTo>
                    <a:cubicBezTo>
                      <a:pt x="44" y="0"/>
                      <a:pt x="13" y="16"/>
                      <a:pt x="13" y="16"/>
                    </a:cubicBezTo>
                    <a:cubicBezTo>
                      <a:pt x="13" y="16"/>
                      <a:pt x="7" y="35"/>
                      <a:pt x="0" y="60"/>
                    </a:cubicBezTo>
                    <a:cubicBezTo>
                      <a:pt x="11" y="55"/>
                      <a:pt x="35" y="44"/>
                      <a:pt x="64" y="44"/>
                    </a:cubicBezTo>
                    <a:cubicBezTo>
                      <a:pt x="79" y="44"/>
                      <a:pt x="96" y="47"/>
                      <a:pt x="112" y="56"/>
                    </a:cubicBezTo>
                    <a:cubicBezTo>
                      <a:pt x="114" y="42"/>
                      <a:pt x="113" y="28"/>
                      <a:pt x="106" y="17"/>
                    </a:cubicBezTo>
                    <a:cubicBezTo>
                      <a:pt x="106" y="17"/>
                      <a:pt x="106" y="16"/>
                      <a:pt x="105" y="16"/>
                    </a:cubicBezTo>
                    <a:cubicBezTo>
                      <a:pt x="98" y="4"/>
                      <a:pt x="85" y="0"/>
                      <a:pt x="71" y="0"/>
                    </a:cubicBezTo>
                  </a:path>
                </a:pathLst>
              </a:custGeom>
              <a:solidFill>
                <a:srgbClr val="E5A6A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8" name="ísľîdè">
                <a:extLst>
                  <a:ext uri="{FF2B5EF4-FFF2-40B4-BE49-F238E27FC236}">
                    <a16:creationId xmlns:a16="http://schemas.microsoft.com/office/drawing/2014/main" id="{8FE18FD5-F9B5-436B-885C-A95D480F1B70}"/>
                  </a:ext>
                </a:extLst>
              </p:cNvPr>
              <p:cNvSpPr/>
              <p:nvPr/>
            </p:nvSpPr>
            <p:spPr bwMode="auto">
              <a:xfrm>
                <a:off x="6108701" y="2416176"/>
                <a:ext cx="217488" cy="195263"/>
              </a:xfrm>
              <a:custGeom>
                <a:avLst/>
                <a:gdLst>
                  <a:gd name="T0" fmla="*/ 104 w 168"/>
                  <a:gd name="T1" fmla="*/ 12 h 151"/>
                  <a:gd name="T2" fmla="*/ 17 w 168"/>
                  <a:gd name="T3" fmla="*/ 151 h 151"/>
                  <a:gd name="T4" fmla="*/ 145 w 168"/>
                  <a:gd name="T5" fmla="*/ 151 h 151"/>
                  <a:gd name="T6" fmla="*/ 104 w 168"/>
                  <a:gd name="T7" fmla="*/ 12 h 151"/>
                </a:gdLst>
                <a:ahLst/>
                <a:cxnLst>
                  <a:cxn ang="0">
                    <a:pos x="T0" y="T1"/>
                  </a:cxn>
                  <a:cxn ang="0">
                    <a:pos x="T2" y="T3"/>
                  </a:cxn>
                  <a:cxn ang="0">
                    <a:pos x="T4" y="T5"/>
                  </a:cxn>
                  <a:cxn ang="0">
                    <a:pos x="T6" y="T7"/>
                  </a:cxn>
                </a:cxnLst>
                <a:rect l="0" t="0" r="r" b="b"/>
                <a:pathLst>
                  <a:path w="168" h="151">
                    <a:moveTo>
                      <a:pt x="104" y="12"/>
                    </a:moveTo>
                    <a:cubicBezTo>
                      <a:pt x="104" y="12"/>
                      <a:pt x="0" y="0"/>
                      <a:pt x="17" y="151"/>
                    </a:cubicBezTo>
                    <a:cubicBezTo>
                      <a:pt x="17" y="151"/>
                      <a:pt x="87" y="110"/>
                      <a:pt x="145" y="151"/>
                    </a:cubicBezTo>
                    <a:cubicBezTo>
                      <a:pt x="145" y="151"/>
                      <a:pt x="168" y="41"/>
                      <a:pt x="104" y="12"/>
                    </a:cubicBezTo>
                    <a:close/>
                  </a:path>
                </a:pathLst>
              </a:custGeom>
              <a:solidFill>
                <a:srgbClr val="CBCDD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9" name="íṡḷiḍé">
                <a:extLst>
                  <a:ext uri="{FF2B5EF4-FFF2-40B4-BE49-F238E27FC236}">
                    <a16:creationId xmlns:a16="http://schemas.microsoft.com/office/drawing/2014/main" id="{67DA0C33-45E9-49D9-818D-60200ECA27C4}"/>
                  </a:ext>
                </a:extLst>
              </p:cNvPr>
              <p:cNvSpPr/>
              <p:nvPr/>
            </p:nvSpPr>
            <p:spPr bwMode="auto">
              <a:xfrm>
                <a:off x="4824413" y="2181226"/>
                <a:ext cx="53975" cy="2232025"/>
              </a:xfrm>
              <a:custGeom>
                <a:avLst/>
                <a:gdLst>
                  <a:gd name="T0" fmla="*/ 28 w 34"/>
                  <a:gd name="T1" fmla="*/ 0 h 1406"/>
                  <a:gd name="T2" fmla="*/ 0 w 34"/>
                  <a:gd name="T3" fmla="*/ 1406 h 1406"/>
                  <a:gd name="T4" fmla="*/ 6 w 34"/>
                  <a:gd name="T5" fmla="*/ 1406 h 1406"/>
                  <a:gd name="T6" fmla="*/ 34 w 34"/>
                  <a:gd name="T7" fmla="*/ 0 h 1406"/>
                  <a:gd name="T8" fmla="*/ 28 w 34"/>
                  <a:gd name="T9" fmla="*/ 0 h 1406"/>
                </a:gdLst>
                <a:ahLst/>
                <a:cxnLst>
                  <a:cxn ang="0">
                    <a:pos x="T0" y="T1"/>
                  </a:cxn>
                  <a:cxn ang="0">
                    <a:pos x="T2" y="T3"/>
                  </a:cxn>
                  <a:cxn ang="0">
                    <a:pos x="T4" y="T5"/>
                  </a:cxn>
                  <a:cxn ang="0">
                    <a:pos x="T6" y="T7"/>
                  </a:cxn>
                  <a:cxn ang="0">
                    <a:pos x="T8" y="T9"/>
                  </a:cxn>
                </a:cxnLst>
                <a:rect l="0" t="0" r="r" b="b"/>
                <a:pathLst>
                  <a:path w="34" h="1406">
                    <a:moveTo>
                      <a:pt x="28" y="0"/>
                    </a:moveTo>
                    <a:lnTo>
                      <a:pt x="0" y="1406"/>
                    </a:lnTo>
                    <a:lnTo>
                      <a:pt x="6" y="1406"/>
                    </a:lnTo>
                    <a:lnTo>
                      <a:pt x="34" y="0"/>
                    </a:lnTo>
                    <a:lnTo>
                      <a:pt x="28" y="0"/>
                    </a:lnTo>
                    <a:close/>
                  </a:path>
                </a:pathLst>
              </a:custGeom>
              <a:solidFill>
                <a:srgbClr val="53546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0" name="iSḷíḍè">
                <a:extLst>
                  <a:ext uri="{FF2B5EF4-FFF2-40B4-BE49-F238E27FC236}">
                    <a16:creationId xmlns:a16="http://schemas.microsoft.com/office/drawing/2014/main" id="{D88A626C-7680-4E9E-8071-881D974CCE18}"/>
                  </a:ext>
                </a:extLst>
              </p:cNvPr>
              <p:cNvSpPr/>
              <p:nvPr/>
            </p:nvSpPr>
            <p:spPr bwMode="auto">
              <a:xfrm>
                <a:off x="4824413" y="2181226"/>
                <a:ext cx="53975" cy="2232025"/>
              </a:xfrm>
              <a:custGeom>
                <a:avLst/>
                <a:gdLst>
                  <a:gd name="T0" fmla="*/ 28 w 34"/>
                  <a:gd name="T1" fmla="*/ 0 h 1406"/>
                  <a:gd name="T2" fmla="*/ 0 w 34"/>
                  <a:gd name="T3" fmla="*/ 1406 h 1406"/>
                  <a:gd name="T4" fmla="*/ 6 w 34"/>
                  <a:gd name="T5" fmla="*/ 1406 h 1406"/>
                  <a:gd name="T6" fmla="*/ 34 w 34"/>
                  <a:gd name="T7" fmla="*/ 0 h 1406"/>
                  <a:gd name="T8" fmla="*/ 28 w 34"/>
                  <a:gd name="T9" fmla="*/ 0 h 1406"/>
                </a:gdLst>
                <a:ahLst/>
                <a:cxnLst>
                  <a:cxn ang="0">
                    <a:pos x="T0" y="T1"/>
                  </a:cxn>
                  <a:cxn ang="0">
                    <a:pos x="T2" y="T3"/>
                  </a:cxn>
                  <a:cxn ang="0">
                    <a:pos x="T4" y="T5"/>
                  </a:cxn>
                  <a:cxn ang="0">
                    <a:pos x="T6" y="T7"/>
                  </a:cxn>
                  <a:cxn ang="0">
                    <a:pos x="T8" y="T9"/>
                  </a:cxn>
                </a:cxnLst>
                <a:rect l="0" t="0" r="r" b="b"/>
                <a:pathLst>
                  <a:path w="34" h="1406">
                    <a:moveTo>
                      <a:pt x="28" y="0"/>
                    </a:moveTo>
                    <a:lnTo>
                      <a:pt x="0" y="1406"/>
                    </a:lnTo>
                    <a:lnTo>
                      <a:pt x="6" y="1406"/>
                    </a:lnTo>
                    <a:lnTo>
                      <a:pt x="34"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1" name="ïŝḷîḓè">
                <a:extLst>
                  <a:ext uri="{FF2B5EF4-FFF2-40B4-BE49-F238E27FC236}">
                    <a16:creationId xmlns:a16="http://schemas.microsoft.com/office/drawing/2014/main" id="{E25DF4CD-9EC1-4D06-B87F-4D33CE857FD3}"/>
                  </a:ext>
                </a:extLst>
              </p:cNvPr>
              <p:cNvSpPr/>
              <p:nvPr/>
            </p:nvSpPr>
            <p:spPr bwMode="auto">
              <a:xfrm>
                <a:off x="4619626" y="4249738"/>
                <a:ext cx="100013" cy="325438"/>
              </a:xfrm>
              <a:custGeom>
                <a:avLst/>
                <a:gdLst>
                  <a:gd name="T0" fmla="*/ 75 w 77"/>
                  <a:gd name="T1" fmla="*/ 0 h 251"/>
                  <a:gd name="T2" fmla="*/ 38 w 77"/>
                  <a:gd name="T3" fmla="*/ 34 h 251"/>
                  <a:gd name="T4" fmla="*/ 0 w 77"/>
                  <a:gd name="T5" fmla="*/ 142 h 251"/>
                  <a:gd name="T6" fmla="*/ 27 w 77"/>
                  <a:gd name="T7" fmla="*/ 251 h 251"/>
                  <a:gd name="T8" fmla="*/ 31 w 77"/>
                  <a:gd name="T9" fmla="*/ 249 h 251"/>
                  <a:gd name="T10" fmla="*/ 4 w 77"/>
                  <a:gd name="T11" fmla="*/ 142 h 251"/>
                  <a:gd name="T12" fmla="*/ 41 w 77"/>
                  <a:gd name="T13" fmla="*/ 37 h 251"/>
                  <a:gd name="T14" fmla="*/ 66 w 77"/>
                  <a:gd name="T15" fmla="*/ 11 h 251"/>
                  <a:gd name="T16" fmla="*/ 74 w 77"/>
                  <a:gd name="T17" fmla="*/ 5 h 251"/>
                  <a:gd name="T18" fmla="*/ 76 w 77"/>
                  <a:gd name="T19" fmla="*/ 4 h 251"/>
                  <a:gd name="T20" fmla="*/ 77 w 77"/>
                  <a:gd name="T21" fmla="*/ 3 h 251"/>
                  <a:gd name="T22" fmla="*/ 77 w 77"/>
                  <a:gd name="T23" fmla="*/ 3 h 251"/>
                  <a:gd name="T24" fmla="*/ 75 w 77"/>
                  <a:gd name="T25"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 h="251">
                    <a:moveTo>
                      <a:pt x="75" y="0"/>
                    </a:moveTo>
                    <a:cubicBezTo>
                      <a:pt x="75" y="0"/>
                      <a:pt x="56" y="11"/>
                      <a:pt x="38" y="34"/>
                    </a:cubicBezTo>
                    <a:cubicBezTo>
                      <a:pt x="19" y="58"/>
                      <a:pt x="0" y="94"/>
                      <a:pt x="0" y="142"/>
                    </a:cubicBezTo>
                    <a:cubicBezTo>
                      <a:pt x="0" y="173"/>
                      <a:pt x="8" y="209"/>
                      <a:pt x="27" y="251"/>
                    </a:cubicBezTo>
                    <a:cubicBezTo>
                      <a:pt x="31" y="249"/>
                      <a:pt x="31" y="249"/>
                      <a:pt x="31" y="249"/>
                    </a:cubicBezTo>
                    <a:cubicBezTo>
                      <a:pt x="11" y="208"/>
                      <a:pt x="4" y="173"/>
                      <a:pt x="4" y="142"/>
                    </a:cubicBezTo>
                    <a:cubicBezTo>
                      <a:pt x="4" y="95"/>
                      <a:pt x="22" y="60"/>
                      <a:pt x="41" y="37"/>
                    </a:cubicBezTo>
                    <a:cubicBezTo>
                      <a:pt x="50" y="25"/>
                      <a:pt x="59" y="17"/>
                      <a:pt x="66" y="11"/>
                    </a:cubicBezTo>
                    <a:cubicBezTo>
                      <a:pt x="69" y="9"/>
                      <a:pt x="72" y="6"/>
                      <a:pt x="74" y="5"/>
                    </a:cubicBezTo>
                    <a:cubicBezTo>
                      <a:pt x="75" y="4"/>
                      <a:pt x="76" y="4"/>
                      <a:pt x="76" y="4"/>
                    </a:cubicBezTo>
                    <a:cubicBezTo>
                      <a:pt x="77" y="3"/>
                      <a:pt x="77" y="3"/>
                      <a:pt x="77" y="3"/>
                    </a:cubicBezTo>
                    <a:cubicBezTo>
                      <a:pt x="77" y="3"/>
                      <a:pt x="77" y="3"/>
                      <a:pt x="77" y="3"/>
                    </a:cubicBezTo>
                    <a:cubicBezTo>
                      <a:pt x="75" y="0"/>
                      <a:pt x="75" y="0"/>
                      <a:pt x="75" y="0"/>
                    </a:cubicBezTo>
                  </a:path>
                </a:pathLst>
              </a:custGeom>
              <a:solidFill>
                <a:srgbClr val="00968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2" name="îŝļidê">
                <a:extLst>
                  <a:ext uri="{FF2B5EF4-FFF2-40B4-BE49-F238E27FC236}">
                    <a16:creationId xmlns:a16="http://schemas.microsoft.com/office/drawing/2014/main" id="{229458BE-A1B3-4B03-A82C-4FE20DACEA14}"/>
                  </a:ext>
                </a:extLst>
              </p:cNvPr>
              <p:cNvSpPr/>
              <p:nvPr/>
            </p:nvSpPr>
            <p:spPr bwMode="auto">
              <a:xfrm>
                <a:off x="4697413" y="4287838"/>
                <a:ext cx="100013" cy="325438"/>
              </a:xfrm>
              <a:custGeom>
                <a:avLst/>
                <a:gdLst>
                  <a:gd name="T0" fmla="*/ 75 w 77"/>
                  <a:gd name="T1" fmla="*/ 0 h 251"/>
                  <a:gd name="T2" fmla="*/ 38 w 77"/>
                  <a:gd name="T3" fmla="*/ 34 h 251"/>
                  <a:gd name="T4" fmla="*/ 0 w 77"/>
                  <a:gd name="T5" fmla="*/ 142 h 251"/>
                  <a:gd name="T6" fmla="*/ 27 w 77"/>
                  <a:gd name="T7" fmla="*/ 251 h 251"/>
                  <a:gd name="T8" fmla="*/ 31 w 77"/>
                  <a:gd name="T9" fmla="*/ 249 h 251"/>
                  <a:gd name="T10" fmla="*/ 4 w 77"/>
                  <a:gd name="T11" fmla="*/ 142 h 251"/>
                  <a:gd name="T12" fmla="*/ 41 w 77"/>
                  <a:gd name="T13" fmla="*/ 37 h 251"/>
                  <a:gd name="T14" fmla="*/ 66 w 77"/>
                  <a:gd name="T15" fmla="*/ 11 h 251"/>
                  <a:gd name="T16" fmla="*/ 74 w 77"/>
                  <a:gd name="T17" fmla="*/ 5 h 251"/>
                  <a:gd name="T18" fmla="*/ 76 w 77"/>
                  <a:gd name="T19" fmla="*/ 4 h 251"/>
                  <a:gd name="T20" fmla="*/ 77 w 77"/>
                  <a:gd name="T21" fmla="*/ 3 h 251"/>
                  <a:gd name="T22" fmla="*/ 77 w 77"/>
                  <a:gd name="T23" fmla="*/ 3 h 251"/>
                  <a:gd name="T24" fmla="*/ 75 w 77"/>
                  <a:gd name="T25"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 h="251">
                    <a:moveTo>
                      <a:pt x="75" y="0"/>
                    </a:moveTo>
                    <a:cubicBezTo>
                      <a:pt x="75" y="0"/>
                      <a:pt x="56" y="11"/>
                      <a:pt x="38" y="34"/>
                    </a:cubicBezTo>
                    <a:cubicBezTo>
                      <a:pt x="19" y="58"/>
                      <a:pt x="0" y="94"/>
                      <a:pt x="0" y="142"/>
                    </a:cubicBezTo>
                    <a:cubicBezTo>
                      <a:pt x="0" y="173"/>
                      <a:pt x="8" y="209"/>
                      <a:pt x="27" y="251"/>
                    </a:cubicBezTo>
                    <a:cubicBezTo>
                      <a:pt x="31" y="249"/>
                      <a:pt x="31" y="249"/>
                      <a:pt x="31" y="249"/>
                    </a:cubicBezTo>
                    <a:cubicBezTo>
                      <a:pt x="11" y="208"/>
                      <a:pt x="4" y="173"/>
                      <a:pt x="4" y="142"/>
                    </a:cubicBezTo>
                    <a:cubicBezTo>
                      <a:pt x="4" y="95"/>
                      <a:pt x="22" y="60"/>
                      <a:pt x="41" y="37"/>
                    </a:cubicBezTo>
                    <a:cubicBezTo>
                      <a:pt x="50" y="25"/>
                      <a:pt x="59" y="17"/>
                      <a:pt x="66" y="11"/>
                    </a:cubicBezTo>
                    <a:cubicBezTo>
                      <a:pt x="69" y="9"/>
                      <a:pt x="72" y="6"/>
                      <a:pt x="74" y="5"/>
                    </a:cubicBezTo>
                    <a:cubicBezTo>
                      <a:pt x="75" y="4"/>
                      <a:pt x="76" y="4"/>
                      <a:pt x="76" y="4"/>
                    </a:cubicBezTo>
                    <a:cubicBezTo>
                      <a:pt x="77" y="3"/>
                      <a:pt x="77" y="3"/>
                      <a:pt x="77" y="3"/>
                    </a:cubicBezTo>
                    <a:cubicBezTo>
                      <a:pt x="77" y="3"/>
                      <a:pt x="77" y="3"/>
                      <a:pt x="77" y="3"/>
                    </a:cubicBezTo>
                    <a:cubicBezTo>
                      <a:pt x="75" y="0"/>
                      <a:pt x="75" y="0"/>
                      <a:pt x="75" y="0"/>
                    </a:cubicBezTo>
                  </a:path>
                </a:pathLst>
              </a:custGeom>
              <a:solidFill>
                <a:srgbClr val="00968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3" name="íšľïḍè">
                <a:extLst>
                  <a:ext uri="{FF2B5EF4-FFF2-40B4-BE49-F238E27FC236}">
                    <a16:creationId xmlns:a16="http://schemas.microsoft.com/office/drawing/2014/main" id="{07617673-69D9-448A-BA55-50A66F025804}"/>
                  </a:ext>
                </a:extLst>
              </p:cNvPr>
              <p:cNvSpPr/>
              <p:nvPr/>
            </p:nvSpPr>
            <p:spPr bwMode="auto">
              <a:xfrm>
                <a:off x="4883151" y="4249738"/>
                <a:ext cx="100013" cy="325438"/>
              </a:xfrm>
              <a:custGeom>
                <a:avLst/>
                <a:gdLst>
                  <a:gd name="T0" fmla="*/ 2 w 77"/>
                  <a:gd name="T1" fmla="*/ 0 h 251"/>
                  <a:gd name="T2" fmla="*/ 0 w 77"/>
                  <a:gd name="T3" fmla="*/ 3 h 251"/>
                  <a:gd name="T4" fmla="*/ 0 w 77"/>
                  <a:gd name="T5" fmla="*/ 3 h 251"/>
                  <a:gd name="T6" fmla="*/ 38 w 77"/>
                  <a:gd name="T7" fmla="*/ 39 h 251"/>
                  <a:gd name="T8" fmla="*/ 73 w 77"/>
                  <a:gd name="T9" fmla="*/ 142 h 251"/>
                  <a:gd name="T10" fmla="*/ 46 w 77"/>
                  <a:gd name="T11" fmla="*/ 249 h 251"/>
                  <a:gd name="T12" fmla="*/ 50 w 77"/>
                  <a:gd name="T13" fmla="*/ 251 h 251"/>
                  <a:gd name="T14" fmla="*/ 77 w 77"/>
                  <a:gd name="T15" fmla="*/ 142 h 251"/>
                  <a:gd name="T16" fmla="*/ 39 w 77"/>
                  <a:gd name="T17" fmla="*/ 34 h 251"/>
                  <a:gd name="T18" fmla="*/ 2 w 77"/>
                  <a:gd name="T19"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251">
                    <a:moveTo>
                      <a:pt x="2" y="0"/>
                    </a:moveTo>
                    <a:cubicBezTo>
                      <a:pt x="0" y="3"/>
                      <a:pt x="0" y="3"/>
                      <a:pt x="0" y="3"/>
                    </a:cubicBezTo>
                    <a:cubicBezTo>
                      <a:pt x="0" y="3"/>
                      <a:pt x="0" y="3"/>
                      <a:pt x="0" y="3"/>
                    </a:cubicBezTo>
                    <a:cubicBezTo>
                      <a:pt x="2" y="4"/>
                      <a:pt x="20" y="16"/>
                      <a:pt x="38" y="39"/>
                    </a:cubicBezTo>
                    <a:cubicBezTo>
                      <a:pt x="56" y="62"/>
                      <a:pt x="73" y="96"/>
                      <a:pt x="73" y="142"/>
                    </a:cubicBezTo>
                    <a:cubicBezTo>
                      <a:pt x="73" y="173"/>
                      <a:pt x="65" y="208"/>
                      <a:pt x="46" y="249"/>
                    </a:cubicBezTo>
                    <a:cubicBezTo>
                      <a:pt x="50" y="251"/>
                      <a:pt x="50" y="251"/>
                      <a:pt x="50" y="251"/>
                    </a:cubicBezTo>
                    <a:cubicBezTo>
                      <a:pt x="69" y="209"/>
                      <a:pt x="77" y="173"/>
                      <a:pt x="77" y="142"/>
                    </a:cubicBezTo>
                    <a:cubicBezTo>
                      <a:pt x="77" y="94"/>
                      <a:pt x="58" y="58"/>
                      <a:pt x="39" y="34"/>
                    </a:cubicBezTo>
                    <a:cubicBezTo>
                      <a:pt x="21" y="11"/>
                      <a:pt x="2" y="0"/>
                      <a:pt x="2" y="0"/>
                    </a:cubicBezTo>
                  </a:path>
                </a:pathLst>
              </a:custGeom>
              <a:solidFill>
                <a:srgbClr val="00968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4" name="ïs1íḑe">
                <a:extLst>
                  <a:ext uri="{FF2B5EF4-FFF2-40B4-BE49-F238E27FC236}">
                    <a16:creationId xmlns:a16="http://schemas.microsoft.com/office/drawing/2014/main" id="{E318AF2B-D031-4767-B3D5-E92BB77F5C43}"/>
                  </a:ext>
                </a:extLst>
              </p:cNvPr>
              <p:cNvSpPr/>
              <p:nvPr/>
            </p:nvSpPr>
            <p:spPr bwMode="auto">
              <a:xfrm>
                <a:off x="4822826" y="4303713"/>
                <a:ext cx="100013" cy="325438"/>
              </a:xfrm>
              <a:custGeom>
                <a:avLst/>
                <a:gdLst>
                  <a:gd name="T0" fmla="*/ 10 w 77"/>
                  <a:gd name="T1" fmla="*/ 7 h 251"/>
                  <a:gd name="T2" fmla="*/ 10 w 77"/>
                  <a:gd name="T3" fmla="*/ 12 h 251"/>
                  <a:gd name="T4" fmla="*/ 38 w 77"/>
                  <a:gd name="T5" fmla="*/ 40 h 251"/>
                  <a:gd name="T6" fmla="*/ 73 w 77"/>
                  <a:gd name="T7" fmla="*/ 143 h 251"/>
                  <a:gd name="T8" fmla="*/ 46 w 77"/>
                  <a:gd name="T9" fmla="*/ 250 h 251"/>
                  <a:gd name="T10" fmla="*/ 49 w 77"/>
                  <a:gd name="T11" fmla="*/ 251 h 251"/>
                  <a:gd name="T12" fmla="*/ 77 w 77"/>
                  <a:gd name="T13" fmla="*/ 143 h 251"/>
                  <a:gd name="T14" fmla="*/ 39 w 77"/>
                  <a:gd name="T15" fmla="*/ 35 h 251"/>
                  <a:gd name="T16" fmla="*/ 10 w 77"/>
                  <a:gd name="T17" fmla="*/ 7 h 251"/>
                  <a:gd name="T18" fmla="*/ 2 w 77"/>
                  <a:gd name="T19" fmla="*/ 0 h 251"/>
                  <a:gd name="T20" fmla="*/ 0 w 77"/>
                  <a:gd name="T21" fmla="*/ 4 h 251"/>
                  <a:gd name="T22" fmla="*/ 0 w 77"/>
                  <a:gd name="T23" fmla="*/ 4 h 251"/>
                  <a:gd name="T24" fmla="*/ 2 w 77"/>
                  <a:gd name="T25" fmla="*/ 6 h 251"/>
                  <a:gd name="T26" fmla="*/ 2 w 77"/>
                  <a:gd name="T27" fmla="*/ 1 h 251"/>
                  <a:gd name="T28" fmla="*/ 2 w 77"/>
                  <a:gd name="T29"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7" h="251">
                    <a:moveTo>
                      <a:pt x="10" y="7"/>
                    </a:moveTo>
                    <a:cubicBezTo>
                      <a:pt x="10" y="12"/>
                      <a:pt x="10" y="12"/>
                      <a:pt x="10" y="12"/>
                    </a:cubicBezTo>
                    <a:cubicBezTo>
                      <a:pt x="18" y="18"/>
                      <a:pt x="28" y="27"/>
                      <a:pt x="38" y="40"/>
                    </a:cubicBezTo>
                    <a:cubicBezTo>
                      <a:pt x="55" y="63"/>
                      <a:pt x="73" y="97"/>
                      <a:pt x="73" y="143"/>
                    </a:cubicBezTo>
                    <a:cubicBezTo>
                      <a:pt x="73" y="173"/>
                      <a:pt x="65" y="209"/>
                      <a:pt x="46" y="250"/>
                    </a:cubicBezTo>
                    <a:cubicBezTo>
                      <a:pt x="49" y="251"/>
                      <a:pt x="49" y="251"/>
                      <a:pt x="49" y="251"/>
                    </a:cubicBezTo>
                    <a:cubicBezTo>
                      <a:pt x="69" y="210"/>
                      <a:pt x="77" y="174"/>
                      <a:pt x="77" y="143"/>
                    </a:cubicBezTo>
                    <a:cubicBezTo>
                      <a:pt x="77" y="94"/>
                      <a:pt x="58" y="59"/>
                      <a:pt x="39" y="35"/>
                    </a:cubicBezTo>
                    <a:cubicBezTo>
                      <a:pt x="28" y="22"/>
                      <a:pt x="18" y="12"/>
                      <a:pt x="10" y="7"/>
                    </a:cubicBezTo>
                    <a:moveTo>
                      <a:pt x="2" y="0"/>
                    </a:moveTo>
                    <a:cubicBezTo>
                      <a:pt x="0" y="4"/>
                      <a:pt x="0" y="4"/>
                      <a:pt x="0" y="4"/>
                    </a:cubicBezTo>
                    <a:cubicBezTo>
                      <a:pt x="0" y="4"/>
                      <a:pt x="0" y="4"/>
                      <a:pt x="0" y="4"/>
                    </a:cubicBezTo>
                    <a:cubicBezTo>
                      <a:pt x="0" y="4"/>
                      <a:pt x="1" y="5"/>
                      <a:pt x="2" y="6"/>
                    </a:cubicBezTo>
                    <a:cubicBezTo>
                      <a:pt x="2" y="1"/>
                      <a:pt x="2" y="1"/>
                      <a:pt x="2" y="1"/>
                    </a:cubicBezTo>
                    <a:cubicBezTo>
                      <a:pt x="2" y="1"/>
                      <a:pt x="2" y="0"/>
                      <a:pt x="2" y="0"/>
                    </a:cubicBezTo>
                  </a:path>
                </a:pathLst>
              </a:custGeom>
              <a:solidFill>
                <a:srgbClr val="00968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5" name="îṧlîḍè">
                <a:extLst>
                  <a:ext uri="{FF2B5EF4-FFF2-40B4-BE49-F238E27FC236}">
                    <a16:creationId xmlns:a16="http://schemas.microsoft.com/office/drawing/2014/main" id="{C68DF5BD-0141-4F54-98C5-C94618B2054E}"/>
                  </a:ext>
                </a:extLst>
              </p:cNvPr>
              <p:cNvSpPr/>
              <p:nvPr/>
            </p:nvSpPr>
            <p:spPr bwMode="auto">
              <a:xfrm>
                <a:off x="4826001" y="4305301"/>
                <a:ext cx="9525" cy="14288"/>
              </a:xfrm>
              <a:custGeom>
                <a:avLst/>
                <a:gdLst>
                  <a:gd name="T0" fmla="*/ 0 w 8"/>
                  <a:gd name="T1" fmla="*/ 0 h 11"/>
                  <a:gd name="T2" fmla="*/ 0 w 8"/>
                  <a:gd name="T3" fmla="*/ 5 h 11"/>
                  <a:gd name="T4" fmla="*/ 8 w 8"/>
                  <a:gd name="T5" fmla="*/ 11 h 11"/>
                  <a:gd name="T6" fmla="*/ 8 w 8"/>
                  <a:gd name="T7" fmla="*/ 6 h 11"/>
                  <a:gd name="T8" fmla="*/ 0 w 8"/>
                  <a:gd name="T9" fmla="*/ 0 h 11"/>
                </a:gdLst>
                <a:ahLst/>
                <a:cxnLst>
                  <a:cxn ang="0">
                    <a:pos x="T0" y="T1"/>
                  </a:cxn>
                  <a:cxn ang="0">
                    <a:pos x="T2" y="T3"/>
                  </a:cxn>
                  <a:cxn ang="0">
                    <a:pos x="T4" y="T5"/>
                  </a:cxn>
                  <a:cxn ang="0">
                    <a:pos x="T6" y="T7"/>
                  </a:cxn>
                  <a:cxn ang="0">
                    <a:pos x="T8" y="T9"/>
                  </a:cxn>
                </a:cxnLst>
                <a:rect l="0" t="0" r="r" b="b"/>
                <a:pathLst>
                  <a:path w="8" h="11">
                    <a:moveTo>
                      <a:pt x="0" y="0"/>
                    </a:moveTo>
                    <a:cubicBezTo>
                      <a:pt x="0" y="5"/>
                      <a:pt x="0" y="5"/>
                      <a:pt x="0" y="5"/>
                    </a:cubicBezTo>
                    <a:cubicBezTo>
                      <a:pt x="2" y="6"/>
                      <a:pt x="5" y="8"/>
                      <a:pt x="8" y="11"/>
                    </a:cubicBezTo>
                    <a:cubicBezTo>
                      <a:pt x="8" y="6"/>
                      <a:pt x="8" y="6"/>
                      <a:pt x="8" y="6"/>
                    </a:cubicBezTo>
                    <a:cubicBezTo>
                      <a:pt x="5" y="3"/>
                      <a:pt x="2" y="1"/>
                      <a:pt x="0" y="0"/>
                    </a:cubicBezTo>
                  </a:path>
                </a:pathLst>
              </a:custGeom>
              <a:solidFill>
                <a:srgbClr val="475E6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6" name="iṧḷiďè">
                <a:extLst>
                  <a:ext uri="{FF2B5EF4-FFF2-40B4-BE49-F238E27FC236}">
                    <a16:creationId xmlns:a16="http://schemas.microsoft.com/office/drawing/2014/main" id="{A10B91AE-399F-4F78-8875-A626ED0DD28B}"/>
                  </a:ext>
                </a:extLst>
              </p:cNvPr>
              <p:cNvSpPr/>
              <p:nvPr/>
            </p:nvSpPr>
            <p:spPr bwMode="auto">
              <a:xfrm>
                <a:off x="3767138" y="1606551"/>
                <a:ext cx="417513" cy="160338"/>
              </a:xfrm>
              <a:custGeom>
                <a:avLst/>
                <a:gdLst>
                  <a:gd name="T0" fmla="*/ 301 w 321"/>
                  <a:gd name="T1" fmla="*/ 41 h 124"/>
                  <a:gd name="T2" fmla="*/ 271 w 321"/>
                  <a:gd name="T3" fmla="*/ 41 h 124"/>
                  <a:gd name="T4" fmla="*/ 292 w 321"/>
                  <a:gd name="T5" fmla="*/ 20 h 124"/>
                  <a:gd name="T6" fmla="*/ 271 w 321"/>
                  <a:gd name="T7" fmla="*/ 0 h 124"/>
                  <a:gd name="T8" fmla="*/ 32 w 321"/>
                  <a:gd name="T9" fmla="*/ 0 h 124"/>
                  <a:gd name="T10" fmla="*/ 12 w 321"/>
                  <a:gd name="T11" fmla="*/ 20 h 124"/>
                  <a:gd name="T12" fmla="*/ 32 w 321"/>
                  <a:gd name="T13" fmla="*/ 41 h 124"/>
                  <a:gd name="T14" fmla="*/ 32 w 321"/>
                  <a:gd name="T15" fmla="*/ 41 h 124"/>
                  <a:gd name="T16" fmla="*/ 62 w 321"/>
                  <a:gd name="T17" fmla="*/ 41 h 124"/>
                  <a:gd name="T18" fmla="*/ 41 w 321"/>
                  <a:gd name="T19" fmla="*/ 62 h 124"/>
                  <a:gd name="T20" fmla="*/ 62 w 321"/>
                  <a:gd name="T21" fmla="*/ 82 h 124"/>
                  <a:gd name="T22" fmla="*/ 21 w 321"/>
                  <a:gd name="T23" fmla="*/ 82 h 124"/>
                  <a:gd name="T24" fmla="*/ 0 w 321"/>
                  <a:gd name="T25" fmla="*/ 103 h 124"/>
                  <a:gd name="T26" fmla="*/ 21 w 321"/>
                  <a:gd name="T27" fmla="*/ 124 h 124"/>
                  <a:gd name="T28" fmla="*/ 259 w 321"/>
                  <a:gd name="T29" fmla="*/ 124 h 124"/>
                  <a:gd name="T30" fmla="*/ 280 w 321"/>
                  <a:gd name="T31" fmla="*/ 103 h 124"/>
                  <a:gd name="T32" fmla="*/ 259 w 321"/>
                  <a:gd name="T33" fmla="*/ 82 h 124"/>
                  <a:gd name="T34" fmla="*/ 301 w 321"/>
                  <a:gd name="T35" fmla="*/ 82 h 124"/>
                  <a:gd name="T36" fmla="*/ 321 w 321"/>
                  <a:gd name="T37" fmla="*/ 62 h 124"/>
                  <a:gd name="T38" fmla="*/ 301 w 321"/>
                  <a:gd name="T39" fmla="*/ 41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1" h="124">
                    <a:moveTo>
                      <a:pt x="301" y="41"/>
                    </a:moveTo>
                    <a:cubicBezTo>
                      <a:pt x="271" y="41"/>
                      <a:pt x="271" y="41"/>
                      <a:pt x="271" y="41"/>
                    </a:cubicBezTo>
                    <a:cubicBezTo>
                      <a:pt x="282" y="41"/>
                      <a:pt x="292" y="32"/>
                      <a:pt x="292" y="20"/>
                    </a:cubicBezTo>
                    <a:cubicBezTo>
                      <a:pt x="292" y="9"/>
                      <a:pt x="282" y="0"/>
                      <a:pt x="271" y="0"/>
                    </a:cubicBezTo>
                    <a:cubicBezTo>
                      <a:pt x="32" y="0"/>
                      <a:pt x="32" y="0"/>
                      <a:pt x="32" y="0"/>
                    </a:cubicBezTo>
                    <a:cubicBezTo>
                      <a:pt x="21" y="0"/>
                      <a:pt x="12" y="9"/>
                      <a:pt x="12" y="20"/>
                    </a:cubicBezTo>
                    <a:cubicBezTo>
                      <a:pt x="12" y="32"/>
                      <a:pt x="21" y="41"/>
                      <a:pt x="32" y="41"/>
                    </a:cubicBezTo>
                    <a:cubicBezTo>
                      <a:pt x="32" y="41"/>
                      <a:pt x="32" y="41"/>
                      <a:pt x="32" y="41"/>
                    </a:cubicBezTo>
                    <a:cubicBezTo>
                      <a:pt x="62" y="41"/>
                      <a:pt x="62" y="41"/>
                      <a:pt x="62" y="41"/>
                    </a:cubicBezTo>
                    <a:cubicBezTo>
                      <a:pt x="50" y="41"/>
                      <a:pt x="41" y="50"/>
                      <a:pt x="41" y="62"/>
                    </a:cubicBezTo>
                    <a:cubicBezTo>
                      <a:pt x="41" y="73"/>
                      <a:pt x="50" y="82"/>
                      <a:pt x="62" y="82"/>
                    </a:cubicBezTo>
                    <a:cubicBezTo>
                      <a:pt x="21" y="82"/>
                      <a:pt x="21" y="82"/>
                      <a:pt x="21" y="82"/>
                    </a:cubicBezTo>
                    <a:cubicBezTo>
                      <a:pt x="9" y="82"/>
                      <a:pt x="0" y="92"/>
                      <a:pt x="0" y="103"/>
                    </a:cubicBezTo>
                    <a:cubicBezTo>
                      <a:pt x="0" y="114"/>
                      <a:pt x="9" y="124"/>
                      <a:pt x="21" y="124"/>
                    </a:cubicBezTo>
                    <a:cubicBezTo>
                      <a:pt x="259" y="124"/>
                      <a:pt x="259" y="124"/>
                      <a:pt x="259" y="124"/>
                    </a:cubicBezTo>
                    <a:cubicBezTo>
                      <a:pt x="271" y="124"/>
                      <a:pt x="280" y="114"/>
                      <a:pt x="280" y="103"/>
                    </a:cubicBezTo>
                    <a:cubicBezTo>
                      <a:pt x="280" y="92"/>
                      <a:pt x="271" y="82"/>
                      <a:pt x="259" y="82"/>
                    </a:cubicBezTo>
                    <a:cubicBezTo>
                      <a:pt x="301" y="82"/>
                      <a:pt x="301" y="82"/>
                      <a:pt x="301" y="82"/>
                    </a:cubicBezTo>
                    <a:cubicBezTo>
                      <a:pt x="312" y="82"/>
                      <a:pt x="321" y="73"/>
                      <a:pt x="321" y="62"/>
                    </a:cubicBezTo>
                    <a:cubicBezTo>
                      <a:pt x="321" y="50"/>
                      <a:pt x="312" y="41"/>
                      <a:pt x="301" y="41"/>
                    </a:cubicBezTo>
                    <a:close/>
                  </a:path>
                </a:pathLst>
              </a:custGeom>
              <a:solidFill>
                <a:srgbClr val="009688">
                  <a:alpha val="20000"/>
                </a:srgbClr>
              </a:solidFill>
              <a:ln>
                <a:noFill/>
              </a:ln>
            </p:spPr>
            <p:txBody>
              <a:bodyPr anchor="ctr"/>
              <a:lstStyle/>
              <a:p>
                <a:pPr algn="ctr"/>
                <a:endParaRPr/>
              </a:p>
            </p:txBody>
          </p:sp>
          <p:sp>
            <p:nvSpPr>
              <p:cNvPr id="187" name="ïṣľidè">
                <a:extLst>
                  <a:ext uri="{FF2B5EF4-FFF2-40B4-BE49-F238E27FC236}">
                    <a16:creationId xmlns:a16="http://schemas.microsoft.com/office/drawing/2014/main" id="{A3A59342-5C10-4433-92EE-186A4AD63A05}"/>
                  </a:ext>
                </a:extLst>
              </p:cNvPr>
              <p:cNvSpPr/>
              <p:nvPr/>
            </p:nvSpPr>
            <p:spPr bwMode="auto">
              <a:xfrm>
                <a:off x="5886451" y="1355726"/>
                <a:ext cx="415925" cy="161925"/>
              </a:xfrm>
              <a:custGeom>
                <a:avLst/>
                <a:gdLst>
                  <a:gd name="T0" fmla="*/ 300 w 321"/>
                  <a:gd name="T1" fmla="*/ 41 h 124"/>
                  <a:gd name="T2" fmla="*/ 271 w 321"/>
                  <a:gd name="T3" fmla="*/ 41 h 124"/>
                  <a:gd name="T4" fmla="*/ 292 w 321"/>
                  <a:gd name="T5" fmla="*/ 21 h 124"/>
                  <a:gd name="T6" fmla="*/ 271 w 321"/>
                  <a:gd name="T7" fmla="*/ 0 h 124"/>
                  <a:gd name="T8" fmla="*/ 32 w 321"/>
                  <a:gd name="T9" fmla="*/ 0 h 124"/>
                  <a:gd name="T10" fmla="*/ 12 w 321"/>
                  <a:gd name="T11" fmla="*/ 21 h 124"/>
                  <a:gd name="T12" fmla="*/ 32 w 321"/>
                  <a:gd name="T13" fmla="*/ 41 h 124"/>
                  <a:gd name="T14" fmla="*/ 32 w 321"/>
                  <a:gd name="T15" fmla="*/ 41 h 124"/>
                  <a:gd name="T16" fmla="*/ 62 w 321"/>
                  <a:gd name="T17" fmla="*/ 41 h 124"/>
                  <a:gd name="T18" fmla="*/ 41 w 321"/>
                  <a:gd name="T19" fmla="*/ 62 h 124"/>
                  <a:gd name="T20" fmla="*/ 62 w 321"/>
                  <a:gd name="T21" fmla="*/ 83 h 124"/>
                  <a:gd name="T22" fmla="*/ 20 w 321"/>
                  <a:gd name="T23" fmla="*/ 83 h 124"/>
                  <a:gd name="T24" fmla="*/ 0 w 321"/>
                  <a:gd name="T25" fmla="*/ 103 h 124"/>
                  <a:gd name="T26" fmla="*/ 20 w 321"/>
                  <a:gd name="T27" fmla="*/ 124 h 124"/>
                  <a:gd name="T28" fmla="*/ 20 w 321"/>
                  <a:gd name="T29" fmla="*/ 124 h 124"/>
                  <a:gd name="T30" fmla="*/ 259 w 321"/>
                  <a:gd name="T31" fmla="*/ 124 h 124"/>
                  <a:gd name="T32" fmla="*/ 280 w 321"/>
                  <a:gd name="T33" fmla="*/ 103 h 124"/>
                  <a:gd name="T34" fmla="*/ 259 w 321"/>
                  <a:gd name="T35" fmla="*/ 83 h 124"/>
                  <a:gd name="T36" fmla="*/ 300 w 321"/>
                  <a:gd name="T37" fmla="*/ 83 h 124"/>
                  <a:gd name="T38" fmla="*/ 321 w 321"/>
                  <a:gd name="T39" fmla="*/ 62 h 124"/>
                  <a:gd name="T40" fmla="*/ 300 w 321"/>
                  <a:gd name="T41" fmla="*/ 41 h 124"/>
                  <a:gd name="T42" fmla="*/ 300 w 321"/>
                  <a:gd name="T43" fmla="*/ 41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1" h="124">
                    <a:moveTo>
                      <a:pt x="300" y="41"/>
                    </a:moveTo>
                    <a:cubicBezTo>
                      <a:pt x="271" y="41"/>
                      <a:pt x="271" y="41"/>
                      <a:pt x="271" y="41"/>
                    </a:cubicBezTo>
                    <a:cubicBezTo>
                      <a:pt x="282" y="41"/>
                      <a:pt x="292" y="32"/>
                      <a:pt x="292" y="21"/>
                    </a:cubicBezTo>
                    <a:cubicBezTo>
                      <a:pt x="292" y="9"/>
                      <a:pt x="282" y="0"/>
                      <a:pt x="271" y="0"/>
                    </a:cubicBezTo>
                    <a:cubicBezTo>
                      <a:pt x="32" y="0"/>
                      <a:pt x="32" y="0"/>
                      <a:pt x="32" y="0"/>
                    </a:cubicBezTo>
                    <a:cubicBezTo>
                      <a:pt x="21" y="0"/>
                      <a:pt x="12" y="9"/>
                      <a:pt x="12" y="21"/>
                    </a:cubicBezTo>
                    <a:cubicBezTo>
                      <a:pt x="12" y="32"/>
                      <a:pt x="21" y="41"/>
                      <a:pt x="32" y="41"/>
                    </a:cubicBezTo>
                    <a:cubicBezTo>
                      <a:pt x="32" y="41"/>
                      <a:pt x="32" y="41"/>
                      <a:pt x="32" y="41"/>
                    </a:cubicBezTo>
                    <a:cubicBezTo>
                      <a:pt x="62" y="41"/>
                      <a:pt x="62" y="41"/>
                      <a:pt x="62" y="41"/>
                    </a:cubicBezTo>
                    <a:cubicBezTo>
                      <a:pt x="50" y="41"/>
                      <a:pt x="41" y="51"/>
                      <a:pt x="41" y="62"/>
                    </a:cubicBezTo>
                    <a:cubicBezTo>
                      <a:pt x="41" y="73"/>
                      <a:pt x="50" y="83"/>
                      <a:pt x="62" y="83"/>
                    </a:cubicBezTo>
                    <a:cubicBezTo>
                      <a:pt x="20" y="83"/>
                      <a:pt x="20" y="83"/>
                      <a:pt x="20" y="83"/>
                    </a:cubicBezTo>
                    <a:cubicBezTo>
                      <a:pt x="9" y="83"/>
                      <a:pt x="0" y="92"/>
                      <a:pt x="0" y="103"/>
                    </a:cubicBezTo>
                    <a:cubicBezTo>
                      <a:pt x="0" y="115"/>
                      <a:pt x="9" y="124"/>
                      <a:pt x="20" y="124"/>
                    </a:cubicBezTo>
                    <a:cubicBezTo>
                      <a:pt x="20" y="124"/>
                      <a:pt x="20" y="124"/>
                      <a:pt x="20" y="124"/>
                    </a:cubicBezTo>
                    <a:cubicBezTo>
                      <a:pt x="259" y="124"/>
                      <a:pt x="259" y="124"/>
                      <a:pt x="259" y="124"/>
                    </a:cubicBezTo>
                    <a:cubicBezTo>
                      <a:pt x="271" y="124"/>
                      <a:pt x="280" y="115"/>
                      <a:pt x="280" y="103"/>
                    </a:cubicBezTo>
                    <a:cubicBezTo>
                      <a:pt x="280" y="92"/>
                      <a:pt x="271" y="83"/>
                      <a:pt x="259" y="83"/>
                    </a:cubicBezTo>
                    <a:cubicBezTo>
                      <a:pt x="300" y="83"/>
                      <a:pt x="300" y="83"/>
                      <a:pt x="300" y="83"/>
                    </a:cubicBezTo>
                    <a:cubicBezTo>
                      <a:pt x="312" y="83"/>
                      <a:pt x="321" y="73"/>
                      <a:pt x="321" y="62"/>
                    </a:cubicBezTo>
                    <a:cubicBezTo>
                      <a:pt x="321" y="51"/>
                      <a:pt x="312" y="41"/>
                      <a:pt x="300" y="41"/>
                    </a:cubicBezTo>
                    <a:cubicBezTo>
                      <a:pt x="300" y="41"/>
                      <a:pt x="300" y="41"/>
                      <a:pt x="300" y="41"/>
                    </a:cubicBezTo>
                    <a:close/>
                  </a:path>
                </a:pathLst>
              </a:custGeom>
              <a:solidFill>
                <a:srgbClr val="009688">
                  <a:alpha val="20000"/>
                </a:srgbClr>
              </a:solidFill>
              <a:ln>
                <a:noFill/>
              </a:ln>
            </p:spPr>
            <p:txBody>
              <a:bodyPr anchor="ctr"/>
              <a:lstStyle/>
              <a:p>
                <a:pPr algn="ctr"/>
                <a:endParaRPr/>
              </a:p>
            </p:txBody>
          </p:sp>
          <p:sp>
            <p:nvSpPr>
              <p:cNvPr id="188" name="ïśľïḓé">
                <a:extLst>
                  <a:ext uri="{FF2B5EF4-FFF2-40B4-BE49-F238E27FC236}">
                    <a16:creationId xmlns:a16="http://schemas.microsoft.com/office/drawing/2014/main" id="{FBE6793E-E325-4CE5-943C-053CBF4FF501}"/>
                  </a:ext>
                </a:extLst>
              </p:cNvPr>
              <p:cNvSpPr/>
              <p:nvPr/>
            </p:nvSpPr>
            <p:spPr bwMode="auto">
              <a:xfrm>
                <a:off x="6997701" y="1766888"/>
                <a:ext cx="417513" cy="160338"/>
              </a:xfrm>
              <a:custGeom>
                <a:avLst/>
                <a:gdLst>
                  <a:gd name="T0" fmla="*/ 301 w 322"/>
                  <a:gd name="T1" fmla="*/ 41 h 124"/>
                  <a:gd name="T2" fmla="*/ 272 w 322"/>
                  <a:gd name="T3" fmla="*/ 41 h 124"/>
                  <a:gd name="T4" fmla="*/ 292 w 322"/>
                  <a:gd name="T5" fmla="*/ 21 h 124"/>
                  <a:gd name="T6" fmla="*/ 272 w 322"/>
                  <a:gd name="T7" fmla="*/ 0 h 124"/>
                  <a:gd name="T8" fmla="*/ 272 w 322"/>
                  <a:gd name="T9" fmla="*/ 0 h 124"/>
                  <a:gd name="T10" fmla="*/ 33 w 322"/>
                  <a:gd name="T11" fmla="*/ 0 h 124"/>
                  <a:gd name="T12" fmla="*/ 12 w 322"/>
                  <a:gd name="T13" fmla="*/ 21 h 124"/>
                  <a:gd name="T14" fmla="*/ 33 w 322"/>
                  <a:gd name="T15" fmla="*/ 41 h 124"/>
                  <a:gd name="T16" fmla="*/ 62 w 322"/>
                  <a:gd name="T17" fmla="*/ 41 h 124"/>
                  <a:gd name="T18" fmla="*/ 42 w 322"/>
                  <a:gd name="T19" fmla="*/ 62 h 124"/>
                  <a:gd name="T20" fmla="*/ 62 w 322"/>
                  <a:gd name="T21" fmla="*/ 83 h 124"/>
                  <a:gd name="T22" fmla="*/ 21 w 322"/>
                  <a:gd name="T23" fmla="*/ 83 h 124"/>
                  <a:gd name="T24" fmla="*/ 0 w 322"/>
                  <a:gd name="T25" fmla="*/ 103 h 124"/>
                  <a:gd name="T26" fmla="*/ 21 w 322"/>
                  <a:gd name="T27" fmla="*/ 124 h 124"/>
                  <a:gd name="T28" fmla="*/ 260 w 322"/>
                  <a:gd name="T29" fmla="*/ 124 h 124"/>
                  <a:gd name="T30" fmla="*/ 280 w 322"/>
                  <a:gd name="T31" fmla="*/ 103 h 124"/>
                  <a:gd name="T32" fmla="*/ 260 w 322"/>
                  <a:gd name="T33" fmla="*/ 83 h 124"/>
                  <a:gd name="T34" fmla="*/ 301 w 322"/>
                  <a:gd name="T35" fmla="*/ 83 h 124"/>
                  <a:gd name="T36" fmla="*/ 322 w 322"/>
                  <a:gd name="T37" fmla="*/ 62 h 124"/>
                  <a:gd name="T38" fmla="*/ 301 w 322"/>
                  <a:gd name="T39" fmla="*/ 41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2" h="124">
                    <a:moveTo>
                      <a:pt x="301" y="41"/>
                    </a:moveTo>
                    <a:cubicBezTo>
                      <a:pt x="272" y="41"/>
                      <a:pt x="272" y="41"/>
                      <a:pt x="272" y="41"/>
                    </a:cubicBezTo>
                    <a:cubicBezTo>
                      <a:pt x="283" y="41"/>
                      <a:pt x="292" y="32"/>
                      <a:pt x="292" y="21"/>
                    </a:cubicBezTo>
                    <a:cubicBezTo>
                      <a:pt x="292" y="9"/>
                      <a:pt x="283" y="0"/>
                      <a:pt x="272" y="0"/>
                    </a:cubicBezTo>
                    <a:cubicBezTo>
                      <a:pt x="272" y="0"/>
                      <a:pt x="272" y="0"/>
                      <a:pt x="272" y="0"/>
                    </a:cubicBezTo>
                    <a:cubicBezTo>
                      <a:pt x="33" y="0"/>
                      <a:pt x="33" y="0"/>
                      <a:pt x="33" y="0"/>
                    </a:cubicBezTo>
                    <a:cubicBezTo>
                      <a:pt x="22" y="0"/>
                      <a:pt x="12" y="9"/>
                      <a:pt x="12" y="21"/>
                    </a:cubicBezTo>
                    <a:cubicBezTo>
                      <a:pt x="12" y="32"/>
                      <a:pt x="22" y="41"/>
                      <a:pt x="33" y="41"/>
                    </a:cubicBezTo>
                    <a:cubicBezTo>
                      <a:pt x="62" y="41"/>
                      <a:pt x="62" y="41"/>
                      <a:pt x="62" y="41"/>
                    </a:cubicBezTo>
                    <a:cubicBezTo>
                      <a:pt x="51" y="41"/>
                      <a:pt x="42" y="51"/>
                      <a:pt x="42" y="62"/>
                    </a:cubicBezTo>
                    <a:cubicBezTo>
                      <a:pt x="42" y="73"/>
                      <a:pt x="51" y="83"/>
                      <a:pt x="62" y="83"/>
                    </a:cubicBezTo>
                    <a:cubicBezTo>
                      <a:pt x="21" y="83"/>
                      <a:pt x="21" y="83"/>
                      <a:pt x="21" y="83"/>
                    </a:cubicBezTo>
                    <a:cubicBezTo>
                      <a:pt x="10" y="83"/>
                      <a:pt x="0" y="92"/>
                      <a:pt x="0" y="103"/>
                    </a:cubicBezTo>
                    <a:cubicBezTo>
                      <a:pt x="0" y="115"/>
                      <a:pt x="10" y="124"/>
                      <a:pt x="21" y="124"/>
                    </a:cubicBezTo>
                    <a:cubicBezTo>
                      <a:pt x="260" y="124"/>
                      <a:pt x="260" y="124"/>
                      <a:pt x="260" y="124"/>
                    </a:cubicBezTo>
                    <a:cubicBezTo>
                      <a:pt x="271" y="124"/>
                      <a:pt x="280" y="115"/>
                      <a:pt x="280" y="103"/>
                    </a:cubicBezTo>
                    <a:cubicBezTo>
                      <a:pt x="280" y="92"/>
                      <a:pt x="271" y="83"/>
                      <a:pt x="260" y="83"/>
                    </a:cubicBezTo>
                    <a:cubicBezTo>
                      <a:pt x="301" y="83"/>
                      <a:pt x="301" y="83"/>
                      <a:pt x="301" y="83"/>
                    </a:cubicBezTo>
                    <a:cubicBezTo>
                      <a:pt x="313" y="83"/>
                      <a:pt x="322" y="73"/>
                      <a:pt x="322" y="62"/>
                    </a:cubicBezTo>
                    <a:cubicBezTo>
                      <a:pt x="322" y="51"/>
                      <a:pt x="313" y="41"/>
                      <a:pt x="301" y="41"/>
                    </a:cubicBezTo>
                    <a:close/>
                  </a:path>
                </a:pathLst>
              </a:custGeom>
              <a:solidFill>
                <a:srgbClr val="009688">
                  <a:alpha val="20000"/>
                </a:srgbClr>
              </a:solidFill>
              <a:ln>
                <a:noFill/>
              </a:ln>
            </p:spPr>
            <p:txBody>
              <a:bodyPr anchor="ctr"/>
              <a:lstStyle/>
              <a:p>
                <a:pPr algn="ctr"/>
                <a:endParaRPr/>
              </a:p>
            </p:txBody>
          </p:sp>
        </p:grpSp>
        <p:sp>
          <p:nvSpPr>
            <p:cNvPr id="5" name="椭圆 4"/>
            <p:cNvSpPr/>
            <p:nvPr/>
          </p:nvSpPr>
          <p:spPr>
            <a:xfrm>
              <a:off x="9666513" y="4905830"/>
              <a:ext cx="1959429" cy="1146628"/>
            </a:xfrm>
            <a:prstGeom prst="ellipse">
              <a:avLst/>
            </a:prstGeom>
            <a:blipFill>
              <a:blip r:embed="rId6"/>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029" name="直接箭头连接符 1028"/>
            <p:cNvCxnSpPr>
              <a:endCxn id="5" idx="2"/>
            </p:cNvCxnSpPr>
            <p:nvPr/>
          </p:nvCxnSpPr>
          <p:spPr>
            <a:xfrm flipV="1">
              <a:off x="8686800" y="5479144"/>
              <a:ext cx="979713" cy="72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pic>
        <p:nvPicPr>
          <p:cNvPr id="1032" name="Picture 8" descr="https://timgsa.baidu.com/timg?image&amp;quality=80&amp;size=b9999_10000&amp;sec=1537453349383&amp;di=f6020850b1cc70dd81709b5c003e2644&amp;imgtype=0&amp;src=http%3A%2F%2Fwww.tengdakeli.cn%2F350%2Ftimg04%2Fuploaded%2Fi4%2F13696026412733981%2FT1c91mFaJaXXXXXXXX_%2521%25210-item_pic.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432603" y="2850744"/>
            <a:ext cx="2353715" cy="2353715"/>
          </a:xfrm>
          <a:prstGeom prst="rect">
            <a:avLst/>
          </a:prstGeom>
          <a:noFill/>
          <a:extLst>
            <a:ext uri="{909E8E84-426E-40DD-AFC4-6F175D3DCCD1}">
              <a14:hiddenFill xmlns:a14="http://schemas.microsoft.com/office/drawing/2010/main">
                <a:solidFill>
                  <a:srgbClr val="FFFFFF"/>
                </a:solidFill>
              </a14:hiddenFill>
            </a:ext>
          </a:extLst>
        </p:spPr>
      </p:pic>
      <p:sp>
        <p:nvSpPr>
          <p:cNvPr id="189" name="标题 1"/>
          <p:cNvSpPr>
            <a:spLocks noGrp="1"/>
          </p:cNvSpPr>
          <p:nvPr>
            <p:ph type="title"/>
          </p:nvPr>
        </p:nvSpPr>
        <p:spPr>
          <a:xfrm>
            <a:off x="1137925" y="205921"/>
            <a:ext cx="10401280" cy="695186"/>
          </a:xfrm>
        </p:spPr>
        <p:txBody>
          <a:bodyPr/>
          <a:lstStyle/>
          <a:p>
            <a:r>
              <a:rPr lang="zh-CN" altLang="en-US" sz="3200" b="0" dirty="0" smtClean="0">
                <a:latin typeface="Arial"/>
                <a:ea typeface="Microsoft YaHei"/>
                <a:cs typeface="+mn-ea"/>
                <a:sym typeface="Arial"/>
              </a:rPr>
              <a:t>设计模式</a:t>
            </a:r>
            <a:endParaRPr lang="zh-CN" altLang="en-US" sz="3200" b="0" dirty="0">
              <a:latin typeface="Arial"/>
              <a:ea typeface="Microsoft YaHei"/>
              <a:cs typeface="+mn-ea"/>
              <a:sym typeface="Arial"/>
            </a:endParaRPr>
          </a:p>
        </p:txBody>
      </p:sp>
      <p:grpSp>
        <p:nvGrpSpPr>
          <p:cNvPr id="190" name="组合 189">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191" name="椭圆 190">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192" name="椭圆 191">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Tree>
    <p:extLst>
      <p:ext uri="{BB962C8B-B14F-4D97-AF65-F5344CB8AC3E}">
        <p14:creationId xmlns:p14="http://schemas.microsoft.com/office/powerpoint/2010/main" val="1839289001"/>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4" name="2328"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869651" y="2231513"/>
            <a:ext cx="10695354" cy="4199625"/>
            <a:chOff x="751665" y="1944000"/>
            <a:chExt cx="10695354" cy="4199625"/>
          </a:xfrm>
        </p:grpSpPr>
        <p:grpSp>
          <p:nvGrpSpPr>
            <p:cNvPr id="165" name="îšľïḑé"/>
            <p:cNvGrpSpPr/>
            <p:nvPr/>
          </p:nvGrpSpPr>
          <p:grpSpPr>
            <a:xfrm>
              <a:off x="1124915" y="1944000"/>
              <a:ext cx="1893873" cy="1895504"/>
              <a:chOff x="1187127" y="1882667"/>
              <a:chExt cx="1893873" cy="1895504"/>
            </a:xfrm>
          </p:grpSpPr>
          <p:grpSp>
            <p:nvGrpSpPr>
              <p:cNvPr id="198" name="ïŝľïďê"/>
              <p:cNvGrpSpPr/>
              <p:nvPr/>
            </p:nvGrpSpPr>
            <p:grpSpPr>
              <a:xfrm>
                <a:off x="1187127" y="1882667"/>
                <a:ext cx="1893873" cy="1895504"/>
                <a:chOff x="1137679" y="1882666"/>
                <a:chExt cx="1893873" cy="1895504"/>
              </a:xfrm>
            </p:grpSpPr>
            <p:sp>
              <p:nvSpPr>
                <p:cNvPr id="201" name="íş1iḍè"/>
                <p:cNvSpPr/>
                <p:nvPr/>
              </p:nvSpPr>
              <p:spPr>
                <a:xfrm>
                  <a:off x="1993828" y="1882666"/>
                  <a:ext cx="922997" cy="922997"/>
                </a:xfrm>
                <a:prstGeom prst="ellips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p>
              </p:txBody>
            </p:sp>
            <p:sp>
              <p:nvSpPr>
                <p:cNvPr id="202" name="ïṡḷïḋé"/>
                <p:cNvSpPr/>
                <p:nvPr/>
              </p:nvSpPr>
              <p:spPr>
                <a:xfrm>
                  <a:off x="1137679" y="2649356"/>
                  <a:ext cx="1128814" cy="1128814"/>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p>
              </p:txBody>
            </p:sp>
            <p:sp>
              <p:nvSpPr>
                <p:cNvPr id="203" name="îŝļïḑè"/>
                <p:cNvSpPr/>
                <p:nvPr/>
              </p:nvSpPr>
              <p:spPr>
                <a:xfrm>
                  <a:off x="2443773" y="3008397"/>
                  <a:ext cx="587779" cy="587779"/>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p>
              </p:txBody>
            </p:sp>
            <p:sp>
              <p:nvSpPr>
                <p:cNvPr id="200" name="ísľiḍé"/>
                <p:cNvSpPr/>
                <p:nvPr/>
              </p:nvSpPr>
              <p:spPr>
                <a:xfrm>
                  <a:off x="1343953" y="1965197"/>
                  <a:ext cx="1523869" cy="1523869"/>
                </a:xfrm>
                <a:prstGeom prst="ellipse">
                  <a:avLst/>
                </a:prstGeom>
                <a:solidFill>
                  <a:schemeClr val="accent1">
                    <a:lumMod val="50000"/>
                    <a:alpha val="5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p>
              </p:txBody>
            </p:sp>
          </p:grpSp>
          <p:sp>
            <p:nvSpPr>
              <p:cNvPr id="199" name="í$ļïḓé"/>
              <p:cNvSpPr/>
              <p:nvPr/>
            </p:nvSpPr>
            <p:spPr bwMode="auto">
              <a:xfrm>
                <a:off x="1810753" y="2510075"/>
                <a:ext cx="646620" cy="640687"/>
              </a:xfrm>
              <a:custGeom>
                <a:avLst/>
                <a:gdLst>
                  <a:gd name="connsiteX0" fmla="*/ 345243 w 609332"/>
                  <a:gd name="connsiteY0" fmla="*/ 467056 h 603742"/>
                  <a:gd name="connsiteX1" fmla="*/ 313466 w 609332"/>
                  <a:gd name="connsiteY1" fmla="*/ 498884 h 603742"/>
                  <a:gd name="connsiteX2" fmla="*/ 313466 w 609332"/>
                  <a:gd name="connsiteY2" fmla="*/ 534130 h 603742"/>
                  <a:gd name="connsiteX3" fmla="*/ 345243 w 609332"/>
                  <a:gd name="connsiteY3" fmla="*/ 565860 h 603742"/>
                  <a:gd name="connsiteX4" fmla="*/ 380637 w 609332"/>
                  <a:gd name="connsiteY4" fmla="*/ 565860 h 603742"/>
                  <a:gd name="connsiteX5" fmla="*/ 412414 w 609332"/>
                  <a:gd name="connsiteY5" fmla="*/ 534130 h 603742"/>
                  <a:gd name="connsiteX6" fmla="*/ 412414 w 609332"/>
                  <a:gd name="connsiteY6" fmla="*/ 498884 h 603742"/>
                  <a:gd name="connsiteX7" fmla="*/ 380637 w 609332"/>
                  <a:gd name="connsiteY7" fmla="*/ 467056 h 603742"/>
                  <a:gd name="connsiteX8" fmla="*/ 207478 w 609332"/>
                  <a:gd name="connsiteY8" fmla="*/ 467056 h 603742"/>
                  <a:gd name="connsiteX9" fmla="*/ 175701 w 609332"/>
                  <a:gd name="connsiteY9" fmla="*/ 498884 h 603742"/>
                  <a:gd name="connsiteX10" fmla="*/ 175701 w 609332"/>
                  <a:gd name="connsiteY10" fmla="*/ 534130 h 603742"/>
                  <a:gd name="connsiteX11" fmla="*/ 207478 w 609332"/>
                  <a:gd name="connsiteY11" fmla="*/ 565860 h 603742"/>
                  <a:gd name="connsiteX12" fmla="*/ 242872 w 609332"/>
                  <a:gd name="connsiteY12" fmla="*/ 565860 h 603742"/>
                  <a:gd name="connsiteX13" fmla="*/ 274649 w 609332"/>
                  <a:gd name="connsiteY13" fmla="*/ 534130 h 603742"/>
                  <a:gd name="connsiteX14" fmla="*/ 274649 w 609332"/>
                  <a:gd name="connsiteY14" fmla="*/ 498884 h 603742"/>
                  <a:gd name="connsiteX15" fmla="*/ 242872 w 609332"/>
                  <a:gd name="connsiteY15" fmla="*/ 467056 h 603742"/>
                  <a:gd name="connsiteX16" fmla="*/ 69713 w 609332"/>
                  <a:gd name="connsiteY16" fmla="*/ 467056 h 603742"/>
                  <a:gd name="connsiteX17" fmla="*/ 37937 w 609332"/>
                  <a:gd name="connsiteY17" fmla="*/ 498884 h 603742"/>
                  <a:gd name="connsiteX18" fmla="*/ 37937 w 609332"/>
                  <a:gd name="connsiteY18" fmla="*/ 534130 h 603742"/>
                  <a:gd name="connsiteX19" fmla="*/ 69713 w 609332"/>
                  <a:gd name="connsiteY19" fmla="*/ 565860 h 603742"/>
                  <a:gd name="connsiteX20" fmla="*/ 105108 w 609332"/>
                  <a:gd name="connsiteY20" fmla="*/ 565860 h 603742"/>
                  <a:gd name="connsiteX21" fmla="*/ 136885 w 609332"/>
                  <a:gd name="connsiteY21" fmla="*/ 534130 h 603742"/>
                  <a:gd name="connsiteX22" fmla="*/ 136885 w 609332"/>
                  <a:gd name="connsiteY22" fmla="*/ 498884 h 603742"/>
                  <a:gd name="connsiteX23" fmla="*/ 105108 w 609332"/>
                  <a:gd name="connsiteY23" fmla="*/ 467056 h 603742"/>
                  <a:gd name="connsiteX24" fmla="*/ 478607 w 609332"/>
                  <a:gd name="connsiteY24" fmla="*/ 132859 h 603742"/>
                  <a:gd name="connsiteX25" fmla="*/ 577555 w 609332"/>
                  <a:gd name="connsiteY25" fmla="*/ 132859 h 603742"/>
                  <a:gd name="connsiteX26" fmla="*/ 609332 w 609332"/>
                  <a:gd name="connsiteY26" fmla="*/ 469009 h 603742"/>
                  <a:gd name="connsiteX27" fmla="*/ 609332 w 609332"/>
                  <a:gd name="connsiteY27" fmla="*/ 603742 h 603742"/>
                  <a:gd name="connsiteX28" fmla="*/ 446830 w 609332"/>
                  <a:gd name="connsiteY28" fmla="*/ 603742 h 603742"/>
                  <a:gd name="connsiteX29" fmla="*/ 386797 w 609332"/>
                  <a:gd name="connsiteY29" fmla="*/ 603742 h 603742"/>
                  <a:gd name="connsiteX30" fmla="*/ 0 w 609332"/>
                  <a:gd name="connsiteY30" fmla="*/ 603742 h 603742"/>
                  <a:gd name="connsiteX31" fmla="*/ 0 w 609332"/>
                  <a:gd name="connsiteY31" fmla="*/ 349799 h 603742"/>
                  <a:gd name="connsiteX32" fmla="*/ 150084 w 609332"/>
                  <a:gd name="connsiteY32" fmla="*/ 273938 h 603742"/>
                  <a:gd name="connsiteX33" fmla="*/ 150084 w 609332"/>
                  <a:gd name="connsiteY33" fmla="*/ 348920 h 603742"/>
                  <a:gd name="connsiteX34" fmla="*/ 298506 w 609332"/>
                  <a:gd name="connsiteY34" fmla="*/ 273938 h 603742"/>
                  <a:gd name="connsiteX35" fmla="*/ 298506 w 609332"/>
                  <a:gd name="connsiteY35" fmla="*/ 348920 h 603742"/>
                  <a:gd name="connsiteX36" fmla="*/ 446830 w 609332"/>
                  <a:gd name="connsiteY36" fmla="*/ 273938 h 603742"/>
                  <a:gd name="connsiteX37" fmla="*/ 446830 w 609332"/>
                  <a:gd name="connsiteY37" fmla="*/ 349799 h 603742"/>
                  <a:gd name="connsiteX38" fmla="*/ 446830 w 609332"/>
                  <a:gd name="connsiteY38" fmla="*/ 469009 h 603742"/>
                  <a:gd name="connsiteX39" fmla="*/ 238001 w 609332"/>
                  <a:gd name="connsiteY39" fmla="*/ 0 h 603742"/>
                  <a:gd name="connsiteX40" fmla="*/ 386789 w 609332"/>
                  <a:gd name="connsiteY40" fmla="*/ 18744 h 603742"/>
                  <a:gd name="connsiteX41" fmla="*/ 569109 w 609332"/>
                  <a:gd name="connsiteY41" fmla="*/ 109925 h 603742"/>
                  <a:gd name="connsiteX42" fmla="*/ 479073 w 609332"/>
                  <a:gd name="connsiteY42" fmla="*/ 109925 h 603742"/>
                  <a:gd name="connsiteX43" fmla="*/ 296754 w 609332"/>
                  <a:gd name="connsiteY43" fmla="*/ 70290 h 603742"/>
                  <a:gd name="connsiteX44" fmla="*/ 238001 w 609332"/>
                  <a:gd name="connsiteY44" fmla="*/ 0 h 603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609332" h="603742">
                    <a:moveTo>
                      <a:pt x="345243" y="467056"/>
                    </a:moveTo>
                    <a:cubicBezTo>
                      <a:pt x="327741" y="467056"/>
                      <a:pt x="313466" y="481310"/>
                      <a:pt x="313466" y="498884"/>
                    </a:cubicBezTo>
                    <a:lnTo>
                      <a:pt x="313466" y="534130"/>
                    </a:lnTo>
                    <a:cubicBezTo>
                      <a:pt x="313466" y="551606"/>
                      <a:pt x="327741" y="565860"/>
                      <a:pt x="345243" y="565860"/>
                    </a:cubicBezTo>
                    <a:lnTo>
                      <a:pt x="380637" y="565860"/>
                    </a:lnTo>
                    <a:cubicBezTo>
                      <a:pt x="398139" y="565860"/>
                      <a:pt x="412414" y="551606"/>
                      <a:pt x="412414" y="534130"/>
                    </a:cubicBezTo>
                    <a:lnTo>
                      <a:pt x="412414" y="498884"/>
                    </a:lnTo>
                    <a:cubicBezTo>
                      <a:pt x="412414" y="481310"/>
                      <a:pt x="398139" y="467056"/>
                      <a:pt x="380637" y="467056"/>
                    </a:cubicBezTo>
                    <a:close/>
                    <a:moveTo>
                      <a:pt x="207478" y="467056"/>
                    </a:moveTo>
                    <a:cubicBezTo>
                      <a:pt x="189976" y="467056"/>
                      <a:pt x="175701" y="481310"/>
                      <a:pt x="175701" y="498884"/>
                    </a:cubicBezTo>
                    <a:lnTo>
                      <a:pt x="175701" y="534130"/>
                    </a:lnTo>
                    <a:cubicBezTo>
                      <a:pt x="175701" y="551606"/>
                      <a:pt x="189976" y="565860"/>
                      <a:pt x="207478" y="565860"/>
                    </a:cubicBezTo>
                    <a:lnTo>
                      <a:pt x="242872" y="565860"/>
                    </a:lnTo>
                    <a:cubicBezTo>
                      <a:pt x="260374" y="565860"/>
                      <a:pt x="274649" y="551606"/>
                      <a:pt x="274649" y="534130"/>
                    </a:cubicBezTo>
                    <a:lnTo>
                      <a:pt x="274649" y="498884"/>
                    </a:lnTo>
                    <a:cubicBezTo>
                      <a:pt x="274649" y="481310"/>
                      <a:pt x="260374" y="467056"/>
                      <a:pt x="242872" y="467056"/>
                    </a:cubicBezTo>
                    <a:close/>
                    <a:moveTo>
                      <a:pt x="69713" y="467056"/>
                    </a:moveTo>
                    <a:cubicBezTo>
                      <a:pt x="52212" y="467056"/>
                      <a:pt x="37937" y="481310"/>
                      <a:pt x="37937" y="498884"/>
                    </a:cubicBezTo>
                    <a:lnTo>
                      <a:pt x="37937" y="534130"/>
                    </a:lnTo>
                    <a:cubicBezTo>
                      <a:pt x="37937" y="551606"/>
                      <a:pt x="52212" y="565860"/>
                      <a:pt x="69713" y="565860"/>
                    </a:cubicBezTo>
                    <a:lnTo>
                      <a:pt x="105108" y="565860"/>
                    </a:lnTo>
                    <a:cubicBezTo>
                      <a:pt x="122609" y="565860"/>
                      <a:pt x="136885" y="551606"/>
                      <a:pt x="136885" y="534130"/>
                    </a:cubicBezTo>
                    <a:lnTo>
                      <a:pt x="136885" y="498884"/>
                    </a:lnTo>
                    <a:cubicBezTo>
                      <a:pt x="136885" y="481310"/>
                      <a:pt x="122609" y="467056"/>
                      <a:pt x="105108" y="467056"/>
                    </a:cubicBezTo>
                    <a:close/>
                    <a:moveTo>
                      <a:pt x="478607" y="132859"/>
                    </a:moveTo>
                    <a:lnTo>
                      <a:pt x="577555" y="132859"/>
                    </a:lnTo>
                    <a:lnTo>
                      <a:pt x="609332" y="469009"/>
                    </a:lnTo>
                    <a:lnTo>
                      <a:pt x="609332" y="603742"/>
                    </a:lnTo>
                    <a:lnTo>
                      <a:pt x="446830" y="603742"/>
                    </a:lnTo>
                    <a:lnTo>
                      <a:pt x="386797" y="603742"/>
                    </a:lnTo>
                    <a:lnTo>
                      <a:pt x="0" y="603742"/>
                    </a:lnTo>
                    <a:lnTo>
                      <a:pt x="0" y="349799"/>
                    </a:lnTo>
                    <a:lnTo>
                      <a:pt x="150084" y="273938"/>
                    </a:lnTo>
                    <a:lnTo>
                      <a:pt x="150084" y="348920"/>
                    </a:lnTo>
                    <a:lnTo>
                      <a:pt x="298506" y="273938"/>
                    </a:lnTo>
                    <a:lnTo>
                      <a:pt x="298506" y="348920"/>
                    </a:lnTo>
                    <a:lnTo>
                      <a:pt x="446830" y="273938"/>
                    </a:lnTo>
                    <a:lnTo>
                      <a:pt x="446830" y="349799"/>
                    </a:lnTo>
                    <a:lnTo>
                      <a:pt x="446830" y="469009"/>
                    </a:lnTo>
                    <a:close/>
                    <a:moveTo>
                      <a:pt x="238001" y="0"/>
                    </a:moveTo>
                    <a:cubicBezTo>
                      <a:pt x="238001" y="0"/>
                      <a:pt x="219427" y="70290"/>
                      <a:pt x="386789" y="18744"/>
                    </a:cubicBezTo>
                    <a:cubicBezTo>
                      <a:pt x="554054" y="-32899"/>
                      <a:pt x="569109" y="109925"/>
                      <a:pt x="569109" y="109925"/>
                    </a:cubicBezTo>
                    <a:lnTo>
                      <a:pt x="479073" y="109925"/>
                    </a:lnTo>
                    <a:cubicBezTo>
                      <a:pt x="475065" y="55744"/>
                      <a:pt x="386300" y="80833"/>
                      <a:pt x="296754" y="70290"/>
                    </a:cubicBezTo>
                    <a:cubicBezTo>
                      <a:pt x="207109" y="59746"/>
                      <a:pt x="238001" y="0"/>
                      <a:pt x="238001" y="0"/>
                    </a:cubicBezTo>
                    <a:close/>
                  </a:path>
                </a:pathLst>
              </a:custGeom>
              <a:solidFill>
                <a:schemeClr val="bg1"/>
              </a:solidFill>
              <a:ln>
                <a:noFill/>
              </a:ln>
              <a:ex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grpSp>
          <p:nvGrpSpPr>
            <p:cNvPr id="166" name="ïŝliḍè"/>
            <p:cNvGrpSpPr/>
            <p:nvPr/>
          </p:nvGrpSpPr>
          <p:grpSpPr>
            <a:xfrm>
              <a:off x="9179897" y="1944000"/>
              <a:ext cx="1893873" cy="1895504"/>
              <a:chOff x="9111000" y="1882667"/>
              <a:chExt cx="1893873" cy="1895504"/>
            </a:xfrm>
          </p:grpSpPr>
          <p:grpSp>
            <p:nvGrpSpPr>
              <p:cNvPr id="192" name="íṡḷidê"/>
              <p:cNvGrpSpPr/>
              <p:nvPr/>
            </p:nvGrpSpPr>
            <p:grpSpPr>
              <a:xfrm>
                <a:off x="9111000" y="1882667"/>
                <a:ext cx="1893873" cy="1895504"/>
                <a:chOff x="3859987" y="1882666"/>
                <a:chExt cx="1893873" cy="1895504"/>
              </a:xfrm>
              <a:solidFill>
                <a:schemeClr val="accent5">
                  <a:alpha val="41000"/>
                </a:schemeClr>
              </a:solidFill>
            </p:grpSpPr>
            <p:sp>
              <p:nvSpPr>
                <p:cNvPr id="195" name="îṡļîḓê"/>
                <p:cNvSpPr/>
                <p:nvPr/>
              </p:nvSpPr>
              <p:spPr>
                <a:xfrm>
                  <a:off x="4716136" y="1882666"/>
                  <a:ext cx="922997" cy="922997"/>
                </a:xfrm>
                <a:prstGeom prst="ellips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p>
              </p:txBody>
            </p:sp>
            <p:sp>
              <p:nvSpPr>
                <p:cNvPr id="196" name="îšļïdê"/>
                <p:cNvSpPr/>
                <p:nvPr/>
              </p:nvSpPr>
              <p:spPr>
                <a:xfrm>
                  <a:off x="3859987" y="2649356"/>
                  <a:ext cx="1128814" cy="1128814"/>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p>
              </p:txBody>
            </p:sp>
            <p:sp>
              <p:nvSpPr>
                <p:cNvPr id="197" name="iśľiḋê"/>
                <p:cNvSpPr/>
                <p:nvPr/>
              </p:nvSpPr>
              <p:spPr>
                <a:xfrm>
                  <a:off x="5166081" y="3008397"/>
                  <a:ext cx="587779" cy="587779"/>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p>
              </p:txBody>
            </p:sp>
            <p:sp>
              <p:nvSpPr>
                <p:cNvPr id="194" name="íšľïďè"/>
                <p:cNvSpPr/>
                <p:nvPr/>
              </p:nvSpPr>
              <p:spPr>
                <a:xfrm>
                  <a:off x="4066261" y="1965197"/>
                  <a:ext cx="1523869" cy="1523869"/>
                </a:xfrm>
                <a:prstGeom prst="ellipse">
                  <a:avLst/>
                </a:prstGeom>
                <a:solidFill>
                  <a:schemeClr val="accent1">
                    <a:lumMod val="50000"/>
                    <a:alpha val="5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p>
              </p:txBody>
            </p:sp>
          </p:grpSp>
          <p:sp>
            <p:nvSpPr>
              <p:cNvPr id="193" name="ïṥļïḓe"/>
              <p:cNvSpPr/>
              <p:nvPr/>
            </p:nvSpPr>
            <p:spPr bwMode="auto">
              <a:xfrm>
                <a:off x="9694968" y="2468548"/>
                <a:ext cx="725937" cy="723741"/>
              </a:xfrm>
              <a:custGeom>
                <a:avLst/>
                <a:gdLst>
                  <a:gd name="connsiteX0" fmla="*/ 40799 w 606651"/>
                  <a:gd name="connsiteY0" fmla="*/ 207745 h 604816"/>
                  <a:gd name="connsiteX1" fmla="*/ 356668 w 606651"/>
                  <a:gd name="connsiteY1" fmla="*/ 207745 h 604816"/>
                  <a:gd name="connsiteX2" fmla="*/ 397566 w 606651"/>
                  <a:gd name="connsiteY2" fmla="*/ 248493 h 604816"/>
                  <a:gd name="connsiteX3" fmla="*/ 397566 w 606651"/>
                  <a:gd name="connsiteY3" fmla="*/ 564068 h 604816"/>
                  <a:gd name="connsiteX4" fmla="*/ 356668 w 606651"/>
                  <a:gd name="connsiteY4" fmla="*/ 604816 h 604816"/>
                  <a:gd name="connsiteX5" fmla="*/ 40799 w 606651"/>
                  <a:gd name="connsiteY5" fmla="*/ 604816 h 604816"/>
                  <a:gd name="connsiteX6" fmla="*/ 0 w 606651"/>
                  <a:gd name="connsiteY6" fmla="*/ 564068 h 604816"/>
                  <a:gd name="connsiteX7" fmla="*/ 0 w 606651"/>
                  <a:gd name="connsiteY7" fmla="*/ 248493 h 604816"/>
                  <a:gd name="connsiteX8" fmla="*/ 40799 w 606651"/>
                  <a:gd name="connsiteY8" fmla="*/ 207745 h 604816"/>
                  <a:gd name="connsiteX9" fmla="*/ 147850 w 606651"/>
                  <a:gd name="connsiteY9" fmla="*/ 102320 h 604816"/>
                  <a:gd name="connsiteX10" fmla="*/ 463741 w 606651"/>
                  <a:gd name="connsiteY10" fmla="*/ 102320 h 604816"/>
                  <a:gd name="connsiteX11" fmla="*/ 504543 w 606651"/>
                  <a:gd name="connsiteY11" fmla="*/ 143160 h 604816"/>
                  <a:gd name="connsiteX12" fmla="*/ 504543 w 606651"/>
                  <a:gd name="connsiteY12" fmla="*/ 458580 h 604816"/>
                  <a:gd name="connsiteX13" fmla="*/ 463741 w 606651"/>
                  <a:gd name="connsiteY13" fmla="*/ 499321 h 604816"/>
                  <a:gd name="connsiteX14" fmla="*/ 438824 w 606651"/>
                  <a:gd name="connsiteY14" fmla="*/ 499321 h 604816"/>
                  <a:gd name="connsiteX15" fmla="*/ 438824 w 606651"/>
                  <a:gd name="connsiteY15" fmla="*/ 248531 h 604816"/>
                  <a:gd name="connsiteX16" fmla="*/ 356724 w 606651"/>
                  <a:gd name="connsiteY16" fmla="*/ 166653 h 604816"/>
                  <a:gd name="connsiteX17" fmla="*/ 107048 w 606651"/>
                  <a:gd name="connsiteY17" fmla="*/ 166653 h 604816"/>
                  <a:gd name="connsiteX18" fmla="*/ 107048 w 606651"/>
                  <a:gd name="connsiteY18" fmla="*/ 143160 h 604816"/>
                  <a:gd name="connsiteX19" fmla="*/ 147850 w 606651"/>
                  <a:gd name="connsiteY19" fmla="*/ 102320 h 604816"/>
                  <a:gd name="connsiteX20" fmla="*/ 249884 w 606651"/>
                  <a:gd name="connsiteY20" fmla="*/ 0 h 604816"/>
                  <a:gd name="connsiteX21" fmla="*/ 565753 w 606651"/>
                  <a:gd name="connsiteY21" fmla="*/ 0 h 604816"/>
                  <a:gd name="connsiteX22" fmla="*/ 606651 w 606651"/>
                  <a:gd name="connsiteY22" fmla="*/ 40741 h 604816"/>
                  <a:gd name="connsiteX23" fmla="*/ 606651 w 606651"/>
                  <a:gd name="connsiteY23" fmla="*/ 356161 h 604816"/>
                  <a:gd name="connsiteX24" fmla="*/ 565852 w 606651"/>
                  <a:gd name="connsiteY24" fmla="*/ 397001 h 604816"/>
                  <a:gd name="connsiteX25" fmla="*/ 545800 w 606651"/>
                  <a:gd name="connsiteY25" fmla="*/ 397001 h 604816"/>
                  <a:gd name="connsiteX26" fmla="*/ 545800 w 606651"/>
                  <a:gd name="connsiteY26" fmla="*/ 396208 h 604816"/>
                  <a:gd name="connsiteX27" fmla="*/ 545800 w 606651"/>
                  <a:gd name="connsiteY27" fmla="*/ 143138 h 604816"/>
                  <a:gd name="connsiteX28" fmla="*/ 463706 w 606651"/>
                  <a:gd name="connsiteY28" fmla="*/ 61161 h 604816"/>
                  <a:gd name="connsiteX29" fmla="*/ 209085 w 606651"/>
                  <a:gd name="connsiteY29" fmla="*/ 61161 h 604816"/>
                  <a:gd name="connsiteX30" fmla="*/ 209085 w 606651"/>
                  <a:gd name="connsiteY30" fmla="*/ 40741 h 604816"/>
                  <a:gd name="connsiteX31" fmla="*/ 232810 w 606651"/>
                  <a:gd name="connsiteY31" fmla="*/ 3767 h 604816"/>
                  <a:gd name="connsiteX32" fmla="*/ 249884 w 606651"/>
                  <a:gd name="connsiteY32" fmla="*/ 0 h 604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06651" h="604816">
                    <a:moveTo>
                      <a:pt x="40799" y="207745"/>
                    </a:moveTo>
                    <a:lnTo>
                      <a:pt x="356668" y="207745"/>
                    </a:lnTo>
                    <a:cubicBezTo>
                      <a:pt x="379202" y="207745"/>
                      <a:pt x="397566" y="226087"/>
                      <a:pt x="397566" y="248493"/>
                    </a:cubicBezTo>
                    <a:lnTo>
                      <a:pt x="397566" y="564068"/>
                    </a:lnTo>
                    <a:cubicBezTo>
                      <a:pt x="397566" y="586474"/>
                      <a:pt x="379202" y="604816"/>
                      <a:pt x="356668" y="604816"/>
                    </a:cubicBezTo>
                    <a:lnTo>
                      <a:pt x="40799" y="604816"/>
                    </a:lnTo>
                    <a:cubicBezTo>
                      <a:pt x="18365" y="604816"/>
                      <a:pt x="0" y="586474"/>
                      <a:pt x="0" y="564068"/>
                    </a:cubicBezTo>
                    <a:lnTo>
                      <a:pt x="0" y="248493"/>
                    </a:lnTo>
                    <a:cubicBezTo>
                      <a:pt x="0" y="226087"/>
                      <a:pt x="18365" y="207745"/>
                      <a:pt x="40799" y="207745"/>
                    </a:cubicBezTo>
                    <a:close/>
                    <a:moveTo>
                      <a:pt x="147850" y="102320"/>
                    </a:moveTo>
                    <a:lnTo>
                      <a:pt x="463741" y="102320"/>
                    </a:lnTo>
                    <a:cubicBezTo>
                      <a:pt x="486277" y="102320"/>
                      <a:pt x="504543" y="120658"/>
                      <a:pt x="504543" y="143160"/>
                    </a:cubicBezTo>
                    <a:lnTo>
                      <a:pt x="504543" y="458580"/>
                    </a:lnTo>
                    <a:cubicBezTo>
                      <a:pt x="504543" y="481082"/>
                      <a:pt x="486277" y="499321"/>
                      <a:pt x="463741" y="499321"/>
                    </a:cubicBezTo>
                    <a:lnTo>
                      <a:pt x="438824" y="499321"/>
                    </a:lnTo>
                    <a:lnTo>
                      <a:pt x="438824" y="248531"/>
                    </a:lnTo>
                    <a:cubicBezTo>
                      <a:pt x="438824" y="203429"/>
                      <a:pt x="401993" y="166653"/>
                      <a:pt x="356724" y="166653"/>
                    </a:cubicBezTo>
                    <a:lnTo>
                      <a:pt x="107048" y="166653"/>
                    </a:lnTo>
                    <a:lnTo>
                      <a:pt x="107048" y="143160"/>
                    </a:lnTo>
                    <a:cubicBezTo>
                      <a:pt x="107048" y="120658"/>
                      <a:pt x="125315" y="102320"/>
                      <a:pt x="147850" y="102320"/>
                    </a:cubicBezTo>
                    <a:close/>
                    <a:moveTo>
                      <a:pt x="249884" y="0"/>
                    </a:moveTo>
                    <a:lnTo>
                      <a:pt x="565753" y="0"/>
                    </a:lnTo>
                    <a:cubicBezTo>
                      <a:pt x="588287" y="0"/>
                      <a:pt x="606651" y="18239"/>
                      <a:pt x="606651" y="40741"/>
                    </a:cubicBezTo>
                    <a:lnTo>
                      <a:pt x="606651" y="356161"/>
                    </a:lnTo>
                    <a:cubicBezTo>
                      <a:pt x="606651" y="378762"/>
                      <a:pt x="588187" y="397001"/>
                      <a:pt x="565852" y="397001"/>
                    </a:cubicBezTo>
                    <a:lnTo>
                      <a:pt x="545800" y="397001"/>
                    </a:lnTo>
                    <a:lnTo>
                      <a:pt x="545800" y="396208"/>
                    </a:lnTo>
                    <a:lnTo>
                      <a:pt x="545800" y="143138"/>
                    </a:lnTo>
                    <a:cubicBezTo>
                      <a:pt x="545800" y="97937"/>
                      <a:pt x="508972" y="61161"/>
                      <a:pt x="463706" y="61161"/>
                    </a:cubicBezTo>
                    <a:lnTo>
                      <a:pt x="209085" y="61161"/>
                    </a:lnTo>
                    <a:lnTo>
                      <a:pt x="209085" y="40741"/>
                    </a:lnTo>
                    <a:cubicBezTo>
                      <a:pt x="209085" y="24385"/>
                      <a:pt x="218813" y="10210"/>
                      <a:pt x="232810" y="3767"/>
                    </a:cubicBezTo>
                    <a:cubicBezTo>
                      <a:pt x="238071" y="1388"/>
                      <a:pt x="243829" y="0"/>
                      <a:pt x="249884" y="0"/>
                    </a:cubicBezTo>
                    <a:close/>
                  </a:path>
                </a:pathLst>
              </a:custGeom>
              <a:solidFill>
                <a:schemeClr val="bg1"/>
              </a:solidFill>
              <a:ln>
                <a:noFill/>
              </a:ln>
              <a:ex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sp>
          <p:nvSpPr>
            <p:cNvPr id="167" name="iṩlíďé"/>
            <p:cNvSpPr txBox="1"/>
            <p:nvPr/>
          </p:nvSpPr>
          <p:spPr>
            <a:xfrm>
              <a:off x="751665" y="4627948"/>
              <a:ext cx="2640371" cy="600164"/>
            </a:xfrm>
            <a:prstGeom prst="rect">
              <a:avLst/>
            </a:prstGeom>
            <a:noFill/>
          </p:spPr>
          <p:txBody>
            <a:bodyPr wrap="square">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r>
                <a:rPr lang="en-US" altLang="zh-CN" sz="1100" dirty="0" smtClean="0">
                  <a:solidFill>
                    <a:srgbClr val="008CD7"/>
                  </a:solidFill>
                </a:rPr>
                <a:t>Factory/Abstract Factory Pattern</a:t>
              </a:r>
              <a:endParaRPr lang="en-US" altLang="zh-CN" sz="1100" dirty="0">
                <a:solidFill>
                  <a:srgbClr val="008CD7"/>
                </a:solidFill>
              </a:endParaRPr>
            </a:p>
          </p:txBody>
        </p:sp>
        <p:sp>
          <p:nvSpPr>
            <p:cNvPr id="168" name="ïşľídê"/>
            <p:cNvSpPr txBox="1"/>
            <p:nvPr/>
          </p:nvSpPr>
          <p:spPr>
            <a:xfrm>
              <a:off x="751665" y="4234559"/>
              <a:ext cx="2640372" cy="393389"/>
            </a:xfrm>
            <a:prstGeom prst="rect">
              <a:avLst/>
            </a:prstGeom>
            <a:noFill/>
          </p:spPr>
          <p:txBody>
            <a:bodyPr wrap="none">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b="1" smtClean="0"/>
                <a:t>工厂方法</a:t>
              </a:r>
              <a:r>
                <a:rPr lang="en-US" altLang="zh-CN" b="1" smtClean="0"/>
                <a:t>/</a:t>
              </a:r>
              <a:r>
                <a:rPr lang="zh-CN" altLang="en-US" b="1" dirty="0" smtClean="0"/>
                <a:t>抽象工厂模式</a:t>
              </a:r>
              <a:endParaRPr lang="zh-CN" altLang="en-US" b="1" dirty="0"/>
            </a:p>
          </p:txBody>
        </p:sp>
        <p:sp>
          <p:nvSpPr>
            <p:cNvPr id="169" name="ïš1ïḋé"/>
            <p:cNvSpPr txBox="1"/>
            <p:nvPr/>
          </p:nvSpPr>
          <p:spPr>
            <a:xfrm>
              <a:off x="3436659" y="4627948"/>
              <a:ext cx="2640371" cy="600164"/>
            </a:xfrm>
            <a:prstGeom prst="rect">
              <a:avLst/>
            </a:prstGeom>
            <a:noFill/>
          </p:spPr>
          <p:txBody>
            <a:bodyPr wrap="square">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r>
                <a:rPr lang="en-US" altLang="zh-CN" sz="1100" dirty="0">
                  <a:solidFill>
                    <a:srgbClr val="008CD7"/>
                  </a:solidFill>
                </a:rPr>
                <a:t>Singleton Pattern</a:t>
              </a:r>
            </a:p>
          </p:txBody>
        </p:sp>
        <p:sp>
          <p:nvSpPr>
            <p:cNvPr id="170" name="ïṥlîḓè"/>
            <p:cNvSpPr txBox="1"/>
            <p:nvPr/>
          </p:nvSpPr>
          <p:spPr>
            <a:xfrm>
              <a:off x="3436659" y="4234559"/>
              <a:ext cx="2640372" cy="393389"/>
            </a:xfrm>
            <a:prstGeom prst="rect">
              <a:avLst/>
            </a:prstGeom>
            <a:noFill/>
          </p:spPr>
          <p:txBody>
            <a:bodyPr wrap="none">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b="1" dirty="0"/>
                <a:t>单</a:t>
              </a:r>
              <a:r>
                <a:rPr lang="zh-CN" altLang="en-US" b="1" dirty="0" smtClean="0"/>
                <a:t>例模式</a:t>
              </a:r>
              <a:endParaRPr lang="zh-CN" altLang="en-US" b="1" dirty="0"/>
            </a:p>
          </p:txBody>
        </p:sp>
        <p:sp>
          <p:nvSpPr>
            <p:cNvPr id="171" name="isļîdè"/>
            <p:cNvSpPr txBox="1"/>
            <p:nvPr/>
          </p:nvSpPr>
          <p:spPr>
            <a:xfrm>
              <a:off x="6121653" y="4627948"/>
              <a:ext cx="2640371" cy="600164"/>
            </a:xfrm>
            <a:prstGeom prst="rect">
              <a:avLst/>
            </a:prstGeom>
            <a:noFill/>
          </p:spPr>
          <p:txBody>
            <a:bodyPr wrap="square">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r>
                <a:rPr lang="en-US" altLang="zh-CN" sz="1100" dirty="0">
                  <a:solidFill>
                    <a:srgbClr val="008CD7"/>
                  </a:solidFill>
                </a:rPr>
                <a:t>Builder Pattern</a:t>
              </a:r>
            </a:p>
          </p:txBody>
        </p:sp>
        <p:sp>
          <p:nvSpPr>
            <p:cNvPr id="172" name="îṧļíḑe"/>
            <p:cNvSpPr txBox="1"/>
            <p:nvPr/>
          </p:nvSpPr>
          <p:spPr>
            <a:xfrm>
              <a:off x="6121653" y="4234559"/>
              <a:ext cx="2640372" cy="393389"/>
            </a:xfrm>
            <a:prstGeom prst="rect">
              <a:avLst/>
            </a:prstGeom>
            <a:noFill/>
          </p:spPr>
          <p:txBody>
            <a:bodyPr wrap="none">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b="1" dirty="0" smtClean="0"/>
                <a:t>构造者模式</a:t>
              </a:r>
              <a:endParaRPr lang="zh-CN" altLang="en-US" b="1" dirty="0"/>
            </a:p>
          </p:txBody>
        </p:sp>
        <p:sp>
          <p:nvSpPr>
            <p:cNvPr id="173" name="î$ḻiďe"/>
            <p:cNvSpPr txBox="1"/>
            <p:nvPr/>
          </p:nvSpPr>
          <p:spPr>
            <a:xfrm>
              <a:off x="8806647" y="4627948"/>
              <a:ext cx="2640371" cy="600164"/>
            </a:xfrm>
            <a:prstGeom prst="rect">
              <a:avLst/>
            </a:prstGeom>
            <a:noFill/>
          </p:spPr>
          <p:txBody>
            <a:bodyPr wrap="square">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r>
                <a:rPr lang="en-US" altLang="zh-CN" sz="1100" dirty="0">
                  <a:solidFill>
                    <a:srgbClr val="008CD7"/>
                  </a:solidFill>
                </a:rPr>
                <a:t>Prototype Pattern</a:t>
              </a:r>
            </a:p>
          </p:txBody>
        </p:sp>
        <p:sp>
          <p:nvSpPr>
            <p:cNvPr id="174" name="íŝ1îḋè"/>
            <p:cNvSpPr txBox="1"/>
            <p:nvPr/>
          </p:nvSpPr>
          <p:spPr>
            <a:xfrm>
              <a:off x="8806647" y="4234559"/>
              <a:ext cx="2640372" cy="393389"/>
            </a:xfrm>
            <a:prstGeom prst="rect">
              <a:avLst/>
            </a:prstGeom>
            <a:noFill/>
          </p:spPr>
          <p:txBody>
            <a:bodyPr wrap="none">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b="1" dirty="0" smtClean="0"/>
                <a:t>原型模式</a:t>
              </a:r>
              <a:endParaRPr lang="zh-CN" altLang="en-US" b="1" dirty="0"/>
            </a:p>
          </p:txBody>
        </p:sp>
        <p:grpSp>
          <p:nvGrpSpPr>
            <p:cNvPr id="175" name="ïṥ1íde"/>
            <p:cNvGrpSpPr/>
            <p:nvPr/>
          </p:nvGrpSpPr>
          <p:grpSpPr>
            <a:xfrm>
              <a:off x="3809909" y="1944000"/>
              <a:ext cx="1893873" cy="1895504"/>
              <a:chOff x="3890061" y="1882667"/>
              <a:chExt cx="1893873" cy="1895504"/>
            </a:xfrm>
          </p:grpSpPr>
          <p:grpSp>
            <p:nvGrpSpPr>
              <p:cNvPr id="186" name="ïsliḓè"/>
              <p:cNvGrpSpPr/>
              <p:nvPr/>
            </p:nvGrpSpPr>
            <p:grpSpPr>
              <a:xfrm>
                <a:off x="3890061" y="1882667"/>
                <a:ext cx="1893873" cy="1895504"/>
                <a:chOff x="3859987" y="1882666"/>
                <a:chExt cx="1893873" cy="1895504"/>
              </a:xfrm>
              <a:solidFill>
                <a:schemeClr val="accent3">
                  <a:alpha val="41000"/>
                </a:schemeClr>
              </a:solidFill>
            </p:grpSpPr>
            <p:sp>
              <p:nvSpPr>
                <p:cNvPr id="189" name="iṥḷïḋê"/>
                <p:cNvSpPr/>
                <p:nvPr/>
              </p:nvSpPr>
              <p:spPr>
                <a:xfrm>
                  <a:off x="4716136" y="1882666"/>
                  <a:ext cx="922997" cy="922997"/>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p>
              </p:txBody>
            </p:sp>
            <p:sp>
              <p:nvSpPr>
                <p:cNvPr id="190" name="ïśḻiḑè"/>
                <p:cNvSpPr/>
                <p:nvPr/>
              </p:nvSpPr>
              <p:spPr>
                <a:xfrm>
                  <a:off x="3859987" y="2649356"/>
                  <a:ext cx="1128814" cy="1128814"/>
                </a:xfrm>
                <a:prstGeom prst="ellips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p>
              </p:txBody>
            </p:sp>
            <p:sp>
              <p:nvSpPr>
                <p:cNvPr id="191" name="iṥlïḋe"/>
                <p:cNvSpPr/>
                <p:nvPr/>
              </p:nvSpPr>
              <p:spPr>
                <a:xfrm>
                  <a:off x="5166081" y="3008397"/>
                  <a:ext cx="587779" cy="587779"/>
                </a:xfrm>
                <a:prstGeom prst="ellipse">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p>
              </p:txBody>
            </p:sp>
            <p:sp>
              <p:nvSpPr>
                <p:cNvPr id="188" name="îslide"/>
                <p:cNvSpPr/>
                <p:nvPr/>
              </p:nvSpPr>
              <p:spPr>
                <a:xfrm>
                  <a:off x="4066261" y="1965197"/>
                  <a:ext cx="1523869" cy="1523869"/>
                </a:xfrm>
                <a:prstGeom prst="ellipse">
                  <a:avLst/>
                </a:prstGeom>
                <a:solidFill>
                  <a:schemeClr val="accent1">
                    <a:lumMod val="50000"/>
                    <a:alpha val="5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p>
              </p:txBody>
            </p:sp>
          </p:grpSp>
          <p:sp>
            <p:nvSpPr>
              <p:cNvPr id="187" name="îṧļidê"/>
              <p:cNvSpPr/>
              <p:nvPr/>
            </p:nvSpPr>
            <p:spPr bwMode="auto">
              <a:xfrm>
                <a:off x="4576600" y="2507109"/>
                <a:ext cx="520795" cy="646620"/>
              </a:xfrm>
              <a:custGeom>
                <a:avLst/>
                <a:gdLst>
                  <a:gd name="T0" fmla="*/ 84 w 144"/>
                  <a:gd name="T1" fmla="*/ 132 h 176"/>
                  <a:gd name="T2" fmla="*/ 36 w 144"/>
                  <a:gd name="T3" fmla="*/ 132 h 176"/>
                  <a:gd name="T4" fmla="*/ 32 w 144"/>
                  <a:gd name="T5" fmla="*/ 136 h 176"/>
                  <a:gd name="T6" fmla="*/ 36 w 144"/>
                  <a:gd name="T7" fmla="*/ 140 h 176"/>
                  <a:gd name="T8" fmla="*/ 84 w 144"/>
                  <a:gd name="T9" fmla="*/ 140 h 176"/>
                  <a:gd name="T10" fmla="*/ 88 w 144"/>
                  <a:gd name="T11" fmla="*/ 136 h 176"/>
                  <a:gd name="T12" fmla="*/ 84 w 144"/>
                  <a:gd name="T13" fmla="*/ 132 h 176"/>
                  <a:gd name="T14" fmla="*/ 36 w 144"/>
                  <a:gd name="T15" fmla="*/ 44 h 176"/>
                  <a:gd name="T16" fmla="*/ 56 w 144"/>
                  <a:gd name="T17" fmla="*/ 44 h 176"/>
                  <a:gd name="T18" fmla="*/ 60 w 144"/>
                  <a:gd name="T19" fmla="*/ 40 h 176"/>
                  <a:gd name="T20" fmla="*/ 56 w 144"/>
                  <a:gd name="T21" fmla="*/ 36 h 176"/>
                  <a:gd name="T22" fmla="*/ 36 w 144"/>
                  <a:gd name="T23" fmla="*/ 36 h 176"/>
                  <a:gd name="T24" fmla="*/ 32 w 144"/>
                  <a:gd name="T25" fmla="*/ 40 h 176"/>
                  <a:gd name="T26" fmla="*/ 36 w 144"/>
                  <a:gd name="T27" fmla="*/ 44 h 176"/>
                  <a:gd name="T28" fmla="*/ 108 w 144"/>
                  <a:gd name="T29" fmla="*/ 100 h 176"/>
                  <a:gd name="T30" fmla="*/ 36 w 144"/>
                  <a:gd name="T31" fmla="*/ 100 h 176"/>
                  <a:gd name="T32" fmla="*/ 32 w 144"/>
                  <a:gd name="T33" fmla="*/ 104 h 176"/>
                  <a:gd name="T34" fmla="*/ 36 w 144"/>
                  <a:gd name="T35" fmla="*/ 108 h 176"/>
                  <a:gd name="T36" fmla="*/ 108 w 144"/>
                  <a:gd name="T37" fmla="*/ 108 h 176"/>
                  <a:gd name="T38" fmla="*/ 112 w 144"/>
                  <a:gd name="T39" fmla="*/ 104 h 176"/>
                  <a:gd name="T40" fmla="*/ 108 w 144"/>
                  <a:gd name="T41" fmla="*/ 100 h 176"/>
                  <a:gd name="T42" fmla="*/ 32 w 144"/>
                  <a:gd name="T43" fmla="*/ 72 h 176"/>
                  <a:gd name="T44" fmla="*/ 36 w 144"/>
                  <a:gd name="T45" fmla="*/ 76 h 176"/>
                  <a:gd name="T46" fmla="*/ 108 w 144"/>
                  <a:gd name="T47" fmla="*/ 76 h 176"/>
                  <a:gd name="T48" fmla="*/ 112 w 144"/>
                  <a:gd name="T49" fmla="*/ 72 h 176"/>
                  <a:gd name="T50" fmla="*/ 108 w 144"/>
                  <a:gd name="T51" fmla="*/ 68 h 176"/>
                  <a:gd name="T52" fmla="*/ 36 w 144"/>
                  <a:gd name="T53" fmla="*/ 68 h 176"/>
                  <a:gd name="T54" fmla="*/ 32 w 144"/>
                  <a:gd name="T55" fmla="*/ 72 h 176"/>
                  <a:gd name="T56" fmla="*/ 104 w 144"/>
                  <a:gd name="T57" fmla="*/ 0 h 176"/>
                  <a:gd name="T58" fmla="*/ 16 w 144"/>
                  <a:gd name="T59" fmla="*/ 0 h 176"/>
                  <a:gd name="T60" fmla="*/ 0 w 144"/>
                  <a:gd name="T61" fmla="*/ 16 h 176"/>
                  <a:gd name="T62" fmla="*/ 0 w 144"/>
                  <a:gd name="T63" fmla="*/ 160 h 176"/>
                  <a:gd name="T64" fmla="*/ 16 w 144"/>
                  <a:gd name="T65" fmla="*/ 176 h 176"/>
                  <a:gd name="T66" fmla="*/ 128 w 144"/>
                  <a:gd name="T67" fmla="*/ 176 h 176"/>
                  <a:gd name="T68" fmla="*/ 144 w 144"/>
                  <a:gd name="T69" fmla="*/ 160 h 176"/>
                  <a:gd name="T70" fmla="*/ 144 w 144"/>
                  <a:gd name="T71" fmla="*/ 44 h 176"/>
                  <a:gd name="T72" fmla="*/ 104 w 144"/>
                  <a:gd name="T73" fmla="*/ 0 h 176"/>
                  <a:gd name="T74" fmla="*/ 136 w 144"/>
                  <a:gd name="T75" fmla="*/ 160 h 176"/>
                  <a:gd name="T76" fmla="*/ 128 w 144"/>
                  <a:gd name="T77" fmla="*/ 168 h 176"/>
                  <a:gd name="T78" fmla="*/ 16 w 144"/>
                  <a:gd name="T79" fmla="*/ 168 h 176"/>
                  <a:gd name="T80" fmla="*/ 8 w 144"/>
                  <a:gd name="T81" fmla="*/ 160 h 176"/>
                  <a:gd name="T82" fmla="*/ 8 w 144"/>
                  <a:gd name="T83" fmla="*/ 16 h 176"/>
                  <a:gd name="T84" fmla="*/ 16 w 144"/>
                  <a:gd name="T85" fmla="*/ 8 h 176"/>
                  <a:gd name="T86" fmla="*/ 88 w 144"/>
                  <a:gd name="T87" fmla="*/ 8 h 176"/>
                  <a:gd name="T88" fmla="*/ 88 w 144"/>
                  <a:gd name="T89" fmla="*/ 48 h 176"/>
                  <a:gd name="T90" fmla="*/ 96 w 144"/>
                  <a:gd name="T91" fmla="*/ 56 h 176"/>
                  <a:gd name="T92" fmla="*/ 136 w 144"/>
                  <a:gd name="T93" fmla="*/ 56 h 176"/>
                  <a:gd name="T94" fmla="*/ 136 w 144"/>
                  <a:gd name="T95" fmla="*/ 160 h 176"/>
                  <a:gd name="T96" fmla="*/ 96 w 144"/>
                  <a:gd name="T97" fmla="*/ 48 h 176"/>
                  <a:gd name="T98" fmla="*/ 96 w 144"/>
                  <a:gd name="T99" fmla="*/ 8 h 176"/>
                  <a:gd name="T100" fmla="*/ 100 w 144"/>
                  <a:gd name="T101" fmla="*/ 8 h 176"/>
                  <a:gd name="T102" fmla="*/ 136 w 144"/>
                  <a:gd name="T103" fmla="*/ 48 h 176"/>
                  <a:gd name="T104" fmla="*/ 96 w 144"/>
                  <a:gd name="T105" fmla="*/ 4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 h="176">
                    <a:moveTo>
                      <a:pt x="84" y="132"/>
                    </a:moveTo>
                    <a:cubicBezTo>
                      <a:pt x="36" y="132"/>
                      <a:pt x="36" y="132"/>
                      <a:pt x="36" y="132"/>
                    </a:cubicBezTo>
                    <a:cubicBezTo>
                      <a:pt x="34" y="132"/>
                      <a:pt x="32" y="134"/>
                      <a:pt x="32" y="136"/>
                    </a:cubicBezTo>
                    <a:cubicBezTo>
                      <a:pt x="32" y="138"/>
                      <a:pt x="34" y="140"/>
                      <a:pt x="36" y="140"/>
                    </a:cubicBezTo>
                    <a:cubicBezTo>
                      <a:pt x="84" y="140"/>
                      <a:pt x="84" y="140"/>
                      <a:pt x="84" y="140"/>
                    </a:cubicBezTo>
                    <a:cubicBezTo>
                      <a:pt x="86" y="140"/>
                      <a:pt x="88" y="138"/>
                      <a:pt x="88" y="136"/>
                    </a:cubicBezTo>
                    <a:cubicBezTo>
                      <a:pt x="88" y="134"/>
                      <a:pt x="86" y="132"/>
                      <a:pt x="84" y="132"/>
                    </a:cubicBezTo>
                    <a:moveTo>
                      <a:pt x="36" y="44"/>
                    </a:moveTo>
                    <a:cubicBezTo>
                      <a:pt x="56" y="44"/>
                      <a:pt x="56" y="44"/>
                      <a:pt x="56" y="44"/>
                    </a:cubicBezTo>
                    <a:cubicBezTo>
                      <a:pt x="58" y="44"/>
                      <a:pt x="60" y="42"/>
                      <a:pt x="60" y="40"/>
                    </a:cubicBezTo>
                    <a:cubicBezTo>
                      <a:pt x="60" y="38"/>
                      <a:pt x="58" y="36"/>
                      <a:pt x="56" y="36"/>
                    </a:cubicBezTo>
                    <a:cubicBezTo>
                      <a:pt x="36" y="36"/>
                      <a:pt x="36" y="36"/>
                      <a:pt x="36" y="36"/>
                    </a:cubicBezTo>
                    <a:cubicBezTo>
                      <a:pt x="34" y="36"/>
                      <a:pt x="32" y="38"/>
                      <a:pt x="32" y="40"/>
                    </a:cubicBezTo>
                    <a:cubicBezTo>
                      <a:pt x="32" y="42"/>
                      <a:pt x="34" y="44"/>
                      <a:pt x="36" y="44"/>
                    </a:cubicBezTo>
                    <a:moveTo>
                      <a:pt x="108" y="100"/>
                    </a:moveTo>
                    <a:cubicBezTo>
                      <a:pt x="36" y="100"/>
                      <a:pt x="36" y="100"/>
                      <a:pt x="36" y="100"/>
                    </a:cubicBezTo>
                    <a:cubicBezTo>
                      <a:pt x="34" y="100"/>
                      <a:pt x="32" y="102"/>
                      <a:pt x="32" y="104"/>
                    </a:cubicBezTo>
                    <a:cubicBezTo>
                      <a:pt x="32" y="106"/>
                      <a:pt x="34" y="108"/>
                      <a:pt x="36" y="108"/>
                    </a:cubicBezTo>
                    <a:cubicBezTo>
                      <a:pt x="108" y="108"/>
                      <a:pt x="108" y="108"/>
                      <a:pt x="108" y="108"/>
                    </a:cubicBezTo>
                    <a:cubicBezTo>
                      <a:pt x="110" y="108"/>
                      <a:pt x="112" y="106"/>
                      <a:pt x="112" y="104"/>
                    </a:cubicBezTo>
                    <a:cubicBezTo>
                      <a:pt x="112" y="102"/>
                      <a:pt x="110" y="100"/>
                      <a:pt x="108" y="100"/>
                    </a:cubicBezTo>
                    <a:moveTo>
                      <a:pt x="32" y="72"/>
                    </a:moveTo>
                    <a:cubicBezTo>
                      <a:pt x="32" y="74"/>
                      <a:pt x="34" y="76"/>
                      <a:pt x="36" y="76"/>
                    </a:cubicBezTo>
                    <a:cubicBezTo>
                      <a:pt x="108" y="76"/>
                      <a:pt x="108" y="76"/>
                      <a:pt x="108" y="76"/>
                    </a:cubicBezTo>
                    <a:cubicBezTo>
                      <a:pt x="110" y="76"/>
                      <a:pt x="112" y="74"/>
                      <a:pt x="112" y="72"/>
                    </a:cubicBezTo>
                    <a:cubicBezTo>
                      <a:pt x="112" y="70"/>
                      <a:pt x="110" y="68"/>
                      <a:pt x="108" y="68"/>
                    </a:cubicBezTo>
                    <a:cubicBezTo>
                      <a:pt x="36" y="68"/>
                      <a:pt x="36" y="68"/>
                      <a:pt x="36" y="68"/>
                    </a:cubicBezTo>
                    <a:cubicBezTo>
                      <a:pt x="34" y="68"/>
                      <a:pt x="32" y="70"/>
                      <a:pt x="32" y="72"/>
                    </a:cubicBezTo>
                    <a:moveTo>
                      <a:pt x="104" y="0"/>
                    </a:moveTo>
                    <a:cubicBezTo>
                      <a:pt x="16" y="0"/>
                      <a:pt x="16" y="0"/>
                      <a:pt x="16" y="0"/>
                    </a:cubicBezTo>
                    <a:cubicBezTo>
                      <a:pt x="7" y="0"/>
                      <a:pt x="0" y="7"/>
                      <a:pt x="0" y="16"/>
                    </a:cubicBezTo>
                    <a:cubicBezTo>
                      <a:pt x="0" y="160"/>
                      <a:pt x="0" y="160"/>
                      <a:pt x="0" y="160"/>
                    </a:cubicBezTo>
                    <a:cubicBezTo>
                      <a:pt x="0" y="169"/>
                      <a:pt x="7" y="176"/>
                      <a:pt x="16" y="176"/>
                    </a:cubicBezTo>
                    <a:cubicBezTo>
                      <a:pt x="128" y="176"/>
                      <a:pt x="128" y="176"/>
                      <a:pt x="128" y="176"/>
                    </a:cubicBezTo>
                    <a:cubicBezTo>
                      <a:pt x="137" y="176"/>
                      <a:pt x="144" y="169"/>
                      <a:pt x="144" y="160"/>
                    </a:cubicBezTo>
                    <a:cubicBezTo>
                      <a:pt x="144" y="44"/>
                      <a:pt x="144" y="44"/>
                      <a:pt x="144" y="44"/>
                    </a:cubicBezTo>
                    <a:lnTo>
                      <a:pt x="104" y="0"/>
                    </a:lnTo>
                    <a:close/>
                    <a:moveTo>
                      <a:pt x="136" y="160"/>
                    </a:moveTo>
                    <a:cubicBezTo>
                      <a:pt x="136" y="164"/>
                      <a:pt x="132" y="168"/>
                      <a:pt x="128" y="168"/>
                    </a:cubicBezTo>
                    <a:cubicBezTo>
                      <a:pt x="16" y="168"/>
                      <a:pt x="16" y="168"/>
                      <a:pt x="16" y="168"/>
                    </a:cubicBezTo>
                    <a:cubicBezTo>
                      <a:pt x="12" y="168"/>
                      <a:pt x="8" y="164"/>
                      <a:pt x="8" y="160"/>
                    </a:cubicBezTo>
                    <a:cubicBezTo>
                      <a:pt x="8" y="16"/>
                      <a:pt x="8" y="16"/>
                      <a:pt x="8" y="16"/>
                    </a:cubicBezTo>
                    <a:cubicBezTo>
                      <a:pt x="8" y="12"/>
                      <a:pt x="12" y="8"/>
                      <a:pt x="16" y="8"/>
                    </a:cubicBezTo>
                    <a:cubicBezTo>
                      <a:pt x="88" y="8"/>
                      <a:pt x="88" y="8"/>
                      <a:pt x="88" y="8"/>
                    </a:cubicBezTo>
                    <a:cubicBezTo>
                      <a:pt x="88" y="48"/>
                      <a:pt x="88" y="48"/>
                      <a:pt x="88" y="48"/>
                    </a:cubicBezTo>
                    <a:cubicBezTo>
                      <a:pt x="88" y="52"/>
                      <a:pt x="92" y="56"/>
                      <a:pt x="96" y="56"/>
                    </a:cubicBezTo>
                    <a:cubicBezTo>
                      <a:pt x="136" y="56"/>
                      <a:pt x="136" y="56"/>
                      <a:pt x="136" y="56"/>
                    </a:cubicBezTo>
                    <a:lnTo>
                      <a:pt x="136" y="160"/>
                    </a:lnTo>
                    <a:close/>
                    <a:moveTo>
                      <a:pt x="96" y="48"/>
                    </a:moveTo>
                    <a:cubicBezTo>
                      <a:pt x="96" y="8"/>
                      <a:pt x="96" y="8"/>
                      <a:pt x="96" y="8"/>
                    </a:cubicBezTo>
                    <a:cubicBezTo>
                      <a:pt x="100" y="8"/>
                      <a:pt x="100" y="8"/>
                      <a:pt x="100" y="8"/>
                    </a:cubicBezTo>
                    <a:cubicBezTo>
                      <a:pt x="136" y="48"/>
                      <a:pt x="136" y="48"/>
                      <a:pt x="136" y="48"/>
                    </a:cubicBezTo>
                    <a:lnTo>
                      <a:pt x="96" y="48"/>
                    </a:lnTo>
                    <a:close/>
                  </a:path>
                </a:pathLst>
              </a:custGeom>
              <a:solidFill>
                <a:schemeClr val="bg1"/>
              </a:solidFill>
              <a:ln>
                <a:noFill/>
              </a:ln>
              <a:ex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grpSp>
          <p:nvGrpSpPr>
            <p:cNvPr id="176" name="îṣliḍè"/>
            <p:cNvGrpSpPr/>
            <p:nvPr/>
          </p:nvGrpSpPr>
          <p:grpSpPr>
            <a:xfrm>
              <a:off x="6494903" y="1944000"/>
              <a:ext cx="1893873" cy="1895504"/>
              <a:chOff x="6383698" y="1882667"/>
              <a:chExt cx="1893873" cy="1895504"/>
            </a:xfrm>
          </p:grpSpPr>
          <p:grpSp>
            <p:nvGrpSpPr>
              <p:cNvPr id="180" name="isľíďé"/>
              <p:cNvGrpSpPr/>
              <p:nvPr/>
            </p:nvGrpSpPr>
            <p:grpSpPr>
              <a:xfrm>
                <a:off x="6383698" y="1882667"/>
                <a:ext cx="1893873" cy="1895504"/>
                <a:chOff x="3859987" y="1882666"/>
                <a:chExt cx="1893873" cy="1895504"/>
              </a:xfrm>
              <a:solidFill>
                <a:schemeClr val="accent4">
                  <a:alpha val="41000"/>
                </a:schemeClr>
              </a:solidFill>
            </p:grpSpPr>
            <p:sp>
              <p:nvSpPr>
                <p:cNvPr id="183" name="iŝļíḍe"/>
                <p:cNvSpPr/>
                <p:nvPr/>
              </p:nvSpPr>
              <p:spPr>
                <a:xfrm>
                  <a:off x="4716136" y="1882666"/>
                  <a:ext cx="922997" cy="922997"/>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p>
              </p:txBody>
            </p:sp>
            <p:sp>
              <p:nvSpPr>
                <p:cNvPr id="184" name="íṧḻidé"/>
                <p:cNvSpPr/>
                <p:nvPr/>
              </p:nvSpPr>
              <p:spPr>
                <a:xfrm>
                  <a:off x="3859987" y="2649356"/>
                  <a:ext cx="1128814" cy="1128814"/>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p>
              </p:txBody>
            </p:sp>
            <p:sp>
              <p:nvSpPr>
                <p:cNvPr id="185" name="iṡlîḍé"/>
                <p:cNvSpPr/>
                <p:nvPr/>
              </p:nvSpPr>
              <p:spPr>
                <a:xfrm>
                  <a:off x="5166081" y="3008397"/>
                  <a:ext cx="587779" cy="587779"/>
                </a:xfrm>
                <a:prstGeom prst="ellips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p>
              </p:txBody>
            </p:sp>
            <p:sp>
              <p:nvSpPr>
                <p:cNvPr id="182" name="íṥḻiďê"/>
                <p:cNvSpPr/>
                <p:nvPr/>
              </p:nvSpPr>
              <p:spPr>
                <a:xfrm>
                  <a:off x="4066261" y="1965197"/>
                  <a:ext cx="1523869" cy="1523869"/>
                </a:xfrm>
                <a:prstGeom prst="ellipse">
                  <a:avLst/>
                </a:prstGeom>
                <a:solidFill>
                  <a:schemeClr val="accent1">
                    <a:lumMod val="50000"/>
                    <a:alpha val="5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p>
              </p:txBody>
            </p:sp>
          </p:grpSp>
          <p:sp>
            <p:nvSpPr>
              <p:cNvPr id="181" name="išḻiḍè"/>
              <p:cNvSpPr/>
              <p:nvPr/>
            </p:nvSpPr>
            <p:spPr bwMode="auto">
              <a:xfrm>
                <a:off x="6935634" y="2435700"/>
                <a:ext cx="790000" cy="789437"/>
              </a:xfrm>
              <a:custGeom>
                <a:avLst/>
                <a:gdLst>
                  <a:gd name="connsiteX0" fmla="*/ 20291 w 607154"/>
                  <a:gd name="connsiteY0" fmla="*/ 364038 h 606722"/>
                  <a:gd name="connsiteX1" fmla="*/ 20291 w 607154"/>
                  <a:gd name="connsiteY1" fmla="*/ 586461 h 606722"/>
                  <a:gd name="connsiteX2" fmla="*/ 50639 w 607154"/>
                  <a:gd name="connsiteY2" fmla="*/ 586461 h 606722"/>
                  <a:gd name="connsiteX3" fmla="*/ 50639 w 607154"/>
                  <a:gd name="connsiteY3" fmla="*/ 576331 h 606722"/>
                  <a:gd name="connsiteX4" fmla="*/ 50639 w 607154"/>
                  <a:gd name="connsiteY4" fmla="*/ 379234 h 606722"/>
                  <a:gd name="connsiteX5" fmla="*/ 50639 w 607154"/>
                  <a:gd name="connsiteY5" fmla="*/ 364038 h 606722"/>
                  <a:gd name="connsiteX6" fmla="*/ 154656 w 607154"/>
                  <a:gd name="connsiteY6" fmla="*/ 354473 h 606722"/>
                  <a:gd name="connsiteX7" fmla="*/ 70930 w 607154"/>
                  <a:gd name="connsiteY7" fmla="*/ 389275 h 606722"/>
                  <a:gd name="connsiteX8" fmla="*/ 70930 w 607154"/>
                  <a:gd name="connsiteY8" fmla="*/ 556159 h 606722"/>
                  <a:gd name="connsiteX9" fmla="*/ 202555 w 607154"/>
                  <a:gd name="connsiteY9" fmla="*/ 556159 h 606722"/>
                  <a:gd name="connsiteX10" fmla="*/ 261292 w 607154"/>
                  <a:gd name="connsiteY10" fmla="*/ 552071 h 606722"/>
                  <a:gd name="connsiteX11" fmla="*/ 394965 w 607154"/>
                  <a:gd name="connsiteY11" fmla="*/ 531900 h 606722"/>
                  <a:gd name="connsiteX12" fmla="*/ 406089 w 607154"/>
                  <a:gd name="connsiteY12" fmla="*/ 530833 h 606722"/>
                  <a:gd name="connsiteX13" fmla="*/ 407068 w 607154"/>
                  <a:gd name="connsiteY13" fmla="*/ 530833 h 606722"/>
                  <a:gd name="connsiteX14" fmla="*/ 429317 w 607154"/>
                  <a:gd name="connsiteY14" fmla="*/ 518748 h 606722"/>
                  <a:gd name="connsiteX15" fmla="*/ 430385 w 607154"/>
                  <a:gd name="connsiteY15" fmla="*/ 517682 h 606722"/>
                  <a:gd name="connsiteX16" fmla="*/ 584259 w 607154"/>
                  <a:gd name="connsiteY16" fmla="*/ 398428 h 606722"/>
                  <a:gd name="connsiteX17" fmla="*/ 586306 w 607154"/>
                  <a:gd name="connsiteY17" fmla="*/ 386254 h 606722"/>
                  <a:gd name="connsiteX18" fmla="*/ 531663 w 607154"/>
                  <a:gd name="connsiteY18" fmla="*/ 390341 h 606722"/>
                  <a:gd name="connsiteX19" fmla="*/ 444535 w 607154"/>
                  <a:gd name="connsiteY19" fmla="*/ 443926 h 606722"/>
                  <a:gd name="connsiteX20" fmla="*/ 329107 w 607154"/>
                  <a:gd name="connsiteY20" fmla="*/ 456011 h 606722"/>
                  <a:gd name="connsiteX21" fmla="*/ 324035 w 607154"/>
                  <a:gd name="connsiteY21" fmla="*/ 456011 h 606722"/>
                  <a:gd name="connsiteX22" fmla="*/ 310863 w 607154"/>
                  <a:gd name="connsiteY22" fmla="*/ 456011 h 606722"/>
                  <a:gd name="connsiteX23" fmla="*/ 310952 w 607154"/>
                  <a:gd name="connsiteY23" fmla="*/ 455033 h 606722"/>
                  <a:gd name="connsiteX24" fmla="*/ 310863 w 607154"/>
                  <a:gd name="connsiteY24" fmla="*/ 455033 h 606722"/>
                  <a:gd name="connsiteX25" fmla="*/ 212701 w 607154"/>
                  <a:gd name="connsiteY25" fmla="*/ 455033 h 606722"/>
                  <a:gd name="connsiteX26" fmla="*/ 182264 w 607154"/>
                  <a:gd name="connsiteY26" fmla="*/ 475294 h 606722"/>
                  <a:gd name="connsiteX27" fmla="*/ 172207 w 607154"/>
                  <a:gd name="connsiteY27" fmla="*/ 485336 h 606722"/>
                  <a:gd name="connsiteX28" fmla="*/ 162062 w 607154"/>
                  <a:gd name="connsiteY28" fmla="*/ 475294 h 606722"/>
                  <a:gd name="connsiteX29" fmla="*/ 212701 w 607154"/>
                  <a:gd name="connsiteY29" fmla="*/ 434773 h 606722"/>
                  <a:gd name="connsiteX30" fmla="*/ 310863 w 607154"/>
                  <a:gd name="connsiteY30" fmla="*/ 434773 h 606722"/>
                  <a:gd name="connsiteX31" fmla="*/ 315669 w 607154"/>
                  <a:gd name="connsiteY31" fmla="*/ 435839 h 606722"/>
                  <a:gd name="connsiteX32" fmla="*/ 323056 w 607154"/>
                  <a:gd name="connsiteY32" fmla="*/ 435839 h 606722"/>
                  <a:gd name="connsiteX33" fmla="*/ 351356 w 607154"/>
                  <a:gd name="connsiteY33" fmla="*/ 427753 h 606722"/>
                  <a:gd name="connsiteX34" fmla="*/ 347352 w 607154"/>
                  <a:gd name="connsiteY34" fmla="*/ 413623 h 606722"/>
                  <a:gd name="connsiteX35" fmla="*/ 289593 w 607154"/>
                  <a:gd name="connsiteY35" fmla="*/ 384299 h 606722"/>
                  <a:gd name="connsiteX36" fmla="*/ 250168 w 607154"/>
                  <a:gd name="connsiteY36" fmla="*/ 384299 h 606722"/>
                  <a:gd name="connsiteX37" fmla="*/ 180306 w 607154"/>
                  <a:gd name="connsiteY37" fmla="*/ 361994 h 606722"/>
                  <a:gd name="connsiteX38" fmla="*/ 154656 w 607154"/>
                  <a:gd name="connsiteY38" fmla="*/ 354473 h 606722"/>
                  <a:gd name="connsiteX39" fmla="*/ 161952 w 607154"/>
                  <a:gd name="connsiteY39" fmla="*/ 333950 h 606722"/>
                  <a:gd name="connsiteX40" fmla="*/ 192409 w 607154"/>
                  <a:gd name="connsiteY40" fmla="*/ 344844 h 606722"/>
                  <a:gd name="connsiteX41" fmla="*/ 250168 w 607154"/>
                  <a:gd name="connsiteY41" fmla="*/ 363061 h 606722"/>
                  <a:gd name="connsiteX42" fmla="*/ 289593 w 607154"/>
                  <a:gd name="connsiteY42" fmla="*/ 363061 h 606722"/>
                  <a:gd name="connsiteX43" fmla="*/ 362570 w 607154"/>
                  <a:gd name="connsiteY43" fmla="*/ 400472 h 606722"/>
                  <a:gd name="connsiteX44" fmla="*/ 368622 w 607154"/>
                  <a:gd name="connsiteY44" fmla="*/ 433795 h 606722"/>
                  <a:gd name="connsiteX45" fmla="*/ 433411 w 607154"/>
                  <a:gd name="connsiteY45" fmla="*/ 424731 h 606722"/>
                  <a:gd name="connsiteX46" fmla="*/ 520449 w 607154"/>
                  <a:gd name="connsiteY46" fmla="*/ 371147 h 606722"/>
                  <a:gd name="connsiteX47" fmla="*/ 601524 w 607154"/>
                  <a:gd name="connsiteY47" fmla="*/ 372125 h 606722"/>
                  <a:gd name="connsiteX48" fmla="*/ 596452 w 607154"/>
                  <a:gd name="connsiteY48" fmla="*/ 412557 h 606722"/>
                  <a:gd name="connsiteX49" fmla="*/ 443556 w 607154"/>
                  <a:gd name="connsiteY49" fmla="*/ 532877 h 606722"/>
                  <a:gd name="connsiteX50" fmla="*/ 410094 w 607154"/>
                  <a:gd name="connsiteY50" fmla="*/ 550116 h 606722"/>
                  <a:gd name="connsiteX51" fmla="*/ 395943 w 607154"/>
                  <a:gd name="connsiteY51" fmla="*/ 552071 h 606722"/>
                  <a:gd name="connsiteX52" fmla="*/ 264318 w 607154"/>
                  <a:gd name="connsiteY52" fmla="*/ 572332 h 606722"/>
                  <a:gd name="connsiteX53" fmla="*/ 202555 w 607154"/>
                  <a:gd name="connsiteY53" fmla="*/ 576331 h 606722"/>
                  <a:gd name="connsiteX54" fmla="*/ 70930 w 607154"/>
                  <a:gd name="connsiteY54" fmla="*/ 576331 h 606722"/>
                  <a:gd name="connsiteX55" fmla="*/ 70930 w 607154"/>
                  <a:gd name="connsiteY55" fmla="*/ 606722 h 606722"/>
                  <a:gd name="connsiteX56" fmla="*/ 0 w 607154"/>
                  <a:gd name="connsiteY56" fmla="*/ 606722 h 606722"/>
                  <a:gd name="connsiteX57" fmla="*/ 0 w 607154"/>
                  <a:gd name="connsiteY57" fmla="*/ 343777 h 606722"/>
                  <a:gd name="connsiteX58" fmla="*/ 70930 w 607154"/>
                  <a:gd name="connsiteY58" fmla="*/ 343777 h 606722"/>
                  <a:gd name="connsiteX59" fmla="*/ 70930 w 607154"/>
                  <a:gd name="connsiteY59" fmla="*/ 365016 h 606722"/>
                  <a:gd name="connsiteX60" fmla="*/ 161952 w 607154"/>
                  <a:gd name="connsiteY60" fmla="*/ 333950 h 606722"/>
                  <a:gd name="connsiteX61" fmla="*/ 435469 w 607154"/>
                  <a:gd name="connsiteY61" fmla="*/ 252766 h 606722"/>
                  <a:gd name="connsiteX62" fmla="*/ 445620 w 607154"/>
                  <a:gd name="connsiteY62" fmla="*/ 262889 h 606722"/>
                  <a:gd name="connsiteX63" fmla="*/ 435469 w 607154"/>
                  <a:gd name="connsiteY63" fmla="*/ 273012 h 606722"/>
                  <a:gd name="connsiteX64" fmla="*/ 415167 w 607154"/>
                  <a:gd name="connsiteY64" fmla="*/ 293257 h 606722"/>
                  <a:gd name="connsiteX65" fmla="*/ 405016 w 607154"/>
                  <a:gd name="connsiteY65" fmla="*/ 303291 h 606722"/>
                  <a:gd name="connsiteX66" fmla="*/ 394954 w 607154"/>
                  <a:gd name="connsiteY66" fmla="*/ 293257 h 606722"/>
                  <a:gd name="connsiteX67" fmla="*/ 435469 w 607154"/>
                  <a:gd name="connsiteY67" fmla="*/ 252766 h 606722"/>
                  <a:gd name="connsiteX68" fmla="*/ 450578 w 607154"/>
                  <a:gd name="connsiteY68" fmla="*/ 235591 h 606722"/>
                  <a:gd name="connsiteX69" fmla="*/ 413643 w 607154"/>
                  <a:gd name="connsiteY69" fmla="*/ 236658 h 606722"/>
                  <a:gd name="connsiteX70" fmla="*/ 374661 w 607154"/>
                  <a:gd name="connsiteY70" fmla="*/ 293267 h 606722"/>
                  <a:gd name="connsiteX71" fmla="*/ 435448 w 607154"/>
                  <a:gd name="connsiteY71" fmla="*/ 353876 h 606722"/>
                  <a:gd name="connsiteX72" fmla="*/ 496146 w 607154"/>
                  <a:gd name="connsiteY72" fmla="*/ 293267 h 606722"/>
                  <a:gd name="connsiteX73" fmla="*/ 455562 w 607154"/>
                  <a:gd name="connsiteY73" fmla="*/ 236036 h 606722"/>
                  <a:gd name="connsiteX74" fmla="*/ 450578 w 607154"/>
                  <a:gd name="connsiteY74" fmla="*/ 235591 h 606722"/>
                  <a:gd name="connsiteX75" fmla="*/ 222721 w 607154"/>
                  <a:gd name="connsiteY75" fmla="*/ 151716 h 606722"/>
                  <a:gd name="connsiteX76" fmla="*/ 232865 w 607154"/>
                  <a:gd name="connsiteY76" fmla="*/ 161759 h 606722"/>
                  <a:gd name="connsiteX77" fmla="*/ 222721 w 607154"/>
                  <a:gd name="connsiteY77" fmla="*/ 171892 h 606722"/>
                  <a:gd name="connsiteX78" fmla="*/ 192378 w 607154"/>
                  <a:gd name="connsiteY78" fmla="*/ 202289 h 606722"/>
                  <a:gd name="connsiteX79" fmla="*/ 182234 w 607154"/>
                  <a:gd name="connsiteY79" fmla="*/ 212332 h 606722"/>
                  <a:gd name="connsiteX80" fmla="*/ 172179 w 607154"/>
                  <a:gd name="connsiteY80" fmla="*/ 202289 h 606722"/>
                  <a:gd name="connsiteX81" fmla="*/ 222721 w 607154"/>
                  <a:gd name="connsiteY81" fmla="*/ 151716 h 606722"/>
                  <a:gd name="connsiteX82" fmla="*/ 222739 w 607154"/>
                  <a:gd name="connsiteY82" fmla="*/ 131437 h 606722"/>
                  <a:gd name="connsiteX83" fmla="*/ 151896 w 607154"/>
                  <a:gd name="connsiteY83" fmla="*/ 202266 h 606722"/>
                  <a:gd name="connsiteX84" fmla="*/ 222739 w 607154"/>
                  <a:gd name="connsiteY84" fmla="*/ 273005 h 606722"/>
                  <a:gd name="connsiteX85" fmla="*/ 283615 w 607154"/>
                  <a:gd name="connsiteY85" fmla="*/ 238880 h 606722"/>
                  <a:gd name="connsiteX86" fmla="*/ 284505 w 607154"/>
                  <a:gd name="connsiteY86" fmla="*/ 235591 h 606722"/>
                  <a:gd name="connsiteX87" fmla="*/ 292604 w 607154"/>
                  <a:gd name="connsiteY87" fmla="*/ 203243 h 606722"/>
                  <a:gd name="connsiteX88" fmla="*/ 285573 w 607154"/>
                  <a:gd name="connsiteY88" fmla="*/ 173916 h 606722"/>
                  <a:gd name="connsiteX89" fmla="*/ 285039 w 607154"/>
                  <a:gd name="connsiteY89" fmla="*/ 168051 h 606722"/>
                  <a:gd name="connsiteX90" fmla="*/ 222739 w 607154"/>
                  <a:gd name="connsiteY90" fmla="*/ 131437 h 606722"/>
                  <a:gd name="connsiteX91" fmla="*/ 446840 w 607154"/>
                  <a:gd name="connsiteY91" fmla="*/ 109575 h 606722"/>
                  <a:gd name="connsiteX92" fmla="*/ 309870 w 607154"/>
                  <a:gd name="connsiteY92" fmla="*/ 172939 h 606722"/>
                  <a:gd name="connsiteX93" fmla="*/ 311650 w 607154"/>
                  <a:gd name="connsiteY93" fmla="*/ 182092 h 606722"/>
                  <a:gd name="connsiteX94" fmla="*/ 313786 w 607154"/>
                  <a:gd name="connsiteY94" fmla="*/ 198444 h 606722"/>
                  <a:gd name="connsiteX95" fmla="*/ 313875 w 607154"/>
                  <a:gd name="connsiteY95" fmla="*/ 202266 h 606722"/>
                  <a:gd name="connsiteX96" fmla="*/ 313786 w 607154"/>
                  <a:gd name="connsiteY96" fmla="*/ 206620 h 606722"/>
                  <a:gd name="connsiteX97" fmla="*/ 313697 w 607154"/>
                  <a:gd name="connsiteY97" fmla="*/ 208753 h 606722"/>
                  <a:gd name="connsiteX98" fmla="*/ 313519 w 607154"/>
                  <a:gd name="connsiteY98" fmla="*/ 210708 h 606722"/>
                  <a:gd name="connsiteX99" fmla="*/ 313163 w 607154"/>
                  <a:gd name="connsiteY99" fmla="*/ 213641 h 606722"/>
                  <a:gd name="connsiteX100" fmla="*/ 313074 w 607154"/>
                  <a:gd name="connsiteY100" fmla="*/ 214707 h 606722"/>
                  <a:gd name="connsiteX101" fmla="*/ 312540 w 607154"/>
                  <a:gd name="connsiteY101" fmla="*/ 217995 h 606722"/>
                  <a:gd name="connsiteX102" fmla="*/ 312451 w 607154"/>
                  <a:gd name="connsiteY102" fmla="*/ 218351 h 606722"/>
                  <a:gd name="connsiteX103" fmla="*/ 310671 w 607154"/>
                  <a:gd name="connsiteY103" fmla="*/ 226438 h 606722"/>
                  <a:gd name="connsiteX104" fmla="*/ 308891 w 607154"/>
                  <a:gd name="connsiteY104" fmla="*/ 232570 h 606722"/>
                  <a:gd name="connsiteX105" fmla="*/ 367986 w 607154"/>
                  <a:gd name="connsiteY105" fmla="*/ 248566 h 606722"/>
                  <a:gd name="connsiteX106" fmla="*/ 435448 w 607154"/>
                  <a:gd name="connsiteY106" fmla="*/ 212308 h 606722"/>
                  <a:gd name="connsiteX107" fmla="*/ 435982 w 607154"/>
                  <a:gd name="connsiteY107" fmla="*/ 212397 h 606722"/>
                  <a:gd name="connsiteX108" fmla="*/ 449599 w 607154"/>
                  <a:gd name="connsiteY108" fmla="*/ 213374 h 606722"/>
                  <a:gd name="connsiteX109" fmla="*/ 476655 w 607154"/>
                  <a:gd name="connsiteY109" fmla="*/ 135170 h 606722"/>
                  <a:gd name="connsiteX110" fmla="*/ 446840 w 607154"/>
                  <a:gd name="connsiteY110" fmla="*/ 109575 h 606722"/>
                  <a:gd name="connsiteX111" fmla="*/ 506320 w 607154"/>
                  <a:gd name="connsiteY111" fmla="*/ 40434 h 606722"/>
                  <a:gd name="connsiteX112" fmla="*/ 516468 w 607154"/>
                  <a:gd name="connsiteY112" fmla="*/ 50565 h 606722"/>
                  <a:gd name="connsiteX113" fmla="*/ 506320 w 607154"/>
                  <a:gd name="connsiteY113" fmla="*/ 60695 h 606722"/>
                  <a:gd name="connsiteX114" fmla="*/ 496171 w 607154"/>
                  <a:gd name="connsiteY114" fmla="*/ 70737 h 606722"/>
                  <a:gd name="connsiteX115" fmla="*/ 486112 w 607154"/>
                  <a:gd name="connsiteY115" fmla="*/ 80868 h 606722"/>
                  <a:gd name="connsiteX116" fmla="*/ 475963 w 607154"/>
                  <a:gd name="connsiteY116" fmla="*/ 70737 h 606722"/>
                  <a:gd name="connsiteX117" fmla="*/ 506320 w 607154"/>
                  <a:gd name="connsiteY117" fmla="*/ 40434 h 606722"/>
                  <a:gd name="connsiteX118" fmla="*/ 506291 w 607154"/>
                  <a:gd name="connsiteY118" fmla="*/ 20262 h 606722"/>
                  <a:gd name="connsiteX119" fmla="*/ 455651 w 607154"/>
                  <a:gd name="connsiteY119" fmla="*/ 70740 h 606722"/>
                  <a:gd name="connsiteX120" fmla="*/ 506291 w 607154"/>
                  <a:gd name="connsiteY120" fmla="*/ 121306 h 606722"/>
                  <a:gd name="connsiteX121" fmla="*/ 556932 w 607154"/>
                  <a:gd name="connsiteY121" fmla="*/ 70740 h 606722"/>
                  <a:gd name="connsiteX122" fmla="*/ 506291 w 607154"/>
                  <a:gd name="connsiteY122" fmla="*/ 20262 h 606722"/>
                  <a:gd name="connsiteX123" fmla="*/ 506291 w 607154"/>
                  <a:gd name="connsiteY123" fmla="*/ 0 h 606722"/>
                  <a:gd name="connsiteX124" fmla="*/ 577224 w 607154"/>
                  <a:gd name="connsiteY124" fmla="*/ 70740 h 606722"/>
                  <a:gd name="connsiteX125" fmla="*/ 506291 w 607154"/>
                  <a:gd name="connsiteY125" fmla="*/ 141568 h 606722"/>
                  <a:gd name="connsiteX126" fmla="*/ 494633 w 607154"/>
                  <a:gd name="connsiteY126" fmla="*/ 140591 h 606722"/>
                  <a:gd name="connsiteX127" fmla="*/ 466687 w 607154"/>
                  <a:gd name="connsiteY127" fmla="*/ 218617 h 606722"/>
                  <a:gd name="connsiteX128" fmla="*/ 516437 w 607154"/>
                  <a:gd name="connsiteY128" fmla="*/ 293267 h 606722"/>
                  <a:gd name="connsiteX129" fmla="*/ 435448 w 607154"/>
                  <a:gd name="connsiteY129" fmla="*/ 374138 h 606722"/>
                  <a:gd name="connsiteX130" fmla="*/ 354458 w 607154"/>
                  <a:gd name="connsiteY130" fmla="*/ 293267 h 606722"/>
                  <a:gd name="connsiteX131" fmla="*/ 358463 w 607154"/>
                  <a:gd name="connsiteY131" fmla="*/ 268117 h 606722"/>
                  <a:gd name="connsiteX132" fmla="*/ 298834 w 607154"/>
                  <a:gd name="connsiteY132" fmla="*/ 252654 h 606722"/>
                  <a:gd name="connsiteX133" fmla="*/ 222739 w 607154"/>
                  <a:gd name="connsiteY133" fmla="*/ 293267 h 606722"/>
                  <a:gd name="connsiteX134" fmla="*/ 131604 w 607154"/>
                  <a:gd name="connsiteY134" fmla="*/ 202266 h 606722"/>
                  <a:gd name="connsiteX135" fmla="*/ 222739 w 607154"/>
                  <a:gd name="connsiteY135" fmla="*/ 111264 h 606722"/>
                  <a:gd name="connsiteX136" fmla="*/ 300881 w 607154"/>
                  <a:gd name="connsiteY136" fmla="*/ 154987 h 606722"/>
                  <a:gd name="connsiteX137" fmla="*/ 438385 w 607154"/>
                  <a:gd name="connsiteY137" fmla="*/ 91268 h 606722"/>
                  <a:gd name="connsiteX138" fmla="*/ 435448 w 607154"/>
                  <a:gd name="connsiteY138" fmla="*/ 70740 h 606722"/>
                  <a:gd name="connsiteX139" fmla="*/ 506291 w 607154"/>
                  <a:gd name="connsiteY139"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607154" h="606722">
                    <a:moveTo>
                      <a:pt x="20291" y="364038"/>
                    </a:moveTo>
                    <a:lnTo>
                      <a:pt x="20291" y="586461"/>
                    </a:lnTo>
                    <a:lnTo>
                      <a:pt x="50639" y="586461"/>
                    </a:lnTo>
                    <a:lnTo>
                      <a:pt x="50639" y="576331"/>
                    </a:lnTo>
                    <a:lnTo>
                      <a:pt x="50639" y="379234"/>
                    </a:lnTo>
                    <a:lnTo>
                      <a:pt x="50639" y="364038"/>
                    </a:lnTo>
                    <a:close/>
                    <a:moveTo>
                      <a:pt x="154656" y="354473"/>
                    </a:moveTo>
                    <a:cubicBezTo>
                      <a:pt x="125596" y="355002"/>
                      <a:pt x="89152" y="376412"/>
                      <a:pt x="70930" y="389275"/>
                    </a:cubicBezTo>
                    <a:lnTo>
                      <a:pt x="70930" y="556159"/>
                    </a:lnTo>
                    <a:lnTo>
                      <a:pt x="202555" y="556159"/>
                    </a:lnTo>
                    <a:cubicBezTo>
                      <a:pt x="221778" y="556159"/>
                      <a:pt x="242069" y="555093"/>
                      <a:pt x="261292" y="552071"/>
                    </a:cubicBezTo>
                    <a:lnTo>
                      <a:pt x="394965" y="531900"/>
                    </a:lnTo>
                    <a:cubicBezTo>
                      <a:pt x="398969" y="531900"/>
                      <a:pt x="401995" y="531900"/>
                      <a:pt x="406089" y="530833"/>
                    </a:cubicBezTo>
                    <a:lnTo>
                      <a:pt x="407068" y="530833"/>
                    </a:lnTo>
                    <a:cubicBezTo>
                      <a:pt x="415167" y="529856"/>
                      <a:pt x="423265" y="525768"/>
                      <a:pt x="429317" y="518748"/>
                    </a:cubicBezTo>
                    <a:lnTo>
                      <a:pt x="430385" y="517682"/>
                    </a:lnTo>
                    <a:lnTo>
                      <a:pt x="584259" y="398428"/>
                    </a:lnTo>
                    <a:cubicBezTo>
                      <a:pt x="588353" y="395407"/>
                      <a:pt x="588353" y="389275"/>
                      <a:pt x="586306" y="386254"/>
                    </a:cubicBezTo>
                    <a:cubicBezTo>
                      <a:pt x="578207" y="374168"/>
                      <a:pt x="574203" y="369103"/>
                      <a:pt x="531663" y="390341"/>
                    </a:cubicBezTo>
                    <a:lnTo>
                      <a:pt x="444535" y="443926"/>
                    </a:lnTo>
                    <a:cubicBezTo>
                      <a:pt x="421218" y="456011"/>
                      <a:pt x="376720" y="457077"/>
                      <a:pt x="329107" y="456011"/>
                    </a:cubicBezTo>
                    <a:lnTo>
                      <a:pt x="324035" y="456011"/>
                    </a:lnTo>
                    <a:lnTo>
                      <a:pt x="310863" y="456011"/>
                    </a:lnTo>
                    <a:lnTo>
                      <a:pt x="310952" y="455033"/>
                    </a:lnTo>
                    <a:cubicBezTo>
                      <a:pt x="310952" y="455033"/>
                      <a:pt x="310863" y="455033"/>
                      <a:pt x="310863" y="455033"/>
                    </a:cubicBezTo>
                    <a:lnTo>
                      <a:pt x="212701" y="455033"/>
                    </a:lnTo>
                    <a:cubicBezTo>
                      <a:pt x="182264" y="455033"/>
                      <a:pt x="182264" y="470229"/>
                      <a:pt x="182264" y="475294"/>
                    </a:cubicBezTo>
                    <a:cubicBezTo>
                      <a:pt x="182264" y="480270"/>
                      <a:pt x="178259" y="485336"/>
                      <a:pt x="172207" y="485336"/>
                    </a:cubicBezTo>
                    <a:cubicBezTo>
                      <a:pt x="166067" y="485336"/>
                      <a:pt x="162062" y="481337"/>
                      <a:pt x="162062" y="475294"/>
                    </a:cubicBezTo>
                    <a:cubicBezTo>
                      <a:pt x="162062" y="449968"/>
                      <a:pt x="181285" y="434773"/>
                      <a:pt x="212701" y="434773"/>
                    </a:cubicBezTo>
                    <a:lnTo>
                      <a:pt x="310863" y="434773"/>
                    </a:lnTo>
                    <a:cubicBezTo>
                      <a:pt x="312643" y="434773"/>
                      <a:pt x="314334" y="435128"/>
                      <a:pt x="315669" y="435839"/>
                    </a:cubicBezTo>
                    <a:lnTo>
                      <a:pt x="323056" y="435839"/>
                    </a:lnTo>
                    <a:cubicBezTo>
                      <a:pt x="336227" y="434773"/>
                      <a:pt x="348331" y="432818"/>
                      <a:pt x="351356" y="427753"/>
                    </a:cubicBezTo>
                    <a:cubicBezTo>
                      <a:pt x="352424" y="425709"/>
                      <a:pt x="351356" y="419666"/>
                      <a:pt x="347352" y="413623"/>
                    </a:cubicBezTo>
                    <a:cubicBezTo>
                      <a:pt x="333201" y="394340"/>
                      <a:pt x="312910" y="384299"/>
                      <a:pt x="289593" y="384299"/>
                    </a:cubicBezTo>
                    <a:lnTo>
                      <a:pt x="250168" y="384299"/>
                    </a:lnTo>
                    <a:cubicBezTo>
                      <a:pt x="224804" y="384299"/>
                      <a:pt x="199529" y="376212"/>
                      <a:pt x="180306" y="361994"/>
                    </a:cubicBezTo>
                    <a:cubicBezTo>
                      <a:pt x="173209" y="356440"/>
                      <a:pt x="164342" y="354297"/>
                      <a:pt x="154656" y="354473"/>
                    </a:cubicBezTo>
                    <a:close/>
                    <a:moveTo>
                      <a:pt x="161952" y="333950"/>
                    </a:moveTo>
                    <a:cubicBezTo>
                      <a:pt x="172875" y="334730"/>
                      <a:pt x="183287" y="338001"/>
                      <a:pt x="192409" y="344844"/>
                    </a:cubicBezTo>
                    <a:cubicBezTo>
                      <a:pt x="208607" y="356929"/>
                      <a:pt x="228898" y="363061"/>
                      <a:pt x="250168" y="363061"/>
                    </a:cubicBezTo>
                    <a:lnTo>
                      <a:pt x="289593" y="363061"/>
                    </a:lnTo>
                    <a:cubicBezTo>
                      <a:pt x="318962" y="363061"/>
                      <a:pt x="346373" y="377190"/>
                      <a:pt x="362570" y="400472"/>
                    </a:cubicBezTo>
                    <a:cubicBezTo>
                      <a:pt x="371648" y="413623"/>
                      <a:pt x="373694" y="424731"/>
                      <a:pt x="368622" y="433795"/>
                    </a:cubicBezTo>
                    <a:cubicBezTo>
                      <a:pt x="393897" y="433795"/>
                      <a:pt x="421218" y="431751"/>
                      <a:pt x="433411" y="424731"/>
                    </a:cubicBezTo>
                    <a:lnTo>
                      <a:pt x="520449" y="371147"/>
                    </a:lnTo>
                    <a:cubicBezTo>
                      <a:pt x="565036" y="347865"/>
                      <a:pt x="583280" y="347865"/>
                      <a:pt x="601524" y="372125"/>
                    </a:cubicBezTo>
                    <a:cubicBezTo>
                      <a:pt x="610602" y="384299"/>
                      <a:pt x="608555" y="402427"/>
                      <a:pt x="596452" y="412557"/>
                    </a:cubicBezTo>
                    <a:lnTo>
                      <a:pt x="443556" y="532877"/>
                    </a:lnTo>
                    <a:cubicBezTo>
                      <a:pt x="433411" y="541941"/>
                      <a:pt x="422286" y="548073"/>
                      <a:pt x="410094" y="550116"/>
                    </a:cubicBezTo>
                    <a:cubicBezTo>
                      <a:pt x="406089" y="551094"/>
                      <a:pt x="401016" y="552071"/>
                      <a:pt x="395943" y="552071"/>
                    </a:cubicBezTo>
                    <a:lnTo>
                      <a:pt x="264318" y="572332"/>
                    </a:lnTo>
                    <a:cubicBezTo>
                      <a:pt x="244027" y="574376"/>
                      <a:pt x="222757" y="576331"/>
                      <a:pt x="202555" y="576331"/>
                    </a:cubicBezTo>
                    <a:lnTo>
                      <a:pt x="70930" y="576331"/>
                    </a:lnTo>
                    <a:lnTo>
                      <a:pt x="70930" y="606722"/>
                    </a:lnTo>
                    <a:lnTo>
                      <a:pt x="0" y="606722"/>
                    </a:lnTo>
                    <a:lnTo>
                      <a:pt x="0" y="343777"/>
                    </a:lnTo>
                    <a:lnTo>
                      <a:pt x="70930" y="343777"/>
                    </a:lnTo>
                    <a:lnTo>
                      <a:pt x="70930" y="365016"/>
                    </a:lnTo>
                    <a:cubicBezTo>
                      <a:pt x="91822" y="351686"/>
                      <a:pt x="129183" y="331609"/>
                      <a:pt x="161952" y="333950"/>
                    </a:cubicBezTo>
                    <a:close/>
                    <a:moveTo>
                      <a:pt x="435469" y="252766"/>
                    </a:moveTo>
                    <a:cubicBezTo>
                      <a:pt x="441524" y="252766"/>
                      <a:pt x="445620" y="256851"/>
                      <a:pt x="445620" y="262889"/>
                    </a:cubicBezTo>
                    <a:cubicBezTo>
                      <a:pt x="445620" y="268927"/>
                      <a:pt x="441524" y="273012"/>
                      <a:pt x="435469" y="273012"/>
                    </a:cubicBezTo>
                    <a:cubicBezTo>
                      <a:pt x="424338" y="273012"/>
                      <a:pt x="415167" y="282069"/>
                      <a:pt x="415167" y="293257"/>
                    </a:cubicBezTo>
                    <a:cubicBezTo>
                      <a:pt x="415167" y="299295"/>
                      <a:pt x="411160" y="303291"/>
                      <a:pt x="405016" y="303291"/>
                    </a:cubicBezTo>
                    <a:cubicBezTo>
                      <a:pt x="398961" y="303291"/>
                      <a:pt x="394954" y="299295"/>
                      <a:pt x="394954" y="293257"/>
                    </a:cubicBezTo>
                    <a:cubicBezTo>
                      <a:pt x="394954" y="270969"/>
                      <a:pt x="413119" y="252766"/>
                      <a:pt x="435469" y="252766"/>
                    </a:cubicBezTo>
                    <a:close/>
                    <a:moveTo>
                      <a:pt x="450578" y="235591"/>
                    </a:moveTo>
                    <a:cubicBezTo>
                      <a:pt x="438029" y="232037"/>
                      <a:pt x="425213" y="232570"/>
                      <a:pt x="413643" y="236658"/>
                    </a:cubicBezTo>
                    <a:cubicBezTo>
                      <a:pt x="390948" y="245367"/>
                      <a:pt x="374661" y="267495"/>
                      <a:pt x="374661" y="293267"/>
                    </a:cubicBezTo>
                    <a:cubicBezTo>
                      <a:pt x="374661" y="326593"/>
                      <a:pt x="401984" y="353876"/>
                      <a:pt x="435448" y="353876"/>
                    </a:cubicBezTo>
                    <a:cubicBezTo>
                      <a:pt x="468823" y="353876"/>
                      <a:pt x="496146" y="326593"/>
                      <a:pt x="496146" y="293267"/>
                    </a:cubicBezTo>
                    <a:cubicBezTo>
                      <a:pt x="496146" y="266873"/>
                      <a:pt x="479147" y="244389"/>
                      <a:pt x="455562" y="236036"/>
                    </a:cubicBezTo>
                    <a:cubicBezTo>
                      <a:pt x="453960" y="236391"/>
                      <a:pt x="452269" y="236302"/>
                      <a:pt x="450578" y="235591"/>
                    </a:cubicBezTo>
                    <a:close/>
                    <a:moveTo>
                      <a:pt x="222721" y="151716"/>
                    </a:moveTo>
                    <a:cubicBezTo>
                      <a:pt x="228861" y="151716"/>
                      <a:pt x="232865" y="155716"/>
                      <a:pt x="232865" y="161759"/>
                    </a:cubicBezTo>
                    <a:cubicBezTo>
                      <a:pt x="232865" y="167892"/>
                      <a:pt x="228861" y="171892"/>
                      <a:pt x="222721" y="171892"/>
                    </a:cubicBezTo>
                    <a:cubicBezTo>
                      <a:pt x="205547" y="171892"/>
                      <a:pt x="192378" y="185046"/>
                      <a:pt x="192378" y="202289"/>
                    </a:cubicBezTo>
                    <a:cubicBezTo>
                      <a:pt x="192378" y="208332"/>
                      <a:pt x="188374" y="212332"/>
                      <a:pt x="182234" y="212332"/>
                    </a:cubicBezTo>
                    <a:cubicBezTo>
                      <a:pt x="176183" y="212332"/>
                      <a:pt x="172179" y="208332"/>
                      <a:pt x="172179" y="202289"/>
                    </a:cubicBezTo>
                    <a:cubicBezTo>
                      <a:pt x="172179" y="173936"/>
                      <a:pt x="194425" y="151716"/>
                      <a:pt x="222721" y="151716"/>
                    </a:cubicBezTo>
                    <a:close/>
                    <a:moveTo>
                      <a:pt x="222739" y="131437"/>
                    </a:moveTo>
                    <a:cubicBezTo>
                      <a:pt x="183313" y="131437"/>
                      <a:pt x="151896" y="162808"/>
                      <a:pt x="151896" y="202266"/>
                    </a:cubicBezTo>
                    <a:cubicBezTo>
                      <a:pt x="151896" y="241635"/>
                      <a:pt x="183313" y="273005"/>
                      <a:pt x="222739" y="273005"/>
                    </a:cubicBezTo>
                    <a:cubicBezTo>
                      <a:pt x="248816" y="273005"/>
                      <a:pt x="271244" y="259408"/>
                      <a:pt x="283615" y="238880"/>
                    </a:cubicBezTo>
                    <a:cubicBezTo>
                      <a:pt x="283793" y="237813"/>
                      <a:pt x="284149" y="236658"/>
                      <a:pt x="284505" y="235591"/>
                    </a:cubicBezTo>
                    <a:cubicBezTo>
                      <a:pt x="289578" y="225460"/>
                      <a:pt x="292604" y="214352"/>
                      <a:pt x="292604" y="203243"/>
                    </a:cubicBezTo>
                    <a:cubicBezTo>
                      <a:pt x="292604" y="193112"/>
                      <a:pt x="290646" y="182981"/>
                      <a:pt x="285573" y="173916"/>
                    </a:cubicBezTo>
                    <a:cubicBezTo>
                      <a:pt x="284772" y="172406"/>
                      <a:pt x="284594" y="170273"/>
                      <a:pt x="285039" y="168051"/>
                    </a:cubicBezTo>
                    <a:cubicBezTo>
                      <a:pt x="273024" y="146100"/>
                      <a:pt x="249795" y="131437"/>
                      <a:pt x="222739" y="131437"/>
                    </a:cubicBezTo>
                    <a:close/>
                    <a:moveTo>
                      <a:pt x="446840" y="109575"/>
                    </a:moveTo>
                    <a:lnTo>
                      <a:pt x="309870" y="172939"/>
                    </a:lnTo>
                    <a:cubicBezTo>
                      <a:pt x="310493" y="176049"/>
                      <a:pt x="311116" y="179071"/>
                      <a:pt x="311650" y="182092"/>
                    </a:cubicBezTo>
                    <a:cubicBezTo>
                      <a:pt x="312896" y="187336"/>
                      <a:pt x="313608" y="192845"/>
                      <a:pt x="313786" y="198444"/>
                    </a:cubicBezTo>
                    <a:cubicBezTo>
                      <a:pt x="313875" y="199688"/>
                      <a:pt x="313875" y="200933"/>
                      <a:pt x="313875" y="202266"/>
                    </a:cubicBezTo>
                    <a:cubicBezTo>
                      <a:pt x="313875" y="203687"/>
                      <a:pt x="313875" y="205109"/>
                      <a:pt x="313786" y="206620"/>
                    </a:cubicBezTo>
                    <a:cubicBezTo>
                      <a:pt x="313786" y="207331"/>
                      <a:pt x="313697" y="208042"/>
                      <a:pt x="313697" y="208753"/>
                    </a:cubicBezTo>
                    <a:cubicBezTo>
                      <a:pt x="313608" y="209464"/>
                      <a:pt x="313608" y="210086"/>
                      <a:pt x="313519" y="210708"/>
                    </a:cubicBezTo>
                    <a:cubicBezTo>
                      <a:pt x="313430" y="211686"/>
                      <a:pt x="313341" y="212663"/>
                      <a:pt x="313163" y="213641"/>
                    </a:cubicBezTo>
                    <a:cubicBezTo>
                      <a:pt x="313163" y="213996"/>
                      <a:pt x="313074" y="214352"/>
                      <a:pt x="313074" y="214707"/>
                    </a:cubicBezTo>
                    <a:cubicBezTo>
                      <a:pt x="312896" y="215774"/>
                      <a:pt x="312718" y="216840"/>
                      <a:pt x="312540" y="217995"/>
                    </a:cubicBezTo>
                    <a:cubicBezTo>
                      <a:pt x="312540" y="218084"/>
                      <a:pt x="312540" y="218262"/>
                      <a:pt x="312451" y="218351"/>
                    </a:cubicBezTo>
                    <a:cubicBezTo>
                      <a:pt x="312006" y="221106"/>
                      <a:pt x="311383" y="223861"/>
                      <a:pt x="310671" y="226438"/>
                    </a:cubicBezTo>
                    <a:cubicBezTo>
                      <a:pt x="310137" y="228571"/>
                      <a:pt x="309514" y="230615"/>
                      <a:pt x="308891" y="232570"/>
                    </a:cubicBezTo>
                    <a:lnTo>
                      <a:pt x="367986" y="248566"/>
                    </a:lnTo>
                    <a:cubicBezTo>
                      <a:pt x="382582" y="226793"/>
                      <a:pt x="407413" y="212308"/>
                      <a:pt x="435448" y="212308"/>
                    </a:cubicBezTo>
                    <a:cubicBezTo>
                      <a:pt x="435626" y="212308"/>
                      <a:pt x="435804" y="212308"/>
                      <a:pt x="435982" y="212397"/>
                    </a:cubicBezTo>
                    <a:cubicBezTo>
                      <a:pt x="440521" y="212308"/>
                      <a:pt x="445060" y="212574"/>
                      <a:pt x="449599" y="213374"/>
                    </a:cubicBezTo>
                    <a:lnTo>
                      <a:pt x="476655" y="135170"/>
                    </a:lnTo>
                    <a:cubicBezTo>
                      <a:pt x="464462" y="129660"/>
                      <a:pt x="454049" y="120684"/>
                      <a:pt x="446840" y="109575"/>
                    </a:cubicBezTo>
                    <a:close/>
                    <a:moveTo>
                      <a:pt x="506320" y="40434"/>
                    </a:moveTo>
                    <a:cubicBezTo>
                      <a:pt x="512373" y="40434"/>
                      <a:pt x="516468" y="44522"/>
                      <a:pt x="516468" y="50565"/>
                    </a:cubicBezTo>
                    <a:cubicBezTo>
                      <a:pt x="516468" y="56608"/>
                      <a:pt x="512373" y="60695"/>
                      <a:pt x="506320" y="60695"/>
                    </a:cubicBezTo>
                    <a:cubicBezTo>
                      <a:pt x="500266" y="60695"/>
                      <a:pt x="496171" y="64694"/>
                      <a:pt x="496171" y="70737"/>
                    </a:cubicBezTo>
                    <a:cubicBezTo>
                      <a:pt x="496171" y="76869"/>
                      <a:pt x="492165" y="80868"/>
                      <a:pt x="486112" y="80868"/>
                    </a:cubicBezTo>
                    <a:cubicBezTo>
                      <a:pt x="479969" y="80868"/>
                      <a:pt x="475963" y="76869"/>
                      <a:pt x="475963" y="70737"/>
                    </a:cubicBezTo>
                    <a:cubicBezTo>
                      <a:pt x="475963" y="53586"/>
                      <a:pt x="489138" y="40434"/>
                      <a:pt x="506320" y="40434"/>
                    </a:cubicBezTo>
                    <a:close/>
                    <a:moveTo>
                      <a:pt x="506291" y="20262"/>
                    </a:moveTo>
                    <a:cubicBezTo>
                      <a:pt x="477990" y="20262"/>
                      <a:pt x="455651" y="42479"/>
                      <a:pt x="455651" y="70740"/>
                    </a:cubicBezTo>
                    <a:cubicBezTo>
                      <a:pt x="455651" y="99089"/>
                      <a:pt x="477990" y="121306"/>
                      <a:pt x="506291" y="121306"/>
                    </a:cubicBezTo>
                    <a:cubicBezTo>
                      <a:pt x="534682" y="121306"/>
                      <a:pt x="556932" y="99089"/>
                      <a:pt x="556932" y="70740"/>
                    </a:cubicBezTo>
                    <a:cubicBezTo>
                      <a:pt x="556932" y="42479"/>
                      <a:pt x="534682" y="20262"/>
                      <a:pt x="506291" y="20262"/>
                    </a:cubicBezTo>
                    <a:close/>
                    <a:moveTo>
                      <a:pt x="506291" y="0"/>
                    </a:moveTo>
                    <a:cubicBezTo>
                      <a:pt x="545807" y="0"/>
                      <a:pt x="577224" y="31371"/>
                      <a:pt x="577224" y="70740"/>
                    </a:cubicBezTo>
                    <a:cubicBezTo>
                      <a:pt x="577224" y="110197"/>
                      <a:pt x="545807" y="141568"/>
                      <a:pt x="506291" y="141568"/>
                    </a:cubicBezTo>
                    <a:cubicBezTo>
                      <a:pt x="502287" y="141568"/>
                      <a:pt x="498460" y="141213"/>
                      <a:pt x="494633" y="140591"/>
                    </a:cubicBezTo>
                    <a:lnTo>
                      <a:pt x="466687" y="218617"/>
                    </a:lnTo>
                    <a:cubicBezTo>
                      <a:pt x="495790" y="230881"/>
                      <a:pt x="516437" y="259764"/>
                      <a:pt x="516437" y="293267"/>
                    </a:cubicBezTo>
                    <a:cubicBezTo>
                      <a:pt x="516437" y="337702"/>
                      <a:pt x="479948" y="374138"/>
                      <a:pt x="435448" y="374138"/>
                    </a:cubicBezTo>
                    <a:cubicBezTo>
                      <a:pt x="390859" y="374138"/>
                      <a:pt x="354458" y="337702"/>
                      <a:pt x="354458" y="293267"/>
                    </a:cubicBezTo>
                    <a:cubicBezTo>
                      <a:pt x="354458" y="284469"/>
                      <a:pt x="355882" y="276027"/>
                      <a:pt x="358463" y="268117"/>
                    </a:cubicBezTo>
                    <a:lnTo>
                      <a:pt x="298834" y="252654"/>
                    </a:lnTo>
                    <a:cubicBezTo>
                      <a:pt x="282547" y="277182"/>
                      <a:pt x="254690" y="293267"/>
                      <a:pt x="222739" y="293267"/>
                    </a:cubicBezTo>
                    <a:cubicBezTo>
                      <a:pt x="172188" y="293267"/>
                      <a:pt x="131604" y="252743"/>
                      <a:pt x="131604" y="202266"/>
                    </a:cubicBezTo>
                    <a:cubicBezTo>
                      <a:pt x="131604" y="151699"/>
                      <a:pt x="172188" y="111264"/>
                      <a:pt x="222739" y="111264"/>
                    </a:cubicBezTo>
                    <a:cubicBezTo>
                      <a:pt x="256025" y="111264"/>
                      <a:pt x="284950" y="128682"/>
                      <a:pt x="300881" y="154987"/>
                    </a:cubicBezTo>
                    <a:lnTo>
                      <a:pt x="438385" y="91268"/>
                    </a:lnTo>
                    <a:cubicBezTo>
                      <a:pt x="436427" y="84781"/>
                      <a:pt x="435448" y="77938"/>
                      <a:pt x="435448" y="70740"/>
                    </a:cubicBezTo>
                    <a:cubicBezTo>
                      <a:pt x="435448" y="31371"/>
                      <a:pt x="466776" y="0"/>
                      <a:pt x="506291" y="0"/>
                    </a:cubicBezTo>
                    <a:close/>
                  </a:path>
                </a:pathLst>
              </a:custGeom>
              <a:solidFill>
                <a:schemeClr val="bg1"/>
              </a:solidFill>
              <a:ln>
                <a:noFill/>
              </a:ln>
              <a:ex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cxnSp>
          <p:nvCxnSpPr>
            <p:cNvPr id="177" name="直接连接符 176">
              <a:extLst>
                <a:ext uri="{FF2B5EF4-FFF2-40B4-BE49-F238E27FC236}">
                  <a16:creationId xmlns:a16="http://schemas.microsoft.com/office/drawing/2014/main" id="{C3E9E721-0F14-4B28-8DC3-EB4C9689D403}"/>
                </a:ext>
              </a:extLst>
            </p:cNvPr>
            <p:cNvCxnSpPr/>
            <p:nvPr/>
          </p:nvCxnSpPr>
          <p:spPr>
            <a:xfrm>
              <a:off x="3392036" y="3657510"/>
              <a:ext cx="0" cy="2486115"/>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178" name="直接连接符 177">
              <a:extLst>
                <a:ext uri="{FF2B5EF4-FFF2-40B4-BE49-F238E27FC236}">
                  <a16:creationId xmlns:a16="http://schemas.microsoft.com/office/drawing/2014/main" id="{3C5E72C8-E041-4ED7-93B8-41E460F5CB9F}"/>
                </a:ext>
              </a:extLst>
            </p:cNvPr>
            <p:cNvCxnSpPr/>
            <p:nvPr/>
          </p:nvCxnSpPr>
          <p:spPr>
            <a:xfrm>
              <a:off x="6125711" y="3657510"/>
              <a:ext cx="0" cy="2486115"/>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179" name="直接连接符 178">
              <a:extLst>
                <a:ext uri="{FF2B5EF4-FFF2-40B4-BE49-F238E27FC236}">
                  <a16:creationId xmlns:a16="http://schemas.microsoft.com/office/drawing/2014/main" id="{1C988E71-9684-48DE-AA91-F04B42FAE3C8}"/>
                </a:ext>
              </a:extLst>
            </p:cNvPr>
            <p:cNvCxnSpPr/>
            <p:nvPr/>
          </p:nvCxnSpPr>
          <p:spPr>
            <a:xfrm>
              <a:off x="8859386" y="3657510"/>
              <a:ext cx="0" cy="2486115"/>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sp>
        <p:nvSpPr>
          <p:cNvPr id="44" name="标题 1"/>
          <p:cNvSpPr>
            <a:spLocks noGrp="1"/>
          </p:cNvSpPr>
          <p:nvPr>
            <p:ph type="title"/>
          </p:nvPr>
        </p:nvSpPr>
        <p:spPr>
          <a:xfrm>
            <a:off x="1137925" y="205921"/>
            <a:ext cx="10401280" cy="695186"/>
          </a:xfrm>
        </p:spPr>
        <p:txBody>
          <a:bodyPr/>
          <a:lstStyle/>
          <a:p>
            <a:r>
              <a:rPr lang="zh-CN" altLang="en-US" sz="3200" b="0" dirty="0" smtClean="0">
                <a:latin typeface="Arial"/>
                <a:ea typeface="Microsoft YaHei"/>
                <a:cs typeface="+mn-ea"/>
                <a:sym typeface="Arial"/>
              </a:rPr>
              <a:t>创建型模式</a:t>
            </a:r>
            <a:endParaRPr lang="zh-CN" altLang="en-US" sz="3200" b="0" dirty="0">
              <a:latin typeface="Arial"/>
              <a:ea typeface="Microsoft YaHei"/>
              <a:cs typeface="+mn-ea"/>
              <a:sym typeface="Arial"/>
            </a:endParaRPr>
          </a:p>
        </p:txBody>
      </p:sp>
      <p:grpSp>
        <p:nvGrpSpPr>
          <p:cNvPr id="45" name="组合 44">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46" name="椭圆 45">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47" name="椭圆 46">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
        <p:nvSpPr>
          <p:cNvPr id="48" name="î$ḷîḓê">
            <a:extLst>
              <a:ext uri="{FF2B5EF4-FFF2-40B4-BE49-F238E27FC236}">
                <a16:creationId xmlns:a16="http://schemas.microsoft.com/office/drawing/2014/main" id="{0120662D-08EC-45F4-BE9C-84021ADB4C9A}"/>
              </a:ext>
            </a:extLst>
          </p:cNvPr>
          <p:cNvSpPr/>
          <p:nvPr/>
        </p:nvSpPr>
        <p:spPr bwMode="gray">
          <a:xfrm>
            <a:off x="7211000" y="198392"/>
            <a:ext cx="1506790" cy="480145"/>
          </a:xfrm>
          <a:prstGeom prst="rect">
            <a:avLst/>
          </a:prstGeom>
          <a:solidFill>
            <a:schemeClr val="accent1"/>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创建型模式</a:t>
            </a:r>
            <a:endParaRPr lang="en-US" altLang="zh-CN" sz="2400" dirty="0">
              <a:solidFill>
                <a:schemeClr val="bg1"/>
              </a:solidFill>
            </a:endParaRPr>
          </a:p>
        </p:txBody>
      </p:sp>
      <p:sp>
        <p:nvSpPr>
          <p:cNvPr id="49" name="î$ḷîḓê">
            <a:extLst>
              <a:ext uri="{FF2B5EF4-FFF2-40B4-BE49-F238E27FC236}">
                <a16:creationId xmlns:a16="http://schemas.microsoft.com/office/drawing/2014/main" id="{0120662D-08EC-45F4-BE9C-84021ADB4C9A}"/>
              </a:ext>
            </a:extLst>
          </p:cNvPr>
          <p:cNvSpPr/>
          <p:nvPr/>
        </p:nvSpPr>
        <p:spPr bwMode="gray">
          <a:xfrm>
            <a:off x="8749874" y="199746"/>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结构型模式</a:t>
            </a:r>
            <a:endParaRPr lang="en-US" altLang="zh-CN" sz="2400" dirty="0">
              <a:solidFill>
                <a:schemeClr val="bg1"/>
              </a:solidFill>
            </a:endParaRPr>
          </a:p>
        </p:txBody>
      </p:sp>
      <p:sp>
        <p:nvSpPr>
          <p:cNvPr id="50" name="î$ḷîḓê">
            <a:extLst>
              <a:ext uri="{FF2B5EF4-FFF2-40B4-BE49-F238E27FC236}">
                <a16:creationId xmlns:a16="http://schemas.microsoft.com/office/drawing/2014/main" id="{0120662D-08EC-45F4-BE9C-84021ADB4C9A}"/>
              </a:ext>
            </a:extLst>
          </p:cNvPr>
          <p:cNvSpPr/>
          <p:nvPr/>
        </p:nvSpPr>
        <p:spPr bwMode="gray">
          <a:xfrm>
            <a:off x="10282004" y="189695"/>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行为型模式</a:t>
            </a:r>
            <a:endParaRPr lang="en-US" altLang="zh-CN" sz="2400" dirty="0">
              <a:solidFill>
                <a:schemeClr val="bg1"/>
              </a:solidFill>
            </a:endParaRPr>
          </a:p>
        </p:txBody>
      </p:sp>
    </p:spTree>
    <p:extLst>
      <p:ext uri="{BB962C8B-B14F-4D97-AF65-F5344CB8AC3E}">
        <p14:creationId xmlns:p14="http://schemas.microsoft.com/office/powerpoint/2010/main" val="291803181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组合 29">
            <a:extLst>
              <a:ext uri="{FF2B5EF4-FFF2-40B4-BE49-F238E27FC236}">
                <a16:creationId xmlns:a16="http://schemas.microsoft.com/office/drawing/2014/main" id="{0853A8D8-448C-4E50-AD38-219140CD6184}"/>
              </a:ext>
            </a:extLst>
          </p:cNvPr>
          <p:cNvGrpSpPr/>
          <p:nvPr/>
        </p:nvGrpSpPr>
        <p:grpSpPr>
          <a:xfrm>
            <a:off x="669925" y="210537"/>
            <a:ext cx="468000" cy="468000"/>
            <a:chOff x="669925" y="48611"/>
            <a:chExt cx="468000" cy="468000"/>
          </a:xfrm>
        </p:grpSpPr>
        <p:sp>
          <p:nvSpPr>
            <p:cNvPr id="31" name="椭圆 30">
              <a:extLst>
                <a:ext uri="{FF2B5EF4-FFF2-40B4-BE49-F238E27FC236}">
                  <a16:creationId xmlns:a16="http://schemas.microsoft.com/office/drawing/2014/main" id="{18765B3C-06BD-445D-B72B-512E55DEF34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32" name="椭圆 31">
              <a:extLst>
                <a:ext uri="{FF2B5EF4-FFF2-40B4-BE49-F238E27FC236}">
                  <a16:creationId xmlns:a16="http://schemas.microsoft.com/office/drawing/2014/main" id="{A6AA7771-0E3D-4241-9DE3-825324394A29}"/>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grpSp>
      <p:sp>
        <p:nvSpPr>
          <p:cNvPr id="36" name="标题 1">
            <a:extLst>
              <a:ext uri="{FF2B5EF4-FFF2-40B4-BE49-F238E27FC236}">
                <a16:creationId xmlns:a16="http://schemas.microsoft.com/office/drawing/2014/main" id="{62930304-3D14-4FEB-B45D-709CE5948953}"/>
              </a:ext>
            </a:extLst>
          </p:cNvPr>
          <p:cNvSpPr txBox="1">
            <a:spLocks/>
          </p:cNvSpPr>
          <p:nvPr/>
        </p:nvSpPr>
        <p:spPr>
          <a:xfrm>
            <a:off x="1149783" y="198392"/>
            <a:ext cx="4092068" cy="57784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3200" b="0" dirty="0" smtClean="0">
                <a:latin typeface="Arial" panose="020B0604020202020204" pitchFamily="34" charset="0"/>
                <a:ea typeface="Microsoft YaHei" panose="020B0503020204020204" pitchFamily="34" charset="-122"/>
                <a:cs typeface="+mn-ea"/>
                <a:sym typeface="Arial" panose="020B0604020202020204" pitchFamily="34" charset="0"/>
              </a:rPr>
              <a:t>需求</a:t>
            </a:r>
            <a:endParaRPr lang="zh-CN" altLang="en-US" sz="3200" b="0" dirty="0">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43" name="内容占位符 2"/>
          <p:cNvSpPr txBox="1">
            <a:spLocks/>
          </p:cNvSpPr>
          <p:nvPr/>
        </p:nvSpPr>
        <p:spPr>
          <a:xfrm>
            <a:off x="631169" y="2969426"/>
            <a:ext cx="5035843" cy="1402915"/>
          </a:xfrm>
          <a:prstGeom prst="rect">
            <a:avLst/>
          </a:prstGeom>
        </p:spPr>
        <p:txBody>
          <a:bodyPr>
            <a:noAutofit/>
          </a:bodyPr>
          <a:lst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ltLang="zh-CN" sz="2400" dirty="0">
              <a:latin typeface="Arial" panose="020B0604020202020204" pitchFamily="34" charset="0"/>
              <a:ea typeface="Microsoft YaHei" panose="020B0503020204020204" pitchFamily="34" charset="-122"/>
              <a:cs typeface="+mn-ea"/>
              <a:sym typeface="Arial" panose="020B0604020202020204" pitchFamily="34" charset="0"/>
            </a:endParaRPr>
          </a:p>
        </p:txBody>
      </p:sp>
      <p:pic>
        <p:nvPicPr>
          <p:cNvPr id="6146" name="Picture 2" descr="âI want youâçå¾çæç´¢ç»æ"/>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78459" y="281735"/>
            <a:ext cx="4926221" cy="6576266"/>
          </a:xfrm>
          <a:prstGeom prst="rect">
            <a:avLst/>
          </a:prstGeom>
          <a:noFill/>
          <a:extLst>
            <a:ext uri="{909E8E84-426E-40DD-AFC4-6F175D3DCCD1}">
              <a14:hiddenFill xmlns:a14="http://schemas.microsoft.com/office/drawing/2010/main">
                <a:solidFill>
                  <a:srgbClr val="FFFFFF"/>
                </a:solidFill>
              </a14:hiddenFill>
            </a:ext>
          </a:extLst>
        </p:spPr>
      </p:pic>
      <p:sp>
        <p:nvSpPr>
          <p:cNvPr id="5" name="矩形 4"/>
          <p:cNvSpPr/>
          <p:nvPr/>
        </p:nvSpPr>
        <p:spPr>
          <a:xfrm>
            <a:off x="3754244" y="5203904"/>
            <a:ext cx="3992136" cy="1159726"/>
          </a:xfrm>
          <a:prstGeom prst="rect">
            <a:avLst/>
          </a:prstGeom>
          <a:solidFill>
            <a:srgbClr val="DED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b="1" dirty="0" smtClean="0">
                <a:solidFill>
                  <a:srgbClr val="00B0F0"/>
                </a:solidFill>
              </a:rPr>
              <a:t>to meet my </a:t>
            </a:r>
            <a:r>
              <a:rPr lang="en-US" altLang="zh-CN" sz="4400" b="1" dirty="0" smtClean="0">
                <a:ln w="12700">
                  <a:solidFill>
                    <a:srgbClr val="FF0000">
                      <a:alpha val="93000"/>
                    </a:srgbClr>
                  </a:solidFill>
                </a:ln>
                <a:solidFill>
                  <a:srgbClr val="C00000"/>
                </a:solidFill>
              </a:rPr>
              <a:t>requirements</a:t>
            </a:r>
            <a:r>
              <a:rPr lang="zh-CN" altLang="en-US" sz="4400" b="1" dirty="0" smtClean="0">
                <a:ln w="12700">
                  <a:solidFill>
                    <a:srgbClr val="FF0000">
                      <a:alpha val="93000"/>
                    </a:srgbClr>
                  </a:solidFill>
                </a:ln>
                <a:solidFill>
                  <a:srgbClr val="C00000"/>
                </a:solidFill>
              </a:rPr>
              <a:t>！</a:t>
            </a:r>
            <a:endParaRPr lang="zh-CN" altLang="en-US" sz="4400" b="1" dirty="0">
              <a:ln w="12700">
                <a:solidFill>
                  <a:srgbClr val="FF0000">
                    <a:alpha val="93000"/>
                  </a:srgbClr>
                </a:solidFill>
              </a:ln>
              <a:solidFill>
                <a:srgbClr val="C00000"/>
              </a:solidFill>
            </a:endParaRPr>
          </a:p>
        </p:txBody>
      </p:sp>
      <p:sp>
        <p:nvSpPr>
          <p:cNvPr id="6" name="文本框 5"/>
          <p:cNvSpPr txBox="1"/>
          <p:nvPr/>
        </p:nvSpPr>
        <p:spPr>
          <a:xfrm>
            <a:off x="8891239" y="1189463"/>
            <a:ext cx="1694986" cy="646331"/>
          </a:xfrm>
          <a:prstGeom prst="rect">
            <a:avLst/>
          </a:prstGeom>
          <a:noFill/>
        </p:spPr>
        <p:txBody>
          <a:bodyPr wrap="square" rtlCol="0">
            <a:spAutoFit/>
          </a:bodyPr>
          <a:lstStyle/>
          <a:p>
            <a:r>
              <a:rPr lang="zh-CN" altLang="en-US" dirty="0" smtClean="0"/>
              <a:t>在这界面加个按钮！</a:t>
            </a:r>
            <a:endParaRPr lang="zh-CN" altLang="en-US" dirty="0"/>
          </a:p>
        </p:txBody>
      </p:sp>
      <p:sp>
        <p:nvSpPr>
          <p:cNvPr id="17" name="文本框 16"/>
          <p:cNvSpPr txBox="1"/>
          <p:nvPr/>
        </p:nvSpPr>
        <p:spPr>
          <a:xfrm>
            <a:off x="8321737" y="2769220"/>
            <a:ext cx="1694986" cy="923330"/>
          </a:xfrm>
          <a:prstGeom prst="rect">
            <a:avLst/>
          </a:prstGeom>
          <a:noFill/>
        </p:spPr>
        <p:txBody>
          <a:bodyPr wrap="square" rtlCol="0">
            <a:spAutoFit/>
          </a:bodyPr>
          <a:lstStyle/>
          <a:p>
            <a:r>
              <a:rPr lang="zh-CN" altLang="en-US" dirty="0" smtClean="0"/>
              <a:t>实现背景随手机壳改变的功能！</a:t>
            </a:r>
            <a:endParaRPr lang="zh-CN" altLang="en-US" dirty="0"/>
          </a:p>
        </p:txBody>
      </p:sp>
      <p:sp>
        <p:nvSpPr>
          <p:cNvPr id="18" name="文本框 17"/>
          <p:cNvSpPr txBox="1"/>
          <p:nvPr/>
        </p:nvSpPr>
        <p:spPr>
          <a:xfrm>
            <a:off x="1366628" y="2906752"/>
            <a:ext cx="1694986" cy="369332"/>
          </a:xfrm>
          <a:prstGeom prst="rect">
            <a:avLst/>
          </a:prstGeom>
          <a:noFill/>
        </p:spPr>
        <p:txBody>
          <a:bodyPr wrap="square" rtlCol="0">
            <a:spAutoFit/>
          </a:bodyPr>
          <a:lstStyle/>
          <a:p>
            <a:r>
              <a:rPr lang="zh-CN" altLang="en-US" dirty="0" smtClean="0"/>
              <a:t>用手机支付！</a:t>
            </a:r>
            <a:endParaRPr lang="zh-CN" altLang="en-US" dirty="0"/>
          </a:p>
        </p:txBody>
      </p:sp>
      <p:sp>
        <p:nvSpPr>
          <p:cNvPr id="8" name="矩形 7"/>
          <p:cNvSpPr/>
          <p:nvPr/>
        </p:nvSpPr>
        <p:spPr>
          <a:xfrm>
            <a:off x="1460820" y="5592477"/>
            <a:ext cx="2262159" cy="923330"/>
          </a:xfrm>
          <a:prstGeom prst="rect">
            <a:avLst/>
          </a:prstGeom>
          <a:noFill/>
        </p:spPr>
        <p:txBody>
          <a:bodyPr wrap="none" lIns="91440" tIns="45720" rIns="91440" bIns="45720">
            <a:spAutoFit/>
          </a:bodyPr>
          <a:lstStyle/>
          <a:p>
            <a:pPr algn="ctr"/>
            <a:r>
              <a:rPr lang="zh-CN" altLang="en-US" sz="5400" b="0" cap="none" spc="0" dirty="0" smtClean="0">
                <a:ln w="0"/>
                <a:solidFill>
                  <a:schemeClr val="accent1"/>
                </a:solidFill>
                <a:effectLst>
                  <a:outerShdw blurRad="38100" dist="25400" dir="5400000" algn="ctr" rotWithShape="0">
                    <a:srgbClr val="6E747A">
                      <a:alpha val="43000"/>
                    </a:srgbClr>
                  </a:outerShdw>
                </a:effectLst>
              </a:rPr>
              <a:t>合理！</a:t>
            </a:r>
            <a:endParaRPr lang="zh-CN" altLang="en-US" sz="5400" b="0" cap="none" spc="0" dirty="0">
              <a:ln w="0"/>
              <a:solidFill>
                <a:schemeClr val="accent1"/>
              </a:solidFill>
              <a:effectLst>
                <a:outerShdw blurRad="38100" dist="25400" dir="5400000" algn="ctr" rotWithShape="0">
                  <a:srgbClr val="6E747A">
                    <a:alpha val="43000"/>
                  </a:srgbClr>
                </a:outerShdw>
              </a:effectLst>
            </a:endParaRPr>
          </a:p>
        </p:txBody>
      </p:sp>
      <p:sp>
        <p:nvSpPr>
          <p:cNvPr id="21" name="矩形 20"/>
          <p:cNvSpPr/>
          <p:nvPr/>
        </p:nvSpPr>
        <p:spPr>
          <a:xfrm>
            <a:off x="8049531" y="5592477"/>
            <a:ext cx="2954656" cy="923330"/>
          </a:xfrm>
          <a:prstGeom prst="rect">
            <a:avLst/>
          </a:prstGeom>
          <a:noFill/>
        </p:spPr>
        <p:txBody>
          <a:bodyPr wrap="none" lIns="91440" tIns="45720" rIns="91440" bIns="45720">
            <a:spAutoFit/>
          </a:bodyPr>
          <a:lstStyle/>
          <a:p>
            <a:pPr algn="ctr"/>
            <a:r>
              <a:rPr lang="zh-CN" altLang="en-US" sz="5400" b="0" cap="none" spc="0" dirty="0" smtClean="0">
                <a:ln w="0"/>
                <a:solidFill>
                  <a:schemeClr val="accent1"/>
                </a:solidFill>
                <a:effectLst>
                  <a:outerShdw blurRad="38100" dist="25400" dir="5400000" algn="ctr" rotWithShape="0">
                    <a:srgbClr val="6E747A">
                      <a:alpha val="43000"/>
                    </a:srgbClr>
                  </a:outerShdw>
                </a:effectLst>
              </a:rPr>
              <a:t>不合理！</a:t>
            </a:r>
            <a:endParaRPr lang="zh-CN" altLang="en-US" sz="5400" b="0" cap="none" spc="0" dirty="0">
              <a:ln w="0"/>
              <a:solidFill>
                <a:schemeClr val="accent1"/>
              </a:solidFill>
              <a:effectLst>
                <a:outerShdw blurRad="38100" dist="25400" dir="5400000" algn="ctr" rotWithShape="0">
                  <a:srgbClr val="6E747A">
                    <a:alpha val="43000"/>
                  </a:srgbClr>
                </a:outerShdw>
              </a:effectLst>
            </a:endParaRPr>
          </a:p>
        </p:txBody>
      </p:sp>
      <p:sp>
        <p:nvSpPr>
          <p:cNvPr id="9" name="文本框 8"/>
          <p:cNvSpPr txBox="1"/>
          <p:nvPr/>
        </p:nvSpPr>
        <p:spPr>
          <a:xfrm>
            <a:off x="9572908" y="3808533"/>
            <a:ext cx="1582621" cy="369332"/>
          </a:xfrm>
          <a:prstGeom prst="rect">
            <a:avLst/>
          </a:prstGeom>
          <a:noFill/>
        </p:spPr>
        <p:txBody>
          <a:bodyPr wrap="square" rtlCol="0">
            <a:spAutoFit/>
          </a:bodyPr>
          <a:lstStyle/>
          <a:p>
            <a:r>
              <a:rPr lang="zh-CN" altLang="en-US" dirty="0" smtClean="0"/>
              <a:t>用手机听音乐！</a:t>
            </a:r>
            <a:endParaRPr lang="zh-CN" altLang="en-US" dirty="0"/>
          </a:p>
        </p:txBody>
      </p:sp>
      <p:sp>
        <p:nvSpPr>
          <p:cNvPr id="10" name="文本框 9"/>
          <p:cNvSpPr txBox="1"/>
          <p:nvPr/>
        </p:nvSpPr>
        <p:spPr>
          <a:xfrm>
            <a:off x="575317" y="1568605"/>
            <a:ext cx="1582621" cy="369332"/>
          </a:xfrm>
          <a:prstGeom prst="rect">
            <a:avLst/>
          </a:prstGeom>
          <a:noFill/>
        </p:spPr>
        <p:txBody>
          <a:bodyPr wrap="square" rtlCol="0">
            <a:spAutoFit/>
          </a:bodyPr>
          <a:lstStyle/>
          <a:p>
            <a:r>
              <a:rPr lang="zh-CN" altLang="en-US" dirty="0" smtClean="0"/>
              <a:t>用手机看图片！</a:t>
            </a:r>
            <a:endParaRPr lang="zh-CN" altLang="en-US" dirty="0"/>
          </a:p>
        </p:txBody>
      </p:sp>
      <p:sp>
        <p:nvSpPr>
          <p:cNvPr id="26" name="文本框 25"/>
          <p:cNvSpPr txBox="1"/>
          <p:nvPr/>
        </p:nvSpPr>
        <p:spPr>
          <a:xfrm>
            <a:off x="1182030" y="4707661"/>
            <a:ext cx="2096429" cy="369332"/>
          </a:xfrm>
          <a:prstGeom prst="rect">
            <a:avLst/>
          </a:prstGeom>
          <a:noFill/>
        </p:spPr>
        <p:txBody>
          <a:bodyPr wrap="square" rtlCol="0">
            <a:spAutoFit/>
          </a:bodyPr>
          <a:lstStyle/>
          <a:p>
            <a:r>
              <a:rPr lang="zh-CN" altLang="en-US" dirty="0" smtClean="0"/>
              <a:t>手机用三天不充电！</a:t>
            </a:r>
            <a:endParaRPr lang="zh-CN" altLang="en-US" dirty="0"/>
          </a:p>
        </p:txBody>
      </p:sp>
    </p:spTree>
    <p:extLst>
      <p:ext uri="{BB962C8B-B14F-4D97-AF65-F5344CB8AC3E}">
        <p14:creationId xmlns:p14="http://schemas.microsoft.com/office/powerpoint/2010/main" val="7485582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21"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标题 1"/>
          <p:cNvSpPr>
            <a:spLocks noGrp="1"/>
          </p:cNvSpPr>
          <p:nvPr>
            <p:ph type="title"/>
          </p:nvPr>
        </p:nvSpPr>
        <p:spPr>
          <a:xfrm>
            <a:off x="1137925" y="205921"/>
            <a:ext cx="10401280" cy="695186"/>
          </a:xfrm>
        </p:spPr>
        <p:txBody>
          <a:bodyPr/>
          <a:lstStyle/>
          <a:p>
            <a:r>
              <a:rPr lang="zh-CN" altLang="en-US" sz="3200" b="0" dirty="0" smtClean="0">
                <a:latin typeface="Arial"/>
                <a:ea typeface="Microsoft YaHei"/>
                <a:cs typeface="+mn-ea"/>
                <a:sym typeface="Arial"/>
              </a:rPr>
              <a:t>原型模式</a:t>
            </a:r>
            <a:endParaRPr lang="zh-CN" altLang="en-US" sz="3200" b="0" dirty="0">
              <a:latin typeface="Arial"/>
              <a:ea typeface="Microsoft YaHei"/>
              <a:cs typeface="+mn-ea"/>
              <a:sym typeface="Arial"/>
            </a:endParaRPr>
          </a:p>
        </p:txBody>
      </p:sp>
      <p:grpSp>
        <p:nvGrpSpPr>
          <p:cNvPr id="32" name="组合 31">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33" name="椭圆 32">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34" name="椭圆 33">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
        <p:nvSpPr>
          <p:cNvPr id="35" name="î$ḷîḓê">
            <a:extLst>
              <a:ext uri="{FF2B5EF4-FFF2-40B4-BE49-F238E27FC236}">
                <a16:creationId xmlns:a16="http://schemas.microsoft.com/office/drawing/2014/main" id="{0120662D-08EC-45F4-BE9C-84021ADB4C9A}"/>
              </a:ext>
            </a:extLst>
          </p:cNvPr>
          <p:cNvSpPr/>
          <p:nvPr/>
        </p:nvSpPr>
        <p:spPr bwMode="gray">
          <a:xfrm>
            <a:off x="7211000" y="198392"/>
            <a:ext cx="1506790" cy="480145"/>
          </a:xfrm>
          <a:prstGeom prst="rect">
            <a:avLst/>
          </a:prstGeom>
          <a:solidFill>
            <a:schemeClr val="accent1"/>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创建型模式</a:t>
            </a:r>
            <a:endParaRPr lang="en-US" altLang="zh-CN" sz="2400" dirty="0">
              <a:solidFill>
                <a:schemeClr val="bg1"/>
              </a:solidFill>
            </a:endParaRPr>
          </a:p>
        </p:txBody>
      </p:sp>
      <p:sp>
        <p:nvSpPr>
          <p:cNvPr id="36" name="î$ḷîḓê">
            <a:extLst>
              <a:ext uri="{FF2B5EF4-FFF2-40B4-BE49-F238E27FC236}">
                <a16:creationId xmlns:a16="http://schemas.microsoft.com/office/drawing/2014/main" id="{0120662D-08EC-45F4-BE9C-84021ADB4C9A}"/>
              </a:ext>
            </a:extLst>
          </p:cNvPr>
          <p:cNvSpPr/>
          <p:nvPr/>
        </p:nvSpPr>
        <p:spPr bwMode="gray">
          <a:xfrm>
            <a:off x="8749874" y="199746"/>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结构型模式</a:t>
            </a:r>
            <a:endParaRPr lang="en-US" altLang="zh-CN" sz="2400" dirty="0">
              <a:solidFill>
                <a:schemeClr val="bg1"/>
              </a:solidFill>
            </a:endParaRPr>
          </a:p>
        </p:txBody>
      </p:sp>
      <p:sp>
        <p:nvSpPr>
          <p:cNvPr id="37" name="î$ḷîḓê">
            <a:extLst>
              <a:ext uri="{FF2B5EF4-FFF2-40B4-BE49-F238E27FC236}">
                <a16:creationId xmlns:a16="http://schemas.microsoft.com/office/drawing/2014/main" id="{0120662D-08EC-45F4-BE9C-84021ADB4C9A}"/>
              </a:ext>
            </a:extLst>
          </p:cNvPr>
          <p:cNvSpPr/>
          <p:nvPr/>
        </p:nvSpPr>
        <p:spPr bwMode="gray">
          <a:xfrm>
            <a:off x="10282004" y="189695"/>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行为型模式</a:t>
            </a:r>
            <a:endParaRPr lang="en-US" altLang="zh-CN" sz="2400" dirty="0">
              <a:solidFill>
                <a:schemeClr val="bg1"/>
              </a:solidFill>
            </a:endParaRPr>
          </a:p>
        </p:txBody>
      </p:sp>
      <p:grpSp>
        <p:nvGrpSpPr>
          <p:cNvPr id="14" name="组合 13"/>
          <p:cNvGrpSpPr/>
          <p:nvPr/>
        </p:nvGrpSpPr>
        <p:grpSpPr>
          <a:xfrm>
            <a:off x="684440" y="811976"/>
            <a:ext cx="6187240" cy="1876516"/>
            <a:chOff x="684438" y="651712"/>
            <a:chExt cx="10578647" cy="3067998"/>
          </a:xfrm>
        </p:grpSpPr>
        <p:sp>
          <p:nvSpPr>
            <p:cNvPr id="31" name="矩形 30"/>
            <p:cNvSpPr/>
            <p:nvPr/>
          </p:nvSpPr>
          <p:spPr>
            <a:xfrm>
              <a:off x="684438" y="1136979"/>
              <a:ext cx="10578647" cy="2578677"/>
            </a:xfrm>
            <a:prstGeom prst="rect">
              <a:avLst/>
            </a:prstGeom>
            <a:gradFill flip="none" rotWithShape="1">
              <a:gsLst>
                <a:gs pos="0">
                  <a:srgbClr val="008CD7">
                    <a:tint val="66000"/>
                    <a:satMod val="160000"/>
                  </a:srgbClr>
                </a:gs>
                <a:gs pos="50000">
                  <a:srgbClr val="008CD7">
                    <a:tint val="44500"/>
                    <a:satMod val="160000"/>
                  </a:srgbClr>
                </a:gs>
                <a:gs pos="100000">
                  <a:srgbClr val="008CD7">
                    <a:tint val="23500"/>
                    <a:satMod val="160000"/>
                  </a:srgbClr>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gradFill flip="none" rotWithShape="1">
                  <a:gsLst>
                    <a:gs pos="0">
                      <a:schemeClr val="lt1">
                        <a:shade val="30000"/>
                        <a:satMod val="115000"/>
                      </a:schemeClr>
                    </a:gs>
                    <a:gs pos="50000">
                      <a:schemeClr val="lt1">
                        <a:shade val="67500"/>
                        <a:satMod val="115000"/>
                      </a:schemeClr>
                    </a:gs>
                    <a:gs pos="100000">
                      <a:schemeClr val="lt1">
                        <a:shade val="100000"/>
                        <a:satMod val="115000"/>
                      </a:schemeClr>
                    </a:gs>
                  </a:gsLst>
                  <a:lin ang="10800000" scaled="1"/>
                  <a:tileRect/>
                </a:gradFill>
              </a:endParaRPr>
            </a:p>
          </p:txBody>
        </p:sp>
        <p:sp>
          <p:nvSpPr>
            <p:cNvPr id="3" name="椭圆 2"/>
            <p:cNvSpPr/>
            <p:nvPr/>
          </p:nvSpPr>
          <p:spPr>
            <a:xfrm>
              <a:off x="3013108" y="1547473"/>
              <a:ext cx="2426590" cy="1830967"/>
            </a:xfrm>
            <a:prstGeom prst="ellipse">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椭圆 3"/>
            <p:cNvSpPr/>
            <p:nvPr/>
          </p:nvSpPr>
          <p:spPr>
            <a:xfrm>
              <a:off x="6098691" y="1547473"/>
              <a:ext cx="2590795" cy="1830967"/>
            </a:xfrm>
            <a:prstGeom prst="ellipse">
              <a:avLst/>
            </a:prstGeom>
            <a:blipFill>
              <a:blip r:embed="rId4"/>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5" name="椭圆 4"/>
            <p:cNvSpPr/>
            <p:nvPr/>
          </p:nvSpPr>
          <p:spPr>
            <a:xfrm>
              <a:off x="9565681" y="1266091"/>
              <a:ext cx="1238057" cy="1196866"/>
            </a:xfrm>
            <a:prstGeom prst="ellipse">
              <a:avLst/>
            </a:prstGeom>
            <a:blipFill>
              <a:blip r:embed="rId5"/>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6" name="椭圆 5"/>
            <p:cNvSpPr/>
            <p:nvPr/>
          </p:nvSpPr>
          <p:spPr>
            <a:xfrm>
              <a:off x="9572633" y="2462957"/>
              <a:ext cx="1245007" cy="1256753"/>
            </a:xfrm>
            <a:prstGeom prst="ellipse">
              <a:avLst/>
            </a:prstGeom>
            <a:blipFill>
              <a:blip r:embed="rId6"/>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cxnSp>
          <p:nvCxnSpPr>
            <p:cNvPr id="8" name="直接箭头连接符 7"/>
            <p:cNvCxnSpPr>
              <a:stCxn id="3" idx="6"/>
              <a:endCxn id="4" idx="2"/>
            </p:cNvCxnSpPr>
            <p:nvPr/>
          </p:nvCxnSpPr>
          <p:spPr>
            <a:xfrm>
              <a:off x="5439698" y="2462957"/>
              <a:ext cx="658994"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1" name="直接箭头连接符 10"/>
            <p:cNvCxnSpPr>
              <a:stCxn id="4" idx="6"/>
              <a:endCxn id="5" idx="2"/>
            </p:cNvCxnSpPr>
            <p:nvPr/>
          </p:nvCxnSpPr>
          <p:spPr>
            <a:xfrm flipV="1">
              <a:off x="8689487" y="1864524"/>
              <a:ext cx="876195" cy="598432"/>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3" name="直接箭头连接符 12"/>
            <p:cNvCxnSpPr>
              <a:stCxn id="4" idx="6"/>
              <a:endCxn id="6" idx="2"/>
            </p:cNvCxnSpPr>
            <p:nvPr/>
          </p:nvCxnSpPr>
          <p:spPr>
            <a:xfrm>
              <a:off x="8689487" y="2462957"/>
              <a:ext cx="883146" cy="628377"/>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7" name="文本框 16"/>
            <p:cNvSpPr txBox="1"/>
            <p:nvPr/>
          </p:nvSpPr>
          <p:spPr>
            <a:xfrm>
              <a:off x="836736" y="2093624"/>
              <a:ext cx="2176372" cy="369333"/>
            </a:xfrm>
            <a:prstGeom prst="rect">
              <a:avLst/>
            </a:prstGeom>
            <a:noFill/>
          </p:spPr>
          <p:txBody>
            <a:bodyPr wrap="square" rtlCol="0">
              <a:spAutoFit/>
            </a:bodyPr>
            <a:lstStyle/>
            <a:p>
              <a:r>
                <a:rPr lang="zh-CN" altLang="en-US" b="1" dirty="0" smtClean="0"/>
                <a:t>普通方法创建对象：</a:t>
              </a:r>
              <a:endParaRPr lang="zh-CN" altLang="en-US" b="1" dirty="0"/>
            </a:p>
          </p:txBody>
        </p:sp>
        <p:sp>
          <p:nvSpPr>
            <p:cNvPr id="2" name="爆炸形 1 1"/>
            <p:cNvSpPr/>
            <p:nvPr/>
          </p:nvSpPr>
          <p:spPr>
            <a:xfrm>
              <a:off x="5337719" y="651712"/>
              <a:ext cx="1943111" cy="1362943"/>
            </a:xfrm>
            <a:prstGeom prst="irregularSeal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t>new</a:t>
              </a:r>
              <a:endParaRPr lang="zh-CN" altLang="en-US" dirty="0"/>
            </a:p>
          </p:txBody>
        </p:sp>
      </p:grpSp>
      <p:grpSp>
        <p:nvGrpSpPr>
          <p:cNvPr id="15" name="组合 14"/>
          <p:cNvGrpSpPr/>
          <p:nvPr/>
        </p:nvGrpSpPr>
        <p:grpSpPr>
          <a:xfrm>
            <a:off x="669925" y="3522228"/>
            <a:ext cx="6201754" cy="1760971"/>
            <a:chOff x="669925" y="3374354"/>
            <a:chExt cx="9669830" cy="2670676"/>
          </a:xfrm>
        </p:grpSpPr>
        <p:sp>
          <p:nvSpPr>
            <p:cNvPr id="30" name="矩形 29"/>
            <p:cNvSpPr/>
            <p:nvPr/>
          </p:nvSpPr>
          <p:spPr>
            <a:xfrm>
              <a:off x="669925" y="3958380"/>
              <a:ext cx="9669830" cy="2086650"/>
            </a:xfrm>
            <a:prstGeom prst="rect">
              <a:avLst/>
            </a:prstGeom>
            <a:gradFill flip="none" rotWithShape="1">
              <a:gsLst>
                <a:gs pos="0">
                  <a:srgbClr val="008CD7">
                    <a:tint val="66000"/>
                    <a:satMod val="160000"/>
                  </a:srgbClr>
                </a:gs>
                <a:gs pos="50000">
                  <a:srgbClr val="008CD7">
                    <a:tint val="44500"/>
                    <a:satMod val="160000"/>
                  </a:srgbClr>
                </a:gs>
                <a:gs pos="100000">
                  <a:srgbClr val="008CD7">
                    <a:tint val="23500"/>
                    <a:satMod val="16000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19" name="椭圆 18"/>
            <p:cNvSpPr/>
            <p:nvPr/>
          </p:nvSpPr>
          <p:spPr>
            <a:xfrm>
              <a:off x="8107600" y="4066263"/>
              <a:ext cx="1238057" cy="1196866"/>
            </a:xfrm>
            <a:prstGeom prst="ellipse">
              <a:avLst/>
            </a:prstGeom>
            <a:blipFill>
              <a:blip r:embed="rId5"/>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18" name="文本框 17"/>
            <p:cNvSpPr txBox="1"/>
            <p:nvPr/>
          </p:nvSpPr>
          <p:spPr>
            <a:xfrm>
              <a:off x="947163" y="4793909"/>
              <a:ext cx="2182454" cy="358563"/>
            </a:xfrm>
            <a:prstGeom prst="rect">
              <a:avLst/>
            </a:prstGeom>
            <a:noFill/>
          </p:spPr>
          <p:txBody>
            <a:bodyPr wrap="square" rtlCol="0">
              <a:spAutoFit/>
            </a:bodyPr>
            <a:lstStyle/>
            <a:p>
              <a:r>
                <a:rPr lang="zh-CN" altLang="en-US" b="1" dirty="0" smtClean="0"/>
                <a:t>原型模式创建对象：</a:t>
              </a:r>
              <a:endParaRPr lang="zh-CN" altLang="en-US" b="1" dirty="0"/>
            </a:p>
          </p:txBody>
        </p:sp>
        <p:sp>
          <p:nvSpPr>
            <p:cNvPr id="21" name="椭圆 20"/>
            <p:cNvSpPr/>
            <p:nvPr/>
          </p:nvSpPr>
          <p:spPr>
            <a:xfrm>
              <a:off x="8253560" y="4214220"/>
              <a:ext cx="1238057" cy="1196866"/>
            </a:xfrm>
            <a:prstGeom prst="ellipse">
              <a:avLst/>
            </a:prstGeom>
            <a:blipFill>
              <a:blip r:embed="rId5"/>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22" name="椭圆 21"/>
            <p:cNvSpPr/>
            <p:nvPr/>
          </p:nvSpPr>
          <p:spPr>
            <a:xfrm>
              <a:off x="8399521" y="4362177"/>
              <a:ext cx="1238057" cy="1196866"/>
            </a:xfrm>
            <a:prstGeom prst="ellipse">
              <a:avLst/>
            </a:prstGeom>
            <a:blipFill>
              <a:blip r:embed="rId5"/>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23" name="椭圆 22"/>
            <p:cNvSpPr/>
            <p:nvPr/>
          </p:nvSpPr>
          <p:spPr>
            <a:xfrm>
              <a:off x="8545481" y="4510134"/>
              <a:ext cx="1238057" cy="1196866"/>
            </a:xfrm>
            <a:prstGeom prst="ellipse">
              <a:avLst/>
            </a:prstGeom>
            <a:blipFill>
              <a:blip r:embed="rId5"/>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24" name="椭圆 23"/>
            <p:cNvSpPr/>
            <p:nvPr/>
          </p:nvSpPr>
          <p:spPr>
            <a:xfrm>
              <a:off x="8691441" y="4658090"/>
              <a:ext cx="1238057" cy="1196866"/>
            </a:xfrm>
            <a:prstGeom prst="ellipse">
              <a:avLst/>
            </a:prstGeom>
            <a:blipFill>
              <a:blip r:embed="rId5"/>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25" name="椭圆 24"/>
            <p:cNvSpPr/>
            <p:nvPr/>
          </p:nvSpPr>
          <p:spPr>
            <a:xfrm>
              <a:off x="8837402" y="4806047"/>
              <a:ext cx="1238057" cy="1196866"/>
            </a:xfrm>
            <a:prstGeom prst="ellipse">
              <a:avLst/>
            </a:prstGeom>
            <a:blipFill>
              <a:blip r:embed="rId5"/>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27" name="椭圆 26"/>
            <p:cNvSpPr/>
            <p:nvPr/>
          </p:nvSpPr>
          <p:spPr>
            <a:xfrm>
              <a:off x="3859328" y="4629909"/>
              <a:ext cx="1238057" cy="1196866"/>
            </a:xfrm>
            <a:prstGeom prst="ellipse">
              <a:avLst/>
            </a:prstGeom>
            <a:blipFill>
              <a:blip r:embed="rId5"/>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cxnSp>
          <p:nvCxnSpPr>
            <p:cNvPr id="28" name="直接箭头连接符 27"/>
            <p:cNvCxnSpPr>
              <a:stCxn id="27" idx="6"/>
            </p:cNvCxnSpPr>
            <p:nvPr/>
          </p:nvCxnSpPr>
          <p:spPr>
            <a:xfrm flipV="1">
              <a:off x="5097384" y="5226580"/>
              <a:ext cx="3343188" cy="1762"/>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29" name="文本框 28"/>
            <p:cNvSpPr txBox="1"/>
            <p:nvPr/>
          </p:nvSpPr>
          <p:spPr>
            <a:xfrm>
              <a:off x="5491264" y="4776440"/>
              <a:ext cx="2585583" cy="560126"/>
            </a:xfrm>
            <a:prstGeom prst="rect">
              <a:avLst/>
            </a:prstGeom>
            <a:noFill/>
          </p:spPr>
          <p:txBody>
            <a:bodyPr wrap="square" rtlCol="0">
              <a:spAutoFit/>
            </a:bodyPr>
            <a:lstStyle/>
            <a:p>
              <a:r>
                <a:rPr lang="zh-CN" altLang="en-US" dirty="0" smtClean="0"/>
                <a:t>原型复制创建</a:t>
              </a:r>
              <a:endParaRPr lang="zh-CN" altLang="en-US" dirty="0"/>
            </a:p>
          </p:txBody>
        </p:sp>
        <p:sp>
          <p:nvSpPr>
            <p:cNvPr id="38" name="爆炸形 1 37"/>
            <p:cNvSpPr/>
            <p:nvPr/>
          </p:nvSpPr>
          <p:spPr>
            <a:xfrm>
              <a:off x="5625100" y="3374354"/>
              <a:ext cx="2044711" cy="1402085"/>
            </a:xfrm>
            <a:prstGeom prst="irregularSeal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t>clone</a:t>
              </a:r>
              <a:endParaRPr lang="zh-CN" altLang="en-US" dirty="0"/>
            </a:p>
          </p:txBody>
        </p:sp>
      </p:grpSp>
      <p:sp>
        <p:nvSpPr>
          <p:cNvPr id="40" name="Rectangle 2"/>
          <p:cNvSpPr>
            <a:spLocks noChangeArrowheads="1"/>
          </p:cNvSpPr>
          <p:nvPr/>
        </p:nvSpPr>
        <p:spPr bwMode="auto">
          <a:xfrm>
            <a:off x="7339679" y="1275830"/>
            <a:ext cx="4449115" cy="5262979"/>
          </a:xfrm>
          <a:prstGeom prst="rect">
            <a:avLst/>
          </a:prstGeom>
          <a:solidFill>
            <a:srgbClr val="FFFFFF"/>
          </a:solidFill>
          <a:ln w="63500">
            <a:solidFill>
              <a:srgbClr val="C00000">
                <a:alpha val="56000"/>
              </a:srgbClr>
            </a:solidFill>
            <a:prstDash val="dash"/>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400" b="1" i="0" u="none" strike="noStrike" cap="none" normalizeH="0" baseline="0" dirty="0" smtClean="0">
                <a:ln>
                  <a:noFill/>
                </a:ln>
                <a:solidFill>
                  <a:srgbClr val="000080"/>
                </a:solidFill>
                <a:effectLst/>
                <a:latin typeface="Ubuntu Mono" panose="020B0509030602030204" pitchFamily="49" charset="0"/>
              </a:rPr>
              <a:t>import </a:t>
            </a:r>
            <a:r>
              <a:rPr kumimoji="0" lang="zh-CN" altLang="zh-CN" sz="1400" b="0" i="0" u="none" strike="noStrike" cap="none" normalizeH="0" baseline="0" dirty="0" smtClean="0">
                <a:ln>
                  <a:noFill/>
                </a:ln>
                <a:solidFill>
                  <a:srgbClr val="000000"/>
                </a:solidFill>
                <a:effectLst/>
                <a:latin typeface="Ubuntu Mono" panose="020B0509030602030204" pitchFamily="49" charset="0"/>
              </a:rPr>
              <a:t>java.util.Random;</a:t>
            </a:r>
            <a:br>
              <a:rPr kumimoji="0" lang="zh-CN" altLang="zh-CN" sz="1400" b="0" i="0" u="none" strike="noStrike" cap="none" normalizeH="0" baseline="0" dirty="0" smtClean="0">
                <a:ln>
                  <a:noFill/>
                </a:ln>
                <a:solidFill>
                  <a:srgbClr val="000000"/>
                </a:solidFill>
                <a:effectLst/>
                <a:latin typeface="Ubuntu Mono" panose="020B0509030602030204" pitchFamily="49" charset="0"/>
              </a:rPr>
            </a:br>
            <a:r>
              <a:rPr kumimoji="0" lang="zh-CN" altLang="zh-CN" sz="1400" b="0" i="0" u="none" strike="noStrike" cap="none" normalizeH="0" baseline="0" dirty="0" smtClean="0">
                <a:ln>
                  <a:noFill/>
                </a:ln>
                <a:solidFill>
                  <a:srgbClr val="000000"/>
                </a:solidFill>
                <a:effectLst/>
                <a:latin typeface="Ubuntu Mono" panose="020B0509030602030204" pitchFamily="49" charset="0"/>
              </a:rPr>
              <a:t/>
            </a:r>
            <a:br>
              <a:rPr kumimoji="0" lang="zh-CN" altLang="zh-CN" sz="1400" b="0" i="0" u="none" strike="noStrike" cap="none" normalizeH="0" baseline="0" dirty="0" smtClean="0">
                <a:ln>
                  <a:noFill/>
                </a:ln>
                <a:solidFill>
                  <a:srgbClr val="000000"/>
                </a:solidFill>
                <a:effectLst/>
                <a:latin typeface="Ubuntu Mono" panose="020B0509030602030204" pitchFamily="49" charset="0"/>
              </a:rPr>
            </a:br>
            <a:r>
              <a:rPr kumimoji="0" lang="zh-CN" altLang="zh-CN" sz="1400" b="1" i="0" u="none" strike="noStrike" cap="none" normalizeH="0" baseline="0" dirty="0" smtClean="0">
                <a:ln>
                  <a:noFill/>
                </a:ln>
                <a:solidFill>
                  <a:srgbClr val="000080"/>
                </a:solidFill>
                <a:effectLst/>
                <a:latin typeface="Ubuntu Mono" panose="020B0509030602030204" pitchFamily="49" charset="0"/>
              </a:rPr>
              <a:t>public class </a:t>
            </a:r>
            <a:r>
              <a:rPr kumimoji="0" lang="zh-CN" altLang="zh-CN" sz="1400" b="0" i="0" u="none" strike="noStrike" cap="none" normalizeH="0" baseline="0" dirty="0" smtClean="0">
                <a:ln>
                  <a:noFill/>
                </a:ln>
                <a:solidFill>
                  <a:srgbClr val="000000"/>
                </a:solidFill>
                <a:effectLst/>
                <a:latin typeface="Ubuntu Mono" panose="020B0509030602030204" pitchFamily="49" charset="0"/>
              </a:rPr>
              <a:t>Prototype {</a:t>
            </a:r>
            <a:br>
              <a:rPr kumimoji="0" lang="zh-CN" altLang="zh-CN" sz="1400" b="0" i="0" u="none" strike="noStrike" cap="none" normalizeH="0" baseline="0" dirty="0" smtClean="0">
                <a:ln>
                  <a:noFill/>
                </a:ln>
                <a:solidFill>
                  <a:srgbClr val="000000"/>
                </a:solidFill>
                <a:effectLst/>
                <a:latin typeface="Ubuntu Mono" panose="020B0509030602030204" pitchFamily="49" charset="0"/>
              </a:rPr>
            </a:br>
            <a:r>
              <a:rPr kumimoji="0" lang="zh-CN" altLang="zh-CN" sz="1400" b="0" i="0" u="none" strike="noStrike" cap="none" normalizeH="0" baseline="0" dirty="0" smtClean="0">
                <a:ln>
                  <a:noFill/>
                </a:ln>
                <a:solidFill>
                  <a:srgbClr val="000000"/>
                </a:solidFill>
                <a:effectLst/>
                <a:latin typeface="Ubuntu Mono" panose="020B0509030602030204" pitchFamily="49" charset="0"/>
              </a:rPr>
              <a:t>    </a:t>
            </a:r>
            <a:br>
              <a:rPr kumimoji="0" lang="zh-CN" altLang="zh-CN" sz="1400" b="0" i="0" u="none" strike="noStrike" cap="none" normalizeH="0" baseline="0" dirty="0" smtClean="0">
                <a:ln>
                  <a:noFill/>
                </a:ln>
                <a:solidFill>
                  <a:srgbClr val="000000"/>
                </a:solidFill>
                <a:effectLst/>
                <a:latin typeface="Ubuntu Mono" panose="020B0509030602030204" pitchFamily="49" charset="0"/>
              </a:rPr>
            </a:br>
            <a:r>
              <a:rPr kumimoji="0" lang="zh-CN" altLang="zh-CN" sz="1400" b="0" i="0" u="none" strike="noStrike" cap="none" normalizeH="0" baseline="0" dirty="0" smtClean="0">
                <a:ln>
                  <a:noFill/>
                </a:ln>
                <a:solidFill>
                  <a:srgbClr val="000000"/>
                </a:solidFill>
                <a:effectLst/>
                <a:latin typeface="Ubuntu Mono" panose="020B0509030602030204" pitchFamily="49" charset="0"/>
              </a:rPr>
              <a:t>    </a:t>
            </a:r>
            <a:r>
              <a:rPr kumimoji="0" lang="zh-CN" altLang="zh-CN" sz="1400" b="1" i="0" u="none" strike="noStrike" cap="none" normalizeH="0" baseline="0" dirty="0" smtClean="0">
                <a:ln>
                  <a:noFill/>
                </a:ln>
                <a:solidFill>
                  <a:srgbClr val="000080"/>
                </a:solidFill>
                <a:effectLst/>
                <a:latin typeface="Ubuntu Mono" panose="020B0509030602030204" pitchFamily="49" charset="0"/>
              </a:rPr>
              <a:t>private </a:t>
            </a:r>
            <a:r>
              <a:rPr kumimoji="0" lang="zh-CN" altLang="zh-CN" sz="1400" b="0" i="0" u="none" strike="noStrike" cap="none" normalizeH="0" baseline="0" dirty="0" smtClean="0">
                <a:ln>
                  <a:noFill/>
                </a:ln>
                <a:solidFill>
                  <a:srgbClr val="000000"/>
                </a:solidFill>
                <a:effectLst/>
                <a:latin typeface="Ubuntu Mono" panose="020B0509030602030204" pitchFamily="49" charset="0"/>
              </a:rPr>
              <a:t>Long </a:t>
            </a:r>
            <a:r>
              <a:rPr kumimoji="0" lang="zh-CN" altLang="zh-CN" sz="1400" b="1" i="0" u="none" strike="noStrike" cap="none" normalizeH="0" baseline="0" dirty="0" smtClean="0">
                <a:ln>
                  <a:noFill/>
                </a:ln>
                <a:solidFill>
                  <a:srgbClr val="660E7A"/>
                </a:solidFill>
                <a:effectLst/>
                <a:latin typeface="Ubuntu Mono" panose="020B0509030602030204" pitchFamily="49" charset="0"/>
              </a:rPr>
              <a:t>mField1</a:t>
            </a:r>
            <a:r>
              <a:rPr kumimoji="0" lang="zh-CN" altLang="zh-CN" sz="1400" b="0" i="0" u="none" strike="noStrike" cap="none" normalizeH="0" baseline="0" dirty="0" smtClean="0">
                <a:ln>
                  <a:noFill/>
                </a:ln>
                <a:solidFill>
                  <a:srgbClr val="000000"/>
                </a:solidFill>
                <a:effectLst/>
                <a:latin typeface="Ubuntu Mono" panose="020B0509030602030204" pitchFamily="49" charset="0"/>
              </a:rPr>
              <a:t>;</a:t>
            </a:r>
            <a:br>
              <a:rPr kumimoji="0" lang="zh-CN" altLang="zh-CN" sz="1400" b="0" i="0" u="none" strike="noStrike" cap="none" normalizeH="0" baseline="0" dirty="0" smtClean="0">
                <a:ln>
                  <a:noFill/>
                </a:ln>
                <a:solidFill>
                  <a:srgbClr val="000000"/>
                </a:solidFill>
                <a:effectLst/>
                <a:latin typeface="Ubuntu Mono" panose="020B0509030602030204" pitchFamily="49" charset="0"/>
              </a:rPr>
            </a:br>
            <a:r>
              <a:rPr kumimoji="0" lang="zh-CN" altLang="zh-CN" sz="1400" b="0" i="0" u="none" strike="noStrike" cap="none" normalizeH="0" baseline="0" dirty="0" smtClean="0">
                <a:ln>
                  <a:noFill/>
                </a:ln>
                <a:solidFill>
                  <a:srgbClr val="000000"/>
                </a:solidFill>
                <a:effectLst/>
                <a:latin typeface="Ubuntu Mono" panose="020B0509030602030204" pitchFamily="49" charset="0"/>
              </a:rPr>
              <a:t>    </a:t>
            </a:r>
            <a:r>
              <a:rPr kumimoji="0" lang="zh-CN" altLang="zh-CN" sz="1400" b="1" i="0" u="none" strike="noStrike" cap="none" normalizeH="0" baseline="0" dirty="0" smtClean="0">
                <a:ln>
                  <a:noFill/>
                </a:ln>
                <a:solidFill>
                  <a:srgbClr val="000080"/>
                </a:solidFill>
                <a:effectLst/>
                <a:latin typeface="Ubuntu Mono" panose="020B0509030602030204" pitchFamily="49" charset="0"/>
              </a:rPr>
              <a:t>private </a:t>
            </a:r>
            <a:r>
              <a:rPr kumimoji="0" lang="zh-CN" altLang="zh-CN" sz="1400" b="0" i="0" u="none" strike="noStrike" cap="none" normalizeH="0" baseline="0" dirty="0" smtClean="0">
                <a:ln>
                  <a:noFill/>
                </a:ln>
                <a:solidFill>
                  <a:srgbClr val="000000"/>
                </a:solidFill>
                <a:effectLst/>
                <a:latin typeface="Ubuntu Mono" panose="020B0509030602030204" pitchFamily="49" charset="0"/>
              </a:rPr>
              <a:t>Long </a:t>
            </a:r>
            <a:r>
              <a:rPr kumimoji="0" lang="zh-CN" altLang="zh-CN" sz="1400" b="1" i="0" u="none" strike="noStrike" cap="none" normalizeH="0" baseline="0" dirty="0" smtClean="0">
                <a:ln>
                  <a:noFill/>
                </a:ln>
                <a:solidFill>
                  <a:srgbClr val="660E7A"/>
                </a:solidFill>
                <a:effectLst/>
                <a:latin typeface="Ubuntu Mono" panose="020B0509030602030204" pitchFamily="49" charset="0"/>
              </a:rPr>
              <a:t>mField2</a:t>
            </a:r>
            <a:r>
              <a:rPr kumimoji="0" lang="zh-CN" altLang="zh-CN" sz="1400" b="0" i="0" u="none" strike="noStrike" cap="none" normalizeH="0" baseline="0" dirty="0" smtClean="0">
                <a:ln>
                  <a:noFill/>
                </a:ln>
                <a:solidFill>
                  <a:srgbClr val="000000"/>
                </a:solidFill>
                <a:effectLst/>
                <a:latin typeface="Ubuntu Mono" panose="020B0509030602030204" pitchFamily="49" charset="0"/>
              </a:rPr>
              <a:t>;</a:t>
            </a:r>
            <a:br>
              <a:rPr kumimoji="0" lang="zh-CN" altLang="zh-CN" sz="1400" b="0" i="0" u="none" strike="noStrike" cap="none" normalizeH="0" baseline="0" dirty="0" smtClean="0">
                <a:ln>
                  <a:noFill/>
                </a:ln>
                <a:solidFill>
                  <a:srgbClr val="000000"/>
                </a:solidFill>
                <a:effectLst/>
                <a:latin typeface="Ubuntu Mono" panose="020B0509030602030204" pitchFamily="49" charset="0"/>
              </a:rPr>
            </a:br>
            <a:r>
              <a:rPr kumimoji="0" lang="zh-CN" altLang="zh-CN" sz="1400" b="0" i="0" u="none" strike="noStrike" cap="none" normalizeH="0" baseline="0" dirty="0" smtClean="0">
                <a:ln>
                  <a:noFill/>
                </a:ln>
                <a:solidFill>
                  <a:srgbClr val="000000"/>
                </a:solidFill>
                <a:effectLst/>
                <a:latin typeface="Ubuntu Mono" panose="020B0509030602030204" pitchFamily="49" charset="0"/>
              </a:rPr>
              <a:t>    </a:t>
            </a:r>
            <a:r>
              <a:rPr kumimoji="0" lang="zh-CN" altLang="zh-CN" sz="1400" b="1" i="0" u="none" strike="noStrike" cap="none" normalizeH="0" baseline="0" dirty="0" smtClean="0">
                <a:ln>
                  <a:noFill/>
                </a:ln>
                <a:solidFill>
                  <a:srgbClr val="000080"/>
                </a:solidFill>
                <a:effectLst/>
                <a:latin typeface="Ubuntu Mono" panose="020B0509030602030204" pitchFamily="49" charset="0"/>
              </a:rPr>
              <a:t>private </a:t>
            </a:r>
            <a:r>
              <a:rPr kumimoji="0" lang="zh-CN" altLang="zh-CN" sz="1400" b="0" i="0" u="none" strike="noStrike" cap="none" normalizeH="0" baseline="0" dirty="0" smtClean="0">
                <a:ln>
                  <a:noFill/>
                </a:ln>
                <a:solidFill>
                  <a:srgbClr val="000000"/>
                </a:solidFill>
                <a:effectLst/>
                <a:latin typeface="Ubuntu Mono" panose="020B0509030602030204" pitchFamily="49" charset="0"/>
              </a:rPr>
              <a:t>Object </a:t>
            </a:r>
            <a:r>
              <a:rPr kumimoji="0" lang="zh-CN" altLang="zh-CN" sz="1400" b="1" i="0" u="none" strike="noStrike" cap="none" normalizeH="0" baseline="0" dirty="0" smtClean="0">
                <a:ln>
                  <a:noFill/>
                </a:ln>
                <a:solidFill>
                  <a:srgbClr val="660E7A"/>
                </a:solidFill>
                <a:effectLst/>
                <a:latin typeface="Ubuntu Mono" panose="020B0509030602030204" pitchFamily="49" charset="0"/>
              </a:rPr>
              <a:t>mObject</a:t>
            </a:r>
            <a:r>
              <a:rPr kumimoji="0" lang="zh-CN" altLang="zh-CN" sz="1400" b="0" i="0" u="none" strike="noStrike" cap="none" normalizeH="0" baseline="0" dirty="0" smtClean="0">
                <a:ln>
                  <a:noFill/>
                </a:ln>
                <a:solidFill>
                  <a:srgbClr val="000000"/>
                </a:solidFill>
                <a:effectLst/>
                <a:latin typeface="Ubuntu Mono" panose="020B0509030602030204" pitchFamily="49" charset="0"/>
              </a:rPr>
              <a:t>;</a:t>
            </a:r>
            <a:br>
              <a:rPr kumimoji="0" lang="zh-CN" altLang="zh-CN" sz="1400" b="0" i="0" u="none" strike="noStrike" cap="none" normalizeH="0" baseline="0" dirty="0" smtClean="0">
                <a:ln>
                  <a:noFill/>
                </a:ln>
                <a:solidFill>
                  <a:srgbClr val="000000"/>
                </a:solidFill>
                <a:effectLst/>
                <a:latin typeface="Ubuntu Mono" panose="020B0509030602030204" pitchFamily="49" charset="0"/>
              </a:rPr>
            </a:br>
            <a:r>
              <a:rPr kumimoji="0" lang="zh-CN" altLang="zh-CN" sz="1400" b="0" i="0" u="none" strike="noStrike" cap="none" normalizeH="0" baseline="0" dirty="0" smtClean="0">
                <a:ln>
                  <a:noFill/>
                </a:ln>
                <a:solidFill>
                  <a:srgbClr val="000000"/>
                </a:solidFill>
                <a:effectLst/>
                <a:latin typeface="Ubuntu Mono" panose="020B0509030602030204" pitchFamily="49" charset="0"/>
              </a:rPr>
              <a:t>    </a:t>
            </a:r>
            <a:br>
              <a:rPr kumimoji="0" lang="zh-CN" altLang="zh-CN" sz="1400" b="0" i="0" u="none" strike="noStrike" cap="none" normalizeH="0" baseline="0" dirty="0" smtClean="0">
                <a:ln>
                  <a:noFill/>
                </a:ln>
                <a:solidFill>
                  <a:srgbClr val="000000"/>
                </a:solidFill>
                <a:effectLst/>
                <a:latin typeface="Ubuntu Mono" panose="020B0509030602030204" pitchFamily="49" charset="0"/>
              </a:rPr>
            </a:br>
            <a:r>
              <a:rPr kumimoji="0" lang="zh-CN" altLang="zh-CN" sz="1400" b="0" i="0" u="none" strike="noStrike" cap="none" normalizeH="0" baseline="0" dirty="0" smtClean="0">
                <a:ln>
                  <a:noFill/>
                </a:ln>
                <a:solidFill>
                  <a:srgbClr val="000000"/>
                </a:solidFill>
                <a:effectLst/>
                <a:latin typeface="Ubuntu Mono" panose="020B0509030602030204" pitchFamily="49" charset="0"/>
              </a:rPr>
              <a:t>    </a:t>
            </a:r>
            <a:r>
              <a:rPr kumimoji="0" lang="zh-CN" altLang="zh-CN" sz="1400" b="1" i="0" u="none" strike="noStrike" cap="none" normalizeH="0" baseline="0" dirty="0" smtClean="0">
                <a:ln>
                  <a:noFill/>
                </a:ln>
                <a:solidFill>
                  <a:srgbClr val="000080"/>
                </a:solidFill>
                <a:effectLst/>
                <a:latin typeface="Ubuntu Mono" panose="020B0509030602030204" pitchFamily="49" charset="0"/>
              </a:rPr>
              <a:t>public </a:t>
            </a:r>
            <a:r>
              <a:rPr kumimoji="0" lang="zh-CN" altLang="zh-CN" sz="1400" b="0" i="0" u="none" strike="noStrike" cap="none" normalizeH="0" baseline="0" dirty="0" smtClean="0">
                <a:ln>
                  <a:noFill/>
                </a:ln>
                <a:solidFill>
                  <a:srgbClr val="000000"/>
                </a:solidFill>
                <a:effectLst/>
                <a:latin typeface="Ubuntu Mono" panose="020B0509030602030204" pitchFamily="49" charset="0"/>
              </a:rPr>
              <a:t>Prototype() {</a:t>
            </a:r>
            <a:br>
              <a:rPr kumimoji="0" lang="zh-CN" altLang="zh-CN" sz="1400" b="0" i="0" u="none" strike="noStrike" cap="none" normalizeH="0" baseline="0" dirty="0" smtClean="0">
                <a:ln>
                  <a:noFill/>
                </a:ln>
                <a:solidFill>
                  <a:srgbClr val="000000"/>
                </a:solidFill>
                <a:effectLst/>
                <a:latin typeface="Ubuntu Mono" panose="020B0509030602030204" pitchFamily="49" charset="0"/>
              </a:rPr>
            </a:br>
            <a:r>
              <a:rPr kumimoji="0" lang="zh-CN" altLang="zh-CN" sz="1400" b="0" i="0" u="none" strike="noStrike" cap="none" normalizeH="0" baseline="0" dirty="0" smtClean="0">
                <a:ln>
                  <a:noFill/>
                </a:ln>
                <a:solidFill>
                  <a:srgbClr val="000000"/>
                </a:solidFill>
                <a:effectLst/>
                <a:latin typeface="Ubuntu Mono" panose="020B0509030602030204" pitchFamily="49" charset="0"/>
              </a:rPr>
              <a:t>        Random random = </a:t>
            </a:r>
            <a:r>
              <a:rPr kumimoji="0" lang="zh-CN" altLang="zh-CN" sz="1400" b="1" i="0" u="none" strike="noStrike" cap="none" normalizeH="0" baseline="0" dirty="0" smtClean="0">
                <a:ln>
                  <a:noFill/>
                </a:ln>
                <a:solidFill>
                  <a:srgbClr val="000080"/>
                </a:solidFill>
                <a:effectLst/>
                <a:latin typeface="Ubuntu Mono" panose="020B0509030602030204" pitchFamily="49" charset="0"/>
              </a:rPr>
              <a:t>new </a:t>
            </a:r>
            <a:r>
              <a:rPr kumimoji="0" lang="zh-CN" altLang="zh-CN" sz="1400" b="0" i="0" u="none" strike="noStrike" cap="none" normalizeH="0" baseline="0" dirty="0" smtClean="0">
                <a:ln>
                  <a:noFill/>
                </a:ln>
                <a:solidFill>
                  <a:srgbClr val="000000"/>
                </a:solidFill>
                <a:effectLst/>
                <a:latin typeface="Ubuntu Mono" panose="020B0509030602030204" pitchFamily="49" charset="0"/>
              </a:rPr>
              <a:t>Random();</a:t>
            </a:r>
            <a:br>
              <a:rPr kumimoji="0" lang="zh-CN" altLang="zh-CN" sz="1400" b="0" i="0" u="none" strike="noStrike" cap="none" normalizeH="0" baseline="0" dirty="0" smtClean="0">
                <a:ln>
                  <a:noFill/>
                </a:ln>
                <a:solidFill>
                  <a:srgbClr val="000000"/>
                </a:solidFill>
                <a:effectLst/>
                <a:latin typeface="Ubuntu Mono" panose="020B0509030602030204" pitchFamily="49" charset="0"/>
              </a:rPr>
            </a:br>
            <a:r>
              <a:rPr kumimoji="0" lang="zh-CN" altLang="zh-CN" sz="1400" b="0" i="0" u="none" strike="noStrike" cap="none" normalizeH="0" baseline="0" dirty="0" smtClean="0">
                <a:ln>
                  <a:noFill/>
                </a:ln>
                <a:solidFill>
                  <a:srgbClr val="000000"/>
                </a:solidFill>
                <a:effectLst/>
                <a:latin typeface="Ubuntu Mono" panose="020B0509030602030204" pitchFamily="49" charset="0"/>
              </a:rPr>
              <a:t>        </a:t>
            </a:r>
            <a:r>
              <a:rPr kumimoji="0" lang="zh-CN" altLang="zh-CN" sz="1400" b="1" i="0" u="none" strike="noStrike" cap="none" normalizeH="0" baseline="0" dirty="0" smtClean="0">
                <a:ln>
                  <a:noFill/>
                </a:ln>
                <a:solidFill>
                  <a:srgbClr val="660E7A"/>
                </a:solidFill>
                <a:effectLst/>
                <a:latin typeface="Ubuntu Mono" panose="020B0509030602030204" pitchFamily="49" charset="0"/>
              </a:rPr>
              <a:t>mField1 </a:t>
            </a:r>
            <a:r>
              <a:rPr kumimoji="0" lang="zh-CN" altLang="zh-CN" sz="1400" b="0" i="0" u="none" strike="noStrike" cap="none" normalizeH="0" baseline="0" dirty="0" smtClean="0">
                <a:ln>
                  <a:noFill/>
                </a:ln>
                <a:solidFill>
                  <a:srgbClr val="000000"/>
                </a:solidFill>
                <a:effectLst/>
                <a:latin typeface="Ubuntu Mono" panose="020B0509030602030204" pitchFamily="49" charset="0"/>
              </a:rPr>
              <a:t>= random.nextLong();</a:t>
            </a:r>
            <a:br>
              <a:rPr kumimoji="0" lang="zh-CN" altLang="zh-CN" sz="1400" b="0" i="0" u="none" strike="noStrike" cap="none" normalizeH="0" baseline="0" dirty="0" smtClean="0">
                <a:ln>
                  <a:noFill/>
                </a:ln>
                <a:solidFill>
                  <a:srgbClr val="000000"/>
                </a:solidFill>
                <a:effectLst/>
                <a:latin typeface="Ubuntu Mono" panose="020B0509030602030204" pitchFamily="49" charset="0"/>
              </a:rPr>
            </a:br>
            <a:r>
              <a:rPr kumimoji="0" lang="zh-CN" altLang="zh-CN" sz="1400" b="0" i="0" u="none" strike="noStrike" cap="none" normalizeH="0" baseline="0" dirty="0" smtClean="0">
                <a:ln>
                  <a:noFill/>
                </a:ln>
                <a:solidFill>
                  <a:srgbClr val="000000"/>
                </a:solidFill>
                <a:effectLst/>
                <a:latin typeface="Ubuntu Mono" panose="020B0509030602030204" pitchFamily="49" charset="0"/>
              </a:rPr>
              <a:t>        </a:t>
            </a:r>
            <a:r>
              <a:rPr kumimoji="0" lang="zh-CN" altLang="zh-CN" sz="1400" b="1" i="0" u="none" strike="noStrike" cap="none" normalizeH="0" baseline="0" dirty="0" smtClean="0">
                <a:ln>
                  <a:noFill/>
                </a:ln>
                <a:solidFill>
                  <a:srgbClr val="660E7A"/>
                </a:solidFill>
                <a:effectLst/>
                <a:latin typeface="Ubuntu Mono" panose="020B0509030602030204" pitchFamily="49" charset="0"/>
              </a:rPr>
              <a:t>mField2 </a:t>
            </a:r>
            <a:r>
              <a:rPr kumimoji="0" lang="zh-CN" altLang="zh-CN" sz="1400" b="0" i="0" u="none" strike="noStrike" cap="none" normalizeH="0" baseline="0" dirty="0" smtClean="0">
                <a:ln>
                  <a:noFill/>
                </a:ln>
                <a:solidFill>
                  <a:srgbClr val="000000"/>
                </a:solidFill>
                <a:effectLst/>
                <a:latin typeface="Ubuntu Mono" panose="020B0509030602030204" pitchFamily="49" charset="0"/>
              </a:rPr>
              <a:t>= random.nextLong();</a:t>
            </a:r>
            <a:br>
              <a:rPr kumimoji="0" lang="zh-CN" altLang="zh-CN" sz="1400" b="0" i="0" u="none" strike="noStrike" cap="none" normalizeH="0" baseline="0" dirty="0" smtClean="0">
                <a:ln>
                  <a:noFill/>
                </a:ln>
                <a:solidFill>
                  <a:srgbClr val="000000"/>
                </a:solidFill>
                <a:effectLst/>
                <a:latin typeface="Ubuntu Mono" panose="020B0509030602030204" pitchFamily="49" charset="0"/>
              </a:rPr>
            </a:br>
            <a:r>
              <a:rPr kumimoji="0" lang="zh-CN" altLang="zh-CN" sz="1400" b="0" i="0" u="none" strike="noStrike" cap="none" normalizeH="0" baseline="0" dirty="0" smtClean="0">
                <a:ln>
                  <a:noFill/>
                </a:ln>
                <a:solidFill>
                  <a:srgbClr val="000000"/>
                </a:solidFill>
                <a:effectLst/>
                <a:latin typeface="Ubuntu Mono" panose="020B0509030602030204" pitchFamily="49" charset="0"/>
              </a:rPr>
              <a:t>        </a:t>
            </a:r>
            <a:r>
              <a:rPr kumimoji="0" lang="zh-CN" altLang="zh-CN" sz="1400" b="1" i="0" u="none" strike="noStrike" cap="none" normalizeH="0" baseline="0" dirty="0" smtClean="0">
                <a:ln>
                  <a:noFill/>
                </a:ln>
                <a:solidFill>
                  <a:srgbClr val="660E7A"/>
                </a:solidFill>
                <a:effectLst/>
                <a:latin typeface="Ubuntu Mono" panose="020B0509030602030204" pitchFamily="49" charset="0"/>
              </a:rPr>
              <a:t>mObject </a:t>
            </a:r>
            <a:r>
              <a:rPr kumimoji="0" lang="zh-CN" altLang="zh-CN" sz="1400" b="0" i="0" u="none" strike="noStrike" cap="none" normalizeH="0" baseline="0" dirty="0" smtClean="0">
                <a:ln>
                  <a:noFill/>
                </a:ln>
                <a:solidFill>
                  <a:srgbClr val="000000"/>
                </a:solidFill>
                <a:effectLst/>
                <a:latin typeface="Ubuntu Mono" panose="020B0509030602030204" pitchFamily="49" charset="0"/>
              </a:rPr>
              <a:t>= </a:t>
            </a:r>
            <a:r>
              <a:rPr kumimoji="0" lang="zh-CN" altLang="zh-CN" sz="1400" b="1" i="0" u="none" strike="noStrike" cap="none" normalizeH="0" baseline="0" dirty="0" smtClean="0">
                <a:ln>
                  <a:noFill/>
                </a:ln>
                <a:solidFill>
                  <a:srgbClr val="660E7A"/>
                </a:solidFill>
                <a:effectLst/>
                <a:latin typeface="Ubuntu Mono" panose="020B0509030602030204" pitchFamily="49" charset="0"/>
              </a:rPr>
              <a:t>mField2</a:t>
            </a:r>
            <a:r>
              <a:rPr kumimoji="0" lang="zh-CN" altLang="zh-CN" sz="1400" b="0" i="0" u="none" strike="noStrike" cap="none" normalizeH="0" baseline="0" dirty="0" smtClean="0">
                <a:ln>
                  <a:noFill/>
                </a:ln>
                <a:solidFill>
                  <a:srgbClr val="000000"/>
                </a:solidFill>
                <a:effectLst/>
                <a:latin typeface="Ubuntu Mono" panose="020B0509030602030204" pitchFamily="49" charset="0"/>
              </a:rPr>
              <a:t>.hashCode();</a:t>
            </a:r>
            <a:br>
              <a:rPr kumimoji="0" lang="zh-CN" altLang="zh-CN" sz="1400" b="0" i="0" u="none" strike="noStrike" cap="none" normalizeH="0" baseline="0" dirty="0" smtClean="0">
                <a:ln>
                  <a:noFill/>
                </a:ln>
                <a:solidFill>
                  <a:srgbClr val="000000"/>
                </a:solidFill>
                <a:effectLst/>
                <a:latin typeface="Ubuntu Mono" panose="020B0509030602030204" pitchFamily="49" charset="0"/>
              </a:rPr>
            </a:br>
            <a:r>
              <a:rPr kumimoji="0" lang="zh-CN" altLang="zh-CN" sz="1400" b="0" i="0" u="none" strike="noStrike" cap="none" normalizeH="0" baseline="0" dirty="0" smtClean="0">
                <a:ln>
                  <a:noFill/>
                </a:ln>
                <a:solidFill>
                  <a:srgbClr val="000000"/>
                </a:solidFill>
                <a:effectLst/>
                <a:latin typeface="Ubuntu Mono" panose="020B0509030602030204" pitchFamily="49" charset="0"/>
              </a:rPr>
              <a:t>    }</a:t>
            </a:r>
            <a:br>
              <a:rPr kumimoji="0" lang="zh-CN" altLang="zh-CN" sz="1400" b="0" i="0" u="none" strike="noStrike" cap="none" normalizeH="0" baseline="0" dirty="0" smtClean="0">
                <a:ln>
                  <a:noFill/>
                </a:ln>
                <a:solidFill>
                  <a:srgbClr val="000000"/>
                </a:solidFill>
                <a:effectLst/>
                <a:latin typeface="Ubuntu Mono" panose="020B0509030602030204" pitchFamily="49" charset="0"/>
              </a:rPr>
            </a:br>
            <a:r>
              <a:rPr kumimoji="0" lang="zh-CN" altLang="zh-CN" sz="1400" b="0" i="0" u="none" strike="noStrike" cap="none" normalizeH="0" baseline="0" dirty="0" smtClean="0">
                <a:ln>
                  <a:noFill/>
                </a:ln>
                <a:solidFill>
                  <a:srgbClr val="000000"/>
                </a:solidFill>
                <a:effectLst/>
                <a:latin typeface="Ubuntu Mono" panose="020B0509030602030204" pitchFamily="49" charset="0"/>
              </a:rPr>
              <a:t>    </a:t>
            </a:r>
            <a:br>
              <a:rPr kumimoji="0" lang="zh-CN" altLang="zh-CN" sz="1400" b="0" i="0" u="none" strike="noStrike" cap="none" normalizeH="0" baseline="0" dirty="0" smtClean="0">
                <a:ln>
                  <a:noFill/>
                </a:ln>
                <a:solidFill>
                  <a:srgbClr val="000000"/>
                </a:solidFill>
                <a:effectLst/>
                <a:latin typeface="Ubuntu Mono" panose="020B0509030602030204" pitchFamily="49" charset="0"/>
              </a:rPr>
            </a:br>
            <a:r>
              <a:rPr kumimoji="0" lang="zh-CN" altLang="zh-CN" sz="1400" b="0" i="0" u="none" strike="noStrike" cap="none" normalizeH="0" baseline="0" dirty="0" smtClean="0">
                <a:ln>
                  <a:noFill/>
                </a:ln>
                <a:solidFill>
                  <a:srgbClr val="000000"/>
                </a:solidFill>
                <a:effectLst/>
                <a:latin typeface="Ubuntu Mono" panose="020B0509030602030204" pitchFamily="49" charset="0"/>
              </a:rPr>
              <a:t>    </a:t>
            </a:r>
            <a:br>
              <a:rPr kumimoji="0" lang="zh-CN" altLang="zh-CN" sz="1400" b="0" i="0" u="none" strike="noStrike" cap="none" normalizeH="0" baseline="0" dirty="0" smtClean="0">
                <a:ln>
                  <a:noFill/>
                </a:ln>
                <a:solidFill>
                  <a:srgbClr val="000000"/>
                </a:solidFill>
                <a:effectLst/>
                <a:latin typeface="Ubuntu Mono" panose="020B0509030602030204" pitchFamily="49" charset="0"/>
              </a:rPr>
            </a:br>
            <a:r>
              <a:rPr kumimoji="0" lang="zh-CN" altLang="zh-CN" sz="1400" b="0" i="0" u="none" strike="noStrike" cap="none" normalizeH="0" baseline="0" dirty="0" smtClean="0">
                <a:ln>
                  <a:noFill/>
                </a:ln>
                <a:solidFill>
                  <a:srgbClr val="000000"/>
                </a:solidFill>
                <a:effectLst/>
                <a:latin typeface="Ubuntu Mono" panose="020B0509030602030204" pitchFamily="49" charset="0"/>
              </a:rPr>
              <a:t>    </a:t>
            </a:r>
            <a:br>
              <a:rPr kumimoji="0" lang="zh-CN" altLang="zh-CN" sz="1400" b="0" i="0" u="none" strike="noStrike" cap="none" normalizeH="0" baseline="0" dirty="0" smtClean="0">
                <a:ln>
                  <a:noFill/>
                </a:ln>
                <a:solidFill>
                  <a:srgbClr val="000000"/>
                </a:solidFill>
                <a:effectLst/>
                <a:latin typeface="Ubuntu Mono" panose="020B0509030602030204" pitchFamily="49" charset="0"/>
              </a:rPr>
            </a:br>
            <a:endParaRPr kumimoji="0" lang="en-US" altLang="zh-CN" sz="1400" b="0" i="0" u="none" strike="noStrike" cap="none" normalizeH="0" baseline="0" dirty="0" smtClean="0">
              <a:ln>
                <a:noFill/>
              </a:ln>
              <a:solidFill>
                <a:srgbClr val="000000"/>
              </a:solidFill>
              <a:effectLst/>
              <a:latin typeface="Ubuntu Mono" panose="020B0509030602030204"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zh-CN" sz="1400" dirty="0">
              <a:solidFill>
                <a:srgbClr val="000000"/>
              </a:solidFill>
              <a:latin typeface="Ubuntu Mono" panose="020B0509030602030204"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zh-CN" sz="1400" b="0" i="0" u="none" strike="noStrike" cap="none" normalizeH="0" baseline="0" dirty="0" smtClean="0">
              <a:ln>
                <a:noFill/>
              </a:ln>
              <a:solidFill>
                <a:srgbClr val="000000"/>
              </a:solidFill>
              <a:effectLst/>
              <a:latin typeface="Ubuntu Mono" panose="020B0509030602030204"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zh-CN" sz="1400" dirty="0">
              <a:solidFill>
                <a:srgbClr val="000000"/>
              </a:solidFill>
              <a:latin typeface="Ubuntu Mono" panose="020B0509030602030204"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zh-CN" sz="1400" b="0" i="0" u="none" strike="noStrike" cap="none" normalizeH="0" baseline="0" dirty="0" smtClean="0">
              <a:ln>
                <a:noFill/>
              </a:ln>
              <a:solidFill>
                <a:srgbClr val="000000"/>
              </a:solidFill>
              <a:effectLst/>
              <a:latin typeface="Ubuntu Mono" panose="020B0509030602030204"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400" b="0" i="0" u="none" strike="noStrike" cap="none" normalizeH="0" baseline="0" dirty="0" smtClean="0">
                <a:ln>
                  <a:noFill/>
                </a:ln>
                <a:solidFill>
                  <a:srgbClr val="000000"/>
                </a:solidFill>
                <a:effectLst/>
                <a:latin typeface="Ubuntu Mono" panose="020B0509030602030204" pitchFamily="49" charset="0"/>
              </a:rPr>
              <a:t/>
            </a:r>
            <a:br>
              <a:rPr kumimoji="0" lang="zh-CN" altLang="zh-CN" sz="1400" b="0" i="0" u="none" strike="noStrike" cap="none" normalizeH="0" baseline="0" dirty="0" smtClean="0">
                <a:ln>
                  <a:noFill/>
                </a:ln>
                <a:solidFill>
                  <a:srgbClr val="000000"/>
                </a:solidFill>
                <a:effectLst/>
                <a:latin typeface="Ubuntu Mono" panose="020B0509030602030204" pitchFamily="49" charset="0"/>
              </a:rPr>
            </a:br>
            <a:r>
              <a:rPr kumimoji="0" lang="zh-CN" altLang="zh-CN" sz="1400" b="0" i="0" u="none" strike="noStrike" cap="none" normalizeH="0" baseline="0" dirty="0" smtClean="0">
                <a:ln>
                  <a:noFill/>
                </a:ln>
                <a:solidFill>
                  <a:srgbClr val="000000"/>
                </a:solidFill>
                <a:effectLst/>
                <a:latin typeface="Ubuntu Mono" panose="020B0509030602030204" pitchFamily="49" charset="0"/>
              </a:rPr>
              <a:t>}</a:t>
            </a:r>
            <a:endParaRPr kumimoji="0" lang="zh-CN" altLang="zh-CN" sz="1400" b="0" i="0" u="none" strike="noStrike" cap="none" normalizeH="0" baseline="0" dirty="0" smtClean="0">
              <a:ln>
                <a:noFill/>
              </a:ln>
              <a:solidFill>
                <a:schemeClr val="tx1"/>
              </a:solidFill>
              <a:effectLst/>
              <a:latin typeface="Arial" panose="020B0604020202020204" pitchFamily="34" charset="0"/>
            </a:endParaRPr>
          </a:p>
        </p:txBody>
      </p:sp>
      <p:sp>
        <p:nvSpPr>
          <p:cNvPr id="41" name="矩形 40"/>
          <p:cNvSpPr/>
          <p:nvPr/>
        </p:nvSpPr>
        <p:spPr>
          <a:xfrm>
            <a:off x="7708713" y="4424581"/>
            <a:ext cx="3857230" cy="1815882"/>
          </a:xfrm>
          <a:prstGeom prst="rect">
            <a:avLst/>
          </a:prstGeom>
          <a:solidFill>
            <a:srgbClr val="E1691F">
              <a:alpha val="43000"/>
            </a:srgbClr>
          </a:solidFill>
          <a:ln w="63500">
            <a:solidFill>
              <a:srgbClr val="C00000">
                <a:alpha val="50000"/>
              </a:srgbClr>
            </a:solidFill>
            <a:prstDash val="dash"/>
          </a:ln>
        </p:spPr>
        <p:txBody>
          <a:bodyPr wrap="square">
            <a:spAutoFit/>
          </a:bodyPr>
          <a:lstStyle/>
          <a:p>
            <a:r>
              <a:rPr lang="zh-CN" altLang="zh-CN" sz="1400" b="1" dirty="0" smtClean="0">
                <a:solidFill>
                  <a:srgbClr val="000080"/>
                </a:solidFill>
                <a:latin typeface="Ubuntu Mono" panose="020B0509030602030204" pitchFamily="49" charset="0"/>
              </a:rPr>
              <a:t>public </a:t>
            </a:r>
            <a:r>
              <a:rPr lang="zh-CN" altLang="zh-CN" sz="1400" dirty="0">
                <a:solidFill>
                  <a:srgbClr val="000000"/>
                </a:solidFill>
                <a:latin typeface="Ubuntu Mono" panose="020B0509030602030204" pitchFamily="49" charset="0"/>
              </a:rPr>
              <a:t>Prototype clone() {</a:t>
            </a:r>
            <a:br>
              <a:rPr lang="zh-CN" altLang="zh-CN" sz="1400" dirty="0">
                <a:solidFill>
                  <a:srgbClr val="000000"/>
                </a:solidFill>
                <a:latin typeface="Ubuntu Mono" panose="020B0509030602030204" pitchFamily="49" charset="0"/>
              </a:rPr>
            </a:br>
            <a:r>
              <a:rPr lang="zh-CN" altLang="zh-CN" sz="1400" dirty="0" smtClean="0">
                <a:solidFill>
                  <a:srgbClr val="000000"/>
                </a:solidFill>
                <a:latin typeface="Ubuntu Mono" panose="020B0509030602030204" pitchFamily="49" charset="0"/>
              </a:rPr>
              <a:t>    </a:t>
            </a:r>
            <a:r>
              <a:rPr lang="zh-CN" altLang="zh-CN" sz="1400" dirty="0">
                <a:solidFill>
                  <a:srgbClr val="000000"/>
                </a:solidFill>
                <a:latin typeface="Ubuntu Mono" panose="020B0509030602030204" pitchFamily="49" charset="0"/>
              </a:rPr>
              <a:t>Prototype prototype = </a:t>
            </a:r>
            <a:r>
              <a:rPr lang="zh-CN" altLang="zh-CN" sz="1400" b="1" dirty="0">
                <a:solidFill>
                  <a:srgbClr val="000080"/>
                </a:solidFill>
                <a:latin typeface="Ubuntu Mono" panose="020B0509030602030204" pitchFamily="49" charset="0"/>
              </a:rPr>
              <a:t>new </a:t>
            </a:r>
            <a:r>
              <a:rPr lang="zh-CN" altLang="zh-CN" sz="1400" dirty="0">
                <a:solidFill>
                  <a:srgbClr val="000000"/>
                </a:solidFill>
                <a:latin typeface="Ubuntu Mono" panose="020B0509030602030204" pitchFamily="49" charset="0"/>
              </a:rPr>
              <a:t>Prototype();</a:t>
            </a:r>
            <a:br>
              <a:rPr lang="zh-CN" altLang="zh-CN" sz="1400" dirty="0">
                <a:solidFill>
                  <a:srgbClr val="000000"/>
                </a:solidFill>
                <a:latin typeface="Ubuntu Mono" panose="020B0509030602030204" pitchFamily="49" charset="0"/>
              </a:rPr>
            </a:br>
            <a:r>
              <a:rPr lang="zh-CN" altLang="zh-CN" sz="1400" dirty="0" smtClean="0">
                <a:solidFill>
                  <a:srgbClr val="000000"/>
                </a:solidFill>
                <a:latin typeface="Ubuntu Mono" panose="020B0509030602030204" pitchFamily="49" charset="0"/>
              </a:rPr>
              <a:t>    </a:t>
            </a:r>
            <a:r>
              <a:rPr lang="zh-CN" altLang="zh-CN" sz="1400" dirty="0">
                <a:solidFill>
                  <a:srgbClr val="000000"/>
                </a:solidFill>
                <a:latin typeface="Ubuntu Mono" panose="020B0509030602030204" pitchFamily="49" charset="0"/>
              </a:rPr>
              <a:t>prototype.</a:t>
            </a:r>
            <a:r>
              <a:rPr lang="zh-CN" altLang="zh-CN" sz="1400" b="1" dirty="0">
                <a:solidFill>
                  <a:srgbClr val="660E7A"/>
                </a:solidFill>
                <a:latin typeface="Ubuntu Mono" panose="020B0509030602030204" pitchFamily="49" charset="0"/>
              </a:rPr>
              <a:t>mField1 </a:t>
            </a:r>
            <a:r>
              <a:rPr lang="zh-CN" altLang="zh-CN" sz="1400" dirty="0">
                <a:solidFill>
                  <a:srgbClr val="000000"/>
                </a:solidFill>
                <a:latin typeface="Ubuntu Mono" panose="020B0509030602030204" pitchFamily="49" charset="0"/>
              </a:rPr>
              <a:t>= </a:t>
            </a:r>
            <a:r>
              <a:rPr lang="zh-CN" altLang="zh-CN" sz="1400" b="1" dirty="0">
                <a:solidFill>
                  <a:srgbClr val="660E7A"/>
                </a:solidFill>
                <a:latin typeface="Ubuntu Mono" panose="020B0509030602030204" pitchFamily="49" charset="0"/>
              </a:rPr>
              <a:t>mField1</a:t>
            </a:r>
            <a:r>
              <a:rPr lang="zh-CN" altLang="zh-CN" sz="1400" dirty="0">
                <a:solidFill>
                  <a:srgbClr val="000000"/>
                </a:solidFill>
                <a:latin typeface="Ubuntu Mono" panose="020B0509030602030204" pitchFamily="49" charset="0"/>
              </a:rPr>
              <a:t>;</a:t>
            </a:r>
            <a:br>
              <a:rPr lang="zh-CN" altLang="zh-CN" sz="1400" dirty="0">
                <a:solidFill>
                  <a:srgbClr val="000000"/>
                </a:solidFill>
                <a:latin typeface="Ubuntu Mono" panose="020B0509030602030204" pitchFamily="49" charset="0"/>
              </a:rPr>
            </a:br>
            <a:r>
              <a:rPr lang="zh-CN" altLang="zh-CN" sz="1400" dirty="0" smtClean="0">
                <a:solidFill>
                  <a:srgbClr val="000000"/>
                </a:solidFill>
                <a:latin typeface="Ubuntu Mono" panose="020B0509030602030204" pitchFamily="49" charset="0"/>
              </a:rPr>
              <a:t>    </a:t>
            </a:r>
            <a:r>
              <a:rPr lang="zh-CN" altLang="zh-CN" sz="1400" dirty="0">
                <a:solidFill>
                  <a:srgbClr val="000000"/>
                </a:solidFill>
                <a:latin typeface="Ubuntu Mono" panose="020B0509030602030204" pitchFamily="49" charset="0"/>
              </a:rPr>
              <a:t>prototype.</a:t>
            </a:r>
            <a:r>
              <a:rPr lang="zh-CN" altLang="zh-CN" sz="1400" b="1" dirty="0">
                <a:solidFill>
                  <a:srgbClr val="660E7A"/>
                </a:solidFill>
                <a:latin typeface="Ubuntu Mono" panose="020B0509030602030204" pitchFamily="49" charset="0"/>
              </a:rPr>
              <a:t>mField2 </a:t>
            </a:r>
            <a:r>
              <a:rPr lang="zh-CN" altLang="zh-CN" sz="1400" dirty="0">
                <a:solidFill>
                  <a:srgbClr val="000000"/>
                </a:solidFill>
                <a:latin typeface="Ubuntu Mono" panose="020B0509030602030204" pitchFamily="49" charset="0"/>
              </a:rPr>
              <a:t>= </a:t>
            </a:r>
            <a:r>
              <a:rPr lang="zh-CN" altLang="zh-CN" sz="1400" b="1" dirty="0">
                <a:solidFill>
                  <a:srgbClr val="660E7A"/>
                </a:solidFill>
                <a:latin typeface="Ubuntu Mono" panose="020B0509030602030204" pitchFamily="49" charset="0"/>
              </a:rPr>
              <a:t>mField2</a:t>
            </a:r>
            <a:r>
              <a:rPr lang="zh-CN" altLang="zh-CN" sz="1400" dirty="0">
                <a:solidFill>
                  <a:srgbClr val="000000"/>
                </a:solidFill>
                <a:latin typeface="Ubuntu Mono" panose="020B0509030602030204" pitchFamily="49" charset="0"/>
              </a:rPr>
              <a:t>;</a:t>
            </a:r>
            <a:br>
              <a:rPr lang="zh-CN" altLang="zh-CN" sz="1400" dirty="0">
                <a:solidFill>
                  <a:srgbClr val="000000"/>
                </a:solidFill>
                <a:latin typeface="Ubuntu Mono" panose="020B0509030602030204" pitchFamily="49" charset="0"/>
              </a:rPr>
            </a:br>
            <a:r>
              <a:rPr lang="zh-CN" altLang="zh-CN" sz="1400" dirty="0" smtClean="0">
                <a:solidFill>
                  <a:srgbClr val="000000"/>
                </a:solidFill>
                <a:latin typeface="Ubuntu Mono" panose="020B0509030602030204" pitchFamily="49" charset="0"/>
              </a:rPr>
              <a:t>    </a:t>
            </a:r>
            <a:r>
              <a:rPr lang="zh-CN" altLang="zh-CN" sz="1400" dirty="0">
                <a:solidFill>
                  <a:srgbClr val="000000"/>
                </a:solidFill>
                <a:latin typeface="Ubuntu Mono" panose="020B0509030602030204" pitchFamily="49" charset="0"/>
              </a:rPr>
              <a:t>prototype.</a:t>
            </a:r>
            <a:r>
              <a:rPr lang="zh-CN" altLang="zh-CN" sz="1400" b="1" dirty="0">
                <a:solidFill>
                  <a:srgbClr val="660E7A"/>
                </a:solidFill>
                <a:latin typeface="Ubuntu Mono" panose="020B0509030602030204" pitchFamily="49" charset="0"/>
              </a:rPr>
              <a:t>mObject </a:t>
            </a:r>
            <a:r>
              <a:rPr lang="zh-CN" altLang="zh-CN" sz="1400" dirty="0">
                <a:solidFill>
                  <a:srgbClr val="000000"/>
                </a:solidFill>
                <a:latin typeface="Ubuntu Mono" panose="020B0509030602030204" pitchFamily="49" charset="0"/>
              </a:rPr>
              <a:t>= </a:t>
            </a:r>
            <a:r>
              <a:rPr lang="zh-CN" altLang="zh-CN" sz="1400" b="1" dirty="0">
                <a:solidFill>
                  <a:srgbClr val="660E7A"/>
                </a:solidFill>
                <a:latin typeface="Ubuntu Mono" panose="020B0509030602030204" pitchFamily="49" charset="0"/>
              </a:rPr>
              <a:t>mObject</a:t>
            </a:r>
            <a:r>
              <a:rPr lang="zh-CN" altLang="zh-CN" sz="1400" dirty="0" smtClean="0">
                <a:solidFill>
                  <a:srgbClr val="000000"/>
                </a:solidFill>
                <a:latin typeface="Ubuntu Mono" panose="020B0509030602030204" pitchFamily="49" charset="0"/>
              </a:rPr>
              <a:t>;</a:t>
            </a:r>
            <a:endParaRPr lang="en-US" altLang="zh-CN" sz="1400" dirty="0" smtClean="0">
              <a:solidFill>
                <a:srgbClr val="000000"/>
              </a:solidFill>
              <a:latin typeface="Ubuntu Mono" panose="020B0509030602030204" pitchFamily="49" charset="0"/>
            </a:endParaRPr>
          </a:p>
          <a:p>
            <a:r>
              <a:rPr lang="zh-CN" altLang="zh-CN" sz="1400" dirty="0" smtClean="0">
                <a:solidFill>
                  <a:srgbClr val="000000"/>
                </a:solidFill>
                <a:latin typeface="Ubuntu Mono" panose="020B0509030602030204" pitchFamily="49" charset="0"/>
              </a:rPr>
              <a:t>     </a:t>
            </a:r>
            <a:r>
              <a:rPr lang="zh-CN" altLang="zh-CN" sz="1400" dirty="0">
                <a:solidFill>
                  <a:srgbClr val="000000"/>
                </a:solidFill>
                <a:latin typeface="Ubuntu Mono" panose="020B0509030602030204" pitchFamily="49" charset="0"/>
              </a:rPr>
              <a:t/>
            </a:r>
            <a:br>
              <a:rPr lang="zh-CN" altLang="zh-CN" sz="1400" dirty="0">
                <a:solidFill>
                  <a:srgbClr val="000000"/>
                </a:solidFill>
                <a:latin typeface="Ubuntu Mono" panose="020B0509030602030204" pitchFamily="49" charset="0"/>
              </a:rPr>
            </a:br>
            <a:r>
              <a:rPr lang="zh-CN" altLang="zh-CN" sz="1400" dirty="0">
                <a:solidFill>
                  <a:srgbClr val="000000"/>
                </a:solidFill>
                <a:latin typeface="Ubuntu Mono" panose="020B0509030602030204" pitchFamily="49" charset="0"/>
              </a:rPr>
              <a:t>    </a:t>
            </a:r>
            <a:r>
              <a:rPr lang="zh-CN" altLang="zh-CN" sz="1400" b="1" dirty="0" smtClean="0">
                <a:solidFill>
                  <a:srgbClr val="000080"/>
                </a:solidFill>
                <a:latin typeface="Ubuntu Mono" panose="020B0509030602030204" pitchFamily="49" charset="0"/>
              </a:rPr>
              <a:t>return </a:t>
            </a:r>
            <a:r>
              <a:rPr lang="zh-CN" altLang="zh-CN" sz="1400" dirty="0">
                <a:solidFill>
                  <a:srgbClr val="000000"/>
                </a:solidFill>
                <a:latin typeface="Ubuntu Mono" panose="020B0509030602030204" pitchFamily="49" charset="0"/>
              </a:rPr>
              <a:t>prototype;</a:t>
            </a:r>
            <a:br>
              <a:rPr lang="zh-CN" altLang="zh-CN" sz="1400" dirty="0">
                <a:solidFill>
                  <a:srgbClr val="000000"/>
                </a:solidFill>
                <a:latin typeface="Ubuntu Mono" panose="020B0509030602030204" pitchFamily="49" charset="0"/>
              </a:rPr>
            </a:br>
            <a:r>
              <a:rPr lang="zh-CN" altLang="zh-CN" sz="1400" dirty="0" smtClean="0">
                <a:solidFill>
                  <a:srgbClr val="000000"/>
                </a:solidFill>
                <a:latin typeface="Ubuntu Mono" panose="020B0509030602030204" pitchFamily="49" charset="0"/>
              </a:rPr>
              <a:t>}</a:t>
            </a:r>
            <a:endParaRPr lang="zh-CN" altLang="en-US" sz="1400" dirty="0"/>
          </a:p>
        </p:txBody>
      </p:sp>
    </p:spTree>
    <p:extLst>
      <p:ext uri="{BB962C8B-B14F-4D97-AF65-F5344CB8AC3E}">
        <p14:creationId xmlns:p14="http://schemas.microsoft.com/office/powerpoint/2010/main" val="28775354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1" grpId="0" animBg="1"/>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标题 1"/>
          <p:cNvSpPr>
            <a:spLocks noGrp="1"/>
          </p:cNvSpPr>
          <p:nvPr>
            <p:ph type="title"/>
          </p:nvPr>
        </p:nvSpPr>
        <p:spPr>
          <a:xfrm>
            <a:off x="1137925" y="205921"/>
            <a:ext cx="10401280" cy="695186"/>
          </a:xfrm>
        </p:spPr>
        <p:txBody>
          <a:bodyPr/>
          <a:lstStyle/>
          <a:p>
            <a:r>
              <a:rPr lang="zh-CN" altLang="en-US" sz="3200" b="0" dirty="0" smtClean="0">
                <a:latin typeface="Arial"/>
                <a:ea typeface="Microsoft YaHei"/>
                <a:cs typeface="+mn-ea"/>
                <a:sym typeface="Arial"/>
              </a:rPr>
              <a:t>原型模式</a:t>
            </a:r>
            <a:endParaRPr lang="zh-CN" altLang="en-US" sz="3200" b="0" dirty="0">
              <a:latin typeface="Arial"/>
              <a:ea typeface="Microsoft YaHei"/>
              <a:cs typeface="+mn-ea"/>
              <a:sym typeface="Arial"/>
            </a:endParaRPr>
          </a:p>
        </p:txBody>
      </p:sp>
      <p:grpSp>
        <p:nvGrpSpPr>
          <p:cNvPr id="32" name="组合 31">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33" name="椭圆 32">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34" name="椭圆 33">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
        <p:nvSpPr>
          <p:cNvPr id="35" name="î$ḷîḓê">
            <a:extLst>
              <a:ext uri="{FF2B5EF4-FFF2-40B4-BE49-F238E27FC236}">
                <a16:creationId xmlns:a16="http://schemas.microsoft.com/office/drawing/2014/main" id="{0120662D-08EC-45F4-BE9C-84021ADB4C9A}"/>
              </a:ext>
            </a:extLst>
          </p:cNvPr>
          <p:cNvSpPr/>
          <p:nvPr/>
        </p:nvSpPr>
        <p:spPr bwMode="gray">
          <a:xfrm>
            <a:off x="7211000" y="198392"/>
            <a:ext cx="1506790" cy="480145"/>
          </a:xfrm>
          <a:prstGeom prst="rect">
            <a:avLst/>
          </a:prstGeom>
          <a:solidFill>
            <a:schemeClr val="accent1"/>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创建型模式</a:t>
            </a:r>
            <a:endParaRPr lang="en-US" altLang="zh-CN" sz="2400" dirty="0">
              <a:solidFill>
                <a:schemeClr val="bg1"/>
              </a:solidFill>
            </a:endParaRPr>
          </a:p>
        </p:txBody>
      </p:sp>
      <p:sp>
        <p:nvSpPr>
          <p:cNvPr id="36" name="î$ḷîḓê">
            <a:extLst>
              <a:ext uri="{FF2B5EF4-FFF2-40B4-BE49-F238E27FC236}">
                <a16:creationId xmlns:a16="http://schemas.microsoft.com/office/drawing/2014/main" id="{0120662D-08EC-45F4-BE9C-84021ADB4C9A}"/>
              </a:ext>
            </a:extLst>
          </p:cNvPr>
          <p:cNvSpPr/>
          <p:nvPr/>
        </p:nvSpPr>
        <p:spPr bwMode="gray">
          <a:xfrm>
            <a:off x="8749874" y="199746"/>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结构型模式</a:t>
            </a:r>
            <a:endParaRPr lang="en-US" altLang="zh-CN" sz="2400" dirty="0">
              <a:solidFill>
                <a:schemeClr val="bg1"/>
              </a:solidFill>
            </a:endParaRPr>
          </a:p>
        </p:txBody>
      </p:sp>
      <p:sp>
        <p:nvSpPr>
          <p:cNvPr id="37" name="î$ḷîḓê">
            <a:extLst>
              <a:ext uri="{FF2B5EF4-FFF2-40B4-BE49-F238E27FC236}">
                <a16:creationId xmlns:a16="http://schemas.microsoft.com/office/drawing/2014/main" id="{0120662D-08EC-45F4-BE9C-84021ADB4C9A}"/>
              </a:ext>
            </a:extLst>
          </p:cNvPr>
          <p:cNvSpPr/>
          <p:nvPr/>
        </p:nvSpPr>
        <p:spPr bwMode="gray">
          <a:xfrm>
            <a:off x="10282004" y="189695"/>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行为型模式</a:t>
            </a:r>
            <a:endParaRPr lang="en-US" altLang="zh-CN" sz="2400" dirty="0">
              <a:solidFill>
                <a:schemeClr val="bg1"/>
              </a:solidFill>
            </a:endParaRPr>
          </a:p>
        </p:txBody>
      </p:sp>
      <p:sp>
        <p:nvSpPr>
          <p:cNvPr id="7" name="文本框 6"/>
          <p:cNvSpPr txBox="1"/>
          <p:nvPr/>
        </p:nvSpPr>
        <p:spPr>
          <a:xfrm>
            <a:off x="669925" y="1130300"/>
            <a:ext cx="5462588" cy="523220"/>
          </a:xfrm>
          <a:prstGeom prst="rect">
            <a:avLst/>
          </a:prstGeom>
          <a:noFill/>
        </p:spPr>
        <p:txBody>
          <a:bodyPr wrap="square" rtlCol="0">
            <a:spAutoFit/>
          </a:bodyPr>
          <a:lstStyle/>
          <a:p>
            <a:r>
              <a:rPr lang="en-US" altLang="zh-CN" dirty="0" smtClean="0"/>
              <a:t>java</a:t>
            </a:r>
            <a:r>
              <a:rPr lang="zh-CN" altLang="en-US" dirty="0" smtClean="0"/>
              <a:t>的原型模式手段</a:t>
            </a:r>
            <a:r>
              <a:rPr lang="en-US" altLang="zh-CN" sz="2800" b="1" dirty="0" smtClean="0">
                <a:solidFill>
                  <a:schemeClr val="accent1">
                    <a:lumMod val="75000"/>
                  </a:schemeClr>
                </a:solidFill>
                <a:latin typeface="Cooper Black" panose="0208090404030B020404" pitchFamily="18" charset="0"/>
              </a:rPr>
              <a:t>Cloneable</a:t>
            </a:r>
            <a:endParaRPr lang="zh-CN" altLang="en-US" sz="2800" b="1" dirty="0">
              <a:solidFill>
                <a:schemeClr val="accent1">
                  <a:lumMod val="75000"/>
                </a:schemeClr>
              </a:solidFill>
              <a:latin typeface="Cooper Black" panose="0208090404030B020404" pitchFamily="18" charset="0"/>
            </a:endParaRPr>
          </a:p>
        </p:txBody>
      </p:sp>
      <p:pic>
        <p:nvPicPr>
          <p:cNvPr id="10" name="图片 9"/>
          <p:cNvPicPr>
            <a:picLocks noChangeAspect="1"/>
          </p:cNvPicPr>
          <p:nvPr/>
        </p:nvPicPr>
        <p:blipFill>
          <a:blip r:embed="rId3"/>
          <a:stretch>
            <a:fillRect/>
          </a:stretch>
        </p:blipFill>
        <p:spPr>
          <a:xfrm>
            <a:off x="993925" y="2105283"/>
            <a:ext cx="2107224" cy="613200"/>
          </a:xfrm>
          <a:prstGeom prst="rect">
            <a:avLst/>
          </a:prstGeom>
        </p:spPr>
      </p:pic>
      <p:pic>
        <p:nvPicPr>
          <p:cNvPr id="12" name="图片 11"/>
          <p:cNvPicPr>
            <a:picLocks noChangeAspect="1"/>
          </p:cNvPicPr>
          <p:nvPr/>
        </p:nvPicPr>
        <p:blipFill>
          <a:blip r:embed="rId4"/>
          <a:stretch>
            <a:fillRect/>
          </a:stretch>
        </p:blipFill>
        <p:spPr>
          <a:xfrm>
            <a:off x="993925" y="4639933"/>
            <a:ext cx="2107224" cy="596400"/>
          </a:xfrm>
          <a:prstGeom prst="rect">
            <a:avLst/>
          </a:prstGeom>
        </p:spPr>
      </p:pic>
      <p:sp>
        <p:nvSpPr>
          <p:cNvPr id="15" name="Rectangle 2"/>
          <p:cNvSpPr>
            <a:spLocks noChangeArrowheads="1"/>
          </p:cNvSpPr>
          <p:nvPr/>
        </p:nvSpPr>
        <p:spPr bwMode="auto">
          <a:xfrm>
            <a:off x="4472594" y="2105283"/>
            <a:ext cx="2587084" cy="461665"/>
          </a:xfrm>
          <a:prstGeom prst="rect">
            <a:avLst/>
          </a:prstGeom>
          <a:solidFill>
            <a:srgbClr val="FFFFFF"/>
          </a:solidFill>
          <a:ln w="63500">
            <a:solidFill>
              <a:srgbClr val="C00000">
                <a:alpha val="50000"/>
              </a:srgbClr>
            </a:solidFill>
            <a:prstDash val="dash"/>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200" b="1" i="0" u="none" strike="noStrike" cap="none" normalizeH="0" baseline="0" dirty="0" smtClean="0">
                <a:ln>
                  <a:noFill/>
                </a:ln>
                <a:solidFill>
                  <a:srgbClr val="000080"/>
                </a:solidFill>
                <a:effectLst/>
                <a:latin typeface="Ubuntu Mono" panose="020B0509030602030204" pitchFamily="49" charset="0"/>
              </a:rPr>
              <a:t>public interface </a:t>
            </a:r>
            <a:r>
              <a:rPr kumimoji="0" lang="zh-CN" altLang="zh-CN" sz="1200" b="0" i="0" u="none" strike="noStrike" cap="none" normalizeH="0" baseline="0" dirty="0" smtClean="0">
                <a:ln>
                  <a:noFill/>
                </a:ln>
                <a:solidFill>
                  <a:srgbClr val="000000"/>
                </a:solidFill>
                <a:effectLst/>
                <a:latin typeface="Ubuntu Mono" panose="020B0509030602030204" pitchFamily="49" charset="0"/>
              </a:rPr>
              <a:t>Cloneable {</a:t>
            </a:r>
            <a:br>
              <a:rPr kumimoji="0" lang="zh-CN" altLang="zh-CN" sz="1200" b="0" i="0" u="none" strike="noStrike" cap="none" normalizeH="0" baseline="0" dirty="0" smtClean="0">
                <a:ln>
                  <a:noFill/>
                </a:ln>
                <a:solidFill>
                  <a:srgbClr val="000000"/>
                </a:solidFill>
                <a:effectLst/>
                <a:latin typeface="Ubuntu Mono" panose="020B0509030602030204" pitchFamily="49" charset="0"/>
              </a:rPr>
            </a:br>
            <a:r>
              <a:rPr kumimoji="0" lang="zh-CN" altLang="zh-CN" sz="1200" b="0" i="0" u="none" strike="noStrike" cap="none" normalizeH="0" baseline="0" dirty="0" smtClean="0">
                <a:ln>
                  <a:noFill/>
                </a:ln>
                <a:solidFill>
                  <a:srgbClr val="000000"/>
                </a:solidFill>
                <a:effectLst/>
                <a:latin typeface="Ubuntu Mono" panose="020B0509030602030204" pitchFamily="49" charset="0"/>
              </a:rPr>
              <a:t>}</a:t>
            </a:r>
            <a:endParaRPr kumimoji="0" lang="zh-CN" altLang="zh-CN" sz="1200" b="0" i="0" u="none" strike="noStrike" cap="none" normalizeH="0" baseline="0" dirty="0" smtClean="0">
              <a:ln>
                <a:noFill/>
              </a:ln>
              <a:solidFill>
                <a:schemeClr val="tx1"/>
              </a:solidFill>
              <a:effectLst/>
              <a:latin typeface="Arial" panose="020B0604020202020204" pitchFamily="34" charset="0"/>
            </a:endParaRPr>
          </a:p>
        </p:txBody>
      </p:sp>
      <p:sp>
        <p:nvSpPr>
          <p:cNvPr id="41" name="Rectangle 7"/>
          <p:cNvSpPr>
            <a:spLocks noChangeArrowheads="1"/>
          </p:cNvSpPr>
          <p:nvPr/>
        </p:nvSpPr>
        <p:spPr bwMode="auto">
          <a:xfrm>
            <a:off x="4472594" y="3876304"/>
            <a:ext cx="5419493" cy="2123658"/>
          </a:xfrm>
          <a:prstGeom prst="rect">
            <a:avLst/>
          </a:prstGeom>
          <a:solidFill>
            <a:srgbClr val="FFFFFF"/>
          </a:solidFill>
          <a:ln w="63500">
            <a:solidFill>
              <a:srgbClr val="C00000">
                <a:alpha val="50000"/>
              </a:srgbClr>
            </a:solidFill>
            <a:prstDash val="dash"/>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200" b="1" i="0" u="none" strike="noStrike" cap="none" normalizeH="0" baseline="0" dirty="0" smtClean="0">
                <a:ln>
                  <a:noFill/>
                </a:ln>
                <a:solidFill>
                  <a:srgbClr val="000080"/>
                </a:solidFill>
                <a:effectLst/>
                <a:latin typeface="Ubuntu Mono" panose="020B0509030602030204" pitchFamily="49" charset="0"/>
              </a:rPr>
              <a:t>protected </a:t>
            </a:r>
            <a:r>
              <a:rPr kumimoji="0" lang="zh-CN" altLang="zh-CN" sz="1200" b="0" i="0" u="none" strike="noStrike" cap="none" normalizeH="0" baseline="0" dirty="0" smtClean="0">
                <a:ln>
                  <a:noFill/>
                </a:ln>
                <a:solidFill>
                  <a:srgbClr val="000000"/>
                </a:solidFill>
                <a:effectLst/>
                <a:latin typeface="Ubuntu Mono" panose="020B0509030602030204" pitchFamily="49" charset="0"/>
              </a:rPr>
              <a:t>Object clone() </a:t>
            </a:r>
            <a:r>
              <a:rPr kumimoji="0" lang="zh-CN" altLang="zh-CN" sz="1200" b="1" i="0" u="none" strike="noStrike" cap="none" normalizeH="0" baseline="0" dirty="0" smtClean="0">
                <a:ln>
                  <a:noFill/>
                </a:ln>
                <a:solidFill>
                  <a:srgbClr val="000080"/>
                </a:solidFill>
                <a:effectLst/>
                <a:latin typeface="Ubuntu Mono" panose="020B0509030602030204" pitchFamily="49" charset="0"/>
              </a:rPr>
              <a:t>throws </a:t>
            </a:r>
            <a:r>
              <a:rPr kumimoji="0" lang="zh-CN" altLang="zh-CN" sz="1200" b="0" i="0" u="none" strike="noStrike" cap="none" normalizeH="0" baseline="0" dirty="0" smtClean="0">
                <a:ln>
                  <a:noFill/>
                </a:ln>
                <a:solidFill>
                  <a:srgbClr val="000000"/>
                </a:solidFill>
                <a:effectLst/>
                <a:latin typeface="Ubuntu Mono" panose="020B0509030602030204" pitchFamily="49" charset="0"/>
              </a:rPr>
              <a:t>CloneNotSupportedException {</a:t>
            </a:r>
            <a:br>
              <a:rPr kumimoji="0" lang="zh-CN" altLang="zh-CN" sz="1200" b="0" i="0" u="none" strike="noStrike" cap="none" normalizeH="0" baseline="0" dirty="0" smtClean="0">
                <a:ln>
                  <a:noFill/>
                </a:ln>
                <a:solidFill>
                  <a:srgbClr val="000000"/>
                </a:solidFill>
                <a:effectLst/>
                <a:latin typeface="Ubuntu Mono" panose="020B0509030602030204" pitchFamily="49" charset="0"/>
              </a:rPr>
            </a:br>
            <a:r>
              <a:rPr kumimoji="0" lang="zh-CN" altLang="zh-CN" sz="1200" b="0" i="0" u="none" strike="noStrike" cap="none" normalizeH="0" baseline="0" dirty="0" smtClean="0">
                <a:ln>
                  <a:noFill/>
                </a:ln>
                <a:solidFill>
                  <a:srgbClr val="000000"/>
                </a:solidFill>
                <a:effectLst/>
                <a:latin typeface="Ubuntu Mono" panose="020B0509030602030204" pitchFamily="49" charset="0"/>
              </a:rPr>
              <a:t>    </a:t>
            </a:r>
            <a:r>
              <a:rPr kumimoji="0" lang="zh-CN" altLang="zh-CN" sz="1200" b="1" i="0" u="none" strike="noStrike" cap="none" normalizeH="0" baseline="0" dirty="0" smtClean="0">
                <a:ln>
                  <a:noFill/>
                </a:ln>
                <a:solidFill>
                  <a:srgbClr val="000080"/>
                </a:solidFill>
                <a:effectLst/>
                <a:latin typeface="Ubuntu Mono" panose="020B0509030602030204" pitchFamily="49" charset="0"/>
              </a:rPr>
              <a:t>if </a:t>
            </a:r>
            <a:r>
              <a:rPr kumimoji="0" lang="zh-CN" altLang="zh-CN" sz="1200" b="0" i="0" u="none" strike="noStrike" cap="none" normalizeH="0" baseline="0" dirty="0" smtClean="0">
                <a:ln>
                  <a:noFill/>
                </a:ln>
                <a:solidFill>
                  <a:srgbClr val="000000"/>
                </a:solidFill>
                <a:effectLst/>
                <a:latin typeface="Ubuntu Mono" panose="020B0509030602030204" pitchFamily="49" charset="0"/>
              </a:rPr>
              <a:t>(!(</a:t>
            </a:r>
            <a:r>
              <a:rPr kumimoji="0" lang="zh-CN" altLang="zh-CN" sz="1200" b="1" i="0" u="none" strike="noStrike" cap="none" normalizeH="0" baseline="0" dirty="0" smtClean="0">
                <a:ln>
                  <a:noFill/>
                </a:ln>
                <a:solidFill>
                  <a:srgbClr val="000080"/>
                </a:solidFill>
                <a:effectLst/>
                <a:latin typeface="Ubuntu Mono" panose="020B0509030602030204" pitchFamily="49" charset="0"/>
              </a:rPr>
              <a:t>this instanceof </a:t>
            </a:r>
            <a:r>
              <a:rPr kumimoji="0" lang="zh-CN" altLang="zh-CN" sz="1200" b="0" i="0" u="none" strike="noStrike" cap="none" normalizeH="0" baseline="0" dirty="0" smtClean="0">
                <a:ln>
                  <a:noFill/>
                </a:ln>
                <a:solidFill>
                  <a:srgbClr val="000000"/>
                </a:solidFill>
                <a:effectLst/>
                <a:latin typeface="Ubuntu Mono" panose="020B0509030602030204" pitchFamily="49" charset="0"/>
              </a:rPr>
              <a:t>Cloneable)) {</a:t>
            </a:r>
            <a:br>
              <a:rPr kumimoji="0" lang="zh-CN" altLang="zh-CN" sz="1200" b="0" i="0" u="none" strike="noStrike" cap="none" normalizeH="0" baseline="0" dirty="0" smtClean="0">
                <a:ln>
                  <a:noFill/>
                </a:ln>
                <a:solidFill>
                  <a:srgbClr val="000000"/>
                </a:solidFill>
                <a:effectLst/>
                <a:latin typeface="Ubuntu Mono" panose="020B0509030602030204" pitchFamily="49" charset="0"/>
              </a:rPr>
            </a:br>
            <a:r>
              <a:rPr kumimoji="0" lang="zh-CN" altLang="zh-CN" sz="1200" b="0" i="0" u="none" strike="noStrike" cap="none" normalizeH="0" baseline="0" dirty="0" smtClean="0">
                <a:ln>
                  <a:noFill/>
                </a:ln>
                <a:solidFill>
                  <a:srgbClr val="000000"/>
                </a:solidFill>
                <a:effectLst/>
                <a:latin typeface="Ubuntu Mono" panose="020B0509030602030204" pitchFamily="49" charset="0"/>
              </a:rPr>
              <a:t>                 </a:t>
            </a:r>
            <a:r>
              <a:rPr kumimoji="0" lang="zh-CN" altLang="zh-CN" sz="1200" b="1" i="0" u="none" strike="noStrike" cap="none" normalizeH="0" baseline="0" dirty="0" smtClean="0">
                <a:ln>
                  <a:noFill/>
                </a:ln>
                <a:solidFill>
                  <a:srgbClr val="000080"/>
                </a:solidFill>
                <a:effectLst/>
                <a:latin typeface="Ubuntu Mono" panose="020B0509030602030204" pitchFamily="49" charset="0"/>
              </a:rPr>
              <a:t>throw new </a:t>
            </a:r>
            <a:r>
              <a:rPr kumimoji="0" lang="zh-CN" altLang="zh-CN" sz="1200" b="0" i="0" u="none" strike="noStrike" cap="none" normalizeH="0" baseline="0" dirty="0" smtClean="0">
                <a:ln>
                  <a:noFill/>
                </a:ln>
                <a:solidFill>
                  <a:srgbClr val="000000"/>
                </a:solidFill>
                <a:effectLst/>
                <a:latin typeface="Ubuntu Mono" panose="020B0509030602030204" pitchFamily="49" charset="0"/>
              </a:rPr>
              <a:t>CloneNotSupportedException(</a:t>
            </a:r>
            <a:r>
              <a:rPr kumimoji="0" lang="zh-CN" altLang="zh-CN" sz="1200" b="1" i="0" u="none" strike="noStrike" cap="none" normalizeH="0" baseline="0" dirty="0" smtClean="0">
                <a:ln>
                  <a:noFill/>
                </a:ln>
                <a:solidFill>
                  <a:srgbClr val="008000"/>
                </a:solidFill>
                <a:effectLst/>
                <a:latin typeface="Ubuntu Mono" panose="020B0509030602030204" pitchFamily="49" charset="0"/>
              </a:rPr>
              <a:t>"Class " </a:t>
            </a:r>
            <a:r>
              <a:rPr kumimoji="0" lang="zh-CN" altLang="zh-CN" sz="1200" b="0" i="0" u="none" strike="noStrike" cap="none" normalizeH="0" baseline="0" dirty="0" smtClean="0">
                <a:ln>
                  <a:noFill/>
                </a:ln>
                <a:solidFill>
                  <a:srgbClr val="000000"/>
                </a:solidFill>
                <a:effectLst/>
                <a:latin typeface="Ubuntu Mono" panose="020B0509030602030204" pitchFamily="49" charset="0"/>
              </a:rPr>
              <a:t>+</a:t>
            </a:r>
            <a:br>
              <a:rPr kumimoji="0" lang="zh-CN" altLang="zh-CN" sz="1200" b="0" i="0" u="none" strike="noStrike" cap="none" normalizeH="0" baseline="0" dirty="0" smtClean="0">
                <a:ln>
                  <a:noFill/>
                </a:ln>
                <a:solidFill>
                  <a:srgbClr val="000000"/>
                </a:solidFill>
                <a:effectLst/>
                <a:latin typeface="Ubuntu Mono" panose="020B0509030602030204" pitchFamily="49" charset="0"/>
              </a:rPr>
            </a:br>
            <a:r>
              <a:rPr kumimoji="0" lang="zh-CN" altLang="zh-CN" sz="1200" b="0" i="0" u="none" strike="noStrike" cap="none" normalizeH="0" baseline="0" dirty="0" smtClean="0">
                <a:ln>
                  <a:noFill/>
                </a:ln>
                <a:solidFill>
                  <a:srgbClr val="000000"/>
                </a:solidFill>
                <a:effectLst/>
                <a:latin typeface="Ubuntu Mono" panose="020B0509030602030204" pitchFamily="49" charset="0"/>
              </a:rPr>
              <a:t>                         getClass().getName() +</a:t>
            </a:r>
            <a:br>
              <a:rPr kumimoji="0" lang="zh-CN" altLang="zh-CN" sz="1200" b="0" i="0" u="none" strike="noStrike" cap="none" normalizeH="0" baseline="0" dirty="0" smtClean="0">
                <a:ln>
                  <a:noFill/>
                </a:ln>
                <a:solidFill>
                  <a:srgbClr val="000000"/>
                </a:solidFill>
                <a:effectLst/>
                <a:latin typeface="Ubuntu Mono" panose="020B0509030602030204" pitchFamily="49" charset="0"/>
              </a:rPr>
            </a:br>
            <a:r>
              <a:rPr kumimoji="0" lang="zh-CN" altLang="zh-CN" sz="1200" b="0" i="0" u="none" strike="noStrike" cap="none" normalizeH="0" baseline="0" dirty="0" smtClean="0">
                <a:ln>
                  <a:noFill/>
                </a:ln>
                <a:solidFill>
                  <a:srgbClr val="000000"/>
                </a:solidFill>
                <a:effectLst/>
                <a:latin typeface="Ubuntu Mono" panose="020B0509030602030204" pitchFamily="49" charset="0"/>
              </a:rPr>
              <a:t>                         </a:t>
            </a:r>
            <a:r>
              <a:rPr kumimoji="0" lang="zh-CN" altLang="zh-CN" sz="1200" b="1" i="0" u="none" strike="noStrike" cap="none" normalizeH="0" baseline="0" dirty="0" smtClean="0">
                <a:ln>
                  <a:noFill/>
                </a:ln>
                <a:solidFill>
                  <a:srgbClr val="008000"/>
                </a:solidFill>
                <a:effectLst/>
                <a:latin typeface="Ubuntu Mono" panose="020B0509030602030204" pitchFamily="49" charset="0"/>
              </a:rPr>
              <a:t>" doesn't implement Cloneable"</a:t>
            </a:r>
            <a:r>
              <a:rPr kumimoji="0" lang="zh-CN" altLang="zh-CN" sz="1200" b="0" i="0" u="none" strike="noStrike" cap="none" normalizeH="0" baseline="0" dirty="0" smtClean="0">
                <a:ln>
                  <a:noFill/>
                </a:ln>
                <a:solidFill>
                  <a:srgbClr val="000000"/>
                </a:solidFill>
                <a:effectLst/>
                <a:latin typeface="Ubuntu Mono" panose="020B0509030602030204" pitchFamily="49" charset="0"/>
              </a:rPr>
              <a:t>);</a:t>
            </a:r>
            <a:br>
              <a:rPr kumimoji="0" lang="zh-CN" altLang="zh-CN" sz="1200" b="0" i="0" u="none" strike="noStrike" cap="none" normalizeH="0" baseline="0" dirty="0" smtClean="0">
                <a:ln>
                  <a:noFill/>
                </a:ln>
                <a:solidFill>
                  <a:srgbClr val="000000"/>
                </a:solidFill>
                <a:effectLst/>
                <a:latin typeface="Ubuntu Mono" panose="020B0509030602030204" pitchFamily="49" charset="0"/>
              </a:rPr>
            </a:br>
            <a:r>
              <a:rPr kumimoji="0" lang="zh-CN" altLang="zh-CN" sz="1200" b="0" i="0" u="none" strike="noStrike" cap="none" normalizeH="0" baseline="0" dirty="0" smtClean="0">
                <a:ln>
                  <a:noFill/>
                </a:ln>
                <a:solidFill>
                  <a:srgbClr val="000000"/>
                </a:solidFill>
                <a:effectLst/>
                <a:latin typeface="Ubuntu Mono" panose="020B0509030602030204" pitchFamily="49" charset="0"/>
              </a:rPr>
              <a:t>    }</a:t>
            </a:r>
            <a:br>
              <a:rPr kumimoji="0" lang="zh-CN" altLang="zh-CN" sz="1200" b="0" i="0" u="none" strike="noStrike" cap="none" normalizeH="0" baseline="0" dirty="0" smtClean="0">
                <a:ln>
                  <a:noFill/>
                </a:ln>
                <a:solidFill>
                  <a:srgbClr val="000000"/>
                </a:solidFill>
                <a:effectLst/>
                <a:latin typeface="Ubuntu Mono" panose="020B0509030602030204" pitchFamily="49" charset="0"/>
              </a:rPr>
            </a:br>
            <a:r>
              <a:rPr kumimoji="0" lang="zh-CN" altLang="zh-CN" sz="1200" b="0" i="0" u="none" strike="noStrike" cap="none" normalizeH="0" baseline="0" dirty="0" smtClean="0">
                <a:ln>
                  <a:noFill/>
                </a:ln>
                <a:solidFill>
                  <a:srgbClr val="000000"/>
                </a:solidFill>
                <a:effectLst/>
                <a:latin typeface="Ubuntu Mono" panose="020B0509030602030204" pitchFamily="49" charset="0"/>
              </a:rPr>
              <a:t/>
            </a:r>
            <a:br>
              <a:rPr kumimoji="0" lang="zh-CN" altLang="zh-CN" sz="1200" b="0" i="0" u="none" strike="noStrike" cap="none" normalizeH="0" baseline="0" dirty="0" smtClean="0">
                <a:ln>
                  <a:noFill/>
                </a:ln>
                <a:solidFill>
                  <a:srgbClr val="000000"/>
                </a:solidFill>
                <a:effectLst/>
                <a:latin typeface="Ubuntu Mono" panose="020B0509030602030204" pitchFamily="49" charset="0"/>
              </a:rPr>
            </a:br>
            <a:r>
              <a:rPr kumimoji="0" lang="zh-CN" altLang="zh-CN" sz="1200" b="0" i="0" u="none" strike="noStrike" cap="none" normalizeH="0" baseline="0" dirty="0" smtClean="0">
                <a:ln>
                  <a:noFill/>
                </a:ln>
                <a:solidFill>
                  <a:srgbClr val="000000"/>
                </a:solidFill>
                <a:effectLst/>
                <a:latin typeface="Ubuntu Mono" panose="020B0509030602030204" pitchFamily="49" charset="0"/>
              </a:rPr>
              <a:t>    </a:t>
            </a:r>
            <a:r>
              <a:rPr kumimoji="0" lang="zh-CN" altLang="zh-CN" sz="1200" b="1" i="0" u="none" strike="noStrike" cap="none" normalizeH="0" baseline="0" dirty="0" smtClean="0">
                <a:ln>
                  <a:noFill/>
                </a:ln>
                <a:solidFill>
                  <a:srgbClr val="000080"/>
                </a:solidFill>
                <a:effectLst/>
                <a:latin typeface="Ubuntu Mono" panose="020B0509030602030204" pitchFamily="49" charset="0"/>
              </a:rPr>
              <a:t>return </a:t>
            </a:r>
            <a:r>
              <a:rPr kumimoji="0" lang="zh-CN" altLang="zh-CN" sz="1200" b="0" i="0" u="none" strike="noStrike" cap="none" normalizeH="0" baseline="0" dirty="0" smtClean="0">
                <a:ln>
                  <a:noFill/>
                </a:ln>
                <a:solidFill>
                  <a:srgbClr val="000000"/>
                </a:solidFill>
                <a:effectLst/>
                <a:latin typeface="Ubuntu Mono" panose="020B0509030602030204" pitchFamily="49" charset="0"/>
              </a:rPr>
              <a:t>internalClone();</a:t>
            </a:r>
            <a:br>
              <a:rPr kumimoji="0" lang="zh-CN" altLang="zh-CN" sz="1200" b="0" i="0" u="none" strike="noStrike" cap="none" normalizeH="0" baseline="0" dirty="0" smtClean="0">
                <a:ln>
                  <a:noFill/>
                </a:ln>
                <a:solidFill>
                  <a:srgbClr val="000000"/>
                </a:solidFill>
                <a:effectLst/>
                <a:latin typeface="Ubuntu Mono" panose="020B0509030602030204" pitchFamily="49" charset="0"/>
              </a:rPr>
            </a:br>
            <a:r>
              <a:rPr kumimoji="0" lang="zh-CN" altLang="zh-CN" sz="1200" b="0" i="0" u="none" strike="noStrike" cap="none" normalizeH="0" baseline="0" dirty="0" smtClean="0">
                <a:ln>
                  <a:noFill/>
                </a:ln>
                <a:solidFill>
                  <a:srgbClr val="000000"/>
                </a:solidFill>
                <a:effectLst/>
                <a:latin typeface="Ubuntu Mono" panose="020B0509030602030204" pitchFamily="49" charset="0"/>
              </a:rPr>
              <a:t>}</a:t>
            </a:r>
            <a:br>
              <a:rPr kumimoji="0" lang="zh-CN" altLang="zh-CN" sz="1200" b="0" i="0" u="none" strike="noStrike" cap="none" normalizeH="0" baseline="0" dirty="0" smtClean="0">
                <a:ln>
                  <a:noFill/>
                </a:ln>
                <a:solidFill>
                  <a:srgbClr val="000000"/>
                </a:solidFill>
                <a:effectLst/>
                <a:latin typeface="Ubuntu Mono" panose="020B0509030602030204" pitchFamily="49" charset="0"/>
              </a:rPr>
            </a:br>
            <a:r>
              <a:rPr kumimoji="0" lang="zh-CN" altLang="zh-CN" sz="1200" b="0" i="0" u="none" strike="noStrike" cap="none" normalizeH="0" baseline="0" dirty="0" smtClean="0">
                <a:ln>
                  <a:noFill/>
                </a:ln>
                <a:solidFill>
                  <a:srgbClr val="000000"/>
                </a:solidFill>
                <a:effectLst/>
                <a:latin typeface="Ubuntu Mono" panose="020B0509030602030204" pitchFamily="49" charset="0"/>
              </a:rPr>
              <a:t/>
            </a:r>
            <a:br>
              <a:rPr kumimoji="0" lang="zh-CN" altLang="zh-CN" sz="1200" b="0" i="0" u="none" strike="noStrike" cap="none" normalizeH="0" baseline="0" dirty="0" smtClean="0">
                <a:ln>
                  <a:noFill/>
                </a:ln>
                <a:solidFill>
                  <a:srgbClr val="000000"/>
                </a:solidFill>
                <a:effectLst/>
                <a:latin typeface="Ubuntu Mono" panose="020B0509030602030204" pitchFamily="49" charset="0"/>
              </a:rPr>
            </a:br>
            <a:r>
              <a:rPr kumimoji="0" lang="zh-CN" altLang="zh-CN" sz="1200" b="1" i="0" u="none" strike="noStrike" cap="none" normalizeH="0" baseline="0" dirty="0" smtClean="0">
                <a:ln>
                  <a:noFill/>
                </a:ln>
                <a:solidFill>
                  <a:srgbClr val="000080"/>
                </a:solidFill>
                <a:effectLst/>
                <a:latin typeface="Ubuntu Mono" panose="020B0509030602030204" pitchFamily="49" charset="0"/>
              </a:rPr>
              <a:t>private native </a:t>
            </a:r>
            <a:r>
              <a:rPr kumimoji="0" lang="zh-CN" altLang="zh-CN" sz="1200" b="0" i="0" u="none" strike="noStrike" cap="none" normalizeH="0" baseline="0" dirty="0" smtClean="0">
                <a:ln>
                  <a:noFill/>
                </a:ln>
                <a:solidFill>
                  <a:srgbClr val="000000"/>
                </a:solidFill>
                <a:effectLst/>
                <a:latin typeface="Ubuntu Mono" panose="020B0509030602030204" pitchFamily="49" charset="0"/>
              </a:rPr>
              <a:t>Object internalClone();</a:t>
            </a:r>
            <a:endParaRPr kumimoji="0" lang="zh-CN" altLang="zh-CN" sz="1200" b="0" i="0" u="none" strike="noStrike" cap="none" normalizeH="0" baseline="0" dirty="0" smtClean="0">
              <a:ln>
                <a:noFill/>
              </a:ln>
              <a:solidFill>
                <a:schemeClr val="tx1"/>
              </a:solidFill>
              <a:effectLst/>
              <a:latin typeface="Arial" panose="020B0604020202020204" pitchFamily="34" charset="0"/>
            </a:endParaRPr>
          </a:p>
        </p:txBody>
      </p:sp>
      <p:sp>
        <p:nvSpPr>
          <p:cNvPr id="42" name="文本框 41"/>
          <p:cNvSpPr txBox="1"/>
          <p:nvPr/>
        </p:nvSpPr>
        <p:spPr>
          <a:xfrm>
            <a:off x="8311375" y="5537110"/>
            <a:ext cx="2579649" cy="1200329"/>
          </a:xfrm>
          <a:prstGeom prst="rect">
            <a:avLst/>
          </a:prstGeom>
          <a:solidFill>
            <a:srgbClr val="FFC000">
              <a:alpha val="50000"/>
            </a:srgbClr>
          </a:solidFill>
        </p:spPr>
        <p:txBody>
          <a:bodyPr wrap="square" rtlCol="0">
            <a:spAutoFit/>
          </a:bodyPr>
          <a:lstStyle/>
          <a:p>
            <a:r>
              <a:rPr lang="en-US" altLang="zh-CN" dirty="0" smtClean="0"/>
              <a:t>art</a:t>
            </a:r>
            <a:r>
              <a:rPr lang="zh-CN" altLang="en-US" dirty="0" smtClean="0"/>
              <a:t>代码中从堆</a:t>
            </a:r>
            <a:r>
              <a:rPr lang="en-US" altLang="zh-CN" dirty="0" smtClean="0"/>
              <a:t>(Heap)</a:t>
            </a:r>
            <a:r>
              <a:rPr lang="zh-CN" altLang="en-US" dirty="0" smtClean="0"/>
              <a:t>找到对象指针，然后通过</a:t>
            </a:r>
            <a:r>
              <a:rPr lang="en-US" altLang="zh-CN" dirty="0" smtClean="0"/>
              <a:t>Visitor</a:t>
            </a:r>
            <a:r>
              <a:rPr lang="zh-CN" altLang="en-US" dirty="0" smtClean="0"/>
              <a:t>访问对象的</a:t>
            </a:r>
            <a:r>
              <a:rPr lang="en-US" altLang="zh-CN" dirty="0" smtClean="0"/>
              <a:t>Field</a:t>
            </a:r>
            <a:r>
              <a:rPr lang="zh-CN" altLang="en-US" dirty="0" smtClean="0"/>
              <a:t>进行创建。</a:t>
            </a:r>
            <a:endParaRPr lang="zh-CN" altLang="en-US" dirty="0"/>
          </a:p>
        </p:txBody>
      </p:sp>
      <p:cxnSp>
        <p:nvCxnSpPr>
          <p:cNvPr id="44" name="直接箭头连接符 43"/>
          <p:cNvCxnSpPr>
            <a:endCxn id="42" idx="1"/>
          </p:cNvCxnSpPr>
          <p:nvPr/>
        </p:nvCxnSpPr>
        <p:spPr>
          <a:xfrm>
            <a:off x="7471317" y="5858107"/>
            <a:ext cx="840058" cy="279168"/>
          </a:xfrm>
          <a:prstGeom prst="straightConnector1">
            <a:avLst/>
          </a:prstGeom>
          <a:ln w="63500" cap="flat">
            <a:solidFill>
              <a:srgbClr val="FFC000">
                <a:alpha val="50000"/>
              </a:srgbClr>
            </a:solidFill>
            <a:prstDash val="sysDash"/>
            <a:round/>
            <a:tailEnd type="triangle"/>
          </a:ln>
          <a:effectLst>
            <a:outerShdw blurRad="40000" dist="23000" dir="5400000" rotWithShape="0">
              <a:srgbClr val="000000">
                <a:alpha val="35000"/>
              </a:srgbClr>
            </a:outerShdw>
            <a:softEdge rad="0"/>
          </a:effectLst>
        </p:spPr>
        <p:style>
          <a:lnRef idx="3">
            <a:schemeClr val="accent1"/>
          </a:lnRef>
          <a:fillRef idx="0">
            <a:schemeClr val="accent1"/>
          </a:fillRef>
          <a:effectRef idx="2">
            <a:schemeClr val="accent1"/>
          </a:effectRef>
          <a:fontRef idx="minor">
            <a:schemeClr val="tx1"/>
          </a:fontRef>
        </p:style>
      </p:cxnSp>
      <p:cxnSp>
        <p:nvCxnSpPr>
          <p:cNvPr id="46" name="直接箭头连接符 45"/>
          <p:cNvCxnSpPr>
            <a:stCxn id="10" idx="3"/>
            <a:endCxn id="15" idx="1"/>
          </p:cNvCxnSpPr>
          <p:nvPr/>
        </p:nvCxnSpPr>
        <p:spPr>
          <a:xfrm flipV="1">
            <a:off x="3101149" y="2336116"/>
            <a:ext cx="1371445" cy="75767"/>
          </a:xfrm>
          <a:prstGeom prst="straightConnector1">
            <a:avLst/>
          </a:prstGeom>
          <a:ln w="63500" cap="flat">
            <a:solidFill>
              <a:srgbClr val="C00000">
                <a:alpha val="61000"/>
              </a:srgbClr>
            </a:solidFill>
            <a:prstDash val="sysDash"/>
            <a:round/>
            <a:tailEnd type="triangle"/>
          </a:ln>
          <a:effectLst>
            <a:outerShdw blurRad="40000" dist="23000" dir="5400000" rotWithShape="0">
              <a:srgbClr val="000000">
                <a:alpha val="35000"/>
              </a:srgbClr>
            </a:outerShdw>
            <a:softEdge rad="0"/>
          </a:effectLst>
        </p:spPr>
        <p:style>
          <a:lnRef idx="3">
            <a:schemeClr val="accent1"/>
          </a:lnRef>
          <a:fillRef idx="0">
            <a:schemeClr val="accent1"/>
          </a:fillRef>
          <a:effectRef idx="2">
            <a:schemeClr val="accent1"/>
          </a:effectRef>
          <a:fontRef idx="minor">
            <a:schemeClr val="tx1"/>
          </a:fontRef>
        </p:style>
      </p:cxnSp>
      <p:cxnSp>
        <p:nvCxnSpPr>
          <p:cNvPr id="47" name="直接箭头连接符 46"/>
          <p:cNvCxnSpPr/>
          <p:nvPr/>
        </p:nvCxnSpPr>
        <p:spPr>
          <a:xfrm flipV="1">
            <a:off x="3101148" y="4847187"/>
            <a:ext cx="1371445" cy="75767"/>
          </a:xfrm>
          <a:prstGeom prst="straightConnector1">
            <a:avLst/>
          </a:prstGeom>
          <a:ln w="63500" cap="flat">
            <a:solidFill>
              <a:srgbClr val="C00000">
                <a:alpha val="61000"/>
              </a:srgbClr>
            </a:solidFill>
            <a:prstDash val="sysDash"/>
            <a:round/>
            <a:tailEnd type="triangle"/>
          </a:ln>
          <a:effectLst>
            <a:outerShdw blurRad="40000" dist="23000" dir="5400000" rotWithShape="0">
              <a:srgbClr val="000000">
                <a:alpha val="35000"/>
              </a:srgbClr>
            </a:outerShdw>
            <a:softEdge rad="0"/>
          </a:effectLst>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714709528"/>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标题 1"/>
          <p:cNvSpPr>
            <a:spLocks noGrp="1"/>
          </p:cNvSpPr>
          <p:nvPr>
            <p:ph type="title"/>
          </p:nvPr>
        </p:nvSpPr>
        <p:spPr>
          <a:xfrm>
            <a:off x="1137925" y="205921"/>
            <a:ext cx="10401280" cy="695186"/>
          </a:xfrm>
        </p:spPr>
        <p:txBody>
          <a:bodyPr/>
          <a:lstStyle/>
          <a:p>
            <a:r>
              <a:rPr lang="zh-CN" altLang="en-US" sz="3200" b="0" dirty="0" smtClean="0">
                <a:latin typeface="Arial"/>
                <a:ea typeface="Microsoft YaHei"/>
                <a:cs typeface="+mn-ea"/>
                <a:sym typeface="Arial"/>
              </a:rPr>
              <a:t>构造者模式</a:t>
            </a:r>
            <a:endParaRPr lang="zh-CN" altLang="en-US" sz="3200" b="0" dirty="0">
              <a:latin typeface="Arial"/>
              <a:ea typeface="Microsoft YaHei"/>
              <a:cs typeface="+mn-ea"/>
              <a:sym typeface="Arial"/>
            </a:endParaRPr>
          </a:p>
        </p:txBody>
      </p:sp>
      <p:grpSp>
        <p:nvGrpSpPr>
          <p:cNvPr id="32" name="组合 31">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33" name="椭圆 32">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34" name="椭圆 33">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
        <p:nvSpPr>
          <p:cNvPr id="35" name="î$ḷîḓê">
            <a:extLst>
              <a:ext uri="{FF2B5EF4-FFF2-40B4-BE49-F238E27FC236}">
                <a16:creationId xmlns:a16="http://schemas.microsoft.com/office/drawing/2014/main" id="{0120662D-08EC-45F4-BE9C-84021ADB4C9A}"/>
              </a:ext>
            </a:extLst>
          </p:cNvPr>
          <p:cNvSpPr/>
          <p:nvPr/>
        </p:nvSpPr>
        <p:spPr bwMode="gray">
          <a:xfrm>
            <a:off x="7211000" y="198392"/>
            <a:ext cx="1506790" cy="480145"/>
          </a:xfrm>
          <a:prstGeom prst="rect">
            <a:avLst/>
          </a:prstGeom>
          <a:solidFill>
            <a:schemeClr val="accent1"/>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创建型模式</a:t>
            </a:r>
            <a:endParaRPr lang="en-US" altLang="zh-CN" sz="2400" dirty="0">
              <a:solidFill>
                <a:schemeClr val="bg1"/>
              </a:solidFill>
            </a:endParaRPr>
          </a:p>
        </p:txBody>
      </p:sp>
      <p:sp>
        <p:nvSpPr>
          <p:cNvPr id="36" name="î$ḷîḓê">
            <a:extLst>
              <a:ext uri="{FF2B5EF4-FFF2-40B4-BE49-F238E27FC236}">
                <a16:creationId xmlns:a16="http://schemas.microsoft.com/office/drawing/2014/main" id="{0120662D-08EC-45F4-BE9C-84021ADB4C9A}"/>
              </a:ext>
            </a:extLst>
          </p:cNvPr>
          <p:cNvSpPr/>
          <p:nvPr/>
        </p:nvSpPr>
        <p:spPr bwMode="gray">
          <a:xfrm>
            <a:off x="8749874" y="199746"/>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结构型模式</a:t>
            </a:r>
            <a:endParaRPr lang="en-US" altLang="zh-CN" sz="2400" dirty="0">
              <a:solidFill>
                <a:schemeClr val="bg1"/>
              </a:solidFill>
            </a:endParaRPr>
          </a:p>
        </p:txBody>
      </p:sp>
      <p:sp>
        <p:nvSpPr>
          <p:cNvPr id="37" name="î$ḷîḓê">
            <a:extLst>
              <a:ext uri="{FF2B5EF4-FFF2-40B4-BE49-F238E27FC236}">
                <a16:creationId xmlns:a16="http://schemas.microsoft.com/office/drawing/2014/main" id="{0120662D-08EC-45F4-BE9C-84021ADB4C9A}"/>
              </a:ext>
            </a:extLst>
          </p:cNvPr>
          <p:cNvSpPr/>
          <p:nvPr/>
        </p:nvSpPr>
        <p:spPr bwMode="gray">
          <a:xfrm>
            <a:off x="10282004" y="189695"/>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行为型模式</a:t>
            </a:r>
            <a:endParaRPr lang="en-US" altLang="zh-CN" sz="2400" dirty="0">
              <a:solidFill>
                <a:schemeClr val="bg1"/>
              </a:solidFill>
            </a:endParaRPr>
          </a:p>
        </p:txBody>
      </p:sp>
      <p:grpSp>
        <p:nvGrpSpPr>
          <p:cNvPr id="4142" name="组合 4141"/>
          <p:cNvGrpSpPr/>
          <p:nvPr/>
        </p:nvGrpSpPr>
        <p:grpSpPr>
          <a:xfrm>
            <a:off x="1137925" y="1375670"/>
            <a:ext cx="9860442" cy="4531645"/>
            <a:chOff x="1315845" y="1085384"/>
            <a:chExt cx="8460058" cy="3888059"/>
          </a:xfrm>
        </p:grpSpPr>
        <p:pic>
          <p:nvPicPr>
            <p:cNvPr id="4100" name="Picture 4" descr="Moto Xéç¨éå¤¹å±ç»æ"/>
            <p:cNvPicPr>
              <a:picLocks noChangeAspect="1" noChangeArrowheads="1"/>
            </p:cNvPicPr>
            <p:nvPr/>
          </p:nvPicPr>
          <p:blipFill rotWithShape="1">
            <a:blip r:embed="rId3">
              <a:extLst>
                <a:ext uri="{28A0092B-C50C-407E-A947-70E740481C1C}">
                  <a14:useLocalDpi xmlns:a14="http://schemas.microsoft.com/office/drawing/2010/main" val="0"/>
                </a:ext>
              </a:extLst>
            </a:blip>
            <a:srcRect l="16114" t="690" r="24912" b="1312"/>
            <a:stretch/>
          </p:blipFill>
          <p:spPr bwMode="auto">
            <a:xfrm>
              <a:off x="1315845" y="1085384"/>
              <a:ext cx="3702205" cy="3888059"/>
            </a:xfrm>
            <a:prstGeom prst="rect">
              <a:avLst/>
            </a:prstGeom>
            <a:solidFill>
              <a:srgbClr val="FF0000"/>
            </a:solidFill>
          </p:spPr>
        </p:pic>
        <p:sp>
          <p:nvSpPr>
            <p:cNvPr id="11" name="矩形 10"/>
            <p:cNvSpPr/>
            <p:nvPr/>
          </p:nvSpPr>
          <p:spPr>
            <a:xfrm>
              <a:off x="4296936" y="1665247"/>
              <a:ext cx="89210" cy="89211"/>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6" name="肘形连接符 15"/>
            <p:cNvCxnSpPr>
              <a:stCxn id="11" idx="3"/>
              <a:endCxn id="20" idx="1"/>
            </p:cNvCxnSpPr>
            <p:nvPr/>
          </p:nvCxnSpPr>
          <p:spPr>
            <a:xfrm>
              <a:off x="4386146" y="1709853"/>
              <a:ext cx="1970050" cy="1"/>
            </a:xfrm>
            <a:prstGeom prst="bentConnector3">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圆角矩形 19"/>
            <p:cNvSpPr/>
            <p:nvPr/>
          </p:nvSpPr>
          <p:spPr>
            <a:xfrm>
              <a:off x="6356196" y="1546303"/>
              <a:ext cx="1159726" cy="327102"/>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触摸屏</a:t>
              </a:r>
            </a:p>
          </p:txBody>
        </p:sp>
        <p:sp>
          <p:nvSpPr>
            <p:cNvPr id="21" name="矩形 20"/>
            <p:cNvSpPr/>
            <p:nvPr/>
          </p:nvSpPr>
          <p:spPr>
            <a:xfrm>
              <a:off x="4304370" y="2148468"/>
              <a:ext cx="96643" cy="96643"/>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圆角矩形 21"/>
            <p:cNvSpPr/>
            <p:nvPr/>
          </p:nvSpPr>
          <p:spPr>
            <a:xfrm>
              <a:off x="6356196" y="2022088"/>
              <a:ext cx="1159727" cy="355601"/>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t>液晶屏</a:t>
              </a:r>
              <a:endParaRPr lang="zh-CN" altLang="en-US" dirty="0"/>
            </a:p>
          </p:txBody>
        </p:sp>
        <p:cxnSp>
          <p:nvCxnSpPr>
            <p:cNvPr id="24" name="肘形连接符 23"/>
            <p:cNvCxnSpPr>
              <a:stCxn id="21" idx="3"/>
              <a:endCxn id="22" idx="1"/>
            </p:cNvCxnSpPr>
            <p:nvPr/>
          </p:nvCxnSpPr>
          <p:spPr>
            <a:xfrm>
              <a:off x="4401013" y="2196790"/>
              <a:ext cx="1955183" cy="3099"/>
            </a:xfrm>
            <a:prstGeom prst="bentConnector3">
              <a:avLst>
                <a:gd name="adj1" fmla="val 50000"/>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sp>
          <p:nvSpPr>
            <p:cNvPr id="27" name="圆角矩形 26"/>
            <p:cNvSpPr/>
            <p:nvPr/>
          </p:nvSpPr>
          <p:spPr>
            <a:xfrm>
              <a:off x="6356195" y="2562304"/>
              <a:ext cx="1189463" cy="3048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t>外壳</a:t>
              </a:r>
              <a:endParaRPr lang="zh-CN" altLang="en-US" dirty="0"/>
            </a:p>
          </p:txBody>
        </p:sp>
        <p:sp>
          <p:nvSpPr>
            <p:cNvPr id="28" name="矩形 27"/>
            <p:cNvSpPr/>
            <p:nvPr/>
          </p:nvSpPr>
          <p:spPr>
            <a:xfrm>
              <a:off x="4356410" y="2668327"/>
              <a:ext cx="96644" cy="89741"/>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0" name="肘形连接符 29"/>
            <p:cNvCxnSpPr>
              <a:stCxn id="28" idx="3"/>
              <a:endCxn id="27" idx="1"/>
            </p:cNvCxnSpPr>
            <p:nvPr/>
          </p:nvCxnSpPr>
          <p:spPr>
            <a:xfrm>
              <a:off x="4453054" y="2713198"/>
              <a:ext cx="1903141" cy="1506"/>
            </a:xfrm>
            <a:prstGeom prst="bentConnector3">
              <a:avLst>
                <a:gd name="adj1" fmla="val 50000"/>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sp>
          <p:nvSpPr>
            <p:cNvPr id="39" name="矩形 38"/>
            <p:cNvSpPr/>
            <p:nvPr/>
          </p:nvSpPr>
          <p:spPr>
            <a:xfrm>
              <a:off x="4215161" y="3167657"/>
              <a:ext cx="104079" cy="11823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圆角矩形 47"/>
            <p:cNvSpPr/>
            <p:nvPr/>
          </p:nvSpPr>
          <p:spPr>
            <a:xfrm>
              <a:off x="6356196" y="3051719"/>
              <a:ext cx="1174595" cy="34568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主板</a:t>
              </a:r>
            </a:p>
          </p:txBody>
        </p:sp>
        <p:cxnSp>
          <p:nvCxnSpPr>
            <p:cNvPr id="50" name="肘形连接符 49"/>
            <p:cNvCxnSpPr>
              <a:stCxn id="39" idx="3"/>
              <a:endCxn id="48" idx="1"/>
            </p:cNvCxnSpPr>
            <p:nvPr/>
          </p:nvCxnSpPr>
          <p:spPr>
            <a:xfrm flipV="1">
              <a:off x="4319240" y="3224562"/>
              <a:ext cx="2036956" cy="2214"/>
            </a:xfrm>
            <a:prstGeom prst="bentConnector3">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sp>
          <p:nvSpPr>
            <p:cNvPr id="51" name="圆角矩形 50"/>
            <p:cNvSpPr/>
            <p:nvPr/>
          </p:nvSpPr>
          <p:spPr>
            <a:xfrm>
              <a:off x="6356195" y="3556002"/>
              <a:ext cx="1182029" cy="36179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t>电池</a:t>
              </a:r>
              <a:endParaRPr lang="zh-CN" altLang="en-US" dirty="0"/>
            </a:p>
          </p:txBody>
        </p:sp>
        <p:sp>
          <p:nvSpPr>
            <p:cNvPr id="52" name="矩形 51"/>
            <p:cNvSpPr/>
            <p:nvPr/>
          </p:nvSpPr>
          <p:spPr>
            <a:xfrm>
              <a:off x="3603800" y="3679902"/>
              <a:ext cx="115817" cy="11894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4" name="肘形连接符 53"/>
            <p:cNvCxnSpPr>
              <a:stCxn id="52" idx="3"/>
              <a:endCxn id="51" idx="1"/>
            </p:cNvCxnSpPr>
            <p:nvPr/>
          </p:nvCxnSpPr>
          <p:spPr>
            <a:xfrm flipV="1">
              <a:off x="3719617" y="3736899"/>
              <a:ext cx="2636578" cy="2477"/>
            </a:xfrm>
            <a:prstGeom prst="bentConnector3">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sp>
          <p:nvSpPr>
            <p:cNvPr id="55" name="圆角矩形 54"/>
            <p:cNvSpPr/>
            <p:nvPr/>
          </p:nvSpPr>
          <p:spPr>
            <a:xfrm>
              <a:off x="6356196" y="4015680"/>
              <a:ext cx="1174595" cy="3048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t>后</a:t>
              </a:r>
              <a:r>
                <a:rPr lang="zh-CN" altLang="en-US" dirty="0"/>
                <a:t>壳</a:t>
              </a:r>
            </a:p>
          </p:txBody>
        </p:sp>
        <p:sp>
          <p:nvSpPr>
            <p:cNvPr id="56" name="矩形 55"/>
            <p:cNvSpPr/>
            <p:nvPr/>
          </p:nvSpPr>
          <p:spPr>
            <a:xfrm>
              <a:off x="4148255" y="4103649"/>
              <a:ext cx="126380" cy="126380"/>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8" name="肘形连接符 57"/>
            <p:cNvCxnSpPr>
              <a:stCxn id="56" idx="3"/>
              <a:endCxn id="55" idx="1"/>
            </p:cNvCxnSpPr>
            <p:nvPr/>
          </p:nvCxnSpPr>
          <p:spPr>
            <a:xfrm>
              <a:off x="4274635" y="4166839"/>
              <a:ext cx="2081561" cy="1241"/>
            </a:xfrm>
            <a:prstGeom prst="bentConnector3">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sp>
          <p:nvSpPr>
            <p:cNvPr id="59" name="圆角矩形 58"/>
            <p:cNvSpPr/>
            <p:nvPr/>
          </p:nvSpPr>
          <p:spPr>
            <a:xfrm>
              <a:off x="6385931" y="4572000"/>
              <a:ext cx="1152293" cy="371707"/>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t>后盖</a:t>
              </a:r>
              <a:endParaRPr lang="zh-CN" altLang="en-US" dirty="0"/>
            </a:p>
          </p:txBody>
        </p:sp>
        <p:sp>
          <p:nvSpPr>
            <p:cNvPr id="60" name="矩形 59"/>
            <p:cNvSpPr/>
            <p:nvPr/>
          </p:nvSpPr>
          <p:spPr>
            <a:xfrm>
              <a:off x="3709639" y="4690947"/>
              <a:ext cx="133815" cy="133815"/>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2" name="肘形连接符 61"/>
            <p:cNvCxnSpPr>
              <a:stCxn id="60" idx="3"/>
              <a:endCxn id="59" idx="1"/>
            </p:cNvCxnSpPr>
            <p:nvPr/>
          </p:nvCxnSpPr>
          <p:spPr>
            <a:xfrm flipV="1">
              <a:off x="3843454" y="4757854"/>
              <a:ext cx="2542477" cy="1"/>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4137" name="右大括号 4136"/>
            <p:cNvSpPr/>
            <p:nvPr/>
          </p:nvSpPr>
          <p:spPr>
            <a:xfrm>
              <a:off x="7790986" y="1494263"/>
              <a:ext cx="840058" cy="2899317"/>
            </a:xfrm>
            <a:prstGeom prst="rightBrace">
              <a:avLst>
                <a:gd name="adj1" fmla="val 82247"/>
                <a:gd name="adj2" fmla="val 51826"/>
              </a:avLst>
            </a:prstGeom>
            <a:ln w="38100" cmpd="sng"/>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4138" name="文本框 4137"/>
            <p:cNvSpPr txBox="1"/>
            <p:nvPr/>
          </p:nvSpPr>
          <p:spPr>
            <a:xfrm>
              <a:off x="8690519" y="2312019"/>
              <a:ext cx="1085384" cy="1477328"/>
            </a:xfrm>
            <a:prstGeom prst="rect">
              <a:avLst/>
            </a:prstGeom>
            <a:noFill/>
          </p:spPr>
          <p:txBody>
            <a:bodyPr wrap="square" rtlCol="0">
              <a:spAutoFit/>
            </a:bodyPr>
            <a:lstStyle/>
            <a:p>
              <a:r>
                <a:rPr lang="zh-CN" altLang="en-US" dirty="0" smtClean="0"/>
                <a:t>核心部分，要保证构建的整体性。</a:t>
              </a:r>
              <a:endParaRPr lang="zh-CN" altLang="en-US" dirty="0"/>
            </a:p>
          </p:txBody>
        </p:sp>
      </p:grpSp>
    </p:spTree>
    <p:extLst>
      <p:ext uri="{BB962C8B-B14F-4D97-AF65-F5344CB8AC3E}">
        <p14:creationId xmlns:p14="http://schemas.microsoft.com/office/powerpoint/2010/main" val="746180516"/>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标题 1"/>
          <p:cNvSpPr>
            <a:spLocks noGrp="1"/>
          </p:cNvSpPr>
          <p:nvPr>
            <p:ph type="title"/>
          </p:nvPr>
        </p:nvSpPr>
        <p:spPr>
          <a:xfrm>
            <a:off x="1137925" y="205921"/>
            <a:ext cx="10401280" cy="695186"/>
          </a:xfrm>
        </p:spPr>
        <p:txBody>
          <a:bodyPr/>
          <a:lstStyle/>
          <a:p>
            <a:r>
              <a:rPr lang="zh-CN" altLang="en-US" sz="3200" b="0" dirty="0" smtClean="0">
                <a:latin typeface="Arial"/>
                <a:ea typeface="Microsoft YaHei"/>
                <a:cs typeface="+mn-ea"/>
                <a:sym typeface="Arial"/>
              </a:rPr>
              <a:t>构造者模式</a:t>
            </a:r>
            <a:endParaRPr lang="zh-CN" altLang="en-US" sz="3200" b="0" dirty="0">
              <a:latin typeface="Arial"/>
              <a:ea typeface="Microsoft YaHei"/>
              <a:cs typeface="+mn-ea"/>
              <a:sym typeface="Arial"/>
            </a:endParaRPr>
          </a:p>
        </p:txBody>
      </p:sp>
      <p:grpSp>
        <p:nvGrpSpPr>
          <p:cNvPr id="32" name="组合 31">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33" name="椭圆 32">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34" name="椭圆 33">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
        <p:nvSpPr>
          <p:cNvPr id="35" name="î$ḷîḓê">
            <a:extLst>
              <a:ext uri="{FF2B5EF4-FFF2-40B4-BE49-F238E27FC236}">
                <a16:creationId xmlns:a16="http://schemas.microsoft.com/office/drawing/2014/main" id="{0120662D-08EC-45F4-BE9C-84021ADB4C9A}"/>
              </a:ext>
            </a:extLst>
          </p:cNvPr>
          <p:cNvSpPr/>
          <p:nvPr/>
        </p:nvSpPr>
        <p:spPr bwMode="gray">
          <a:xfrm>
            <a:off x="7211000" y="198392"/>
            <a:ext cx="1506790" cy="480145"/>
          </a:xfrm>
          <a:prstGeom prst="rect">
            <a:avLst/>
          </a:prstGeom>
          <a:solidFill>
            <a:schemeClr val="accent1"/>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创建型模式</a:t>
            </a:r>
            <a:endParaRPr lang="en-US" altLang="zh-CN" sz="2400" dirty="0">
              <a:solidFill>
                <a:schemeClr val="bg1"/>
              </a:solidFill>
            </a:endParaRPr>
          </a:p>
        </p:txBody>
      </p:sp>
      <p:sp>
        <p:nvSpPr>
          <p:cNvPr id="36" name="î$ḷîḓê">
            <a:extLst>
              <a:ext uri="{FF2B5EF4-FFF2-40B4-BE49-F238E27FC236}">
                <a16:creationId xmlns:a16="http://schemas.microsoft.com/office/drawing/2014/main" id="{0120662D-08EC-45F4-BE9C-84021ADB4C9A}"/>
              </a:ext>
            </a:extLst>
          </p:cNvPr>
          <p:cNvSpPr/>
          <p:nvPr/>
        </p:nvSpPr>
        <p:spPr bwMode="gray">
          <a:xfrm>
            <a:off x="8749874" y="199746"/>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结构型模式</a:t>
            </a:r>
            <a:endParaRPr lang="en-US" altLang="zh-CN" sz="2400" dirty="0">
              <a:solidFill>
                <a:schemeClr val="bg1"/>
              </a:solidFill>
            </a:endParaRPr>
          </a:p>
        </p:txBody>
      </p:sp>
      <p:sp>
        <p:nvSpPr>
          <p:cNvPr id="37" name="î$ḷîḓê">
            <a:extLst>
              <a:ext uri="{FF2B5EF4-FFF2-40B4-BE49-F238E27FC236}">
                <a16:creationId xmlns:a16="http://schemas.microsoft.com/office/drawing/2014/main" id="{0120662D-08EC-45F4-BE9C-84021ADB4C9A}"/>
              </a:ext>
            </a:extLst>
          </p:cNvPr>
          <p:cNvSpPr/>
          <p:nvPr/>
        </p:nvSpPr>
        <p:spPr bwMode="gray">
          <a:xfrm>
            <a:off x="10282004" y="189695"/>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行为型模式</a:t>
            </a:r>
            <a:endParaRPr lang="en-US" altLang="zh-CN" sz="2400" dirty="0">
              <a:solidFill>
                <a:schemeClr val="bg1"/>
              </a:solidFill>
            </a:endParaRPr>
          </a:p>
        </p:txBody>
      </p:sp>
      <p:grpSp>
        <p:nvGrpSpPr>
          <p:cNvPr id="4" name="组合 3"/>
          <p:cNvGrpSpPr/>
          <p:nvPr/>
        </p:nvGrpSpPr>
        <p:grpSpPr>
          <a:xfrm>
            <a:off x="813925" y="1805755"/>
            <a:ext cx="8131577" cy="3777289"/>
            <a:chOff x="876300" y="1188721"/>
            <a:chExt cx="10547767" cy="4899660"/>
          </a:xfrm>
        </p:grpSpPr>
        <p:pic>
          <p:nvPicPr>
            <p:cNvPr id="7170" name="Picture 2" descr="../_images/Builder.jpg"/>
            <p:cNvPicPr>
              <a:picLocks noChangeAspect="1" noChangeArrowheads="1"/>
            </p:cNvPicPr>
            <p:nvPr/>
          </p:nvPicPr>
          <p:blipFill rotWithShape="1">
            <a:blip r:embed="rId3">
              <a:extLst>
                <a:ext uri="{28A0092B-C50C-407E-A947-70E740481C1C}">
                  <a14:useLocalDpi xmlns:a14="http://schemas.microsoft.com/office/drawing/2010/main" val="0"/>
                </a:ext>
              </a:extLst>
            </a:blip>
            <a:srcRect l="588" t="1164" r="791" b="1267"/>
            <a:stretch/>
          </p:blipFill>
          <p:spPr bwMode="auto">
            <a:xfrm>
              <a:off x="876300" y="1188721"/>
              <a:ext cx="10447020" cy="4899660"/>
            </a:xfrm>
            <a:prstGeom prst="rect">
              <a:avLst/>
            </a:prstGeom>
            <a:noFill/>
            <a:extLst>
              <a:ext uri="{909E8E84-426E-40DD-AFC4-6F175D3DCCD1}">
                <a14:hiddenFill xmlns:a14="http://schemas.microsoft.com/office/drawing/2010/main">
                  <a:solidFill>
                    <a:srgbClr val="FFFFFF"/>
                  </a:solidFill>
                </a14:hiddenFill>
              </a:ext>
            </a:extLst>
          </p:spPr>
        </p:pic>
        <p:sp>
          <p:nvSpPr>
            <p:cNvPr id="2" name="圆角矩形 1"/>
            <p:cNvSpPr/>
            <p:nvPr/>
          </p:nvSpPr>
          <p:spPr>
            <a:xfrm>
              <a:off x="5702300" y="3962400"/>
              <a:ext cx="5219700" cy="1892300"/>
            </a:xfrm>
            <a:prstGeom prst="roundRect">
              <a:avLst/>
            </a:prstGeom>
            <a:noFill/>
            <a:ln w="63500">
              <a:solidFill>
                <a:srgbClr val="E169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矩形 2"/>
            <p:cNvSpPr/>
            <p:nvPr/>
          </p:nvSpPr>
          <p:spPr>
            <a:xfrm>
              <a:off x="8623300" y="2302160"/>
              <a:ext cx="2800767" cy="923330"/>
            </a:xfrm>
            <a:prstGeom prst="rect">
              <a:avLst/>
            </a:prstGeom>
            <a:noFill/>
          </p:spPr>
          <p:txBody>
            <a:bodyPr wrap="none" lIns="91440" tIns="45720" rIns="91440" bIns="45720">
              <a:spAutoFit/>
            </a:bodyPr>
            <a:lstStyle/>
            <a:p>
              <a:pPr algn="ctr"/>
              <a:r>
                <a:rPr lang="zh-CN" altLang="en-US" sz="2400" b="0" cap="none" spc="0" dirty="0" smtClean="0">
                  <a:ln w="0"/>
                  <a:solidFill>
                    <a:schemeClr val="accent1"/>
                  </a:solidFill>
                  <a:effectLst>
                    <a:outerShdw blurRad="38100" dist="25400" dir="5400000" algn="ctr" rotWithShape="0">
                      <a:srgbClr val="6E747A">
                        <a:alpha val="43000"/>
                      </a:srgbClr>
                    </a:outerShdw>
                  </a:effectLst>
                </a:rPr>
                <a:t>产品属性</a:t>
              </a:r>
              <a:r>
                <a:rPr lang="zh-CN" altLang="en-US" sz="5400" b="0" cap="none" spc="0" dirty="0" smtClean="0">
                  <a:ln w="0"/>
                  <a:solidFill>
                    <a:schemeClr val="accent1">
                      <a:lumMod val="75000"/>
                    </a:schemeClr>
                  </a:solidFill>
                  <a:effectLst>
                    <a:outerShdw blurRad="38100" dist="25400" dir="5400000" algn="ctr" rotWithShape="0">
                      <a:srgbClr val="6E747A">
                        <a:alpha val="43000"/>
                      </a:srgbClr>
                    </a:outerShdw>
                  </a:effectLst>
                  <a:latin typeface="华文行楷" panose="02010800040101010101" pitchFamily="2" charset="-122"/>
                  <a:ea typeface="华文行楷" panose="02010800040101010101" pitchFamily="2" charset="-122"/>
                </a:rPr>
                <a:t>完整</a:t>
              </a:r>
              <a:endParaRPr lang="zh-CN" altLang="en-US" sz="5400" b="0" cap="none" spc="0" dirty="0">
                <a:ln w="0"/>
                <a:solidFill>
                  <a:schemeClr val="accent1">
                    <a:lumMod val="75000"/>
                  </a:schemeClr>
                </a:solidFill>
                <a:effectLst>
                  <a:outerShdw blurRad="38100" dist="25400" dir="5400000" algn="ctr" rotWithShape="0">
                    <a:srgbClr val="6E747A">
                      <a:alpha val="43000"/>
                    </a:srgbClr>
                  </a:outerShdw>
                </a:effectLst>
                <a:latin typeface="华文行楷" panose="02010800040101010101" pitchFamily="2" charset="-122"/>
                <a:ea typeface="华文行楷" panose="02010800040101010101" pitchFamily="2" charset="-122"/>
              </a:endParaRPr>
            </a:p>
          </p:txBody>
        </p:sp>
        <p:cxnSp>
          <p:nvCxnSpPr>
            <p:cNvPr id="7" name="直接箭头连接符 6"/>
            <p:cNvCxnSpPr>
              <a:stCxn id="2" idx="0"/>
            </p:cNvCxnSpPr>
            <p:nvPr/>
          </p:nvCxnSpPr>
          <p:spPr>
            <a:xfrm flipV="1">
              <a:off x="8312150" y="3136900"/>
              <a:ext cx="311150" cy="825500"/>
            </a:xfrm>
            <a:prstGeom prst="straightConnector1">
              <a:avLst/>
            </a:prstGeom>
            <a:ln w="63500">
              <a:solidFill>
                <a:srgbClr val="E1691F"/>
              </a:solidFill>
              <a:tailEnd type="triangle"/>
            </a:ln>
          </p:spPr>
          <p:style>
            <a:lnRef idx="1">
              <a:schemeClr val="accent1"/>
            </a:lnRef>
            <a:fillRef idx="0">
              <a:schemeClr val="accent1"/>
            </a:fillRef>
            <a:effectRef idx="0">
              <a:schemeClr val="accent1"/>
            </a:effectRef>
            <a:fontRef idx="minor">
              <a:schemeClr val="tx1"/>
            </a:fontRef>
          </p:style>
        </p:cxnSp>
      </p:grpSp>
      <p:sp>
        <p:nvSpPr>
          <p:cNvPr id="5" name="文本框 4"/>
          <p:cNvSpPr txBox="1"/>
          <p:nvPr/>
        </p:nvSpPr>
        <p:spPr>
          <a:xfrm>
            <a:off x="9503269" y="2887199"/>
            <a:ext cx="2035936" cy="1477328"/>
          </a:xfrm>
          <a:prstGeom prst="rect">
            <a:avLst/>
          </a:prstGeom>
          <a:noFill/>
        </p:spPr>
        <p:txBody>
          <a:bodyPr wrap="square" rtlCol="0">
            <a:spAutoFit/>
          </a:bodyPr>
          <a:lstStyle/>
          <a:p>
            <a:r>
              <a:rPr lang="zh-CN" altLang="en-US" dirty="0" smtClean="0"/>
              <a:t>常用构造者模式创建的对象：</a:t>
            </a:r>
            <a:endParaRPr lang="en-US" altLang="zh-CN" dirty="0" smtClean="0"/>
          </a:p>
          <a:p>
            <a:endParaRPr lang="en-US" altLang="zh-CN" dirty="0"/>
          </a:p>
          <a:p>
            <a:r>
              <a:rPr lang="en-US" altLang="zh-CN" dirty="0" err="1" smtClean="0"/>
              <a:t>StringBuilder</a:t>
            </a:r>
            <a:r>
              <a:rPr lang="zh-CN" altLang="en-US" dirty="0" smtClean="0"/>
              <a:t>、</a:t>
            </a:r>
            <a:endParaRPr lang="en-US" altLang="zh-CN" dirty="0" smtClean="0"/>
          </a:p>
          <a:p>
            <a:r>
              <a:rPr lang="en-US" altLang="zh-CN" dirty="0" err="1" smtClean="0"/>
              <a:t>Diaolog</a:t>
            </a:r>
            <a:r>
              <a:rPr lang="zh-CN" altLang="en-US" dirty="0"/>
              <a:t>等</a:t>
            </a:r>
          </a:p>
        </p:txBody>
      </p:sp>
    </p:spTree>
    <p:extLst>
      <p:ext uri="{BB962C8B-B14F-4D97-AF65-F5344CB8AC3E}">
        <p14:creationId xmlns:p14="http://schemas.microsoft.com/office/powerpoint/2010/main" val="3471100749"/>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标题 1"/>
          <p:cNvSpPr>
            <a:spLocks noGrp="1"/>
          </p:cNvSpPr>
          <p:nvPr>
            <p:ph type="title"/>
          </p:nvPr>
        </p:nvSpPr>
        <p:spPr>
          <a:xfrm>
            <a:off x="1137925" y="205921"/>
            <a:ext cx="10401280" cy="695186"/>
          </a:xfrm>
        </p:spPr>
        <p:txBody>
          <a:bodyPr/>
          <a:lstStyle/>
          <a:p>
            <a:r>
              <a:rPr lang="zh-CN" altLang="en-US" sz="3200" b="0" dirty="0">
                <a:latin typeface="Arial"/>
                <a:ea typeface="Microsoft YaHei"/>
                <a:cs typeface="+mn-ea"/>
                <a:sym typeface="Arial"/>
              </a:rPr>
              <a:t>单</a:t>
            </a:r>
            <a:r>
              <a:rPr lang="zh-CN" altLang="en-US" sz="3200" b="0" dirty="0" smtClean="0">
                <a:latin typeface="Arial"/>
                <a:ea typeface="Microsoft YaHei"/>
                <a:cs typeface="+mn-ea"/>
                <a:sym typeface="Arial"/>
              </a:rPr>
              <a:t>例模式</a:t>
            </a:r>
            <a:endParaRPr lang="zh-CN" altLang="en-US" sz="3200" b="0" dirty="0">
              <a:latin typeface="Arial"/>
              <a:ea typeface="Microsoft YaHei"/>
              <a:cs typeface="+mn-ea"/>
              <a:sym typeface="Arial"/>
            </a:endParaRPr>
          </a:p>
        </p:txBody>
      </p:sp>
      <p:grpSp>
        <p:nvGrpSpPr>
          <p:cNvPr id="32" name="组合 31">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33" name="椭圆 32">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34" name="椭圆 33">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
        <p:nvSpPr>
          <p:cNvPr id="35" name="î$ḷîḓê">
            <a:extLst>
              <a:ext uri="{FF2B5EF4-FFF2-40B4-BE49-F238E27FC236}">
                <a16:creationId xmlns:a16="http://schemas.microsoft.com/office/drawing/2014/main" id="{0120662D-08EC-45F4-BE9C-84021ADB4C9A}"/>
              </a:ext>
            </a:extLst>
          </p:cNvPr>
          <p:cNvSpPr/>
          <p:nvPr/>
        </p:nvSpPr>
        <p:spPr bwMode="gray">
          <a:xfrm>
            <a:off x="7211000" y="198392"/>
            <a:ext cx="1506790" cy="480145"/>
          </a:xfrm>
          <a:prstGeom prst="rect">
            <a:avLst/>
          </a:prstGeom>
          <a:solidFill>
            <a:schemeClr val="accent1"/>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创建型模式</a:t>
            </a:r>
            <a:endParaRPr lang="en-US" altLang="zh-CN" sz="2400" dirty="0">
              <a:solidFill>
                <a:schemeClr val="bg1"/>
              </a:solidFill>
            </a:endParaRPr>
          </a:p>
        </p:txBody>
      </p:sp>
      <p:sp>
        <p:nvSpPr>
          <p:cNvPr id="36" name="î$ḷîḓê">
            <a:extLst>
              <a:ext uri="{FF2B5EF4-FFF2-40B4-BE49-F238E27FC236}">
                <a16:creationId xmlns:a16="http://schemas.microsoft.com/office/drawing/2014/main" id="{0120662D-08EC-45F4-BE9C-84021ADB4C9A}"/>
              </a:ext>
            </a:extLst>
          </p:cNvPr>
          <p:cNvSpPr/>
          <p:nvPr/>
        </p:nvSpPr>
        <p:spPr bwMode="gray">
          <a:xfrm>
            <a:off x="8749874" y="199746"/>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结构型模式</a:t>
            </a:r>
            <a:endParaRPr lang="en-US" altLang="zh-CN" sz="2400" dirty="0">
              <a:solidFill>
                <a:schemeClr val="bg1"/>
              </a:solidFill>
            </a:endParaRPr>
          </a:p>
        </p:txBody>
      </p:sp>
      <p:sp>
        <p:nvSpPr>
          <p:cNvPr id="37" name="î$ḷîḓê">
            <a:extLst>
              <a:ext uri="{FF2B5EF4-FFF2-40B4-BE49-F238E27FC236}">
                <a16:creationId xmlns:a16="http://schemas.microsoft.com/office/drawing/2014/main" id="{0120662D-08EC-45F4-BE9C-84021ADB4C9A}"/>
              </a:ext>
            </a:extLst>
          </p:cNvPr>
          <p:cNvSpPr/>
          <p:nvPr/>
        </p:nvSpPr>
        <p:spPr bwMode="gray">
          <a:xfrm>
            <a:off x="10282004" y="189695"/>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行为型模式</a:t>
            </a:r>
            <a:endParaRPr lang="en-US" altLang="zh-CN" sz="2400" dirty="0">
              <a:solidFill>
                <a:schemeClr val="bg1"/>
              </a:solidFill>
            </a:endParaRPr>
          </a:p>
        </p:txBody>
      </p:sp>
      <p:grpSp>
        <p:nvGrpSpPr>
          <p:cNvPr id="16" name="组合 15"/>
          <p:cNvGrpSpPr/>
          <p:nvPr/>
        </p:nvGrpSpPr>
        <p:grpSpPr>
          <a:xfrm>
            <a:off x="813925" y="1702419"/>
            <a:ext cx="6886006" cy="3997734"/>
            <a:chOff x="1092200" y="1219200"/>
            <a:chExt cx="8105610" cy="4705787"/>
          </a:xfrm>
        </p:grpSpPr>
        <p:grpSp>
          <p:nvGrpSpPr>
            <p:cNvPr id="10" name="组合 9"/>
            <p:cNvGrpSpPr/>
            <p:nvPr/>
          </p:nvGrpSpPr>
          <p:grpSpPr>
            <a:xfrm>
              <a:off x="1092200" y="1219200"/>
              <a:ext cx="8105610" cy="4705787"/>
              <a:chOff x="1092200" y="1219200"/>
              <a:chExt cx="9992763" cy="5801392"/>
            </a:xfrm>
          </p:grpSpPr>
          <p:grpSp>
            <p:nvGrpSpPr>
              <p:cNvPr id="4" name="组合 3"/>
              <p:cNvGrpSpPr/>
              <p:nvPr/>
            </p:nvGrpSpPr>
            <p:grpSpPr>
              <a:xfrm>
                <a:off x="1092200" y="1219200"/>
                <a:ext cx="9992763" cy="5801392"/>
                <a:chOff x="1092200" y="1219200"/>
                <a:chExt cx="9992763" cy="5801392"/>
              </a:xfrm>
            </p:grpSpPr>
            <p:pic>
              <p:nvPicPr>
                <p:cNvPr id="8194" name="Picture 2" descr="../_images/Singleton.jpg"/>
                <p:cNvPicPr>
                  <a:picLocks noChangeAspect="1" noChangeArrowheads="1"/>
                </p:cNvPicPr>
                <p:nvPr/>
              </p:nvPicPr>
              <p:blipFill rotWithShape="1">
                <a:blip r:embed="rId3">
                  <a:extLst>
                    <a:ext uri="{28A0092B-C50C-407E-A947-70E740481C1C}">
                      <a14:useLocalDpi xmlns:a14="http://schemas.microsoft.com/office/drawing/2010/main" val="0"/>
                    </a:ext>
                  </a:extLst>
                </a:blip>
                <a:srcRect l="975" t="1776" r="1075" b="2345"/>
                <a:stretch/>
              </p:blipFill>
              <p:spPr bwMode="auto">
                <a:xfrm>
                  <a:off x="1092200" y="1219200"/>
                  <a:ext cx="9880600" cy="4800600"/>
                </a:xfrm>
                <a:prstGeom prst="rect">
                  <a:avLst/>
                </a:prstGeom>
                <a:noFill/>
                <a:extLst>
                  <a:ext uri="{909E8E84-426E-40DD-AFC4-6F175D3DCCD1}">
                    <a14:hiddenFill xmlns:a14="http://schemas.microsoft.com/office/drawing/2010/main">
                      <a:solidFill>
                        <a:srgbClr val="FFFFFF"/>
                      </a:solidFill>
                    </a14:hiddenFill>
                  </a:ext>
                </a:extLst>
              </p:spPr>
            </p:pic>
            <p:sp>
              <p:nvSpPr>
                <p:cNvPr id="3" name="矩形 2"/>
                <p:cNvSpPr/>
                <p:nvPr/>
              </p:nvSpPr>
              <p:spPr>
                <a:xfrm>
                  <a:off x="6350620" y="5814674"/>
                  <a:ext cx="4734343" cy="1205918"/>
                </a:xfrm>
                <a:prstGeom prst="rect">
                  <a:avLst/>
                </a:prstGeom>
                <a:noFill/>
              </p:spPr>
              <p:txBody>
                <a:bodyPr wrap="none" lIns="91440" tIns="45720" rIns="91440" bIns="45720">
                  <a:spAutoFit/>
                </a:bodyPr>
                <a:lstStyle/>
                <a:p>
                  <a:pPr algn="ctr"/>
                  <a:r>
                    <a:rPr lang="zh-CN" altLang="en-US" sz="2400" b="0" cap="none" spc="0" dirty="0" smtClean="0">
                      <a:ln w="0"/>
                      <a:solidFill>
                        <a:schemeClr val="accent1"/>
                      </a:solidFill>
                      <a:effectLst>
                        <a:outerShdw blurRad="38100" dist="25400" dir="5400000" algn="ctr" rotWithShape="0">
                          <a:srgbClr val="6E747A">
                            <a:alpha val="43000"/>
                          </a:srgbClr>
                        </a:outerShdw>
                      </a:effectLst>
                    </a:rPr>
                    <a:t>对象</a:t>
                  </a:r>
                  <a:r>
                    <a:rPr lang="zh-CN" altLang="en-US" sz="4800" b="0" cap="none" spc="0" dirty="0" smtClean="0">
                      <a:ln w="0"/>
                      <a:solidFill>
                        <a:schemeClr val="accent1">
                          <a:lumMod val="50000"/>
                        </a:schemeClr>
                      </a:solidFill>
                      <a:effectLst>
                        <a:outerShdw blurRad="38100" dist="25400" dir="5400000" algn="ctr" rotWithShape="0">
                          <a:srgbClr val="6E747A">
                            <a:alpha val="43000"/>
                          </a:srgbClr>
                        </a:outerShdw>
                      </a:effectLst>
                      <a:latin typeface="华文行楷" panose="02010800040101010101" pitchFamily="2" charset="-122"/>
                      <a:ea typeface="华文行楷" panose="02010800040101010101" pitchFamily="2" charset="-122"/>
                    </a:rPr>
                    <a:t>不能</a:t>
                  </a:r>
                  <a:r>
                    <a:rPr lang="zh-CN" altLang="en-US" sz="2400" b="0" cap="none" spc="0" dirty="0" smtClean="0">
                      <a:ln w="0"/>
                      <a:solidFill>
                        <a:schemeClr val="accent1"/>
                      </a:solidFill>
                      <a:effectLst>
                        <a:outerShdw blurRad="38100" dist="25400" dir="5400000" algn="ctr" rotWithShape="0">
                          <a:srgbClr val="6E747A">
                            <a:alpha val="43000"/>
                          </a:srgbClr>
                        </a:outerShdw>
                      </a:effectLst>
                    </a:rPr>
                    <a:t>随意创建</a:t>
                  </a:r>
                  <a:endParaRPr lang="zh-CN" altLang="en-US" sz="2400" b="0" cap="none" spc="0" dirty="0">
                    <a:ln w="0"/>
                    <a:solidFill>
                      <a:schemeClr val="accent1"/>
                    </a:solidFill>
                    <a:effectLst>
                      <a:outerShdw blurRad="38100" dist="25400" dir="5400000" algn="ctr" rotWithShape="0">
                        <a:srgbClr val="6E747A">
                          <a:alpha val="43000"/>
                        </a:srgbClr>
                      </a:outerShdw>
                    </a:effectLst>
                  </a:endParaRPr>
                </a:p>
              </p:txBody>
            </p:sp>
          </p:grpSp>
          <p:cxnSp>
            <p:nvCxnSpPr>
              <p:cNvPr id="5" name="直接箭头连接符 4"/>
              <p:cNvCxnSpPr>
                <a:stCxn id="2" idx="0"/>
              </p:cNvCxnSpPr>
              <p:nvPr/>
            </p:nvCxnSpPr>
            <p:spPr>
              <a:xfrm>
                <a:off x="7823201" y="5591427"/>
                <a:ext cx="718422" cy="428372"/>
              </a:xfrm>
              <a:prstGeom prst="straightConnector1">
                <a:avLst/>
              </a:prstGeom>
              <a:ln w="63500">
                <a:solidFill>
                  <a:srgbClr val="2099DA"/>
                </a:solidFill>
                <a:tailEnd type="triangle"/>
              </a:ln>
            </p:spPr>
            <p:style>
              <a:lnRef idx="1">
                <a:schemeClr val="accent1"/>
              </a:lnRef>
              <a:fillRef idx="0">
                <a:schemeClr val="accent1"/>
              </a:fillRef>
              <a:effectRef idx="0">
                <a:schemeClr val="accent1"/>
              </a:effectRef>
              <a:fontRef idx="minor">
                <a:schemeClr val="tx1"/>
              </a:fontRef>
            </p:style>
          </p:cxnSp>
          <p:grpSp>
            <p:nvGrpSpPr>
              <p:cNvPr id="8" name="组合 7"/>
              <p:cNvGrpSpPr/>
              <p:nvPr/>
            </p:nvGrpSpPr>
            <p:grpSpPr>
              <a:xfrm>
                <a:off x="1656968" y="2045642"/>
                <a:ext cx="7956932" cy="2234258"/>
                <a:chOff x="1656968" y="2045642"/>
                <a:chExt cx="7956932" cy="2234258"/>
              </a:xfrm>
            </p:grpSpPr>
            <p:sp>
              <p:nvSpPr>
                <p:cNvPr id="6" name="圆角矩形 5"/>
                <p:cNvSpPr/>
                <p:nvPr/>
              </p:nvSpPr>
              <p:spPr>
                <a:xfrm>
                  <a:off x="6032500" y="3378200"/>
                  <a:ext cx="3581400" cy="901700"/>
                </a:xfrm>
                <a:prstGeom prst="roundRect">
                  <a:avLst/>
                </a:prstGeom>
                <a:noFill/>
                <a:ln w="63500">
                  <a:solidFill>
                    <a:srgbClr val="2099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6"/>
                <p:cNvSpPr/>
                <p:nvPr/>
              </p:nvSpPr>
              <p:spPr>
                <a:xfrm>
                  <a:off x="1656968" y="2045642"/>
                  <a:ext cx="4585463" cy="1116590"/>
                </a:xfrm>
                <a:prstGeom prst="rect">
                  <a:avLst/>
                </a:prstGeom>
                <a:noFill/>
              </p:spPr>
              <p:txBody>
                <a:bodyPr wrap="none" lIns="91440" tIns="45720" rIns="91440" bIns="45720">
                  <a:spAutoFit/>
                </a:bodyPr>
                <a:lstStyle/>
                <a:p>
                  <a:pPr algn="ctr"/>
                  <a:r>
                    <a:rPr lang="zh-CN" altLang="en-US" sz="2400" b="0" cap="none" spc="0" dirty="0" smtClean="0">
                      <a:ln w="0"/>
                      <a:solidFill>
                        <a:schemeClr val="accent1"/>
                      </a:solidFill>
                      <a:effectLst>
                        <a:outerShdw blurRad="38100" dist="25400" dir="5400000" algn="ctr" rotWithShape="0">
                          <a:srgbClr val="6E747A">
                            <a:alpha val="43000"/>
                          </a:srgbClr>
                        </a:outerShdw>
                      </a:effectLst>
                    </a:rPr>
                    <a:t>对象只能创建</a:t>
                  </a:r>
                  <a:r>
                    <a:rPr lang="zh-CN" altLang="en-US" sz="4400" b="0" cap="none" spc="0" dirty="0" smtClean="0">
                      <a:ln w="0"/>
                      <a:solidFill>
                        <a:schemeClr val="accent1">
                          <a:lumMod val="50000"/>
                        </a:schemeClr>
                      </a:solidFill>
                      <a:effectLst>
                        <a:outerShdw blurRad="38100" dist="25400" dir="5400000" algn="ctr" rotWithShape="0">
                          <a:srgbClr val="6E747A">
                            <a:alpha val="43000"/>
                          </a:srgbClr>
                        </a:outerShdw>
                      </a:effectLst>
                      <a:latin typeface="华文行楷" panose="02010800040101010101" pitchFamily="2" charset="-122"/>
                      <a:ea typeface="华文行楷" panose="02010800040101010101" pitchFamily="2" charset="-122"/>
                    </a:rPr>
                    <a:t>一份</a:t>
                  </a:r>
                  <a:endParaRPr lang="zh-CN" altLang="en-US" sz="4400" b="0" cap="none" spc="0" dirty="0">
                    <a:ln w="0"/>
                    <a:solidFill>
                      <a:schemeClr val="accent1">
                        <a:lumMod val="50000"/>
                      </a:schemeClr>
                    </a:solidFill>
                    <a:effectLst>
                      <a:outerShdw blurRad="38100" dist="25400" dir="5400000" algn="ctr" rotWithShape="0">
                        <a:srgbClr val="6E747A">
                          <a:alpha val="43000"/>
                        </a:srgbClr>
                      </a:outerShdw>
                    </a:effectLst>
                    <a:latin typeface="华文行楷" panose="02010800040101010101" pitchFamily="2" charset="-122"/>
                    <a:ea typeface="华文行楷" panose="02010800040101010101" pitchFamily="2" charset="-122"/>
                  </a:endParaRPr>
                </a:p>
              </p:txBody>
            </p:sp>
            <p:cxnSp>
              <p:nvCxnSpPr>
                <p:cNvPr id="9" name="肘形连接符 8"/>
                <p:cNvCxnSpPr>
                  <a:stCxn id="6" idx="1"/>
                  <a:endCxn id="7" idx="2"/>
                </p:cNvCxnSpPr>
                <p:nvPr/>
              </p:nvCxnSpPr>
              <p:spPr>
                <a:xfrm rot="10800000">
                  <a:off x="3949700" y="3162232"/>
                  <a:ext cx="2082800" cy="666819"/>
                </a:xfrm>
                <a:prstGeom prst="bentConnector2">
                  <a:avLst/>
                </a:prstGeom>
                <a:ln w="63500">
                  <a:solidFill>
                    <a:srgbClr val="2099DA"/>
                  </a:solidFill>
                  <a:tailEnd type="triangle"/>
                </a:ln>
              </p:spPr>
              <p:style>
                <a:lnRef idx="1">
                  <a:schemeClr val="accent1"/>
                </a:lnRef>
                <a:fillRef idx="0">
                  <a:schemeClr val="accent1"/>
                </a:fillRef>
                <a:effectRef idx="0">
                  <a:schemeClr val="accent1"/>
                </a:effectRef>
                <a:fontRef idx="minor">
                  <a:schemeClr val="tx1"/>
                </a:fontRef>
              </p:style>
            </p:cxnSp>
          </p:grpSp>
        </p:grpSp>
        <p:sp>
          <p:nvSpPr>
            <p:cNvPr id="2" name="圆角矩形 1"/>
            <p:cNvSpPr/>
            <p:nvPr/>
          </p:nvSpPr>
          <p:spPr>
            <a:xfrm flipV="1">
              <a:off x="5099514" y="4317862"/>
              <a:ext cx="2905046" cy="447861"/>
            </a:xfrm>
            <a:prstGeom prst="roundRect">
              <a:avLst/>
            </a:prstGeom>
            <a:noFill/>
            <a:ln w="63500">
              <a:solidFill>
                <a:srgbClr val="2099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7" name="文本框 16"/>
          <p:cNvSpPr txBox="1"/>
          <p:nvPr/>
        </p:nvSpPr>
        <p:spPr>
          <a:xfrm>
            <a:off x="8417611" y="3039199"/>
            <a:ext cx="2609385" cy="1015663"/>
          </a:xfrm>
          <a:prstGeom prst="rect">
            <a:avLst/>
          </a:prstGeom>
          <a:noFill/>
        </p:spPr>
        <p:txBody>
          <a:bodyPr wrap="square" rtlCol="0">
            <a:spAutoFit/>
          </a:bodyPr>
          <a:lstStyle/>
          <a:p>
            <a:r>
              <a:rPr lang="zh-CN" altLang="en-US" sz="2400" dirty="0">
                <a:solidFill>
                  <a:srgbClr val="008CD7"/>
                </a:solidFill>
              </a:rPr>
              <a:t>注意</a:t>
            </a:r>
            <a:r>
              <a:rPr lang="zh-CN" altLang="en-US" sz="2400" dirty="0" smtClean="0">
                <a:solidFill>
                  <a:srgbClr val="008CD7"/>
                </a:solidFill>
              </a:rPr>
              <a:t>点：</a:t>
            </a:r>
            <a:endParaRPr lang="en-US" altLang="zh-CN" sz="2400" dirty="0" smtClean="0">
              <a:solidFill>
                <a:srgbClr val="008CD7"/>
              </a:solidFill>
            </a:endParaRPr>
          </a:p>
          <a:p>
            <a:r>
              <a:rPr lang="zh-CN" altLang="en-US" dirty="0"/>
              <a:t>多</a:t>
            </a:r>
            <a:r>
              <a:rPr lang="zh-CN" altLang="en-US" dirty="0" smtClean="0"/>
              <a:t>线程对单例对象的构建，访问，调用的协同。</a:t>
            </a:r>
            <a:endParaRPr lang="zh-CN" altLang="en-US" dirty="0"/>
          </a:p>
        </p:txBody>
      </p:sp>
    </p:spTree>
    <p:extLst>
      <p:ext uri="{BB962C8B-B14F-4D97-AF65-F5344CB8AC3E}">
        <p14:creationId xmlns:p14="http://schemas.microsoft.com/office/powerpoint/2010/main" val="1764225598"/>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íśḻîdè">
            <a:extLst>
              <a:ext uri="{FF2B5EF4-FFF2-40B4-BE49-F238E27FC236}">
                <a16:creationId xmlns:a16="http://schemas.microsoft.com/office/drawing/2014/main" id="{D2DB60E3-7251-4D71-B9F3-3D8B147756BC}"/>
              </a:ext>
            </a:extLst>
          </p:cNvPr>
          <p:cNvSpPr txBox="1"/>
          <p:nvPr/>
        </p:nvSpPr>
        <p:spPr>
          <a:xfrm>
            <a:off x="669925" y="1130300"/>
            <a:ext cx="1381043" cy="399958"/>
          </a:xfrm>
          <a:prstGeom prst="rect">
            <a:avLst/>
          </a:prstGeom>
          <a:solidFill>
            <a:srgbClr val="676A8A"/>
          </a:solidFill>
        </p:spPr>
        <p:txBody>
          <a:bodyPr wrap="square" lIns="91440" tIns="45720" rIns="91440" bIns="4572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914400">
              <a:defRPr/>
            </a:pPr>
            <a:r>
              <a:rPr lang="zh-CN" altLang="en-US" sz="2000" b="1" kern="0" dirty="0" smtClean="0">
                <a:solidFill>
                  <a:prstClr val="white"/>
                </a:solidFill>
              </a:rPr>
              <a:t>简单工厂</a:t>
            </a:r>
            <a:endParaRPr lang="zh-CN" altLang="en-US" sz="2000" b="1" kern="0" dirty="0">
              <a:solidFill>
                <a:prstClr val="white"/>
              </a:solidFill>
            </a:endParaRPr>
          </a:p>
        </p:txBody>
      </p:sp>
      <p:sp>
        <p:nvSpPr>
          <p:cNvPr id="43" name="标题 1"/>
          <p:cNvSpPr>
            <a:spLocks noGrp="1"/>
          </p:cNvSpPr>
          <p:nvPr>
            <p:ph type="title"/>
          </p:nvPr>
        </p:nvSpPr>
        <p:spPr>
          <a:xfrm>
            <a:off x="1137925" y="205921"/>
            <a:ext cx="10401280" cy="695186"/>
          </a:xfrm>
        </p:spPr>
        <p:txBody>
          <a:bodyPr/>
          <a:lstStyle/>
          <a:p>
            <a:r>
              <a:rPr lang="zh-CN" altLang="en-US" sz="3200" b="0" dirty="0" smtClean="0">
                <a:latin typeface="Arial"/>
                <a:ea typeface="Microsoft YaHei"/>
                <a:cs typeface="+mn-ea"/>
                <a:sym typeface="Arial"/>
              </a:rPr>
              <a:t>工厂</a:t>
            </a:r>
            <a:r>
              <a:rPr lang="en-US" altLang="zh-CN" sz="3200" b="0" dirty="0" smtClean="0">
                <a:latin typeface="Arial"/>
                <a:ea typeface="Microsoft YaHei"/>
                <a:cs typeface="+mn-ea"/>
                <a:sym typeface="Arial"/>
              </a:rPr>
              <a:t>/</a:t>
            </a:r>
            <a:r>
              <a:rPr lang="zh-CN" altLang="en-US" sz="3200" b="0" dirty="0" smtClean="0">
                <a:latin typeface="Arial"/>
                <a:ea typeface="Microsoft YaHei"/>
                <a:cs typeface="+mn-ea"/>
                <a:sym typeface="Arial"/>
              </a:rPr>
              <a:t>抽象工厂模式</a:t>
            </a:r>
            <a:endParaRPr lang="zh-CN" altLang="en-US" sz="3200" b="0" dirty="0">
              <a:latin typeface="Arial"/>
              <a:ea typeface="Microsoft YaHei"/>
              <a:cs typeface="+mn-ea"/>
              <a:sym typeface="Arial"/>
            </a:endParaRPr>
          </a:p>
        </p:txBody>
      </p:sp>
      <p:grpSp>
        <p:nvGrpSpPr>
          <p:cNvPr id="44" name="组合 43">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45" name="椭圆 44">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46" name="椭圆 45">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
        <p:nvSpPr>
          <p:cNvPr id="47" name="î$ḷîḓê">
            <a:extLst>
              <a:ext uri="{FF2B5EF4-FFF2-40B4-BE49-F238E27FC236}">
                <a16:creationId xmlns:a16="http://schemas.microsoft.com/office/drawing/2014/main" id="{0120662D-08EC-45F4-BE9C-84021ADB4C9A}"/>
              </a:ext>
            </a:extLst>
          </p:cNvPr>
          <p:cNvSpPr/>
          <p:nvPr/>
        </p:nvSpPr>
        <p:spPr bwMode="gray">
          <a:xfrm>
            <a:off x="7211000" y="198392"/>
            <a:ext cx="1506790" cy="480145"/>
          </a:xfrm>
          <a:prstGeom prst="rect">
            <a:avLst/>
          </a:prstGeom>
          <a:solidFill>
            <a:schemeClr val="accent1"/>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创建型模式</a:t>
            </a:r>
            <a:endParaRPr lang="en-US" altLang="zh-CN" sz="2400" dirty="0">
              <a:solidFill>
                <a:schemeClr val="bg1"/>
              </a:solidFill>
            </a:endParaRPr>
          </a:p>
        </p:txBody>
      </p:sp>
      <p:sp>
        <p:nvSpPr>
          <p:cNvPr id="48" name="î$ḷîḓê">
            <a:extLst>
              <a:ext uri="{FF2B5EF4-FFF2-40B4-BE49-F238E27FC236}">
                <a16:creationId xmlns:a16="http://schemas.microsoft.com/office/drawing/2014/main" id="{0120662D-08EC-45F4-BE9C-84021ADB4C9A}"/>
              </a:ext>
            </a:extLst>
          </p:cNvPr>
          <p:cNvSpPr/>
          <p:nvPr/>
        </p:nvSpPr>
        <p:spPr bwMode="gray">
          <a:xfrm>
            <a:off x="8749874" y="199746"/>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结构型模式</a:t>
            </a:r>
            <a:endParaRPr lang="en-US" altLang="zh-CN" sz="2400" dirty="0">
              <a:solidFill>
                <a:schemeClr val="bg1"/>
              </a:solidFill>
            </a:endParaRPr>
          </a:p>
        </p:txBody>
      </p:sp>
      <p:sp>
        <p:nvSpPr>
          <p:cNvPr id="49" name="î$ḷîḓê">
            <a:extLst>
              <a:ext uri="{FF2B5EF4-FFF2-40B4-BE49-F238E27FC236}">
                <a16:creationId xmlns:a16="http://schemas.microsoft.com/office/drawing/2014/main" id="{0120662D-08EC-45F4-BE9C-84021ADB4C9A}"/>
              </a:ext>
            </a:extLst>
          </p:cNvPr>
          <p:cNvSpPr/>
          <p:nvPr/>
        </p:nvSpPr>
        <p:spPr bwMode="gray">
          <a:xfrm>
            <a:off x="10282004" y="189695"/>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行为型模式</a:t>
            </a:r>
            <a:endParaRPr lang="en-US" altLang="zh-CN" sz="2400" dirty="0">
              <a:solidFill>
                <a:schemeClr val="bg1"/>
              </a:solidFill>
            </a:endParaRPr>
          </a:p>
        </p:txBody>
      </p:sp>
      <p:sp>
        <p:nvSpPr>
          <p:cNvPr id="50" name="nuclear-plant_99736"/>
          <p:cNvSpPr>
            <a:spLocks noChangeAspect="1"/>
          </p:cNvSpPr>
          <p:nvPr/>
        </p:nvSpPr>
        <p:spPr bwMode="auto">
          <a:xfrm>
            <a:off x="2252154" y="2312988"/>
            <a:ext cx="1287924" cy="1069587"/>
          </a:xfrm>
          <a:custGeom>
            <a:avLst/>
            <a:gdLst>
              <a:gd name="T0" fmla="*/ 278945 h 440259"/>
              <a:gd name="T1" fmla="*/ 278945 h 440259"/>
              <a:gd name="T2" fmla="*/ 278945 h 440259"/>
              <a:gd name="T3" fmla="*/ 278945 h 440259"/>
              <a:gd name="T4" fmla="*/ 278945 h 440259"/>
              <a:gd name="T5" fmla="*/ 278945 h 440259"/>
              <a:gd name="T6" fmla="*/ 278945 h 440259"/>
              <a:gd name="T7" fmla="*/ 278945 h 440259"/>
              <a:gd name="T8" fmla="*/ 278945 h 440259"/>
              <a:gd name="T9" fmla="*/ 278945 h 440259"/>
              <a:gd name="T10" fmla="*/ 278945 h 440259"/>
              <a:gd name="T11" fmla="*/ 278945 h 440259"/>
              <a:gd name="T12" fmla="*/ 278945 h 440259"/>
              <a:gd name="T13" fmla="*/ 278945 h 440259"/>
              <a:gd name="T14" fmla="*/ 278945 h 440259"/>
              <a:gd name="T15" fmla="*/ 278945 h 440259"/>
              <a:gd name="T16" fmla="*/ 278945 h 440259"/>
              <a:gd name="T17" fmla="*/ 278945 h 440259"/>
              <a:gd name="T18" fmla="*/ 278945 h 440259"/>
              <a:gd name="T19" fmla="*/ 278945 h 440259"/>
              <a:gd name="T20" fmla="*/ 278945 h 440259"/>
              <a:gd name="T21" fmla="*/ 278945 h 440259"/>
              <a:gd name="T22" fmla="*/ 278945 h 440259"/>
              <a:gd name="T23" fmla="*/ 278945 h 440259"/>
              <a:gd name="T24" fmla="*/ 278945 h 440259"/>
              <a:gd name="T25" fmla="*/ 278945 h 440259"/>
              <a:gd name="T26" fmla="*/ 278945 h 440259"/>
              <a:gd name="T27" fmla="*/ 278945 h 440259"/>
              <a:gd name="T28" fmla="*/ 278945 h 440259"/>
              <a:gd name="T29" fmla="*/ 278945 h 440259"/>
              <a:gd name="T30" fmla="*/ 278945 h 440259"/>
              <a:gd name="T31" fmla="*/ 278945 h 440259"/>
              <a:gd name="T32" fmla="*/ 278945 h 440259"/>
              <a:gd name="T33" fmla="*/ 278945 h 440259"/>
              <a:gd name="T34" fmla="*/ 278945 h 440259"/>
              <a:gd name="T35" fmla="*/ 278945 h 440259"/>
              <a:gd name="T36" fmla="*/ 278945 h 440259"/>
              <a:gd name="T37" fmla="*/ 278945 h 440259"/>
              <a:gd name="T38" fmla="*/ 278945 h 440259"/>
              <a:gd name="T39" fmla="*/ 278945 h 440259"/>
              <a:gd name="T40" fmla="*/ 278945 h 440259"/>
              <a:gd name="T41" fmla="*/ 278945 h 440259"/>
              <a:gd name="T42" fmla="*/ 88862 h 440259"/>
              <a:gd name="T43" fmla="*/ 88862 h 440259"/>
              <a:gd name="T44" fmla="*/ 278945 h 440259"/>
              <a:gd name="T45" fmla="*/ 278945 h 440259"/>
              <a:gd name="T46" fmla="*/ 278945 h 440259"/>
              <a:gd name="T47" fmla="*/ 278945 h 440259"/>
              <a:gd name="T48" fmla="*/ 278945 h 440259"/>
              <a:gd name="T49" fmla="*/ 278945 h 440259"/>
              <a:gd name="T50" fmla="*/ 278945 h 440259"/>
              <a:gd name="T51" fmla="*/ 278945 h 440259"/>
              <a:gd name="T52" fmla="*/ 278945 h 440259"/>
              <a:gd name="T53" fmla="*/ 278945 h 440259"/>
              <a:gd name="T54" fmla="*/ 278945 h 440259"/>
              <a:gd name="T55" fmla="*/ 278945 h 440259"/>
              <a:gd name="T56" fmla="*/ 278945 h 440259"/>
              <a:gd name="T57" fmla="*/ 278945 h 440259"/>
              <a:gd name="T58" fmla="*/ 278945 h 440259"/>
              <a:gd name="T59" fmla="*/ 278945 h 440259"/>
              <a:gd name="T60" fmla="*/ 88862 h 440259"/>
              <a:gd name="T61" fmla="*/ 88862 h 440259"/>
              <a:gd name="T62" fmla="*/ 278945 h 440259"/>
              <a:gd name="T63" fmla="*/ 278945 h 440259"/>
              <a:gd name="T64" fmla="*/ 278945 h 440259"/>
              <a:gd name="T65" fmla="*/ 278945 h 440259"/>
              <a:gd name="T66" fmla="*/ 278945 h 440259"/>
              <a:gd name="T67" fmla="*/ 278945 h 440259"/>
              <a:gd name="T68" fmla="*/ 278945 h 440259"/>
              <a:gd name="T69" fmla="*/ 278945 h 440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61" h="3294">
                <a:moveTo>
                  <a:pt x="3898" y="1320"/>
                </a:moveTo>
                <a:cubicBezTo>
                  <a:pt x="3859" y="1303"/>
                  <a:pt x="3812" y="1311"/>
                  <a:pt x="3781" y="1341"/>
                </a:cubicBezTo>
                <a:lnTo>
                  <a:pt x="2894" y="2194"/>
                </a:lnTo>
                <a:lnTo>
                  <a:pt x="2894" y="1418"/>
                </a:lnTo>
                <a:cubicBezTo>
                  <a:pt x="2894" y="1375"/>
                  <a:pt x="2871" y="1336"/>
                  <a:pt x="2832" y="1319"/>
                </a:cubicBezTo>
                <a:cubicBezTo>
                  <a:pt x="2792" y="1303"/>
                  <a:pt x="2745" y="1311"/>
                  <a:pt x="2715" y="1341"/>
                </a:cubicBezTo>
                <a:lnTo>
                  <a:pt x="1841" y="2186"/>
                </a:lnTo>
                <a:lnTo>
                  <a:pt x="1841" y="1418"/>
                </a:lnTo>
                <a:cubicBezTo>
                  <a:pt x="1841" y="1375"/>
                  <a:pt x="1818" y="1336"/>
                  <a:pt x="1778" y="1320"/>
                </a:cubicBezTo>
                <a:cubicBezTo>
                  <a:pt x="1739" y="1303"/>
                  <a:pt x="1694" y="1311"/>
                  <a:pt x="1664" y="1341"/>
                </a:cubicBezTo>
                <a:lnTo>
                  <a:pt x="783" y="2192"/>
                </a:lnTo>
                <a:lnTo>
                  <a:pt x="713" y="675"/>
                </a:lnTo>
                <a:cubicBezTo>
                  <a:pt x="711" y="618"/>
                  <a:pt x="664" y="574"/>
                  <a:pt x="607" y="574"/>
                </a:cubicBezTo>
                <a:lnTo>
                  <a:pt x="527" y="574"/>
                </a:lnTo>
                <a:cubicBezTo>
                  <a:pt x="669" y="546"/>
                  <a:pt x="759" y="478"/>
                  <a:pt x="835" y="421"/>
                </a:cubicBezTo>
                <a:cubicBezTo>
                  <a:pt x="915" y="360"/>
                  <a:pt x="968" y="320"/>
                  <a:pt x="1091" y="320"/>
                </a:cubicBezTo>
                <a:cubicBezTo>
                  <a:pt x="1214" y="320"/>
                  <a:pt x="1268" y="361"/>
                  <a:pt x="1348" y="421"/>
                </a:cubicBezTo>
                <a:cubicBezTo>
                  <a:pt x="1446" y="495"/>
                  <a:pt x="1568" y="587"/>
                  <a:pt x="1798" y="587"/>
                </a:cubicBezTo>
                <a:cubicBezTo>
                  <a:pt x="2028" y="587"/>
                  <a:pt x="2150" y="495"/>
                  <a:pt x="2248" y="421"/>
                </a:cubicBezTo>
                <a:cubicBezTo>
                  <a:pt x="2328" y="360"/>
                  <a:pt x="2381" y="320"/>
                  <a:pt x="2504" y="320"/>
                </a:cubicBezTo>
                <a:cubicBezTo>
                  <a:pt x="2627" y="320"/>
                  <a:pt x="2681" y="361"/>
                  <a:pt x="2761" y="421"/>
                </a:cubicBezTo>
                <a:cubicBezTo>
                  <a:pt x="2859" y="495"/>
                  <a:pt x="2981" y="587"/>
                  <a:pt x="3211" y="587"/>
                </a:cubicBezTo>
                <a:cubicBezTo>
                  <a:pt x="3299" y="587"/>
                  <a:pt x="3371" y="515"/>
                  <a:pt x="3371" y="427"/>
                </a:cubicBezTo>
                <a:cubicBezTo>
                  <a:pt x="3371" y="339"/>
                  <a:pt x="3299" y="267"/>
                  <a:pt x="3211" y="267"/>
                </a:cubicBezTo>
                <a:cubicBezTo>
                  <a:pt x="3088" y="267"/>
                  <a:pt x="3035" y="227"/>
                  <a:pt x="2954" y="166"/>
                </a:cubicBezTo>
                <a:cubicBezTo>
                  <a:pt x="2856" y="92"/>
                  <a:pt x="2735" y="0"/>
                  <a:pt x="2504" y="0"/>
                </a:cubicBezTo>
                <a:cubicBezTo>
                  <a:pt x="2274" y="0"/>
                  <a:pt x="2152" y="92"/>
                  <a:pt x="2055" y="166"/>
                </a:cubicBezTo>
                <a:cubicBezTo>
                  <a:pt x="1974" y="227"/>
                  <a:pt x="1921" y="267"/>
                  <a:pt x="1798" y="267"/>
                </a:cubicBezTo>
                <a:cubicBezTo>
                  <a:pt x="1675" y="267"/>
                  <a:pt x="1622" y="227"/>
                  <a:pt x="1541" y="166"/>
                </a:cubicBezTo>
                <a:cubicBezTo>
                  <a:pt x="1443" y="92"/>
                  <a:pt x="1322" y="0"/>
                  <a:pt x="1091" y="0"/>
                </a:cubicBezTo>
                <a:cubicBezTo>
                  <a:pt x="861" y="0"/>
                  <a:pt x="740" y="92"/>
                  <a:pt x="642" y="166"/>
                </a:cubicBezTo>
                <a:cubicBezTo>
                  <a:pt x="561" y="227"/>
                  <a:pt x="508" y="267"/>
                  <a:pt x="385" y="267"/>
                </a:cubicBezTo>
                <a:cubicBezTo>
                  <a:pt x="297" y="267"/>
                  <a:pt x="225" y="339"/>
                  <a:pt x="225" y="427"/>
                </a:cubicBezTo>
                <a:cubicBezTo>
                  <a:pt x="225" y="493"/>
                  <a:pt x="265" y="549"/>
                  <a:pt x="321" y="574"/>
                </a:cubicBezTo>
                <a:lnTo>
                  <a:pt x="224" y="574"/>
                </a:lnTo>
                <a:cubicBezTo>
                  <a:pt x="167" y="574"/>
                  <a:pt x="120" y="618"/>
                  <a:pt x="117" y="675"/>
                </a:cubicBezTo>
                <a:lnTo>
                  <a:pt x="1" y="3182"/>
                </a:lnTo>
                <a:cubicBezTo>
                  <a:pt x="0" y="3211"/>
                  <a:pt x="10" y="3240"/>
                  <a:pt x="31" y="3261"/>
                </a:cubicBezTo>
                <a:cubicBezTo>
                  <a:pt x="51" y="3282"/>
                  <a:pt x="79" y="3294"/>
                  <a:pt x="108" y="3294"/>
                </a:cubicBezTo>
                <a:lnTo>
                  <a:pt x="3859" y="3294"/>
                </a:lnTo>
                <a:cubicBezTo>
                  <a:pt x="3918" y="3294"/>
                  <a:pt x="3961" y="3246"/>
                  <a:pt x="3961" y="3187"/>
                </a:cubicBezTo>
                <a:lnTo>
                  <a:pt x="3961" y="1418"/>
                </a:lnTo>
                <a:cubicBezTo>
                  <a:pt x="3961" y="1375"/>
                  <a:pt x="3938" y="1336"/>
                  <a:pt x="3898" y="1320"/>
                </a:cubicBezTo>
                <a:close/>
                <a:moveTo>
                  <a:pt x="3668" y="2747"/>
                </a:moveTo>
                <a:cubicBezTo>
                  <a:pt x="3668" y="2806"/>
                  <a:pt x="3620" y="2854"/>
                  <a:pt x="3561" y="2854"/>
                </a:cubicBezTo>
                <a:lnTo>
                  <a:pt x="3281" y="2854"/>
                </a:lnTo>
                <a:cubicBezTo>
                  <a:pt x="3222" y="2854"/>
                  <a:pt x="3174" y="2806"/>
                  <a:pt x="3174" y="2747"/>
                </a:cubicBezTo>
                <a:lnTo>
                  <a:pt x="3174" y="2494"/>
                </a:lnTo>
                <a:cubicBezTo>
                  <a:pt x="3174" y="2435"/>
                  <a:pt x="3222" y="2387"/>
                  <a:pt x="3281" y="2387"/>
                </a:cubicBezTo>
                <a:lnTo>
                  <a:pt x="3561" y="2387"/>
                </a:lnTo>
                <a:cubicBezTo>
                  <a:pt x="3620" y="2387"/>
                  <a:pt x="3668" y="2435"/>
                  <a:pt x="3668" y="2494"/>
                </a:cubicBezTo>
                <a:lnTo>
                  <a:pt x="3668" y="2747"/>
                </a:lnTo>
                <a:close/>
                <a:moveTo>
                  <a:pt x="2601" y="2747"/>
                </a:moveTo>
                <a:cubicBezTo>
                  <a:pt x="2601" y="2806"/>
                  <a:pt x="2553" y="2854"/>
                  <a:pt x="2494" y="2854"/>
                </a:cubicBezTo>
                <a:lnTo>
                  <a:pt x="2228" y="2854"/>
                </a:lnTo>
                <a:cubicBezTo>
                  <a:pt x="2169" y="2854"/>
                  <a:pt x="2121" y="2806"/>
                  <a:pt x="2121" y="2747"/>
                </a:cubicBezTo>
                <a:lnTo>
                  <a:pt x="2121" y="2494"/>
                </a:lnTo>
                <a:cubicBezTo>
                  <a:pt x="2121" y="2435"/>
                  <a:pt x="2169" y="2387"/>
                  <a:pt x="2228" y="2387"/>
                </a:cubicBezTo>
                <a:lnTo>
                  <a:pt x="2494" y="2387"/>
                </a:lnTo>
                <a:cubicBezTo>
                  <a:pt x="2553" y="2387"/>
                  <a:pt x="2601" y="2435"/>
                  <a:pt x="2601" y="2494"/>
                </a:cubicBezTo>
                <a:lnTo>
                  <a:pt x="2601" y="2747"/>
                </a:lnTo>
                <a:close/>
                <a:moveTo>
                  <a:pt x="1548" y="2747"/>
                </a:moveTo>
                <a:cubicBezTo>
                  <a:pt x="1548" y="2806"/>
                  <a:pt x="1500" y="2854"/>
                  <a:pt x="1441" y="2854"/>
                </a:cubicBezTo>
                <a:lnTo>
                  <a:pt x="1174" y="2854"/>
                </a:lnTo>
                <a:cubicBezTo>
                  <a:pt x="1115" y="2854"/>
                  <a:pt x="1068" y="2806"/>
                  <a:pt x="1068" y="2747"/>
                </a:cubicBezTo>
                <a:lnTo>
                  <a:pt x="1068" y="2494"/>
                </a:lnTo>
                <a:cubicBezTo>
                  <a:pt x="1068" y="2435"/>
                  <a:pt x="1115" y="2387"/>
                  <a:pt x="1174" y="2387"/>
                </a:cubicBezTo>
                <a:lnTo>
                  <a:pt x="1441" y="2387"/>
                </a:lnTo>
                <a:cubicBezTo>
                  <a:pt x="1500" y="2387"/>
                  <a:pt x="1548" y="2435"/>
                  <a:pt x="1548" y="2494"/>
                </a:cubicBezTo>
                <a:lnTo>
                  <a:pt x="1548" y="2747"/>
                </a:lnTo>
                <a:close/>
              </a:path>
            </a:pathLst>
          </a:custGeom>
          <a:solidFill>
            <a:srgbClr val="676A8A"/>
          </a:solidFill>
          <a:ln>
            <a:noFill/>
          </a:ln>
        </p:spPr>
        <p:txBody>
          <a:bodyPr/>
          <a:lstStyle/>
          <a:p>
            <a:endParaRPr lang="zh-CN" altLang="en-US"/>
          </a:p>
        </p:txBody>
      </p:sp>
      <p:sp>
        <p:nvSpPr>
          <p:cNvPr id="51" name="all-terrain-vehicle_3476"/>
          <p:cNvSpPr>
            <a:spLocks noChangeAspect="1"/>
          </p:cNvSpPr>
          <p:nvPr/>
        </p:nvSpPr>
        <p:spPr bwMode="auto">
          <a:xfrm>
            <a:off x="1066170" y="4707087"/>
            <a:ext cx="1179945" cy="835307"/>
          </a:xfrm>
          <a:custGeom>
            <a:avLst/>
            <a:gdLst>
              <a:gd name="connsiteX0" fmla="*/ 487038 w 596814"/>
              <a:gd name="connsiteY0" fmla="*/ 304584 h 422497"/>
              <a:gd name="connsiteX1" fmla="*/ 551542 w 596814"/>
              <a:gd name="connsiteY1" fmla="*/ 304584 h 422497"/>
              <a:gd name="connsiteX2" fmla="*/ 551542 w 596814"/>
              <a:gd name="connsiteY2" fmla="*/ 422497 h 422497"/>
              <a:gd name="connsiteX3" fmla="*/ 487038 w 596814"/>
              <a:gd name="connsiteY3" fmla="*/ 422497 h 422497"/>
              <a:gd name="connsiteX4" fmla="*/ 37874 w 596814"/>
              <a:gd name="connsiteY4" fmla="*/ 301921 h 422497"/>
              <a:gd name="connsiteX5" fmla="*/ 102378 w 596814"/>
              <a:gd name="connsiteY5" fmla="*/ 301921 h 422497"/>
              <a:gd name="connsiteX6" fmla="*/ 102378 w 596814"/>
              <a:gd name="connsiteY6" fmla="*/ 419686 h 422497"/>
              <a:gd name="connsiteX7" fmla="*/ 37874 w 596814"/>
              <a:gd name="connsiteY7" fmla="*/ 419686 h 422497"/>
              <a:gd name="connsiteX8" fmla="*/ 398491 w 596814"/>
              <a:gd name="connsiteY8" fmla="*/ 231865 h 422497"/>
              <a:gd name="connsiteX9" fmla="*/ 398491 w 596814"/>
              <a:gd name="connsiteY9" fmla="*/ 276970 h 422497"/>
              <a:gd name="connsiteX10" fmla="*/ 497191 w 596814"/>
              <a:gd name="connsiteY10" fmla="*/ 276970 h 422497"/>
              <a:gd name="connsiteX11" fmla="*/ 497191 w 596814"/>
              <a:gd name="connsiteY11" fmla="*/ 231865 h 422497"/>
              <a:gd name="connsiteX12" fmla="*/ 94088 w 596814"/>
              <a:gd name="connsiteY12" fmla="*/ 231865 h 422497"/>
              <a:gd name="connsiteX13" fmla="*/ 94088 w 596814"/>
              <a:gd name="connsiteY13" fmla="*/ 276970 h 422497"/>
              <a:gd name="connsiteX14" fmla="*/ 192788 w 596814"/>
              <a:gd name="connsiteY14" fmla="*/ 276970 h 422497"/>
              <a:gd name="connsiteX15" fmla="*/ 192788 w 596814"/>
              <a:gd name="connsiteY15" fmla="*/ 231865 h 422497"/>
              <a:gd name="connsiteX16" fmla="*/ 324696 w 596814"/>
              <a:gd name="connsiteY16" fmla="*/ 222660 h 422497"/>
              <a:gd name="connsiteX17" fmla="*/ 324696 w 596814"/>
              <a:gd name="connsiteY17" fmla="*/ 288936 h 422497"/>
              <a:gd name="connsiteX18" fmla="*/ 352369 w 596814"/>
              <a:gd name="connsiteY18" fmla="*/ 288936 h 422497"/>
              <a:gd name="connsiteX19" fmla="*/ 352369 w 596814"/>
              <a:gd name="connsiteY19" fmla="*/ 222660 h 422497"/>
              <a:gd name="connsiteX20" fmla="*/ 282264 w 596814"/>
              <a:gd name="connsiteY20" fmla="*/ 222660 h 422497"/>
              <a:gd name="connsiteX21" fmla="*/ 282264 w 596814"/>
              <a:gd name="connsiteY21" fmla="*/ 288936 h 422497"/>
              <a:gd name="connsiteX22" fmla="*/ 309937 w 596814"/>
              <a:gd name="connsiteY22" fmla="*/ 288936 h 422497"/>
              <a:gd name="connsiteX23" fmla="*/ 309937 w 596814"/>
              <a:gd name="connsiteY23" fmla="*/ 222660 h 422497"/>
              <a:gd name="connsiteX24" fmla="*/ 237988 w 596814"/>
              <a:gd name="connsiteY24" fmla="*/ 222660 h 422497"/>
              <a:gd name="connsiteX25" fmla="*/ 237988 w 596814"/>
              <a:gd name="connsiteY25" fmla="*/ 288936 h 422497"/>
              <a:gd name="connsiteX26" fmla="*/ 265661 w 596814"/>
              <a:gd name="connsiteY26" fmla="*/ 288936 h 422497"/>
              <a:gd name="connsiteX27" fmla="*/ 265661 w 596814"/>
              <a:gd name="connsiteY27" fmla="*/ 222660 h 422497"/>
              <a:gd name="connsiteX28" fmla="*/ 251804 w 596814"/>
              <a:gd name="connsiteY28" fmla="*/ 53224 h 422497"/>
              <a:gd name="connsiteX29" fmla="*/ 333026 w 596814"/>
              <a:gd name="connsiteY29" fmla="*/ 53224 h 422497"/>
              <a:gd name="connsiteX30" fmla="*/ 333026 w 596814"/>
              <a:gd name="connsiteY30" fmla="*/ 69794 h 422497"/>
              <a:gd name="connsiteX31" fmla="*/ 251804 w 596814"/>
              <a:gd name="connsiteY31" fmla="*/ 69794 h 422497"/>
              <a:gd name="connsiteX32" fmla="*/ 145744 w 596814"/>
              <a:gd name="connsiteY32" fmla="*/ 41320 h 422497"/>
              <a:gd name="connsiteX33" fmla="*/ 127296 w 596814"/>
              <a:gd name="connsiteY33" fmla="*/ 177555 h 422497"/>
              <a:gd name="connsiteX34" fmla="*/ 463984 w 596814"/>
              <a:gd name="connsiteY34" fmla="*/ 177555 h 422497"/>
              <a:gd name="connsiteX35" fmla="*/ 445535 w 596814"/>
              <a:gd name="connsiteY35" fmla="*/ 41320 h 422497"/>
              <a:gd name="connsiteX36" fmla="*/ 256092 w 596814"/>
              <a:gd name="connsiteY36" fmla="*/ 133 h 422497"/>
              <a:gd name="connsiteX37" fmla="*/ 482432 w 596814"/>
              <a:gd name="connsiteY37" fmla="*/ 11864 h 422497"/>
              <a:gd name="connsiteX38" fmla="*/ 503648 w 596814"/>
              <a:gd name="connsiteY38" fmla="*/ 173873 h 422497"/>
              <a:gd name="connsiteX39" fmla="*/ 526709 w 596814"/>
              <a:gd name="connsiteY39" fmla="*/ 173873 h 422497"/>
              <a:gd name="connsiteX40" fmla="*/ 526709 w 596814"/>
              <a:gd name="connsiteY40" fmla="*/ 172032 h 422497"/>
              <a:gd name="connsiteX41" fmla="*/ 526709 w 596814"/>
              <a:gd name="connsiteY41" fmla="*/ 137973 h 422497"/>
              <a:gd name="connsiteX42" fmla="*/ 596814 w 596814"/>
              <a:gd name="connsiteY42" fmla="*/ 137973 h 422497"/>
              <a:gd name="connsiteX43" fmla="*/ 596814 w 596814"/>
              <a:gd name="connsiteY43" fmla="*/ 176634 h 422497"/>
              <a:gd name="connsiteX44" fmla="*/ 528554 w 596814"/>
              <a:gd name="connsiteY44" fmla="*/ 176634 h 422497"/>
              <a:gd name="connsiteX45" fmla="*/ 526709 w 596814"/>
              <a:gd name="connsiteY45" fmla="*/ 176634 h 422497"/>
              <a:gd name="connsiteX46" fmla="*/ 526709 w 596814"/>
              <a:gd name="connsiteY46" fmla="*/ 178475 h 422497"/>
              <a:gd name="connsiteX47" fmla="*/ 528554 w 596814"/>
              <a:gd name="connsiteY47" fmla="*/ 178475 h 422497"/>
              <a:gd name="connsiteX48" fmla="*/ 528554 w 596814"/>
              <a:gd name="connsiteY48" fmla="*/ 194124 h 422497"/>
              <a:gd name="connsiteX49" fmla="*/ 572831 w 596814"/>
              <a:gd name="connsiteY49" fmla="*/ 194124 h 422497"/>
              <a:gd name="connsiteX50" fmla="*/ 572831 w 596814"/>
              <a:gd name="connsiteY50" fmla="*/ 231865 h 422497"/>
              <a:gd name="connsiteX51" fmla="*/ 528554 w 596814"/>
              <a:gd name="connsiteY51" fmla="*/ 231865 h 422497"/>
              <a:gd name="connsiteX52" fmla="*/ 528554 w 596814"/>
              <a:gd name="connsiteY52" fmla="*/ 289857 h 422497"/>
              <a:gd name="connsiteX53" fmla="*/ 483355 w 596814"/>
              <a:gd name="connsiteY53" fmla="*/ 289857 h 422497"/>
              <a:gd name="connsiteX54" fmla="*/ 483355 w 596814"/>
              <a:gd name="connsiteY54" fmla="*/ 321154 h 422497"/>
              <a:gd name="connsiteX55" fmla="*/ 154046 w 596814"/>
              <a:gd name="connsiteY55" fmla="*/ 321154 h 422497"/>
              <a:gd name="connsiteX56" fmla="*/ 114382 w 596814"/>
              <a:gd name="connsiteY56" fmla="*/ 321154 h 422497"/>
              <a:gd name="connsiteX57" fmla="*/ 114382 w 596814"/>
              <a:gd name="connsiteY57" fmla="*/ 289857 h 422497"/>
              <a:gd name="connsiteX58" fmla="*/ 55346 w 596814"/>
              <a:gd name="connsiteY58" fmla="*/ 289857 h 422497"/>
              <a:gd name="connsiteX59" fmla="*/ 55346 w 596814"/>
              <a:gd name="connsiteY59" fmla="*/ 230944 h 422497"/>
              <a:gd name="connsiteX60" fmla="*/ 37820 w 596814"/>
              <a:gd name="connsiteY60" fmla="*/ 230944 h 422497"/>
              <a:gd name="connsiteX61" fmla="*/ 37820 w 596814"/>
              <a:gd name="connsiteY61" fmla="*/ 195965 h 422497"/>
              <a:gd name="connsiteX62" fmla="*/ 55346 w 596814"/>
              <a:gd name="connsiteY62" fmla="*/ 195965 h 422497"/>
              <a:gd name="connsiteX63" fmla="*/ 55346 w 596814"/>
              <a:gd name="connsiteY63" fmla="*/ 178475 h 422497"/>
              <a:gd name="connsiteX64" fmla="*/ 70105 w 596814"/>
              <a:gd name="connsiteY64" fmla="*/ 178475 h 422497"/>
              <a:gd name="connsiteX65" fmla="*/ 70105 w 596814"/>
              <a:gd name="connsiteY65" fmla="*/ 176634 h 422497"/>
              <a:gd name="connsiteX66" fmla="*/ 55346 w 596814"/>
              <a:gd name="connsiteY66" fmla="*/ 176634 h 422497"/>
              <a:gd name="connsiteX67" fmla="*/ 0 w 596814"/>
              <a:gd name="connsiteY67" fmla="*/ 176634 h 422497"/>
              <a:gd name="connsiteX68" fmla="*/ 0 w 596814"/>
              <a:gd name="connsiteY68" fmla="*/ 137973 h 422497"/>
              <a:gd name="connsiteX69" fmla="*/ 70105 w 596814"/>
              <a:gd name="connsiteY69" fmla="*/ 137973 h 422497"/>
              <a:gd name="connsiteX70" fmla="*/ 70105 w 596814"/>
              <a:gd name="connsiteY70" fmla="*/ 172032 h 422497"/>
              <a:gd name="connsiteX71" fmla="*/ 70105 w 596814"/>
              <a:gd name="connsiteY71" fmla="*/ 173873 h 422497"/>
              <a:gd name="connsiteX72" fmla="*/ 81174 w 596814"/>
              <a:gd name="connsiteY72" fmla="*/ 173873 h 422497"/>
              <a:gd name="connsiteX73" fmla="*/ 101468 w 596814"/>
              <a:gd name="connsiteY73" fmla="*/ 11864 h 422497"/>
              <a:gd name="connsiteX74" fmla="*/ 256092 w 596814"/>
              <a:gd name="connsiteY74" fmla="*/ 133 h 422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596814" h="422497">
                <a:moveTo>
                  <a:pt x="487038" y="304584"/>
                </a:moveTo>
                <a:lnTo>
                  <a:pt x="551542" y="304584"/>
                </a:lnTo>
                <a:lnTo>
                  <a:pt x="551542" y="422497"/>
                </a:lnTo>
                <a:lnTo>
                  <a:pt x="487038" y="422497"/>
                </a:lnTo>
                <a:close/>
                <a:moveTo>
                  <a:pt x="37874" y="301921"/>
                </a:moveTo>
                <a:lnTo>
                  <a:pt x="102378" y="301921"/>
                </a:lnTo>
                <a:lnTo>
                  <a:pt x="102378" y="419686"/>
                </a:lnTo>
                <a:lnTo>
                  <a:pt x="37874" y="419686"/>
                </a:lnTo>
                <a:close/>
                <a:moveTo>
                  <a:pt x="398491" y="231865"/>
                </a:moveTo>
                <a:lnTo>
                  <a:pt x="398491" y="276970"/>
                </a:lnTo>
                <a:lnTo>
                  <a:pt x="497191" y="276970"/>
                </a:lnTo>
                <a:lnTo>
                  <a:pt x="497191" y="231865"/>
                </a:lnTo>
                <a:close/>
                <a:moveTo>
                  <a:pt x="94088" y="231865"/>
                </a:moveTo>
                <a:lnTo>
                  <a:pt x="94088" y="276970"/>
                </a:lnTo>
                <a:lnTo>
                  <a:pt x="192788" y="276970"/>
                </a:lnTo>
                <a:lnTo>
                  <a:pt x="192788" y="231865"/>
                </a:lnTo>
                <a:close/>
                <a:moveTo>
                  <a:pt x="324696" y="222660"/>
                </a:moveTo>
                <a:lnTo>
                  <a:pt x="324696" y="288936"/>
                </a:lnTo>
                <a:lnTo>
                  <a:pt x="352369" y="288936"/>
                </a:lnTo>
                <a:lnTo>
                  <a:pt x="352369" y="222660"/>
                </a:lnTo>
                <a:close/>
                <a:moveTo>
                  <a:pt x="282264" y="222660"/>
                </a:moveTo>
                <a:lnTo>
                  <a:pt x="282264" y="288936"/>
                </a:lnTo>
                <a:lnTo>
                  <a:pt x="309937" y="288936"/>
                </a:lnTo>
                <a:lnTo>
                  <a:pt x="309937" y="222660"/>
                </a:lnTo>
                <a:close/>
                <a:moveTo>
                  <a:pt x="237988" y="222660"/>
                </a:moveTo>
                <a:lnTo>
                  <a:pt x="237988" y="288936"/>
                </a:lnTo>
                <a:lnTo>
                  <a:pt x="265661" y="288936"/>
                </a:lnTo>
                <a:lnTo>
                  <a:pt x="265661" y="222660"/>
                </a:lnTo>
                <a:close/>
                <a:moveTo>
                  <a:pt x="251804" y="53224"/>
                </a:moveTo>
                <a:lnTo>
                  <a:pt x="333026" y="53224"/>
                </a:lnTo>
                <a:lnTo>
                  <a:pt x="333026" y="69794"/>
                </a:lnTo>
                <a:lnTo>
                  <a:pt x="251804" y="69794"/>
                </a:lnTo>
                <a:close/>
                <a:moveTo>
                  <a:pt x="145744" y="41320"/>
                </a:moveTo>
                <a:lnTo>
                  <a:pt x="127296" y="177555"/>
                </a:lnTo>
                <a:lnTo>
                  <a:pt x="463984" y="177555"/>
                </a:lnTo>
                <a:lnTo>
                  <a:pt x="445535" y="41320"/>
                </a:lnTo>
                <a:close/>
                <a:moveTo>
                  <a:pt x="256092" y="133"/>
                </a:moveTo>
                <a:cubicBezTo>
                  <a:pt x="316005" y="-649"/>
                  <a:pt x="392149" y="1853"/>
                  <a:pt x="482432" y="11864"/>
                </a:cubicBezTo>
                <a:lnTo>
                  <a:pt x="503648" y="173873"/>
                </a:lnTo>
                <a:lnTo>
                  <a:pt x="526709" y="173873"/>
                </a:lnTo>
                <a:lnTo>
                  <a:pt x="526709" y="172032"/>
                </a:lnTo>
                <a:lnTo>
                  <a:pt x="526709" y="137973"/>
                </a:lnTo>
                <a:lnTo>
                  <a:pt x="596814" y="137973"/>
                </a:lnTo>
                <a:lnTo>
                  <a:pt x="596814" y="176634"/>
                </a:lnTo>
                <a:lnTo>
                  <a:pt x="528554" y="176634"/>
                </a:lnTo>
                <a:lnTo>
                  <a:pt x="526709" y="176634"/>
                </a:lnTo>
                <a:lnTo>
                  <a:pt x="526709" y="178475"/>
                </a:lnTo>
                <a:lnTo>
                  <a:pt x="528554" y="178475"/>
                </a:lnTo>
                <a:lnTo>
                  <a:pt x="528554" y="194124"/>
                </a:lnTo>
                <a:lnTo>
                  <a:pt x="572831" y="194124"/>
                </a:lnTo>
                <a:lnTo>
                  <a:pt x="572831" y="231865"/>
                </a:lnTo>
                <a:lnTo>
                  <a:pt x="528554" y="231865"/>
                </a:lnTo>
                <a:lnTo>
                  <a:pt x="528554" y="289857"/>
                </a:lnTo>
                <a:lnTo>
                  <a:pt x="483355" y="289857"/>
                </a:lnTo>
                <a:lnTo>
                  <a:pt x="483355" y="321154"/>
                </a:lnTo>
                <a:lnTo>
                  <a:pt x="154046" y="321154"/>
                </a:lnTo>
                <a:lnTo>
                  <a:pt x="114382" y="321154"/>
                </a:lnTo>
                <a:lnTo>
                  <a:pt x="114382" y="289857"/>
                </a:lnTo>
                <a:lnTo>
                  <a:pt x="55346" y="289857"/>
                </a:lnTo>
                <a:lnTo>
                  <a:pt x="55346" y="230944"/>
                </a:lnTo>
                <a:lnTo>
                  <a:pt x="37820" y="230944"/>
                </a:lnTo>
                <a:lnTo>
                  <a:pt x="37820" y="195965"/>
                </a:lnTo>
                <a:lnTo>
                  <a:pt x="55346" y="195965"/>
                </a:lnTo>
                <a:lnTo>
                  <a:pt x="55346" y="178475"/>
                </a:lnTo>
                <a:lnTo>
                  <a:pt x="70105" y="178475"/>
                </a:lnTo>
                <a:lnTo>
                  <a:pt x="70105" y="176634"/>
                </a:lnTo>
                <a:lnTo>
                  <a:pt x="55346" y="176634"/>
                </a:lnTo>
                <a:lnTo>
                  <a:pt x="0" y="176634"/>
                </a:lnTo>
                <a:lnTo>
                  <a:pt x="0" y="137973"/>
                </a:lnTo>
                <a:lnTo>
                  <a:pt x="70105" y="137973"/>
                </a:lnTo>
                <a:lnTo>
                  <a:pt x="70105" y="172032"/>
                </a:lnTo>
                <a:lnTo>
                  <a:pt x="70105" y="173873"/>
                </a:lnTo>
                <a:lnTo>
                  <a:pt x="81174" y="173873"/>
                </a:lnTo>
                <a:lnTo>
                  <a:pt x="101468" y="11864"/>
                </a:lnTo>
                <a:cubicBezTo>
                  <a:pt x="101468" y="11864"/>
                  <a:pt x="156237" y="1436"/>
                  <a:pt x="256092" y="133"/>
                </a:cubicBezTo>
                <a:close/>
              </a:path>
            </a:pathLst>
          </a:custGeom>
          <a:solidFill>
            <a:srgbClr val="676A8A"/>
          </a:solidFill>
          <a:ln>
            <a:noFill/>
          </a:ln>
        </p:spPr>
      </p:sp>
      <p:sp>
        <p:nvSpPr>
          <p:cNvPr id="70" name="all-terrain-vehicle_3476"/>
          <p:cNvSpPr>
            <a:spLocks noChangeAspect="1"/>
          </p:cNvSpPr>
          <p:nvPr/>
        </p:nvSpPr>
        <p:spPr bwMode="auto">
          <a:xfrm>
            <a:off x="2711264" y="4653267"/>
            <a:ext cx="1179945" cy="901184"/>
          </a:xfrm>
          <a:custGeom>
            <a:avLst/>
            <a:gdLst>
              <a:gd name="T0" fmla="*/ 501 w 583"/>
              <a:gd name="T1" fmla="*/ 126 h 446"/>
              <a:gd name="T2" fmla="*/ 491 w 583"/>
              <a:gd name="T3" fmla="*/ 168 h 446"/>
              <a:gd name="T4" fmla="*/ 416 w 583"/>
              <a:gd name="T5" fmla="*/ 0 h 446"/>
              <a:gd name="T6" fmla="*/ 92 w 583"/>
              <a:gd name="T7" fmla="*/ 75 h 446"/>
              <a:gd name="T8" fmla="*/ 87 w 583"/>
              <a:gd name="T9" fmla="*/ 171 h 446"/>
              <a:gd name="T10" fmla="*/ 0 w 583"/>
              <a:gd name="T11" fmla="*/ 126 h 446"/>
              <a:gd name="T12" fmla="*/ 83 w 583"/>
              <a:gd name="T13" fmla="*/ 173 h 446"/>
              <a:gd name="T14" fmla="*/ 57 w 583"/>
              <a:gd name="T15" fmla="*/ 304 h 446"/>
              <a:gd name="T16" fmla="*/ 89 w 583"/>
              <a:gd name="T17" fmla="*/ 412 h 446"/>
              <a:gd name="T18" fmla="*/ 189 w 583"/>
              <a:gd name="T19" fmla="*/ 412 h 446"/>
              <a:gd name="T20" fmla="*/ 386 w 583"/>
              <a:gd name="T21" fmla="*/ 364 h 446"/>
              <a:gd name="T22" fmla="*/ 436 w 583"/>
              <a:gd name="T23" fmla="*/ 446 h 446"/>
              <a:gd name="T24" fmla="*/ 486 w 583"/>
              <a:gd name="T25" fmla="*/ 359 h 446"/>
              <a:gd name="T26" fmla="*/ 526 w 583"/>
              <a:gd name="T27" fmla="*/ 220 h 446"/>
              <a:gd name="T28" fmla="*/ 583 w 583"/>
              <a:gd name="T29" fmla="*/ 169 h 446"/>
              <a:gd name="T30" fmla="*/ 583 w 583"/>
              <a:gd name="T31" fmla="*/ 126 h 446"/>
              <a:gd name="T32" fmla="*/ 167 w 583"/>
              <a:gd name="T33" fmla="*/ 30 h 446"/>
              <a:gd name="T34" fmla="*/ 461 w 583"/>
              <a:gd name="T35" fmla="*/ 75 h 446"/>
              <a:gd name="T36" fmla="*/ 457 w 583"/>
              <a:gd name="T37" fmla="*/ 160 h 446"/>
              <a:gd name="T38" fmla="*/ 122 w 583"/>
              <a:gd name="T39" fmla="*/ 160 h 446"/>
              <a:gd name="T40" fmla="*/ 122 w 583"/>
              <a:gd name="T41" fmla="*/ 75 h 446"/>
              <a:gd name="T42" fmla="*/ 374 w 583"/>
              <a:gd name="T43" fmla="*/ 289 h 446"/>
              <a:gd name="T44" fmla="*/ 219 w 583"/>
              <a:gd name="T45" fmla="*/ 270 h 446"/>
              <a:gd name="T46" fmla="*/ 107 w 583"/>
              <a:gd name="T47" fmla="*/ 298 h 446"/>
              <a:gd name="T48" fmla="*/ 197 w 583"/>
              <a:gd name="T49" fmla="*/ 232 h 446"/>
              <a:gd name="T50" fmla="*/ 107 w 583"/>
              <a:gd name="T51" fmla="*/ 298 h 446"/>
              <a:gd name="T52" fmla="*/ 197 w 583"/>
              <a:gd name="T53" fmla="*/ 334 h 446"/>
              <a:gd name="T54" fmla="*/ 222 w 583"/>
              <a:gd name="T55" fmla="*/ 334 h 446"/>
              <a:gd name="T56" fmla="*/ 386 w 583"/>
              <a:gd name="T57" fmla="*/ 347 h 446"/>
              <a:gd name="T58" fmla="*/ 386 w 583"/>
              <a:gd name="T59" fmla="*/ 322 h 446"/>
              <a:gd name="T60" fmla="*/ 386 w 583"/>
              <a:gd name="T61" fmla="*/ 347 h 446"/>
              <a:gd name="T62" fmla="*/ 398 w 583"/>
              <a:gd name="T63" fmla="*/ 298 h 446"/>
              <a:gd name="T64" fmla="*/ 488 w 583"/>
              <a:gd name="T65" fmla="*/ 232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83" h="446">
                <a:moveTo>
                  <a:pt x="583" y="126"/>
                </a:moveTo>
                <a:lnTo>
                  <a:pt x="501" y="126"/>
                </a:lnTo>
                <a:lnTo>
                  <a:pt x="496" y="171"/>
                </a:lnTo>
                <a:cubicBezTo>
                  <a:pt x="494" y="170"/>
                  <a:pt x="493" y="169"/>
                  <a:pt x="491" y="168"/>
                </a:cubicBezTo>
                <a:lnTo>
                  <a:pt x="491" y="75"/>
                </a:lnTo>
                <a:cubicBezTo>
                  <a:pt x="491" y="34"/>
                  <a:pt x="457" y="0"/>
                  <a:pt x="416" y="0"/>
                </a:cubicBezTo>
                <a:lnTo>
                  <a:pt x="167" y="0"/>
                </a:lnTo>
                <a:cubicBezTo>
                  <a:pt x="126" y="0"/>
                  <a:pt x="92" y="34"/>
                  <a:pt x="92" y="75"/>
                </a:cubicBezTo>
                <a:lnTo>
                  <a:pt x="92" y="168"/>
                </a:lnTo>
                <a:cubicBezTo>
                  <a:pt x="90" y="169"/>
                  <a:pt x="89" y="170"/>
                  <a:pt x="87" y="171"/>
                </a:cubicBezTo>
                <a:lnTo>
                  <a:pt x="82" y="126"/>
                </a:lnTo>
                <a:lnTo>
                  <a:pt x="0" y="126"/>
                </a:lnTo>
                <a:lnTo>
                  <a:pt x="0" y="169"/>
                </a:lnTo>
                <a:lnTo>
                  <a:pt x="83" y="173"/>
                </a:lnTo>
                <a:cubicBezTo>
                  <a:pt x="67" y="184"/>
                  <a:pt x="57" y="201"/>
                  <a:pt x="57" y="220"/>
                </a:cubicBezTo>
                <a:lnTo>
                  <a:pt x="57" y="304"/>
                </a:lnTo>
                <a:cubicBezTo>
                  <a:pt x="57" y="326"/>
                  <a:pt x="70" y="344"/>
                  <a:pt x="89" y="355"/>
                </a:cubicBezTo>
                <a:lnTo>
                  <a:pt x="89" y="412"/>
                </a:lnTo>
                <a:cubicBezTo>
                  <a:pt x="89" y="431"/>
                  <a:pt x="111" y="446"/>
                  <a:pt x="139" y="446"/>
                </a:cubicBezTo>
                <a:cubicBezTo>
                  <a:pt x="166" y="446"/>
                  <a:pt x="189" y="431"/>
                  <a:pt x="189" y="412"/>
                </a:cubicBezTo>
                <a:lnTo>
                  <a:pt x="189" y="364"/>
                </a:lnTo>
                <a:lnTo>
                  <a:pt x="386" y="364"/>
                </a:lnTo>
                <a:lnTo>
                  <a:pt x="386" y="412"/>
                </a:lnTo>
                <a:cubicBezTo>
                  <a:pt x="386" y="431"/>
                  <a:pt x="408" y="446"/>
                  <a:pt x="436" y="446"/>
                </a:cubicBezTo>
                <a:cubicBezTo>
                  <a:pt x="463" y="446"/>
                  <a:pt x="486" y="431"/>
                  <a:pt x="486" y="412"/>
                </a:cubicBezTo>
                <a:lnTo>
                  <a:pt x="486" y="359"/>
                </a:lnTo>
                <a:cubicBezTo>
                  <a:pt x="509" y="349"/>
                  <a:pt x="526" y="329"/>
                  <a:pt x="526" y="304"/>
                </a:cubicBezTo>
                <a:lnTo>
                  <a:pt x="526" y="220"/>
                </a:lnTo>
                <a:cubicBezTo>
                  <a:pt x="526" y="201"/>
                  <a:pt x="516" y="184"/>
                  <a:pt x="500" y="173"/>
                </a:cubicBezTo>
                <a:lnTo>
                  <a:pt x="583" y="169"/>
                </a:lnTo>
                <a:lnTo>
                  <a:pt x="583" y="126"/>
                </a:lnTo>
                <a:lnTo>
                  <a:pt x="583" y="126"/>
                </a:lnTo>
                <a:close/>
                <a:moveTo>
                  <a:pt x="122" y="75"/>
                </a:moveTo>
                <a:cubicBezTo>
                  <a:pt x="122" y="50"/>
                  <a:pt x="142" y="30"/>
                  <a:pt x="167" y="30"/>
                </a:cubicBezTo>
                <a:lnTo>
                  <a:pt x="416" y="30"/>
                </a:lnTo>
                <a:cubicBezTo>
                  <a:pt x="441" y="30"/>
                  <a:pt x="461" y="50"/>
                  <a:pt x="461" y="75"/>
                </a:cubicBezTo>
                <a:lnTo>
                  <a:pt x="461" y="160"/>
                </a:lnTo>
                <a:cubicBezTo>
                  <a:pt x="460" y="160"/>
                  <a:pt x="458" y="160"/>
                  <a:pt x="457" y="160"/>
                </a:cubicBezTo>
                <a:lnTo>
                  <a:pt x="126" y="160"/>
                </a:lnTo>
                <a:cubicBezTo>
                  <a:pt x="125" y="160"/>
                  <a:pt x="123" y="160"/>
                  <a:pt x="122" y="160"/>
                </a:cubicBezTo>
                <a:lnTo>
                  <a:pt x="122" y="75"/>
                </a:lnTo>
                <a:lnTo>
                  <a:pt x="122" y="75"/>
                </a:lnTo>
                <a:close/>
                <a:moveTo>
                  <a:pt x="374" y="270"/>
                </a:moveTo>
                <a:lnTo>
                  <a:pt x="374" y="289"/>
                </a:lnTo>
                <a:lnTo>
                  <a:pt x="219" y="289"/>
                </a:lnTo>
                <a:lnTo>
                  <a:pt x="219" y="270"/>
                </a:lnTo>
                <a:lnTo>
                  <a:pt x="374" y="270"/>
                </a:lnTo>
                <a:close/>
                <a:moveTo>
                  <a:pt x="107" y="298"/>
                </a:moveTo>
                <a:lnTo>
                  <a:pt x="107" y="232"/>
                </a:lnTo>
                <a:lnTo>
                  <a:pt x="197" y="232"/>
                </a:lnTo>
                <a:lnTo>
                  <a:pt x="197" y="298"/>
                </a:lnTo>
                <a:lnTo>
                  <a:pt x="107" y="298"/>
                </a:lnTo>
                <a:close/>
                <a:moveTo>
                  <a:pt x="209" y="347"/>
                </a:moveTo>
                <a:cubicBezTo>
                  <a:pt x="202" y="347"/>
                  <a:pt x="197" y="341"/>
                  <a:pt x="197" y="334"/>
                </a:cubicBezTo>
                <a:cubicBezTo>
                  <a:pt x="197" y="327"/>
                  <a:pt x="202" y="322"/>
                  <a:pt x="209" y="322"/>
                </a:cubicBezTo>
                <a:cubicBezTo>
                  <a:pt x="216" y="322"/>
                  <a:pt x="222" y="327"/>
                  <a:pt x="222" y="334"/>
                </a:cubicBezTo>
                <a:cubicBezTo>
                  <a:pt x="222" y="341"/>
                  <a:pt x="216" y="347"/>
                  <a:pt x="209" y="347"/>
                </a:cubicBezTo>
                <a:close/>
                <a:moveTo>
                  <a:pt x="386" y="347"/>
                </a:moveTo>
                <a:cubicBezTo>
                  <a:pt x="379" y="347"/>
                  <a:pt x="374" y="341"/>
                  <a:pt x="374" y="334"/>
                </a:cubicBezTo>
                <a:cubicBezTo>
                  <a:pt x="374" y="327"/>
                  <a:pt x="379" y="322"/>
                  <a:pt x="386" y="322"/>
                </a:cubicBezTo>
                <a:cubicBezTo>
                  <a:pt x="393" y="322"/>
                  <a:pt x="399" y="327"/>
                  <a:pt x="399" y="334"/>
                </a:cubicBezTo>
                <a:cubicBezTo>
                  <a:pt x="399" y="341"/>
                  <a:pt x="393" y="347"/>
                  <a:pt x="386" y="347"/>
                </a:cubicBezTo>
                <a:close/>
                <a:moveTo>
                  <a:pt x="488" y="298"/>
                </a:moveTo>
                <a:lnTo>
                  <a:pt x="398" y="298"/>
                </a:lnTo>
                <a:lnTo>
                  <a:pt x="398" y="232"/>
                </a:lnTo>
                <a:lnTo>
                  <a:pt x="488" y="232"/>
                </a:lnTo>
                <a:lnTo>
                  <a:pt x="488" y="298"/>
                </a:lnTo>
                <a:close/>
              </a:path>
            </a:pathLst>
          </a:custGeom>
          <a:solidFill>
            <a:srgbClr val="676A8A"/>
          </a:solidFill>
          <a:ln>
            <a:noFill/>
          </a:ln>
        </p:spPr>
        <p:txBody>
          <a:bodyPr/>
          <a:lstStyle/>
          <a:p>
            <a:endParaRPr lang="zh-CN" altLang="en-US"/>
          </a:p>
        </p:txBody>
      </p:sp>
      <p:sp>
        <p:nvSpPr>
          <p:cNvPr id="54" name="ellipsis_64560"/>
          <p:cNvSpPr>
            <a:spLocks noChangeAspect="1"/>
          </p:cNvSpPr>
          <p:nvPr/>
        </p:nvSpPr>
        <p:spPr bwMode="auto">
          <a:xfrm>
            <a:off x="4145482" y="4967674"/>
            <a:ext cx="1179945" cy="314130"/>
          </a:xfrm>
          <a:custGeom>
            <a:avLst/>
            <a:gdLst>
              <a:gd name="connsiteX0" fmla="*/ 520884 w 601565"/>
              <a:gd name="connsiteY0" fmla="*/ 0 h 160152"/>
              <a:gd name="connsiteX1" fmla="*/ 601565 w 601565"/>
              <a:gd name="connsiteY1" fmla="*/ 80076 h 160152"/>
              <a:gd name="connsiteX2" fmla="*/ 520884 w 601565"/>
              <a:gd name="connsiteY2" fmla="*/ 160152 h 160152"/>
              <a:gd name="connsiteX3" fmla="*/ 440203 w 601565"/>
              <a:gd name="connsiteY3" fmla="*/ 80076 h 160152"/>
              <a:gd name="connsiteX4" fmla="*/ 520884 w 601565"/>
              <a:gd name="connsiteY4" fmla="*/ 0 h 160152"/>
              <a:gd name="connsiteX5" fmla="*/ 300783 w 601565"/>
              <a:gd name="connsiteY5" fmla="*/ 0 h 160152"/>
              <a:gd name="connsiteX6" fmla="*/ 380946 w 601565"/>
              <a:gd name="connsiteY6" fmla="*/ 80076 h 160152"/>
              <a:gd name="connsiteX7" fmla="*/ 300783 w 601565"/>
              <a:gd name="connsiteY7" fmla="*/ 160152 h 160152"/>
              <a:gd name="connsiteX8" fmla="*/ 220620 w 601565"/>
              <a:gd name="connsiteY8" fmla="*/ 80076 h 160152"/>
              <a:gd name="connsiteX9" fmla="*/ 300783 w 601565"/>
              <a:gd name="connsiteY9" fmla="*/ 0 h 160152"/>
              <a:gd name="connsiteX10" fmla="*/ 80681 w 601565"/>
              <a:gd name="connsiteY10" fmla="*/ 0 h 160152"/>
              <a:gd name="connsiteX11" fmla="*/ 161362 w 601565"/>
              <a:gd name="connsiteY11" fmla="*/ 80076 h 160152"/>
              <a:gd name="connsiteX12" fmla="*/ 80681 w 601565"/>
              <a:gd name="connsiteY12" fmla="*/ 160152 h 160152"/>
              <a:gd name="connsiteX13" fmla="*/ 0 w 601565"/>
              <a:gd name="connsiteY13" fmla="*/ 80076 h 160152"/>
              <a:gd name="connsiteX14" fmla="*/ 80681 w 601565"/>
              <a:gd name="connsiteY14" fmla="*/ 0 h 16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1565" h="160152">
                <a:moveTo>
                  <a:pt x="520884" y="0"/>
                </a:moveTo>
                <a:cubicBezTo>
                  <a:pt x="565443" y="0"/>
                  <a:pt x="601565" y="35851"/>
                  <a:pt x="601565" y="80076"/>
                </a:cubicBezTo>
                <a:cubicBezTo>
                  <a:pt x="601565" y="124301"/>
                  <a:pt x="565443" y="160152"/>
                  <a:pt x="520884" y="160152"/>
                </a:cubicBezTo>
                <a:cubicBezTo>
                  <a:pt x="476325" y="160152"/>
                  <a:pt x="440203" y="124301"/>
                  <a:pt x="440203" y="80076"/>
                </a:cubicBezTo>
                <a:cubicBezTo>
                  <a:pt x="440203" y="35851"/>
                  <a:pt x="476325" y="0"/>
                  <a:pt x="520884" y="0"/>
                </a:cubicBezTo>
                <a:close/>
                <a:moveTo>
                  <a:pt x="300783" y="0"/>
                </a:moveTo>
                <a:cubicBezTo>
                  <a:pt x="345056" y="0"/>
                  <a:pt x="380946" y="35851"/>
                  <a:pt x="380946" y="80076"/>
                </a:cubicBezTo>
                <a:cubicBezTo>
                  <a:pt x="380946" y="124301"/>
                  <a:pt x="345056" y="160152"/>
                  <a:pt x="300783" y="160152"/>
                </a:cubicBezTo>
                <a:cubicBezTo>
                  <a:pt x="256510" y="160152"/>
                  <a:pt x="220620" y="124301"/>
                  <a:pt x="220620" y="80076"/>
                </a:cubicBezTo>
                <a:cubicBezTo>
                  <a:pt x="220620" y="35851"/>
                  <a:pt x="256510" y="0"/>
                  <a:pt x="300783" y="0"/>
                </a:cubicBezTo>
                <a:close/>
                <a:moveTo>
                  <a:pt x="80681" y="0"/>
                </a:moveTo>
                <a:cubicBezTo>
                  <a:pt x="125240" y="0"/>
                  <a:pt x="161362" y="35851"/>
                  <a:pt x="161362" y="80076"/>
                </a:cubicBezTo>
                <a:cubicBezTo>
                  <a:pt x="161362" y="124301"/>
                  <a:pt x="125240" y="160152"/>
                  <a:pt x="80681" y="160152"/>
                </a:cubicBezTo>
                <a:cubicBezTo>
                  <a:pt x="36122" y="160152"/>
                  <a:pt x="0" y="124301"/>
                  <a:pt x="0" y="80076"/>
                </a:cubicBezTo>
                <a:cubicBezTo>
                  <a:pt x="0" y="35851"/>
                  <a:pt x="36122" y="0"/>
                  <a:pt x="80681" y="0"/>
                </a:cubicBezTo>
                <a:close/>
              </a:path>
            </a:pathLst>
          </a:custGeom>
          <a:solidFill>
            <a:srgbClr val="676A8A"/>
          </a:solidFill>
          <a:ln>
            <a:noFill/>
          </a:ln>
        </p:spPr>
      </p:sp>
      <p:sp>
        <p:nvSpPr>
          <p:cNvPr id="2" name="文本框 1"/>
          <p:cNvSpPr txBox="1"/>
          <p:nvPr/>
        </p:nvSpPr>
        <p:spPr>
          <a:xfrm>
            <a:off x="1183304" y="5521512"/>
            <a:ext cx="945676" cy="307777"/>
          </a:xfrm>
          <a:prstGeom prst="rect">
            <a:avLst/>
          </a:prstGeom>
          <a:noFill/>
        </p:spPr>
        <p:txBody>
          <a:bodyPr wrap="square" rtlCol="0">
            <a:spAutoFit/>
          </a:bodyPr>
          <a:lstStyle/>
          <a:p>
            <a:r>
              <a:rPr lang="en-US" altLang="zh-CN" sz="1400" dirty="0" smtClean="0"/>
              <a:t>BMW320</a:t>
            </a:r>
            <a:endParaRPr lang="zh-CN" altLang="en-US" sz="1400" dirty="0"/>
          </a:p>
        </p:txBody>
      </p:sp>
      <p:sp>
        <p:nvSpPr>
          <p:cNvPr id="55" name="文本框 54"/>
          <p:cNvSpPr txBox="1"/>
          <p:nvPr/>
        </p:nvSpPr>
        <p:spPr>
          <a:xfrm>
            <a:off x="2828362" y="5521512"/>
            <a:ext cx="945748" cy="307777"/>
          </a:xfrm>
          <a:prstGeom prst="rect">
            <a:avLst/>
          </a:prstGeom>
          <a:noFill/>
        </p:spPr>
        <p:txBody>
          <a:bodyPr wrap="square" rtlCol="0">
            <a:spAutoFit/>
          </a:bodyPr>
          <a:lstStyle/>
          <a:p>
            <a:r>
              <a:rPr lang="en-US" altLang="zh-CN" sz="1400" dirty="0" smtClean="0"/>
              <a:t>BMW532</a:t>
            </a:r>
            <a:endParaRPr lang="zh-CN" altLang="en-US" sz="1400" dirty="0"/>
          </a:p>
        </p:txBody>
      </p:sp>
      <p:cxnSp>
        <p:nvCxnSpPr>
          <p:cNvPr id="8" name="直接箭头连接符 7"/>
          <p:cNvCxnSpPr>
            <a:endCxn id="51" idx="36"/>
          </p:cNvCxnSpPr>
          <p:nvPr/>
        </p:nvCxnSpPr>
        <p:spPr>
          <a:xfrm flipH="1">
            <a:off x="1572483" y="3382575"/>
            <a:ext cx="1255879" cy="1324775"/>
          </a:xfrm>
          <a:prstGeom prst="straightConnector1">
            <a:avLst/>
          </a:prstGeom>
          <a:ln w="63500" cap="flat">
            <a:solidFill>
              <a:schemeClr val="tx1"/>
            </a:solidFill>
            <a:prstDash val="sysDash"/>
            <a:round/>
            <a:tailEnd type="triangle"/>
          </a:ln>
          <a:effectLst>
            <a:outerShdw blurRad="40000" dist="23000" dir="5400000" rotWithShape="0">
              <a:srgbClr val="000000">
                <a:alpha val="35000"/>
              </a:srgbClr>
            </a:outerShdw>
            <a:softEdge rad="0"/>
          </a:effectLst>
        </p:spPr>
        <p:style>
          <a:lnRef idx="3">
            <a:schemeClr val="accent1"/>
          </a:lnRef>
          <a:fillRef idx="0">
            <a:schemeClr val="accent1"/>
          </a:fillRef>
          <a:effectRef idx="2">
            <a:schemeClr val="accent1"/>
          </a:effectRef>
          <a:fontRef idx="minor">
            <a:schemeClr val="tx1"/>
          </a:fontRef>
        </p:style>
      </p:cxnSp>
      <p:cxnSp>
        <p:nvCxnSpPr>
          <p:cNvPr id="10" name="直接箭头连接符 9"/>
          <p:cNvCxnSpPr/>
          <p:nvPr/>
        </p:nvCxnSpPr>
        <p:spPr>
          <a:xfrm>
            <a:off x="2828362" y="3382575"/>
            <a:ext cx="389215" cy="1303893"/>
          </a:xfrm>
          <a:prstGeom prst="straightConnector1">
            <a:avLst/>
          </a:prstGeom>
          <a:ln w="63500" cap="flat">
            <a:solidFill>
              <a:schemeClr val="tx1"/>
            </a:solidFill>
            <a:prstDash val="sysDash"/>
            <a:round/>
            <a:tailEnd type="triangle"/>
          </a:ln>
          <a:effectLst>
            <a:outerShdw blurRad="40000" dist="23000" dir="5400000" rotWithShape="0">
              <a:srgbClr val="000000">
                <a:alpha val="35000"/>
              </a:srgbClr>
            </a:outerShdw>
            <a:softEdge rad="0"/>
          </a:effectLst>
        </p:spPr>
        <p:style>
          <a:lnRef idx="3">
            <a:schemeClr val="accent1"/>
          </a:lnRef>
          <a:fillRef idx="0">
            <a:schemeClr val="accent1"/>
          </a:fillRef>
          <a:effectRef idx="2">
            <a:schemeClr val="accent1"/>
          </a:effectRef>
          <a:fontRef idx="minor">
            <a:schemeClr val="tx1"/>
          </a:fontRef>
        </p:style>
      </p:cxnSp>
      <p:cxnSp>
        <p:nvCxnSpPr>
          <p:cNvPr id="12" name="直接箭头连接符 11"/>
          <p:cNvCxnSpPr/>
          <p:nvPr/>
        </p:nvCxnSpPr>
        <p:spPr>
          <a:xfrm>
            <a:off x="2828362" y="3382575"/>
            <a:ext cx="1795677" cy="1434752"/>
          </a:xfrm>
          <a:prstGeom prst="straightConnector1">
            <a:avLst/>
          </a:prstGeom>
          <a:ln w="63500" cap="flat">
            <a:solidFill>
              <a:schemeClr val="tx1"/>
            </a:solidFill>
            <a:prstDash val="sysDash"/>
            <a:round/>
            <a:tailEnd type="triangle"/>
          </a:ln>
          <a:effectLst>
            <a:outerShdw blurRad="40000" dist="23000" dir="5400000" rotWithShape="0">
              <a:srgbClr val="000000">
                <a:alpha val="35000"/>
              </a:srgbClr>
            </a:outerShdw>
            <a:softEdge rad="0"/>
          </a:effectLst>
        </p:spPr>
        <p:style>
          <a:lnRef idx="3">
            <a:schemeClr val="accent1"/>
          </a:lnRef>
          <a:fillRef idx="0">
            <a:schemeClr val="accent1"/>
          </a:fillRef>
          <a:effectRef idx="2">
            <a:schemeClr val="accent1"/>
          </a:effectRef>
          <a:fontRef idx="minor">
            <a:schemeClr val="tx1"/>
          </a:fontRef>
        </p:style>
      </p:cxnSp>
      <p:sp>
        <p:nvSpPr>
          <p:cNvPr id="13" name="Rectangle 1"/>
          <p:cNvSpPr>
            <a:spLocks noChangeArrowheads="1"/>
          </p:cNvSpPr>
          <p:nvPr/>
        </p:nvSpPr>
        <p:spPr bwMode="auto">
          <a:xfrm>
            <a:off x="5879918" y="1318567"/>
            <a:ext cx="5608472" cy="2585323"/>
          </a:xfrm>
          <a:prstGeom prst="rect">
            <a:avLst/>
          </a:prstGeom>
          <a:solidFill>
            <a:srgbClr val="FFFFFF">
              <a:alpha val="30000"/>
            </a:srgbClr>
          </a:solidFill>
          <a:ln w="63500">
            <a:solidFill>
              <a:srgbClr val="E1691F">
                <a:alpha val="30000"/>
              </a:srgbClr>
            </a:solidFill>
            <a:prstDash val="dash"/>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b="1" i="0" u="none" strike="noStrike" cap="none" normalizeH="0" baseline="0" dirty="0" smtClean="0">
                <a:ln>
                  <a:noFill/>
                </a:ln>
                <a:solidFill>
                  <a:srgbClr val="000080"/>
                </a:solidFill>
                <a:effectLst/>
                <a:latin typeface="Ubuntu Mono" panose="020B0509030602030204" pitchFamily="49" charset="0"/>
              </a:rPr>
              <a:t>class </a:t>
            </a:r>
            <a:r>
              <a:rPr kumimoji="0" lang="zh-CN" altLang="zh-CN" b="0" i="0" u="none" strike="noStrike" cap="none" normalizeH="0" baseline="0" dirty="0" smtClean="0">
                <a:ln>
                  <a:noFill/>
                </a:ln>
                <a:solidFill>
                  <a:srgbClr val="000000"/>
                </a:solidFill>
                <a:effectLst/>
                <a:latin typeface="Ubuntu Mono" panose="020B0509030602030204" pitchFamily="49" charset="0"/>
              </a:rPr>
              <a:t>BMWSimpleFactory {</a:t>
            </a:r>
            <a:br>
              <a:rPr kumimoji="0" lang="zh-CN" altLang="zh-CN" b="0" i="0" u="none" strike="noStrike" cap="none" normalizeH="0" baseline="0" dirty="0" smtClean="0">
                <a:ln>
                  <a:noFill/>
                </a:ln>
                <a:solidFill>
                  <a:srgbClr val="000000"/>
                </a:solidFill>
                <a:effectLst/>
                <a:latin typeface="Ubuntu Mono" panose="020B0509030602030204" pitchFamily="49" charset="0"/>
              </a:rPr>
            </a:br>
            <a:r>
              <a:rPr kumimoji="0" lang="zh-CN" altLang="zh-CN" b="0" i="0" u="none" strike="noStrike" cap="none" normalizeH="0" baseline="0" dirty="0" smtClean="0">
                <a:ln>
                  <a:noFill/>
                </a:ln>
                <a:solidFill>
                  <a:srgbClr val="000000"/>
                </a:solidFill>
                <a:effectLst/>
                <a:latin typeface="Ubuntu Mono" panose="020B0509030602030204" pitchFamily="49" charset="0"/>
              </a:rPr>
              <a:t>    </a:t>
            </a:r>
            <a:r>
              <a:rPr kumimoji="0" lang="zh-CN" altLang="zh-CN" b="1" i="0" u="none" strike="noStrike" cap="none" normalizeH="0" baseline="0" dirty="0" smtClean="0">
                <a:ln>
                  <a:noFill/>
                </a:ln>
                <a:solidFill>
                  <a:srgbClr val="000080"/>
                </a:solidFill>
                <a:effectLst/>
                <a:latin typeface="Ubuntu Mono" panose="020B0509030602030204" pitchFamily="49" charset="0"/>
              </a:rPr>
              <a:t>fun </a:t>
            </a:r>
            <a:r>
              <a:rPr kumimoji="0" lang="zh-CN" altLang="zh-CN" b="0" i="0" u="none" strike="noStrike" cap="none" normalizeH="0" baseline="0" dirty="0" smtClean="0">
                <a:ln>
                  <a:noFill/>
                </a:ln>
                <a:solidFill>
                  <a:srgbClr val="000000"/>
                </a:solidFill>
                <a:effectLst/>
                <a:latin typeface="Ubuntu Mono" panose="020B0509030602030204" pitchFamily="49" charset="0"/>
              </a:rPr>
              <a:t>createBMWS(type : String): BMWS?  {</a:t>
            </a:r>
            <a:br>
              <a:rPr kumimoji="0" lang="zh-CN" altLang="zh-CN" b="0" i="0" u="none" strike="noStrike" cap="none" normalizeH="0" baseline="0" dirty="0" smtClean="0">
                <a:ln>
                  <a:noFill/>
                </a:ln>
                <a:solidFill>
                  <a:srgbClr val="000000"/>
                </a:solidFill>
                <a:effectLst/>
                <a:latin typeface="Ubuntu Mono" panose="020B0509030602030204" pitchFamily="49" charset="0"/>
              </a:rPr>
            </a:br>
            <a:r>
              <a:rPr kumimoji="0" lang="zh-CN" altLang="zh-CN" b="0" i="0" u="none" strike="noStrike" cap="none" normalizeH="0" baseline="0" dirty="0" smtClean="0">
                <a:ln>
                  <a:noFill/>
                </a:ln>
                <a:solidFill>
                  <a:srgbClr val="000000"/>
                </a:solidFill>
                <a:effectLst/>
                <a:latin typeface="Ubuntu Mono" panose="020B0509030602030204" pitchFamily="49" charset="0"/>
              </a:rPr>
              <a:t>        </a:t>
            </a:r>
            <a:r>
              <a:rPr kumimoji="0" lang="zh-CN" altLang="zh-CN" b="1" i="0" u="none" strike="noStrike" cap="none" normalizeH="0" baseline="0" dirty="0" smtClean="0">
                <a:ln>
                  <a:noFill/>
                </a:ln>
                <a:solidFill>
                  <a:srgbClr val="000080"/>
                </a:solidFill>
                <a:effectLst/>
                <a:latin typeface="Ubuntu Mono" panose="020B0509030602030204" pitchFamily="49" charset="0"/>
              </a:rPr>
              <a:t>when</a:t>
            </a:r>
            <a:r>
              <a:rPr kumimoji="0" lang="zh-CN" altLang="zh-CN" b="0" i="0" u="none" strike="noStrike" cap="none" normalizeH="0" baseline="0" dirty="0" smtClean="0">
                <a:ln>
                  <a:noFill/>
                </a:ln>
                <a:solidFill>
                  <a:srgbClr val="000000"/>
                </a:solidFill>
                <a:effectLst/>
                <a:latin typeface="Ubuntu Mono" panose="020B0509030602030204" pitchFamily="49" charset="0"/>
              </a:rPr>
              <a:t>(type) {</a:t>
            </a:r>
            <a:br>
              <a:rPr kumimoji="0" lang="zh-CN" altLang="zh-CN" b="0" i="0" u="none" strike="noStrike" cap="none" normalizeH="0" baseline="0" dirty="0" smtClean="0">
                <a:ln>
                  <a:noFill/>
                </a:ln>
                <a:solidFill>
                  <a:srgbClr val="000000"/>
                </a:solidFill>
                <a:effectLst/>
                <a:latin typeface="Ubuntu Mono" panose="020B0509030602030204" pitchFamily="49" charset="0"/>
              </a:rPr>
            </a:br>
            <a:r>
              <a:rPr kumimoji="0" lang="zh-CN" altLang="zh-CN" b="0" i="0" u="none" strike="noStrike" cap="none" normalizeH="0" baseline="0" dirty="0" smtClean="0">
                <a:ln>
                  <a:noFill/>
                </a:ln>
                <a:solidFill>
                  <a:srgbClr val="000000"/>
                </a:solidFill>
                <a:effectLst/>
                <a:latin typeface="Ubuntu Mono" panose="020B0509030602030204" pitchFamily="49" charset="0"/>
              </a:rPr>
              <a:t>            </a:t>
            </a:r>
            <a:r>
              <a:rPr kumimoji="0" lang="zh-CN" altLang="zh-CN" b="1" i="0" u="none" strike="noStrike" cap="none" normalizeH="0" baseline="0" dirty="0" smtClean="0">
                <a:ln>
                  <a:noFill/>
                </a:ln>
                <a:solidFill>
                  <a:srgbClr val="008000"/>
                </a:solidFill>
                <a:effectLst/>
                <a:latin typeface="Ubuntu Mono" panose="020B0509030602030204" pitchFamily="49" charset="0"/>
              </a:rPr>
              <a:t>"BMW320" </a:t>
            </a:r>
            <a:r>
              <a:rPr kumimoji="0" lang="zh-CN" altLang="zh-CN" b="0" i="0" u="none" strike="noStrike" cap="none" normalizeH="0" baseline="0" dirty="0" smtClean="0">
                <a:ln>
                  <a:noFill/>
                </a:ln>
                <a:solidFill>
                  <a:srgbClr val="000000"/>
                </a:solidFill>
                <a:effectLst/>
                <a:latin typeface="Ubuntu Mono" panose="020B0509030602030204" pitchFamily="49" charset="0"/>
              </a:rPr>
              <a:t>-&gt; </a:t>
            </a:r>
            <a:r>
              <a:rPr kumimoji="0" lang="zh-CN" altLang="zh-CN" b="1" i="0" u="none" strike="noStrike" cap="none" normalizeH="0" baseline="0" dirty="0" smtClean="0">
                <a:ln>
                  <a:noFill/>
                </a:ln>
                <a:solidFill>
                  <a:srgbClr val="000080"/>
                </a:solidFill>
                <a:effectLst/>
                <a:latin typeface="Ubuntu Mono" panose="020B0509030602030204" pitchFamily="49" charset="0"/>
              </a:rPr>
              <a:t>return </a:t>
            </a:r>
            <a:r>
              <a:rPr kumimoji="0" lang="zh-CN" altLang="zh-CN" b="0" i="0" u="none" strike="noStrike" cap="none" normalizeH="0" baseline="0" dirty="0" smtClean="0">
                <a:ln>
                  <a:noFill/>
                </a:ln>
                <a:solidFill>
                  <a:srgbClr val="000000"/>
                </a:solidFill>
                <a:effectLst/>
                <a:latin typeface="Ubuntu Mono" panose="020B0509030602030204" pitchFamily="49" charset="0"/>
              </a:rPr>
              <a:t>BMW320S()</a:t>
            </a:r>
            <a:br>
              <a:rPr kumimoji="0" lang="zh-CN" altLang="zh-CN" b="0" i="0" u="none" strike="noStrike" cap="none" normalizeH="0" baseline="0" dirty="0" smtClean="0">
                <a:ln>
                  <a:noFill/>
                </a:ln>
                <a:solidFill>
                  <a:srgbClr val="000000"/>
                </a:solidFill>
                <a:effectLst/>
                <a:latin typeface="Ubuntu Mono" panose="020B0509030602030204" pitchFamily="49" charset="0"/>
              </a:rPr>
            </a:br>
            <a:r>
              <a:rPr kumimoji="0" lang="zh-CN" altLang="zh-CN" b="0" i="0" u="none" strike="noStrike" cap="none" normalizeH="0" baseline="0" dirty="0" smtClean="0">
                <a:ln>
                  <a:noFill/>
                </a:ln>
                <a:solidFill>
                  <a:srgbClr val="000000"/>
                </a:solidFill>
                <a:effectLst/>
                <a:latin typeface="Ubuntu Mono" panose="020B0509030602030204" pitchFamily="49" charset="0"/>
              </a:rPr>
              <a:t>            </a:t>
            </a:r>
            <a:r>
              <a:rPr kumimoji="0" lang="zh-CN" altLang="zh-CN" b="1" i="0" u="none" strike="noStrike" cap="none" normalizeH="0" baseline="0" dirty="0" smtClean="0">
                <a:ln>
                  <a:noFill/>
                </a:ln>
                <a:solidFill>
                  <a:srgbClr val="008000"/>
                </a:solidFill>
                <a:effectLst/>
                <a:latin typeface="Ubuntu Mono" panose="020B0509030602030204" pitchFamily="49" charset="0"/>
              </a:rPr>
              <a:t>"BMW523" </a:t>
            </a:r>
            <a:r>
              <a:rPr kumimoji="0" lang="zh-CN" altLang="zh-CN" b="0" i="0" u="none" strike="noStrike" cap="none" normalizeH="0" baseline="0" dirty="0" smtClean="0">
                <a:ln>
                  <a:noFill/>
                </a:ln>
                <a:solidFill>
                  <a:srgbClr val="000000"/>
                </a:solidFill>
                <a:effectLst/>
                <a:latin typeface="Ubuntu Mono" panose="020B0509030602030204" pitchFamily="49" charset="0"/>
              </a:rPr>
              <a:t>-&gt; </a:t>
            </a:r>
            <a:r>
              <a:rPr kumimoji="0" lang="zh-CN" altLang="zh-CN" b="1" i="0" u="none" strike="noStrike" cap="none" normalizeH="0" baseline="0" dirty="0" smtClean="0">
                <a:ln>
                  <a:noFill/>
                </a:ln>
                <a:solidFill>
                  <a:srgbClr val="000080"/>
                </a:solidFill>
                <a:effectLst/>
                <a:latin typeface="Ubuntu Mono" panose="020B0509030602030204" pitchFamily="49" charset="0"/>
              </a:rPr>
              <a:t>return </a:t>
            </a:r>
            <a:r>
              <a:rPr kumimoji="0" lang="zh-CN" altLang="zh-CN" b="0" i="0" u="none" strike="noStrike" cap="none" normalizeH="0" baseline="0" dirty="0" smtClean="0">
                <a:ln>
                  <a:noFill/>
                </a:ln>
                <a:solidFill>
                  <a:srgbClr val="000000"/>
                </a:solidFill>
                <a:effectLst/>
                <a:latin typeface="Ubuntu Mono" panose="020B0509030602030204" pitchFamily="49" charset="0"/>
              </a:rPr>
              <a:t>BMW523S()</a:t>
            </a:r>
            <a:br>
              <a:rPr kumimoji="0" lang="zh-CN" altLang="zh-CN" b="0" i="0" u="none" strike="noStrike" cap="none" normalizeH="0" baseline="0" dirty="0" smtClean="0">
                <a:ln>
                  <a:noFill/>
                </a:ln>
                <a:solidFill>
                  <a:srgbClr val="000000"/>
                </a:solidFill>
                <a:effectLst/>
                <a:latin typeface="Ubuntu Mono" panose="020B0509030602030204" pitchFamily="49" charset="0"/>
              </a:rPr>
            </a:br>
            <a:r>
              <a:rPr kumimoji="0" lang="zh-CN" altLang="zh-CN" b="0" i="0" u="none" strike="noStrike" cap="none" normalizeH="0" baseline="0" dirty="0" smtClean="0">
                <a:ln>
                  <a:noFill/>
                </a:ln>
                <a:solidFill>
                  <a:srgbClr val="000000"/>
                </a:solidFill>
                <a:effectLst/>
                <a:latin typeface="Ubuntu Mono" panose="020B0509030602030204" pitchFamily="49" charset="0"/>
              </a:rPr>
              <a:t>        }</a:t>
            </a:r>
            <a:br>
              <a:rPr kumimoji="0" lang="zh-CN" altLang="zh-CN" b="0" i="0" u="none" strike="noStrike" cap="none" normalizeH="0" baseline="0" dirty="0" smtClean="0">
                <a:ln>
                  <a:noFill/>
                </a:ln>
                <a:solidFill>
                  <a:srgbClr val="000000"/>
                </a:solidFill>
                <a:effectLst/>
                <a:latin typeface="Ubuntu Mono" panose="020B0509030602030204" pitchFamily="49" charset="0"/>
              </a:rPr>
            </a:br>
            <a:r>
              <a:rPr kumimoji="0" lang="zh-CN" altLang="zh-CN" b="0" i="0" u="none" strike="noStrike" cap="none" normalizeH="0" baseline="0" dirty="0" smtClean="0">
                <a:ln>
                  <a:noFill/>
                </a:ln>
                <a:solidFill>
                  <a:srgbClr val="000000"/>
                </a:solidFill>
                <a:effectLst/>
                <a:latin typeface="Ubuntu Mono" panose="020B0509030602030204" pitchFamily="49" charset="0"/>
              </a:rPr>
              <a:t>        </a:t>
            </a:r>
            <a:r>
              <a:rPr kumimoji="0" lang="zh-CN" altLang="zh-CN" b="1" i="0" u="none" strike="noStrike" cap="none" normalizeH="0" baseline="0" dirty="0" smtClean="0">
                <a:ln>
                  <a:noFill/>
                </a:ln>
                <a:solidFill>
                  <a:srgbClr val="000080"/>
                </a:solidFill>
                <a:effectLst/>
                <a:latin typeface="Ubuntu Mono" panose="020B0509030602030204" pitchFamily="49" charset="0"/>
              </a:rPr>
              <a:t>return null</a:t>
            </a:r>
            <a:br>
              <a:rPr kumimoji="0" lang="zh-CN" altLang="zh-CN" b="1" i="0" u="none" strike="noStrike" cap="none" normalizeH="0" baseline="0" dirty="0" smtClean="0">
                <a:ln>
                  <a:noFill/>
                </a:ln>
                <a:solidFill>
                  <a:srgbClr val="000080"/>
                </a:solidFill>
                <a:effectLst/>
                <a:latin typeface="Ubuntu Mono" panose="020B0509030602030204" pitchFamily="49" charset="0"/>
              </a:rPr>
            </a:br>
            <a:r>
              <a:rPr kumimoji="0" lang="zh-CN" altLang="zh-CN" b="1" i="0" u="none" strike="noStrike" cap="none" normalizeH="0" baseline="0" dirty="0" smtClean="0">
                <a:ln>
                  <a:noFill/>
                </a:ln>
                <a:solidFill>
                  <a:srgbClr val="000080"/>
                </a:solidFill>
                <a:effectLst/>
                <a:latin typeface="Ubuntu Mono" panose="020B0509030602030204" pitchFamily="49" charset="0"/>
              </a:rPr>
              <a:t>    </a:t>
            </a:r>
            <a:r>
              <a:rPr kumimoji="0" lang="zh-CN" altLang="zh-CN" b="0" i="0" u="none" strike="noStrike" cap="none" normalizeH="0" baseline="0" dirty="0" smtClean="0">
                <a:ln>
                  <a:noFill/>
                </a:ln>
                <a:solidFill>
                  <a:srgbClr val="000000"/>
                </a:solidFill>
                <a:effectLst/>
                <a:latin typeface="Ubuntu Mono" panose="020B0509030602030204" pitchFamily="49" charset="0"/>
              </a:rPr>
              <a:t>}</a:t>
            </a:r>
            <a:br>
              <a:rPr kumimoji="0" lang="zh-CN" altLang="zh-CN" b="0" i="0" u="none" strike="noStrike" cap="none" normalizeH="0" baseline="0" dirty="0" smtClean="0">
                <a:ln>
                  <a:noFill/>
                </a:ln>
                <a:solidFill>
                  <a:srgbClr val="000000"/>
                </a:solidFill>
                <a:effectLst/>
                <a:latin typeface="Ubuntu Mono" panose="020B0509030602030204" pitchFamily="49" charset="0"/>
              </a:rPr>
            </a:br>
            <a:r>
              <a:rPr kumimoji="0" lang="zh-CN" altLang="zh-CN" b="0" i="0" u="none" strike="noStrike" cap="none" normalizeH="0" baseline="0" dirty="0" smtClean="0">
                <a:ln>
                  <a:noFill/>
                </a:ln>
                <a:solidFill>
                  <a:srgbClr val="000000"/>
                </a:solidFill>
                <a:effectLst/>
                <a:latin typeface="Ubuntu Mono" panose="020B0509030602030204" pitchFamily="49" charset="0"/>
              </a:rPr>
              <a:t>}</a:t>
            </a:r>
            <a:endParaRPr kumimoji="0" lang="zh-CN" altLang="zh-CN" b="0" i="0" u="none" strike="noStrike" cap="none" normalizeH="0" baseline="0" dirty="0" smtClean="0">
              <a:ln>
                <a:noFill/>
              </a:ln>
              <a:solidFill>
                <a:schemeClr val="tx1"/>
              </a:solidFill>
              <a:effectLst/>
              <a:latin typeface="Arial" panose="020B0604020202020204" pitchFamily="34" charset="0"/>
            </a:endParaRPr>
          </a:p>
        </p:txBody>
      </p:sp>
      <p:cxnSp>
        <p:nvCxnSpPr>
          <p:cNvPr id="15" name="直接连接符 14"/>
          <p:cNvCxnSpPr/>
          <p:nvPr/>
        </p:nvCxnSpPr>
        <p:spPr>
          <a:xfrm flipV="1">
            <a:off x="3375102" y="2534677"/>
            <a:ext cx="3033132" cy="468718"/>
          </a:xfrm>
          <a:prstGeom prst="line">
            <a:avLst/>
          </a:prstGeom>
          <a:ln w="63500" cap="flat">
            <a:solidFill>
              <a:srgbClr val="E1691F"/>
            </a:solidFill>
            <a:prstDash val="sysDash"/>
            <a:round/>
            <a:tailEnd type="none"/>
          </a:ln>
          <a:effectLst>
            <a:outerShdw blurRad="40000" dist="23000" dir="5400000" rotWithShape="0">
              <a:srgbClr val="000000">
                <a:alpha val="35000"/>
              </a:srgbClr>
            </a:outerShdw>
            <a:softEdge rad="0"/>
          </a:effectLst>
        </p:spPr>
        <p:style>
          <a:lnRef idx="3">
            <a:schemeClr val="accent1"/>
          </a:lnRef>
          <a:fillRef idx="0">
            <a:schemeClr val="accent1"/>
          </a:fillRef>
          <a:effectRef idx="2">
            <a:schemeClr val="accent1"/>
          </a:effectRef>
          <a:fontRef idx="minor">
            <a:schemeClr val="tx1"/>
          </a:fontRef>
        </p:style>
      </p:cxnSp>
      <p:sp>
        <p:nvSpPr>
          <p:cNvPr id="20" name="Rectangle 2"/>
          <p:cNvSpPr>
            <a:spLocks noChangeArrowheads="1"/>
          </p:cNvSpPr>
          <p:nvPr/>
        </p:nvSpPr>
        <p:spPr bwMode="auto">
          <a:xfrm>
            <a:off x="5879918" y="4125579"/>
            <a:ext cx="5608472" cy="2585323"/>
          </a:xfrm>
          <a:prstGeom prst="rect">
            <a:avLst/>
          </a:prstGeom>
          <a:solidFill>
            <a:srgbClr val="FFFFFF"/>
          </a:solidFill>
          <a:ln w="63500">
            <a:solidFill>
              <a:srgbClr val="676A8A"/>
            </a:solidFill>
            <a:prstDash val="dash"/>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b="1" i="0" u="none" strike="noStrike" cap="none" normalizeH="0" baseline="0" dirty="0" smtClean="0">
                <a:ln>
                  <a:noFill/>
                </a:ln>
                <a:solidFill>
                  <a:srgbClr val="000080"/>
                </a:solidFill>
                <a:effectLst/>
                <a:latin typeface="Ubuntu Mono" panose="020B0509030602030204" pitchFamily="49" charset="0"/>
              </a:rPr>
              <a:t>class </a:t>
            </a:r>
            <a:r>
              <a:rPr kumimoji="0" lang="zh-CN" altLang="zh-CN" b="0" i="0" u="none" strike="noStrike" cap="none" normalizeH="0" baseline="0" dirty="0" smtClean="0">
                <a:ln>
                  <a:noFill/>
                </a:ln>
                <a:solidFill>
                  <a:srgbClr val="000000"/>
                </a:solidFill>
                <a:effectLst/>
                <a:latin typeface="Ubuntu Mono" panose="020B0509030602030204" pitchFamily="49" charset="0"/>
              </a:rPr>
              <a:t>EnhancedBMWSimpleFactory {</a:t>
            </a:r>
            <a:br>
              <a:rPr kumimoji="0" lang="zh-CN" altLang="zh-CN" b="0" i="0" u="none" strike="noStrike" cap="none" normalizeH="0" baseline="0" dirty="0" smtClean="0">
                <a:ln>
                  <a:noFill/>
                </a:ln>
                <a:solidFill>
                  <a:srgbClr val="000000"/>
                </a:solidFill>
                <a:effectLst/>
                <a:latin typeface="Ubuntu Mono" panose="020B0509030602030204" pitchFamily="49" charset="0"/>
              </a:rPr>
            </a:br>
            <a:r>
              <a:rPr kumimoji="0" lang="zh-CN" altLang="zh-CN" b="0" i="0" u="none" strike="noStrike" cap="none" normalizeH="0" baseline="0" dirty="0" smtClean="0">
                <a:ln>
                  <a:noFill/>
                </a:ln>
                <a:solidFill>
                  <a:srgbClr val="000000"/>
                </a:solidFill>
                <a:effectLst/>
                <a:latin typeface="Ubuntu Mono" panose="020B0509030602030204" pitchFamily="49" charset="0"/>
              </a:rPr>
              <a:t>    </a:t>
            </a:r>
            <a:r>
              <a:rPr kumimoji="0" lang="zh-CN" altLang="zh-CN" b="1" i="0" u="none" strike="noStrike" cap="none" normalizeH="0" baseline="0" dirty="0" smtClean="0">
                <a:ln>
                  <a:noFill/>
                </a:ln>
                <a:solidFill>
                  <a:srgbClr val="000080"/>
                </a:solidFill>
                <a:effectLst/>
                <a:latin typeface="Ubuntu Mono" panose="020B0509030602030204" pitchFamily="49" charset="0"/>
              </a:rPr>
              <a:t>fun </a:t>
            </a:r>
            <a:r>
              <a:rPr kumimoji="0" lang="zh-CN" altLang="zh-CN" b="0" i="0" u="none" strike="noStrike" cap="none" normalizeH="0" baseline="0" dirty="0" smtClean="0">
                <a:ln>
                  <a:noFill/>
                </a:ln>
                <a:solidFill>
                  <a:srgbClr val="000000"/>
                </a:solidFill>
                <a:effectLst/>
                <a:latin typeface="Ubuntu Mono" panose="020B0509030602030204" pitchFamily="49" charset="0"/>
              </a:rPr>
              <a:t>createBMW320() : BMWS {</a:t>
            </a:r>
            <a:br>
              <a:rPr kumimoji="0" lang="zh-CN" altLang="zh-CN" b="0" i="0" u="none" strike="noStrike" cap="none" normalizeH="0" baseline="0" dirty="0" smtClean="0">
                <a:ln>
                  <a:noFill/>
                </a:ln>
                <a:solidFill>
                  <a:srgbClr val="000000"/>
                </a:solidFill>
                <a:effectLst/>
                <a:latin typeface="Ubuntu Mono" panose="020B0509030602030204" pitchFamily="49" charset="0"/>
              </a:rPr>
            </a:br>
            <a:r>
              <a:rPr kumimoji="0" lang="zh-CN" altLang="zh-CN" b="0" i="0" u="none" strike="noStrike" cap="none" normalizeH="0" baseline="0" dirty="0" smtClean="0">
                <a:ln>
                  <a:noFill/>
                </a:ln>
                <a:solidFill>
                  <a:srgbClr val="000000"/>
                </a:solidFill>
                <a:effectLst/>
                <a:latin typeface="Ubuntu Mono" panose="020B0509030602030204" pitchFamily="49" charset="0"/>
              </a:rPr>
              <a:t>        </a:t>
            </a:r>
            <a:r>
              <a:rPr kumimoji="0" lang="zh-CN" altLang="zh-CN" b="1" i="0" u="none" strike="noStrike" cap="none" normalizeH="0" baseline="0" dirty="0" smtClean="0">
                <a:ln>
                  <a:noFill/>
                </a:ln>
                <a:solidFill>
                  <a:srgbClr val="000080"/>
                </a:solidFill>
                <a:effectLst/>
                <a:latin typeface="Ubuntu Mono" panose="020B0509030602030204" pitchFamily="49" charset="0"/>
              </a:rPr>
              <a:t>return </a:t>
            </a:r>
            <a:r>
              <a:rPr kumimoji="0" lang="zh-CN" altLang="zh-CN" b="0" i="0" u="none" strike="noStrike" cap="none" normalizeH="0" baseline="0" dirty="0" smtClean="0">
                <a:ln>
                  <a:noFill/>
                </a:ln>
                <a:solidFill>
                  <a:srgbClr val="000000"/>
                </a:solidFill>
                <a:effectLst/>
                <a:latin typeface="Ubuntu Mono" panose="020B0509030602030204" pitchFamily="49" charset="0"/>
              </a:rPr>
              <a:t>BMW320S()</a:t>
            </a:r>
            <a:br>
              <a:rPr kumimoji="0" lang="zh-CN" altLang="zh-CN" b="0" i="0" u="none" strike="noStrike" cap="none" normalizeH="0" baseline="0" dirty="0" smtClean="0">
                <a:ln>
                  <a:noFill/>
                </a:ln>
                <a:solidFill>
                  <a:srgbClr val="000000"/>
                </a:solidFill>
                <a:effectLst/>
                <a:latin typeface="Ubuntu Mono" panose="020B0509030602030204" pitchFamily="49" charset="0"/>
              </a:rPr>
            </a:br>
            <a:r>
              <a:rPr kumimoji="0" lang="zh-CN" altLang="zh-CN" b="0" i="0" u="none" strike="noStrike" cap="none" normalizeH="0" baseline="0" dirty="0" smtClean="0">
                <a:ln>
                  <a:noFill/>
                </a:ln>
                <a:solidFill>
                  <a:srgbClr val="000000"/>
                </a:solidFill>
                <a:effectLst/>
                <a:latin typeface="Ubuntu Mono" panose="020B0509030602030204" pitchFamily="49" charset="0"/>
              </a:rPr>
              <a:t>    }</a:t>
            </a:r>
            <a:br>
              <a:rPr kumimoji="0" lang="zh-CN" altLang="zh-CN" b="0" i="0" u="none" strike="noStrike" cap="none" normalizeH="0" baseline="0" dirty="0" smtClean="0">
                <a:ln>
                  <a:noFill/>
                </a:ln>
                <a:solidFill>
                  <a:srgbClr val="000000"/>
                </a:solidFill>
                <a:effectLst/>
                <a:latin typeface="Ubuntu Mono" panose="020B0509030602030204" pitchFamily="49" charset="0"/>
              </a:rPr>
            </a:br>
            <a:r>
              <a:rPr kumimoji="0" lang="zh-CN" altLang="zh-CN" b="0" i="0" u="none" strike="noStrike" cap="none" normalizeH="0" baseline="0" dirty="0" smtClean="0">
                <a:ln>
                  <a:noFill/>
                </a:ln>
                <a:solidFill>
                  <a:srgbClr val="000000"/>
                </a:solidFill>
                <a:effectLst/>
                <a:latin typeface="Ubuntu Mono" panose="020B0509030602030204" pitchFamily="49" charset="0"/>
              </a:rPr>
              <a:t>    </a:t>
            </a:r>
            <a:br>
              <a:rPr kumimoji="0" lang="zh-CN" altLang="zh-CN" b="0" i="0" u="none" strike="noStrike" cap="none" normalizeH="0" baseline="0" dirty="0" smtClean="0">
                <a:ln>
                  <a:noFill/>
                </a:ln>
                <a:solidFill>
                  <a:srgbClr val="000000"/>
                </a:solidFill>
                <a:effectLst/>
                <a:latin typeface="Ubuntu Mono" panose="020B0509030602030204" pitchFamily="49" charset="0"/>
              </a:rPr>
            </a:br>
            <a:r>
              <a:rPr kumimoji="0" lang="zh-CN" altLang="zh-CN" b="0" i="0" u="none" strike="noStrike" cap="none" normalizeH="0" baseline="0" dirty="0" smtClean="0">
                <a:ln>
                  <a:noFill/>
                </a:ln>
                <a:solidFill>
                  <a:srgbClr val="000000"/>
                </a:solidFill>
                <a:effectLst/>
                <a:latin typeface="Ubuntu Mono" panose="020B0509030602030204" pitchFamily="49" charset="0"/>
              </a:rPr>
              <a:t>    </a:t>
            </a:r>
            <a:r>
              <a:rPr kumimoji="0" lang="zh-CN" altLang="zh-CN" b="1" i="0" u="none" strike="noStrike" cap="none" normalizeH="0" baseline="0" dirty="0" smtClean="0">
                <a:ln>
                  <a:noFill/>
                </a:ln>
                <a:solidFill>
                  <a:srgbClr val="000080"/>
                </a:solidFill>
                <a:effectLst/>
                <a:latin typeface="Ubuntu Mono" panose="020B0509030602030204" pitchFamily="49" charset="0"/>
              </a:rPr>
              <a:t>fun </a:t>
            </a:r>
            <a:r>
              <a:rPr kumimoji="0" lang="zh-CN" altLang="zh-CN" b="0" i="0" u="none" strike="noStrike" cap="none" normalizeH="0" baseline="0" dirty="0" smtClean="0">
                <a:ln>
                  <a:noFill/>
                </a:ln>
                <a:solidFill>
                  <a:srgbClr val="000000"/>
                </a:solidFill>
                <a:effectLst/>
                <a:latin typeface="Ubuntu Mono" panose="020B0509030602030204" pitchFamily="49" charset="0"/>
              </a:rPr>
              <a:t>createBMW523() : BMWS {</a:t>
            </a:r>
            <a:br>
              <a:rPr kumimoji="0" lang="zh-CN" altLang="zh-CN" b="0" i="0" u="none" strike="noStrike" cap="none" normalizeH="0" baseline="0" dirty="0" smtClean="0">
                <a:ln>
                  <a:noFill/>
                </a:ln>
                <a:solidFill>
                  <a:srgbClr val="000000"/>
                </a:solidFill>
                <a:effectLst/>
                <a:latin typeface="Ubuntu Mono" panose="020B0509030602030204" pitchFamily="49" charset="0"/>
              </a:rPr>
            </a:br>
            <a:r>
              <a:rPr kumimoji="0" lang="zh-CN" altLang="zh-CN" b="0" i="0" u="none" strike="noStrike" cap="none" normalizeH="0" baseline="0" dirty="0" smtClean="0">
                <a:ln>
                  <a:noFill/>
                </a:ln>
                <a:solidFill>
                  <a:srgbClr val="000000"/>
                </a:solidFill>
                <a:effectLst/>
                <a:latin typeface="Ubuntu Mono" panose="020B0509030602030204" pitchFamily="49" charset="0"/>
              </a:rPr>
              <a:t>        </a:t>
            </a:r>
            <a:r>
              <a:rPr kumimoji="0" lang="zh-CN" altLang="zh-CN" b="1" i="0" u="none" strike="noStrike" cap="none" normalizeH="0" baseline="0" dirty="0" smtClean="0">
                <a:ln>
                  <a:noFill/>
                </a:ln>
                <a:solidFill>
                  <a:srgbClr val="000080"/>
                </a:solidFill>
                <a:effectLst/>
                <a:latin typeface="Ubuntu Mono" panose="020B0509030602030204" pitchFamily="49" charset="0"/>
              </a:rPr>
              <a:t>return </a:t>
            </a:r>
            <a:r>
              <a:rPr kumimoji="0" lang="zh-CN" altLang="zh-CN" b="0" i="0" u="none" strike="noStrike" cap="none" normalizeH="0" baseline="0" dirty="0" smtClean="0">
                <a:ln>
                  <a:noFill/>
                </a:ln>
                <a:solidFill>
                  <a:srgbClr val="000000"/>
                </a:solidFill>
                <a:effectLst/>
                <a:latin typeface="Ubuntu Mono" panose="020B0509030602030204" pitchFamily="49" charset="0"/>
              </a:rPr>
              <a:t>BMW523S()</a:t>
            </a:r>
            <a:br>
              <a:rPr kumimoji="0" lang="zh-CN" altLang="zh-CN" b="0" i="0" u="none" strike="noStrike" cap="none" normalizeH="0" baseline="0" dirty="0" smtClean="0">
                <a:ln>
                  <a:noFill/>
                </a:ln>
                <a:solidFill>
                  <a:srgbClr val="000000"/>
                </a:solidFill>
                <a:effectLst/>
                <a:latin typeface="Ubuntu Mono" panose="020B0509030602030204" pitchFamily="49" charset="0"/>
              </a:rPr>
            </a:br>
            <a:r>
              <a:rPr kumimoji="0" lang="zh-CN" altLang="zh-CN" b="0" i="0" u="none" strike="noStrike" cap="none" normalizeH="0" baseline="0" dirty="0" smtClean="0">
                <a:ln>
                  <a:noFill/>
                </a:ln>
                <a:solidFill>
                  <a:srgbClr val="000000"/>
                </a:solidFill>
                <a:effectLst/>
                <a:latin typeface="Ubuntu Mono" panose="020B0509030602030204" pitchFamily="49" charset="0"/>
              </a:rPr>
              <a:t>    }</a:t>
            </a:r>
            <a:br>
              <a:rPr kumimoji="0" lang="zh-CN" altLang="zh-CN" b="0" i="0" u="none" strike="noStrike" cap="none" normalizeH="0" baseline="0" dirty="0" smtClean="0">
                <a:ln>
                  <a:noFill/>
                </a:ln>
                <a:solidFill>
                  <a:srgbClr val="000000"/>
                </a:solidFill>
                <a:effectLst/>
                <a:latin typeface="Ubuntu Mono" panose="020B0509030602030204" pitchFamily="49" charset="0"/>
              </a:rPr>
            </a:br>
            <a:r>
              <a:rPr kumimoji="0" lang="zh-CN" altLang="zh-CN" b="0" i="0" u="none" strike="noStrike" cap="none" normalizeH="0" baseline="0" dirty="0" smtClean="0">
                <a:ln>
                  <a:noFill/>
                </a:ln>
                <a:solidFill>
                  <a:srgbClr val="000000"/>
                </a:solidFill>
                <a:effectLst/>
                <a:latin typeface="Ubuntu Mono" panose="020B0509030602030204" pitchFamily="49" charset="0"/>
              </a:rPr>
              <a:t>}</a:t>
            </a:r>
            <a:endParaRPr kumimoji="0" lang="zh-CN" altLang="zh-CN" b="0" i="0" u="none" strike="noStrike" cap="none" normalizeH="0" baseline="0" dirty="0" smtClean="0">
              <a:ln>
                <a:noFill/>
              </a:ln>
              <a:solidFill>
                <a:schemeClr val="tx1"/>
              </a:solidFill>
              <a:effectLst/>
              <a:latin typeface="Arial" panose="020B0604020202020204" pitchFamily="34" charset="0"/>
            </a:endParaRPr>
          </a:p>
        </p:txBody>
      </p:sp>
      <p:sp>
        <p:nvSpPr>
          <p:cNvPr id="22" name="coding_151359"/>
          <p:cNvSpPr>
            <a:spLocks noChangeAspect="1"/>
          </p:cNvSpPr>
          <p:nvPr/>
        </p:nvSpPr>
        <p:spPr bwMode="auto">
          <a:xfrm>
            <a:off x="6671664" y="211853"/>
            <a:ext cx="467336" cy="466684"/>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06439" h="605593">
                <a:moveTo>
                  <a:pt x="264222" y="458757"/>
                </a:moveTo>
                <a:lnTo>
                  <a:pt x="220421" y="579819"/>
                </a:lnTo>
                <a:lnTo>
                  <a:pt x="386019" y="579819"/>
                </a:lnTo>
                <a:lnTo>
                  <a:pt x="342217" y="458757"/>
                </a:lnTo>
                <a:close/>
                <a:moveTo>
                  <a:pt x="420977" y="157263"/>
                </a:moveTo>
                <a:lnTo>
                  <a:pt x="489088" y="231020"/>
                </a:lnTo>
                <a:lnTo>
                  <a:pt x="424086" y="301483"/>
                </a:lnTo>
                <a:lnTo>
                  <a:pt x="405150" y="283985"/>
                </a:lnTo>
                <a:lnTo>
                  <a:pt x="453949" y="231020"/>
                </a:lnTo>
                <a:lnTo>
                  <a:pt x="402042" y="174761"/>
                </a:lnTo>
                <a:close/>
                <a:moveTo>
                  <a:pt x="185461" y="157263"/>
                </a:moveTo>
                <a:lnTo>
                  <a:pt x="204397" y="174761"/>
                </a:lnTo>
                <a:lnTo>
                  <a:pt x="152489" y="231020"/>
                </a:lnTo>
                <a:lnTo>
                  <a:pt x="201288" y="283985"/>
                </a:lnTo>
                <a:lnTo>
                  <a:pt x="182352" y="301483"/>
                </a:lnTo>
                <a:lnTo>
                  <a:pt x="117350" y="231020"/>
                </a:lnTo>
                <a:close/>
                <a:moveTo>
                  <a:pt x="309343" y="122078"/>
                </a:moveTo>
                <a:lnTo>
                  <a:pt x="334401" y="128193"/>
                </a:lnTo>
                <a:lnTo>
                  <a:pt x="283718" y="336668"/>
                </a:lnTo>
                <a:lnTo>
                  <a:pt x="258565" y="330553"/>
                </a:lnTo>
                <a:close/>
                <a:moveTo>
                  <a:pt x="25810" y="25774"/>
                </a:moveTo>
                <a:lnTo>
                  <a:pt x="25810" y="432983"/>
                </a:lnTo>
                <a:lnTo>
                  <a:pt x="580629" y="432983"/>
                </a:lnTo>
                <a:lnTo>
                  <a:pt x="580629" y="25774"/>
                </a:lnTo>
                <a:close/>
                <a:moveTo>
                  <a:pt x="0" y="0"/>
                </a:moveTo>
                <a:lnTo>
                  <a:pt x="606439" y="0"/>
                </a:lnTo>
                <a:lnTo>
                  <a:pt x="606439" y="458757"/>
                </a:lnTo>
                <a:lnTo>
                  <a:pt x="369628" y="458757"/>
                </a:lnTo>
                <a:lnTo>
                  <a:pt x="413430" y="579819"/>
                </a:lnTo>
                <a:lnTo>
                  <a:pt x="459492" y="579819"/>
                </a:lnTo>
                <a:lnTo>
                  <a:pt x="459492" y="605593"/>
                </a:lnTo>
                <a:lnTo>
                  <a:pt x="146947" y="605593"/>
                </a:lnTo>
                <a:lnTo>
                  <a:pt x="146947" y="579819"/>
                </a:lnTo>
                <a:lnTo>
                  <a:pt x="192915" y="579819"/>
                </a:lnTo>
                <a:lnTo>
                  <a:pt x="236717" y="458757"/>
                </a:lnTo>
                <a:lnTo>
                  <a:pt x="0" y="458757"/>
                </a:lnTo>
                <a:close/>
              </a:path>
            </a:pathLst>
          </a:custGeom>
          <a:solidFill>
            <a:schemeClr val="accent1"/>
          </a:solidFill>
          <a:ln>
            <a:noFill/>
          </a:ln>
        </p:spPr>
      </p:sp>
    </p:spTree>
    <p:extLst>
      <p:ext uri="{BB962C8B-B14F-4D97-AF65-F5344CB8AC3E}">
        <p14:creationId xmlns:p14="http://schemas.microsoft.com/office/powerpoint/2010/main" val="27320743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20" grpId="0" animBg="1"/>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íśḻîdè">
            <a:extLst>
              <a:ext uri="{FF2B5EF4-FFF2-40B4-BE49-F238E27FC236}">
                <a16:creationId xmlns:a16="http://schemas.microsoft.com/office/drawing/2014/main" id="{D2DB60E3-7251-4D71-B9F3-3D8B147756BC}"/>
              </a:ext>
            </a:extLst>
          </p:cNvPr>
          <p:cNvSpPr txBox="1"/>
          <p:nvPr/>
        </p:nvSpPr>
        <p:spPr>
          <a:xfrm>
            <a:off x="669925" y="1130300"/>
            <a:ext cx="1381043" cy="399958"/>
          </a:xfrm>
          <a:prstGeom prst="rect">
            <a:avLst/>
          </a:prstGeom>
          <a:solidFill>
            <a:srgbClr val="676A8A"/>
          </a:solidFill>
        </p:spPr>
        <p:txBody>
          <a:bodyPr wrap="square" lIns="91440" tIns="45720" rIns="91440" bIns="4572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914400">
              <a:defRPr/>
            </a:pPr>
            <a:r>
              <a:rPr lang="zh-CN" altLang="en-US" sz="2000" b="1" kern="0" dirty="0" smtClean="0">
                <a:solidFill>
                  <a:prstClr val="white"/>
                </a:solidFill>
              </a:rPr>
              <a:t>工厂方法</a:t>
            </a:r>
            <a:endParaRPr lang="zh-CN" altLang="en-US" sz="2000" b="1" kern="0" dirty="0">
              <a:solidFill>
                <a:prstClr val="white"/>
              </a:solidFill>
            </a:endParaRPr>
          </a:p>
        </p:txBody>
      </p:sp>
      <p:sp>
        <p:nvSpPr>
          <p:cNvPr id="43" name="标题 1"/>
          <p:cNvSpPr>
            <a:spLocks noGrp="1"/>
          </p:cNvSpPr>
          <p:nvPr>
            <p:ph type="title"/>
          </p:nvPr>
        </p:nvSpPr>
        <p:spPr>
          <a:xfrm>
            <a:off x="1137925" y="205921"/>
            <a:ext cx="10401280" cy="695186"/>
          </a:xfrm>
        </p:spPr>
        <p:txBody>
          <a:bodyPr/>
          <a:lstStyle/>
          <a:p>
            <a:r>
              <a:rPr lang="zh-CN" altLang="en-US" sz="3200" b="0" dirty="0" smtClean="0">
                <a:latin typeface="Arial"/>
                <a:ea typeface="Microsoft YaHei"/>
                <a:cs typeface="+mn-ea"/>
                <a:sym typeface="Arial"/>
              </a:rPr>
              <a:t>工厂</a:t>
            </a:r>
            <a:r>
              <a:rPr lang="en-US" altLang="zh-CN" sz="3200" b="0" dirty="0" smtClean="0">
                <a:latin typeface="Arial"/>
                <a:ea typeface="Microsoft YaHei"/>
                <a:cs typeface="+mn-ea"/>
                <a:sym typeface="Arial"/>
              </a:rPr>
              <a:t>/</a:t>
            </a:r>
            <a:r>
              <a:rPr lang="zh-CN" altLang="en-US" sz="3200" b="0" dirty="0" smtClean="0">
                <a:latin typeface="Arial"/>
                <a:ea typeface="Microsoft YaHei"/>
                <a:cs typeface="+mn-ea"/>
                <a:sym typeface="Arial"/>
              </a:rPr>
              <a:t>抽象工厂模式</a:t>
            </a:r>
            <a:endParaRPr lang="zh-CN" altLang="en-US" sz="3200" b="0" dirty="0">
              <a:latin typeface="Arial"/>
              <a:ea typeface="Microsoft YaHei"/>
              <a:cs typeface="+mn-ea"/>
              <a:sym typeface="Arial"/>
            </a:endParaRPr>
          </a:p>
        </p:txBody>
      </p:sp>
      <p:grpSp>
        <p:nvGrpSpPr>
          <p:cNvPr id="44" name="组合 43">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45" name="椭圆 44">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46" name="椭圆 45">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
        <p:nvSpPr>
          <p:cNvPr id="47" name="î$ḷîḓê">
            <a:extLst>
              <a:ext uri="{FF2B5EF4-FFF2-40B4-BE49-F238E27FC236}">
                <a16:creationId xmlns:a16="http://schemas.microsoft.com/office/drawing/2014/main" id="{0120662D-08EC-45F4-BE9C-84021ADB4C9A}"/>
              </a:ext>
            </a:extLst>
          </p:cNvPr>
          <p:cNvSpPr/>
          <p:nvPr/>
        </p:nvSpPr>
        <p:spPr bwMode="gray">
          <a:xfrm>
            <a:off x="7211000" y="198392"/>
            <a:ext cx="1506790" cy="480145"/>
          </a:xfrm>
          <a:prstGeom prst="rect">
            <a:avLst/>
          </a:prstGeom>
          <a:solidFill>
            <a:schemeClr val="accent1"/>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创建型模式</a:t>
            </a:r>
            <a:endParaRPr lang="en-US" altLang="zh-CN" sz="2400" dirty="0">
              <a:solidFill>
                <a:schemeClr val="bg1"/>
              </a:solidFill>
            </a:endParaRPr>
          </a:p>
        </p:txBody>
      </p:sp>
      <p:sp>
        <p:nvSpPr>
          <p:cNvPr id="48" name="î$ḷîḓê">
            <a:extLst>
              <a:ext uri="{FF2B5EF4-FFF2-40B4-BE49-F238E27FC236}">
                <a16:creationId xmlns:a16="http://schemas.microsoft.com/office/drawing/2014/main" id="{0120662D-08EC-45F4-BE9C-84021ADB4C9A}"/>
              </a:ext>
            </a:extLst>
          </p:cNvPr>
          <p:cNvSpPr/>
          <p:nvPr/>
        </p:nvSpPr>
        <p:spPr bwMode="gray">
          <a:xfrm>
            <a:off x="8749874" y="199746"/>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结构型模式</a:t>
            </a:r>
            <a:endParaRPr lang="en-US" altLang="zh-CN" sz="2400" dirty="0">
              <a:solidFill>
                <a:schemeClr val="bg1"/>
              </a:solidFill>
            </a:endParaRPr>
          </a:p>
        </p:txBody>
      </p:sp>
      <p:sp>
        <p:nvSpPr>
          <p:cNvPr id="49" name="î$ḷîḓê">
            <a:extLst>
              <a:ext uri="{FF2B5EF4-FFF2-40B4-BE49-F238E27FC236}">
                <a16:creationId xmlns:a16="http://schemas.microsoft.com/office/drawing/2014/main" id="{0120662D-08EC-45F4-BE9C-84021ADB4C9A}"/>
              </a:ext>
            </a:extLst>
          </p:cNvPr>
          <p:cNvSpPr/>
          <p:nvPr/>
        </p:nvSpPr>
        <p:spPr bwMode="gray">
          <a:xfrm>
            <a:off x="10282004" y="189695"/>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行为型模式</a:t>
            </a:r>
            <a:endParaRPr lang="en-US" altLang="zh-CN" sz="2400" dirty="0">
              <a:solidFill>
                <a:schemeClr val="bg1"/>
              </a:solidFill>
            </a:endParaRPr>
          </a:p>
        </p:txBody>
      </p:sp>
      <p:sp>
        <p:nvSpPr>
          <p:cNvPr id="50" name="nuclear-plant_99736"/>
          <p:cNvSpPr>
            <a:spLocks noChangeAspect="1"/>
          </p:cNvSpPr>
          <p:nvPr/>
        </p:nvSpPr>
        <p:spPr bwMode="auto">
          <a:xfrm>
            <a:off x="1206770" y="2126701"/>
            <a:ext cx="1287924" cy="1069587"/>
          </a:xfrm>
          <a:custGeom>
            <a:avLst/>
            <a:gdLst>
              <a:gd name="T0" fmla="*/ 278945 h 440259"/>
              <a:gd name="T1" fmla="*/ 278945 h 440259"/>
              <a:gd name="T2" fmla="*/ 278945 h 440259"/>
              <a:gd name="T3" fmla="*/ 278945 h 440259"/>
              <a:gd name="T4" fmla="*/ 278945 h 440259"/>
              <a:gd name="T5" fmla="*/ 278945 h 440259"/>
              <a:gd name="T6" fmla="*/ 278945 h 440259"/>
              <a:gd name="T7" fmla="*/ 278945 h 440259"/>
              <a:gd name="T8" fmla="*/ 278945 h 440259"/>
              <a:gd name="T9" fmla="*/ 278945 h 440259"/>
              <a:gd name="T10" fmla="*/ 278945 h 440259"/>
              <a:gd name="T11" fmla="*/ 278945 h 440259"/>
              <a:gd name="T12" fmla="*/ 278945 h 440259"/>
              <a:gd name="T13" fmla="*/ 278945 h 440259"/>
              <a:gd name="T14" fmla="*/ 278945 h 440259"/>
              <a:gd name="T15" fmla="*/ 278945 h 440259"/>
              <a:gd name="T16" fmla="*/ 278945 h 440259"/>
              <a:gd name="T17" fmla="*/ 278945 h 440259"/>
              <a:gd name="T18" fmla="*/ 278945 h 440259"/>
              <a:gd name="T19" fmla="*/ 278945 h 440259"/>
              <a:gd name="T20" fmla="*/ 278945 h 440259"/>
              <a:gd name="T21" fmla="*/ 278945 h 440259"/>
              <a:gd name="T22" fmla="*/ 278945 h 440259"/>
              <a:gd name="T23" fmla="*/ 278945 h 440259"/>
              <a:gd name="T24" fmla="*/ 278945 h 440259"/>
              <a:gd name="T25" fmla="*/ 278945 h 440259"/>
              <a:gd name="T26" fmla="*/ 278945 h 440259"/>
              <a:gd name="T27" fmla="*/ 278945 h 440259"/>
              <a:gd name="T28" fmla="*/ 278945 h 440259"/>
              <a:gd name="T29" fmla="*/ 278945 h 440259"/>
              <a:gd name="T30" fmla="*/ 278945 h 440259"/>
              <a:gd name="T31" fmla="*/ 278945 h 440259"/>
              <a:gd name="T32" fmla="*/ 278945 h 440259"/>
              <a:gd name="T33" fmla="*/ 278945 h 440259"/>
              <a:gd name="T34" fmla="*/ 278945 h 440259"/>
              <a:gd name="T35" fmla="*/ 278945 h 440259"/>
              <a:gd name="T36" fmla="*/ 278945 h 440259"/>
              <a:gd name="T37" fmla="*/ 278945 h 440259"/>
              <a:gd name="T38" fmla="*/ 278945 h 440259"/>
              <a:gd name="T39" fmla="*/ 278945 h 440259"/>
              <a:gd name="T40" fmla="*/ 278945 h 440259"/>
              <a:gd name="T41" fmla="*/ 278945 h 440259"/>
              <a:gd name="T42" fmla="*/ 88862 h 440259"/>
              <a:gd name="T43" fmla="*/ 88862 h 440259"/>
              <a:gd name="T44" fmla="*/ 278945 h 440259"/>
              <a:gd name="T45" fmla="*/ 278945 h 440259"/>
              <a:gd name="T46" fmla="*/ 278945 h 440259"/>
              <a:gd name="T47" fmla="*/ 278945 h 440259"/>
              <a:gd name="T48" fmla="*/ 278945 h 440259"/>
              <a:gd name="T49" fmla="*/ 278945 h 440259"/>
              <a:gd name="T50" fmla="*/ 278945 h 440259"/>
              <a:gd name="T51" fmla="*/ 278945 h 440259"/>
              <a:gd name="T52" fmla="*/ 278945 h 440259"/>
              <a:gd name="T53" fmla="*/ 278945 h 440259"/>
              <a:gd name="T54" fmla="*/ 278945 h 440259"/>
              <a:gd name="T55" fmla="*/ 278945 h 440259"/>
              <a:gd name="T56" fmla="*/ 278945 h 440259"/>
              <a:gd name="T57" fmla="*/ 278945 h 440259"/>
              <a:gd name="T58" fmla="*/ 278945 h 440259"/>
              <a:gd name="T59" fmla="*/ 278945 h 440259"/>
              <a:gd name="T60" fmla="*/ 88862 h 440259"/>
              <a:gd name="T61" fmla="*/ 88862 h 440259"/>
              <a:gd name="T62" fmla="*/ 278945 h 440259"/>
              <a:gd name="T63" fmla="*/ 278945 h 440259"/>
              <a:gd name="T64" fmla="*/ 278945 h 440259"/>
              <a:gd name="T65" fmla="*/ 278945 h 440259"/>
              <a:gd name="T66" fmla="*/ 278945 h 440259"/>
              <a:gd name="T67" fmla="*/ 278945 h 440259"/>
              <a:gd name="T68" fmla="*/ 278945 h 440259"/>
              <a:gd name="T69" fmla="*/ 278945 h 440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61" h="3294">
                <a:moveTo>
                  <a:pt x="3898" y="1320"/>
                </a:moveTo>
                <a:cubicBezTo>
                  <a:pt x="3859" y="1303"/>
                  <a:pt x="3812" y="1311"/>
                  <a:pt x="3781" y="1341"/>
                </a:cubicBezTo>
                <a:lnTo>
                  <a:pt x="2894" y="2194"/>
                </a:lnTo>
                <a:lnTo>
                  <a:pt x="2894" y="1418"/>
                </a:lnTo>
                <a:cubicBezTo>
                  <a:pt x="2894" y="1375"/>
                  <a:pt x="2871" y="1336"/>
                  <a:pt x="2832" y="1319"/>
                </a:cubicBezTo>
                <a:cubicBezTo>
                  <a:pt x="2792" y="1303"/>
                  <a:pt x="2745" y="1311"/>
                  <a:pt x="2715" y="1341"/>
                </a:cubicBezTo>
                <a:lnTo>
                  <a:pt x="1841" y="2186"/>
                </a:lnTo>
                <a:lnTo>
                  <a:pt x="1841" y="1418"/>
                </a:lnTo>
                <a:cubicBezTo>
                  <a:pt x="1841" y="1375"/>
                  <a:pt x="1818" y="1336"/>
                  <a:pt x="1778" y="1320"/>
                </a:cubicBezTo>
                <a:cubicBezTo>
                  <a:pt x="1739" y="1303"/>
                  <a:pt x="1694" y="1311"/>
                  <a:pt x="1664" y="1341"/>
                </a:cubicBezTo>
                <a:lnTo>
                  <a:pt x="783" y="2192"/>
                </a:lnTo>
                <a:lnTo>
                  <a:pt x="713" y="675"/>
                </a:lnTo>
                <a:cubicBezTo>
                  <a:pt x="711" y="618"/>
                  <a:pt x="664" y="574"/>
                  <a:pt x="607" y="574"/>
                </a:cubicBezTo>
                <a:lnTo>
                  <a:pt x="527" y="574"/>
                </a:lnTo>
                <a:cubicBezTo>
                  <a:pt x="669" y="546"/>
                  <a:pt x="759" y="478"/>
                  <a:pt x="835" y="421"/>
                </a:cubicBezTo>
                <a:cubicBezTo>
                  <a:pt x="915" y="360"/>
                  <a:pt x="968" y="320"/>
                  <a:pt x="1091" y="320"/>
                </a:cubicBezTo>
                <a:cubicBezTo>
                  <a:pt x="1214" y="320"/>
                  <a:pt x="1268" y="361"/>
                  <a:pt x="1348" y="421"/>
                </a:cubicBezTo>
                <a:cubicBezTo>
                  <a:pt x="1446" y="495"/>
                  <a:pt x="1568" y="587"/>
                  <a:pt x="1798" y="587"/>
                </a:cubicBezTo>
                <a:cubicBezTo>
                  <a:pt x="2028" y="587"/>
                  <a:pt x="2150" y="495"/>
                  <a:pt x="2248" y="421"/>
                </a:cubicBezTo>
                <a:cubicBezTo>
                  <a:pt x="2328" y="360"/>
                  <a:pt x="2381" y="320"/>
                  <a:pt x="2504" y="320"/>
                </a:cubicBezTo>
                <a:cubicBezTo>
                  <a:pt x="2627" y="320"/>
                  <a:pt x="2681" y="361"/>
                  <a:pt x="2761" y="421"/>
                </a:cubicBezTo>
                <a:cubicBezTo>
                  <a:pt x="2859" y="495"/>
                  <a:pt x="2981" y="587"/>
                  <a:pt x="3211" y="587"/>
                </a:cubicBezTo>
                <a:cubicBezTo>
                  <a:pt x="3299" y="587"/>
                  <a:pt x="3371" y="515"/>
                  <a:pt x="3371" y="427"/>
                </a:cubicBezTo>
                <a:cubicBezTo>
                  <a:pt x="3371" y="339"/>
                  <a:pt x="3299" y="267"/>
                  <a:pt x="3211" y="267"/>
                </a:cubicBezTo>
                <a:cubicBezTo>
                  <a:pt x="3088" y="267"/>
                  <a:pt x="3035" y="227"/>
                  <a:pt x="2954" y="166"/>
                </a:cubicBezTo>
                <a:cubicBezTo>
                  <a:pt x="2856" y="92"/>
                  <a:pt x="2735" y="0"/>
                  <a:pt x="2504" y="0"/>
                </a:cubicBezTo>
                <a:cubicBezTo>
                  <a:pt x="2274" y="0"/>
                  <a:pt x="2152" y="92"/>
                  <a:pt x="2055" y="166"/>
                </a:cubicBezTo>
                <a:cubicBezTo>
                  <a:pt x="1974" y="227"/>
                  <a:pt x="1921" y="267"/>
                  <a:pt x="1798" y="267"/>
                </a:cubicBezTo>
                <a:cubicBezTo>
                  <a:pt x="1675" y="267"/>
                  <a:pt x="1622" y="227"/>
                  <a:pt x="1541" y="166"/>
                </a:cubicBezTo>
                <a:cubicBezTo>
                  <a:pt x="1443" y="92"/>
                  <a:pt x="1322" y="0"/>
                  <a:pt x="1091" y="0"/>
                </a:cubicBezTo>
                <a:cubicBezTo>
                  <a:pt x="861" y="0"/>
                  <a:pt x="740" y="92"/>
                  <a:pt x="642" y="166"/>
                </a:cubicBezTo>
                <a:cubicBezTo>
                  <a:pt x="561" y="227"/>
                  <a:pt x="508" y="267"/>
                  <a:pt x="385" y="267"/>
                </a:cubicBezTo>
                <a:cubicBezTo>
                  <a:pt x="297" y="267"/>
                  <a:pt x="225" y="339"/>
                  <a:pt x="225" y="427"/>
                </a:cubicBezTo>
                <a:cubicBezTo>
                  <a:pt x="225" y="493"/>
                  <a:pt x="265" y="549"/>
                  <a:pt x="321" y="574"/>
                </a:cubicBezTo>
                <a:lnTo>
                  <a:pt x="224" y="574"/>
                </a:lnTo>
                <a:cubicBezTo>
                  <a:pt x="167" y="574"/>
                  <a:pt x="120" y="618"/>
                  <a:pt x="117" y="675"/>
                </a:cubicBezTo>
                <a:lnTo>
                  <a:pt x="1" y="3182"/>
                </a:lnTo>
                <a:cubicBezTo>
                  <a:pt x="0" y="3211"/>
                  <a:pt x="10" y="3240"/>
                  <a:pt x="31" y="3261"/>
                </a:cubicBezTo>
                <a:cubicBezTo>
                  <a:pt x="51" y="3282"/>
                  <a:pt x="79" y="3294"/>
                  <a:pt x="108" y="3294"/>
                </a:cubicBezTo>
                <a:lnTo>
                  <a:pt x="3859" y="3294"/>
                </a:lnTo>
                <a:cubicBezTo>
                  <a:pt x="3918" y="3294"/>
                  <a:pt x="3961" y="3246"/>
                  <a:pt x="3961" y="3187"/>
                </a:cubicBezTo>
                <a:lnTo>
                  <a:pt x="3961" y="1418"/>
                </a:lnTo>
                <a:cubicBezTo>
                  <a:pt x="3961" y="1375"/>
                  <a:pt x="3938" y="1336"/>
                  <a:pt x="3898" y="1320"/>
                </a:cubicBezTo>
                <a:close/>
                <a:moveTo>
                  <a:pt x="3668" y="2747"/>
                </a:moveTo>
                <a:cubicBezTo>
                  <a:pt x="3668" y="2806"/>
                  <a:pt x="3620" y="2854"/>
                  <a:pt x="3561" y="2854"/>
                </a:cubicBezTo>
                <a:lnTo>
                  <a:pt x="3281" y="2854"/>
                </a:lnTo>
                <a:cubicBezTo>
                  <a:pt x="3222" y="2854"/>
                  <a:pt x="3174" y="2806"/>
                  <a:pt x="3174" y="2747"/>
                </a:cubicBezTo>
                <a:lnTo>
                  <a:pt x="3174" y="2494"/>
                </a:lnTo>
                <a:cubicBezTo>
                  <a:pt x="3174" y="2435"/>
                  <a:pt x="3222" y="2387"/>
                  <a:pt x="3281" y="2387"/>
                </a:cubicBezTo>
                <a:lnTo>
                  <a:pt x="3561" y="2387"/>
                </a:lnTo>
                <a:cubicBezTo>
                  <a:pt x="3620" y="2387"/>
                  <a:pt x="3668" y="2435"/>
                  <a:pt x="3668" y="2494"/>
                </a:cubicBezTo>
                <a:lnTo>
                  <a:pt x="3668" y="2747"/>
                </a:lnTo>
                <a:close/>
                <a:moveTo>
                  <a:pt x="2601" y="2747"/>
                </a:moveTo>
                <a:cubicBezTo>
                  <a:pt x="2601" y="2806"/>
                  <a:pt x="2553" y="2854"/>
                  <a:pt x="2494" y="2854"/>
                </a:cubicBezTo>
                <a:lnTo>
                  <a:pt x="2228" y="2854"/>
                </a:lnTo>
                <a:cubicBezTo>
                  <a:pt x="2169" y="2854"/>
                  <a:pt x="2121" y="2806"/>
                  <a:pt x="2121" y="2747"/>
                </a:cubicBezTo>
                <a:lnTo>
                  <a:pt x="2121" y="2494"/>
                </a:lnTo>
                <a:cubicBezTo>
                  <a:pt x="2121" y="2435"/>
                  <a:pt x="2169" y="2387"/>
                  <a:pt x="2228" y="2387"/>
                </a:cubicBezTo>
                <a:lnTo>
                  <a:pt x="2494" y="2387"/>
                </a:lnTo>
                <a:cubicBezTo>
                  <a:pt x="2553" y="2387"/>
                  <a:pt x="2601" y="2435"/>
                  <a:pt x="2601" y="2494"/>
                </a:cubicBezTo>
                <a:lnTo>
                  <a:pt x="2601" y="2747"/>
                </a:lnTo>
                <a:close/>
                <a:moveTo>
                  <a:pt x="1548" y="2747"/>
                </a:moveTo>
                <a:cubicBezTo>
                  <a:pt x="1548" y="2806"/>
                  <a:pt x="1500" y="2854"/>
                  <a:pt x="1441" y="2854"/>
                </a:cubicBezTo>
                <a:lnTo>
                  <a:pt x="1174" y="2854"/>
                </a:lnTo>
                <a:cubicBezTo>
                  <a:pt x="1115" y="2854"/>
                  <a:pt x="1068" y="2806"/>
                  <a:pt x="1068" y="2747"/>
                </a:cubicBezTo>
                <a:lnTo>
                  <a:pt x="1068" y="2494"/>
                </a:lnTo>
                <a:cubicBezTo>
                  <a:pt x="1068" y="2435"/>
                  <a:pt x="1115" y="2387"/>
                  <a:pt x="1174" y="2387"/>
                </a:cubicBezTo>
                <a:lnTo>
                  <a:pt x="1441" y="2387"/>
                </a:lnTo>
                <a:cubicBezTo>
                  <a:pt x="1500" y="2387"/>
                  <a:pt x="1548" y="2435"/>
                  <a:pt x="1548" y="2494"/>
                </a:cubicBezTo>
                <a:lnTo>
                  <a:pt x="1548" y="2747"/>
                </a:lnTo>
                <a:close/>
              </a:path>
            </a:pathLst>
          </a:custGeom>
          <a:solidFill>
            <a:srgbClr val="676A8A"/>
          </a:solidFill>
          <a:ln>
            <a:noFill/>
          </a:ln>
        </p:spPr>
        <p:txBody>
          <a:bodyPr/>
          <a:lstStyle/>
          <a:p>
            <a:endParaRPr lang="zh-CN" altLang="en-US"/>
          </a:p>
        </p:txBody>
      </p:sp>
      <p:sp>
        <p:nvSpPr>
          <p:cNvPr id="51" name="all-terrain-vehicle_3476"/>
          <p:cNvSpPr>
            <a:spLocks noChangeAspect="1"/>
          </p:cNvSpPr>
          <p:nvPr/>
        </p:nvSpPr>
        <p:spPr bwMode="auto">
          <a:xfrm>
            <a:off x="1066170" y="4707087"/>
            <a:ext cx="1179945" cy="835307"/>
          </a:xfrm>
          <a:custGeom>
            <a:avLst/>
            <a:gdLst>
              <a:gd name="connsiteX0" fmla="*/ 487038 w 596814"/>
              <a:gd name="connsiteY0" fmla="*/ 304584 h 422497"/>
              <a:gd name="connsiteX1" fmla="*/ 551542 w 596814"/>
              <a:gd name="connsiteY1" fmla="*/ 304584 h 422497"/>
              <a:gd name="connsiteX2" fmla="*/ 551542 w 596814"/>
              <a:gd name="connsiteY2" fmla="*/ 422497 h 422497"/>
              <a:gd name="connsiteX3" fmla="*/ 487038 w 596814"/>
              <a:gd name="connsiteY3" fmla="*/ 422497 h 422497"/>
              <a:gd name="connsiteX4" fmla="*/ 37874 w 596814"/>
              <a:gd name="connsiteY4" fmla="*/ 301921 h 422497"/>
              <a:gd name="connsiteX5" fmla="*/ 102378 w 596814"/>
              <a:gd name="connsiteY5" fmla="*/ 301921 h 422497"/>
              <a:gd name="connsiteX6" fmla="*/ 102378 w 596814"/>
              <a:gd name="connsiteY6" fmla="*/ 419686 h 422497"/>
              <a:gd name="connsiteX7" fmla="*/ 37874 w 596814"/>
              <a:gd name="connsiteY7" fmla="*/ 419686 h 422497"/>
              <a:gd name="connsiteX8" fmla="*/ 398491 w 596814"/>
              <a:gd name="connsiteY8" fmla="*/ 231865 h 422497"/>
              <a:gd name="connsiteX9" fmla="*/ 398491 w 596814"/>
              <a:gd name="connsiteY9" fmla="*/ 276970 h 422497"/>
              <a:gd name="connsiteX10" fmla="*/ 497191 w 596814"/>
              <a:gd name="connsiteY10" fmla="*/ 276970 h 422497"/>
              <a:gd name="connsiteX11" fmla="*/ 497191 w 596814"/>
              <a:gd name="connsiteY11" fmla="*/ 231865 h 422497"/>
              <a:gd name="connsiteX12" fmla="*/ 94088 w 596814"/>
              <a:gd name="connsiteY12" fmla="*/ 231865 h 422497"/>
              <a:gd name="connsiteX13" fmla="*/ 94088 w 596814"/>
              <a:gd name="connsiteY13" fmla="*/ 276970 h 422497"/>
              <a:gd name="connsiteX14" fmla="*/ 192788 w 596814"/>
              <a:gd name="connsiteY14" fmla="*/ 276970 h 422497"/>
              <a:gd name="connsiteX15" fmla="*/ 192788 w 596814"/>
              <a:gd name="connsiteY15" fmla="*/ 231865 h 422497"/>
              <a:gd name="connsiteX16" fmla="*/ 324696 w 596814"/>
              <a:gd name="connsiteY16" fmla="*/ 222660 h 422497"/>
              <a:gd name="connsiteX17" fmla="*/ 324696 w 596814"/>
              <a:gd name="connsiteY17" fmla="*/ 288936 h 422497"/>
              <a:gd name="connsiteX18" fmla="*/ 352369 w 596814"/>
              <a:gd name="connsiteY18" fmla="*/ 288936 h 422497"/>
              <a:gd name="connsiteX19" fmla="*/ 352369 w 596814"/>
              <a:gd name="connsiteY19" fmla="*/ 222660 h 422497"/>
              <a:gd name="connsiteX20" fmla="*/ 282264 w 596814"/>
              <a:gd name="connsiteY20" fmla="*/ 222660 h 422497"/>
              <a:gd name="connsiteX21" fmla="*/ 282264 w 596814"/>
              <a:gd name="connsiteY21" fmla="*/ 288936 h 422497"/>
              <a:gd name="connsiteX22" fmla="*/ 309937 w 596814"/>
              <a:gd name="connsiteY22" fmla="*/ 288936 h 422497"/>
              <a:gd name="connsiteX23" fmla="*/ 309937 w 596814"/>
              <a:gd name="connsiteY23" fmla="*/ 222660 h 422497"/>
              <a:gd name="connsiteX24" fmla="*/ 237988 w 596814"/>
              <a:gd name="connsiteY24" fmla="*/ 222660 h 422497"/>
              <a:gd name="connsiteX25" fmla="*/ 237988 w 596814"/>
              <a:gd name="connsiteY25" fmla="*/ 288936 h 422497"/>
              <a:gd name="connsiteX26" fmla="*/ 265661 w 596814"/>
              <a:gd name="connsiteY26" fmla="*/ 288936 h 422497"/>
              <a:gd name="connsiteX27" fmla="*/ 265661 w 596814"/>
              <a:gd name="connsiteY27" fmla="*/ 222660 h 422497"/>
              <a:gd name="connsiteX28" fmla="*/ 251804 w 596814"/>
              <a:gd name="connsiteY28" fmla="*/ 53224 h 422497"/>
              <a:gd name="connsiteX29" fmla="*/ 333026 w 596814"/>
              <a:gd name="connsiteY29" fmla="*/ 53224 h 422497"/>
              <a:gd name="connsiteX30" fmla="*/ 333026 w 596814"/>
              <a:gd name="connsiteY30" fmla="*/ 69794 h 422497"/>
              <a:gd name="connsiteX31" fmla="*/ 251804 w 596814"/>
              <a:gd name="connsiteY31" fmla="*/ 69794 h 422497"/>
              <a:gd name="connsiteX32" fmla="*/ 145744 w 596814"/>
              <a:gd name="connsiteY32" fmla="*/ 41320 h 422497"/>
              <a:gd name="connsiteX33" fmla="*/ 127296 w 596814"/>
              <a:gd name="connsiteY33" fmla="*/ 177555 h 422497"/>
              <a:gd name="connsiteX34" fmla="*/ 463984 w 596814"/>
              <a:gd name="connsiteY34" fmla="*/ 177555 h 422497"/>
              <a:gd name="connsiteX35" fmla="*/ 445535 w 596814"/>
              <a:gd name="connsiteY35" fmla="*/ 41320 h 422497"/>
              <a:gd name="connsiteX36" fmla="*/ 256092 w 596814"/>
              <a:gd name="connsiteY36" fmla="*/ 133 h 422497"/>
              <a:gd name="connsiteX37" fmla="*/ 482432 w 596814"/>
              <a:gd name="connsiteY37" fmla="*/ 11864 h 422497"/>
              <a:gd name="connsiteX38" fmla="*/ 503648 w 596814"/>
              <a:gd name="connsiteY38" fmla="*/ 173873 h 422497"/>
              <a:gd name="connsiteX39" fmla="*/ 526709 w 596814"/>
              <a:gd name="connsiteY39" fmla="*/ 173873 h 422497"/>
              <a:gd name="connsiteX40" fmla="*/ 526709 w 596814"/>
              <a:gd name="connsiteY40" fmla="*/ 172032 h 422497"/>
              <a:gd name="connsiteX41" fmla="*/ 526709 w 596814"/>
              <a:gd name="connsiteY41" fmla="*/ 137973 h 422497"/>
              <a:gd name="connsiteX42" fmla="*/ 596814 w 596814"/>
              <a:gd name="connsiteY42" fmla="*/ 137973 h 422497"/>
              <a:gd name="connsiteX43" fmla="*/ 596814 w 596814"/>
              <a:gd name="connsiteY43" fmla="*/ 176634 h 422497"/>
              <a:gd name="connsiteX44" fmla="*/ 528554 w 596814"/>
              <a:gd name="connsiteY44" fmla="*/ 176634 h 422497"/>
              <a:gd name="connsiteX45" fmla="*/ 526709 w 596814"/>
              <a:gd name="connsiteY45" fmla="*/ 176634 h 422497"/>
              <a:gd name="connsiteX46" fmla="*/ 526709 w 596814"/>
              <a:gd name="connsiteY46" fmla="*/ 178475 h 422497"/>
              <a:gd name="connsiteX47" fmla="*/ 528554 w 596814"/>
              <a:gd name="connsiteY47" fmla="*/ 178475 h 422497"/>
              <a:gd name="connsiteX48" fmla="*/ 528554 w 596814"/>
              <a:gd name="connsiteY48" fmla="*/ 194124 h 422497"/>
              <a:gd name="connsiteX49" fmla="*/ 572831 w 596814"/>
              <a:gd name="connsiteY49" fmla="*/ 194124 h 422497"/>
              <a:gd name="connsiteX50" fmla="*/ 572831 w 596814"/>
              <a:gd name="connsiteY50" fmla="*/ 231865 h 422497"/>
              <a:gd name="connsiteX51" fmla="*/ 528554 w 596814"/>
              <a:gd name="connsiteY51" fmla="*/ 231865 h 422497"/>
              <a:gd name="connsiteX52" fmla="*/ 528554 w 596814"/>
              <a:gd name="connsiteY52" fmla="*/ 289857 h 422497"/>
              <a:gd name="connsiteX53" fmla="*/ 483355 w 596814"/>
              <a:gd name="connsiteY53" fmla="*/ 289857 h 422497"/>
              <a:gd name="connsiteX54" fmla="*/ 483355 w 596814"/>
              <a:gd name="connsiteY54" fmla="*/ 321154 h 422497"/>
              <a:gd name="connsiteX55" fmla="*/ 154046 w 596814"/>
              <a:gd name="connsiteY55" fmla="*/ 321154 h 422497"/>
              <a:gd name="connsiteX56" fmla="*/ 114382 w 596814"/>
              <a:gd name="connsiteY56" fmla="*/ 321154 h 422497"/>
              <a:gd name="connsiteX57" fmla="*/ 114382 w 596814"/>
              <a:gd name="connsiteY57" fmla="*/ 289857 h 422497"/>
              <a:gd name="connsiteX58" fmla="*/ 55346 w 596814"/>
              <a:gd name="connsiteY58" fmla="*/ 289857 h 422497"/>
              <a:gd name="connsiteX59" fmla="*/ 55346 w 596814"/>
              <a:gd name="connsiteY59" fmla="*/ 230944 h 422497"/>
              <a:gd name="connsiteX60" fmla="*/ 37820 w 596814"/>
              <a:gd name="connsiteY60" fmla="*/ 230944 h 422497"/>
              <a:gd name="connsiteX61" fmla="*/ 37820 w 596814"/>
              <a:gd name="connsiteY61" fmla="*/ 195965 h 422497"/>
              <a:gd name="connsiteX62" fmla="*/ 55346 w 596814"/>
              <a:gd name="connsiteY62" fmla="*/ 195965 h 422497"/>
              <a:gd name="connsiteX63" fmla="*/ 55346 w 596814"/>
              <a:gd name="connsiteY63" fmla="*/ 178475 h 422497"/>
              <a:gd name="connsiteX64" fmla="*/ 70105 w 596814"/>
              <a:gd name="connsiteY64" fmla="*/ 178475 h 422497"/>
              <a:gd name="connsiteX65" fmla="*/ 70105 w 596814"/>
              <a:gd name="connsiteY65" fmla="*/ 176634 h 422497"/>
              <a:gd name="connsiteX66" fmla="*/ 55346 w 596814"/>
              <a:gd name="connsiteY66" fmla="*/ 176634 h 422497"/>
              <a:gd name="connsiteX67" fmla="*/ 0 w 596814"/>
              <a:gd name="connsiteY67" fmla="*/ 176634 h 422497"/>
              <a:gd name="connsiteX68" fmla="*/ 0 w 596814"/>
              <a:gd name="connsiteY68" fmla="*/ 137973 h 422497"/>
              <a:gd name="connsiteX69" fmla="*/ 70105 w 596814"/>
              <a:gd name="connsiteY69" fmla="*/ 137973 h 422497"/>
              <a:gd name="connsiteX70" fmla="*/ 70105 w 596814"/>
              <a:gd name="connsiteY70" fmla="*/ 172032 h 422497"/>
              <a:gd name="connsiteX71" fmla="*/ 70105 w 596814"/>
              <a:gd name="connsiteY71" fmla="*/ 173873 h 422497"/>
              <a:gd name="connsiteX72" fmla="*/ 81174 w 596814"/>
              <a:gd name="connsiteY72" fmla="*/ 173873 h 422497"/>
              <a:gd name="connsiteX73" fmla="*/ 101468 w 596814"/>
              <a:gd name="connsiteY73" fmla="*/ 11864 h 422497"/>
              <a:gd name="connsiteX74" fmla="*/ 256092 w 596814"/>
              <a:gd name="connsiteY74" fmla="*/ 133 h 422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596814" h="422497">
                <a:moveTo>
                  <a:pt x="487038" y="304584"/>
                </a:moveTo>
                <a:lnTo>
                  <a:pt x="551542" y="304584"/>
                </a:lnTo>
                <a:lnTo>
                  <a:pt x="551542" y="422497"/>
                </a:lnTo>
                <a:lnTo>
                  <a:pt x="487038" y="422497"/>
                </a:lnTo>
                <a:close/>
                <a:moveTo>
                  <a:pt x="37874" y="301921"/>
                </a:moveTo>
                <a:lnTo>
                  <a:pt x="102378" y="301921"/>
                </a:lnTo>
                <a:lnTo>
                  <a:pt x="102378" y="419686"/>
                </a:lnTo>
                <a:lnTo>
                  <a:pt x="37874" y="419686"/>
                </a:lnTo>
                <a:close/>
                <a:moveTo>
                  <a:pt x="398491" y="231865"/>
                </a:moveTo>
                <a:lnTo>
                  <a:pt x="398491" y="276970"/>
                </a:lnTo>
                <a:lnTo>
                  <a:pt x="497191" y="276970"/>
                </a:lnTo>
                <a:lnTo>
                  <a:pt x="497191" y="231865"/>
                </a:lnTo>
                <a:close/>
                <a:moveTo>
                  <a:pt x="94088" y="231865"/>
                </a:moveTo>
                <a:lnTo>
                  <a:pt x="94088" y="276970"/>
                </a:lnTo>
                <a:lnTo>
                  <a:pt x="192788" y="276970"/>
                </a:lnTo>
                <a:lnTo>
                  <a:pt x="192788" y="231865"/>
                </a:lnTo>
                <a:close/>
                <a:moveTo>
                  <a:pt x="324696" y="222660"/>
                </a:moveTo>
                <a:lnTo>
                  <a:pt x="324696" y="288936"/>
                </a:lnTo>
                <a:lnTo>
                  <a:pt x="352369" y="288936"/>
                </a:lnTo>
                <a:lnTo>
                  <a:pt x="352369" y="222660"/>
                </a:lnTo>
                <a:close/>
                <a:moveTo>
                  <a:pt x="282264" y="222660"/>
                </a:moveTo>
                <a:lnTo>
                  <a:pt x="282264" y="288936"/>
                </a:lnTo>
                <a:lnTo>
                  <a:pt x="309937" y="288936"/>
                </a:lnTo>
                <a:lnTo>
                  <a:pt x="309937" y="222660"/>
                </a:lnTo>
                <a:close/>
                <a:moveTo>
                  <a:pt x="237988" y="222660"/>
                </a:moveTo>
                <a:lnTo>
                  <a:pt x="237988" y="288936"/>
                </a:lnTo>
                <a:lnTo>
                  <a:pt x="265661" y="288936"/>
                </a:lnTo>
                <a:lnTo>
                  <a:pt x="265661" y="222660"/>
                </a:lnTo>
                <a:close/>
                <a:moveTo>
                  <a:pt x="251804" y="53224"/>
                </a:moveTo>
                <a:lnTo>
                  <a:pt x="333026" y="53224"/>
                </a:lnTo>
                <a:lnTo>
                  <a:pt x="333026" y="69794"/>
                </a:lnTo>
                <a:lnTo>
                  <a:pt x="251804" y="69794"/>
                </a:lnTo>
                <a:close/>
                <a:moveTo>
                  <a:pt x="145744" y="41320"/>
                </a:moveTo>
                <a:lnTo>
                  <a:pt x="127296" y="177555"/>
                </a:lnTo>
                <a:lnTo>
                  <a:pt x="463984" y="177555"/>
                </a:lnTo>
                <a:lnTo>
                  <a:pt x="445535" y="41320"/>
                </a:lnTo>
                <a:close/>
                <a:moveTo>
                  <a:pt x="256092" y="133"/>
                </a:moveTo>
                <a:cubicBezTo>
                  <a:pt x="316005" y="-649"/>
                  <a:pt x="392149" y="1853"/>
                  <a:pt x="482432" y="11864"/>
                </a:cubicBezTo>
                <a:lnTo>
                  <a:pt x="503648" y="173873"/>
                </a:lnTo>
                <a:lnTo>
                  <a:pt x="526709" y="173873"/>
                </a:lnTo>
                <a:lnTo>
                  <a:pt x="526709" y="172032"/>
                </a:lnTo>
                <a:lnTo>
                  <a:pt x="526709" y="137973"/>
                </a:lnTo>
                <a:lnTo>
                  <a:pt x="596814" y="137973"/>
                </a:lnTo>
                <a:lnTo>
                  <a:pt x="596814" y="176634"/>
                </a:lnTo>
                <a:lnTo>
                  <a:pt x="528554" y="176634"/>
                </a:lnTo>
                <a:lnTo>
                  <a:pt x="526709" y="176634"/>
                </a:lnTo>
                <a:lnTo>
                  <a:pt x="526709" y="178475"/>
                </a:lnTo>
                <a:lnTo>
                  <a:pt x="528554" y="178475"/>
                </a:lnTo>
                <a:lnTo>
                  <a:pt x="528554" y="194124"/>
                </a:lnTo>
                <a:lnTo>
                  <a:pt x="572831" y="194124"/>
                </a:lnTo>
                <a:lnTo>
                  <a:pt x="572831" y="231865"/>
                </a:lnTo>
                <a:lnTo>
                  <a:pt x="528554" y="231865"/>
                </a:lnTo>
                <a:lnTo>
                  <a:pt x="528554" y="289857"/>
                </a:lnTo>
                <a:lnTo>
                  <a:pt x="483355" y="289857"/>
                </a:lnTo>
                <a:lnTo>
                  <a:pt x="483355" y="321154"/>
                </a:lnTo>
                <a:lnTo>
                  <a:pt x="154046" y="321154"/>
                </a:lnTo>
                <a:lnTo>
                  <a:pt x="114382" y="321154"/>
                </a:lnTo>
                <a:lnTo>
                  <a:pt x="114382" y="289857"/>
                </a:lnTo>
                <a:lnTo>
                  <a:pt x="55346" y="289857"/>
                </a:lnTo>
                <a:lnTo>
                  <a:pt x="55346" y="230944"/>
                </a:lnTo>
                <a:lnTo>
                  <a:pt x="37820" y="230944"/>
                </a:lnTo>
                <a:lnTo>
                  <a:pt x="37820" y="195965"/>
                </a:lnTo>
                <a:lnTo>
                  <a:pt x="55346" y="195965"/>
                </a:lnTo>
                <a:lnTo>
                  <a:pt x="55346" y="178475"/>
                </a:lnTo>
                <a:lnTo>
                  <a:pt x="70105" y="178475"/>
                </a:lnTo>
                <a:lnTo>
                  <a:pt x="70105" y="176634"/>
                </a:lnTo>
                <a:lnTo>
                  <a:pt x="55346" y="176634"/>
                </a:lnTo>
                <a:lnTo>
                  <a:pt x="0" y="176634"/>
                </a:lnTo>
                <a:lnTo>
                  <a:pt x="0" y="137973"/>
                </a:lnTo>
                <a:lnTo>
                  <a:pt x="70105" y="137973"/>
                </a:lnTo>
                <a:lnTo>
                  <a:pt x="70105" y="172032"/>
                </a:lnTo>
                <a:lnTo>
                  <a:pt x="70105" y="173873"/>
                </a:lnTo>
                <a:lnTo>
                  <a:pt x="81174" y="173873"/>
                </a:lnTo>
                <a:lnTo>
                  <a:pt x="101468" y="11864"/>
                </a:lnTo>
                <a:cubicBezTo>
                  <a:pt x="101468" y="11864"/>
                  <a:pt x="156237" y="1436"/>
                  <a:pt x="256092" y="133"/>
                </a:cubicBezTo>
                <a:close/>
              </a:path>
            </a:pathLst>
          </a:custGeom>
          <a:solidFill>
            <a:srgbClr val="676A8A"/>
          </a:solidFill>
          <a:ln>
            <a:noFill/>
          </a:ln>
        </p:spPr>
      </p:sp>
      <p:sp>
        <p:nvSpPr>
          <p:cNvPr id="21" name="all-terrain-vehicle_3476"/>
          <p:cNvSpPr>
            <a:spLocks noChangeAspect="1"/>
          </p:cNvSpPr>
          <p:nvPr/>
        </p:nvSpPr>
        <p:spPr bwMode="auto">
          <a:xfrm>
            <a:off x="2711264" y="4653267"/>
            <a:ext cx="1179945" cy="901184"/>
          </a:xfrm>
          <a:custGeom>
            <a:avLst/>
            <a:gdLst>
              <a:gd name="T0" fmla="*/ 501 w 583"/>
              <a:gd name="T1" fmla="*/ 126 h 446"/>
              <a:gd name="T2" fmla="*/ 491 w 583"/>
              <a:gd name="T3" fmla="*/ 168 h 446"/>
              <a:gd name="T4" fmla="*/ 416 w 583"/>
              <a:gd name="T5" fmla="*/ 0 h 446"/>
              <a:gd name="T6" fmla="*/ 92 w 583"/>
              <a:gd name="T7" fmla="*/ 75 h 446"/>
              <a:gd name="T8" fmla="*/ 87 w 583"/>
              <a:gd name="T9" fmla="*/ 171 h 446"/>
              <a:gd name="T10" fmla="*/ 0 w 583"/>
              <a:gd name="T11" fmla="*/ 126 h 446"/>
              <a:gd name="T12" fmla="*/ 83 w 583"/>
              <a:gd name="T13" fmla="*/ 173 h 446"/>
              <a:gd name="T14" fmla="*/ 57 w 583"/>
              <a:gd name="T15" fmla="*/ 304 h 446"/>
              <a:gd name="T16" fmla="*/ 89 w 583"/>
              <a:gd name="T17" fmla="*/ 412 h 446"/>
              <a:gd name="T18" fmla="*/ 189 w 583"/>
              <a:gd name="T19" fmla="*/ 412 h 446"/>
              <a:gd name="T20" fmla="*/ 386 w 583"/>
              <a:gd name="T21" fmla="*/ 364 h 446"/>
              <a:gd name="T22" fmla="*/ 436 w 583"/>
              <a:gd name="T23" fmla="*/ 446 h 446"/>
              <a:gd name="T24" fmla="*/ 486 w 583"/>
              <a:gd name="T25" fmla="*/ 359 h 446"/>
              <a:gd name="T26" fmla="*/ 526 w 583"/>
              <a:gd name="T27" fmla="*/ 220 h 446"/>
              <a:gd name="T28" fmla="*/ 583 w 583"/>
              <a:gd name="T29" fmla="*/ 169 h 446"/>
              <a:gd name="T30" fmla="*/ 583 w 583"/>
              <a:gd name="T31" fmla="*/ 126 h 446"/>
              <a:gd name="T32" fmla="*/ 167 w 583"/>
              <a:gd name="T33" fmla="*/ 30 h 446"/>
              <a:gd name="T34" fmla="*/ 461 w 583"/>
              <a:gd name="T35" fmla="*/ 75 h 446"/>
              <a:gd name="T36" fmla="*/ 457 w 583"/>
              <a:gd name="T37" fmla="*/ 160 h 446"/>
              <a:gd name="T38" fmla="*/ 122 w 583"/>
              <a:gd name="T39" fmla="*/ 160 h 446"/>
              <a:gd name="T40" fmla="*/ 122 w 583"/>
              <a:gd name="T41" fmla="*/ 75 h 446"/>
              <a:gd name="T42" fmla="*/ 374 w 583"/>
              <a:gd name="T43" fmla="*/ 289 h 446"/>
              <a:gd name="T44" fmla="*/ 219 w 583"/>
              <a:gd name="T45" fmla="*/ 270 h 446"/>
              <a:gd name="T46" fmla="*/ 107 w 583"/>
              <a:gd name="T47" fmla="*/ 298 h 446"/>
              <a:gd name="T48" fmla="*/ 197 w 583"/>
              <a:gd name="T49" fmla="*/ 232 h 446"/>
              <a:gd name="T50" fmla="*/ 107 w 583"/>
              <a:gd name="T51" fmla="*/ 298 h 446"/>
              <a:gd name="T52" fmla="*/ 197 w 583"/>
              <a:gd name="T53" fmla="*/ 334 h 446"/>
              <a:gd name="T54" fmla="*/ 222 w 583"/>
              <a:gd name="T55" fmla="*/ 334 h 446"/>
              <a:gd name="T56" fmla="*/ 386 w 583"/>
              <a:gd name="T57" fmla="*/ 347 h 446"/>
              <a:gd name="T58" fmla="*/ 386 w 583"/>
              <a:gd name="T59" fmla="*/ 322 h 446"/>
              <a:gd name="T60" fmla="*/ 386 w 583"/>
              <a:gd name="T61" fmla="*/ 347 h 446"/>
              <a:gd name="T62" fmla="*/ 398 w 583"/>
              <a:gd name="T63" fmla="*/ 298 h 446"/>
              <a:gd name="T64" fmla="*/ 488 w 583"/>
              <a:gd name="T65" fmla="*/ 232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83" h="446">
                <a:moveTo>
                  <a:pt x="583" y="126"/>
                </a:moveTo>
                <a:lnTo>
                  <a:pt x="501" y="126"/>
                </a:lnTo>
                <a:lnTo>
                  <a:pt x="496" y="171"/>
                </a:lnTo>
                <a:cubicBezTo>
                  <a:pt x="494" y="170"/>
                  <a:pt x="493" y="169"/>
                  <a:pt x="491" y="168"/>
                </a:cubicBezTo>
                <a:lnTo>
                  <a:pt x="491" y="75"/>
                </a:lnTo>
                <a:cubicBezTo>
                  <a:pt x="491" y="34"/>
                  <a:pt x="457" y="0"/>
                  <a:pt x="416" y="0"/>
                </a:cubicBezTo>
                <a:lnTo>
                  <a:pt x="167" y="0"/>
                </a:lnTo>
                <a:cubicBezTo>
                  <a:pt x="126" y="0"/>
                  <a:pt x="92" y="34"/>
                  <a:pt x="92" y="75"/>
                </a:cubicBezTo>
                <a:lnTo>
                  <a:pt x="92" y="168"/>
                </a:lnTo>
                <a:cubicBezTo>
                  <a:pt x="90" y="169"/>
                  <a:pt x="89" y="170"/>
                  <a:pt x="87" y="171"/>
                </a:cubicBezTo>
                <a:lnTo>
                  <a:pt x="82" y="126"/>
                </a:lnTo>
                <a:lnTo>
                  <a:pt x="0" y="126"/>
                </a:lnTo>
                <a:lnTo>
                  <a:pt x="0" y="169"/>
                </a:lnTo>
                <a:lnTo>
                  <a:pt x="83" y="173"/>
                </a:lnTo>
                <a:cubicBezTo>
                  <a:pt x="67" y="184"/>
                  <a:pt x="57" y="201"/>
                  <a:pt x="57" y="220"/>
                </a:cubicBezTo>
                <a:lnTo>
                  <a:pt x="57" y="304"/>
                </a:lnTo>
                <a:cubicBezTo>
                  <a:pt x="57" y="326"/>
                  <a:pt x="70" y="344"/>
                  <a:pt x="89" y="355"/>
                </a:cubicBezTo>
                <a:lnTo>
                  <a:pt x="89" y="412"/>
                </a:lnTo>
                <a:cubicBezTo>
                  <a:pt x="89" y="431"/>
                  <a:pt x="111" y="446"/>
                  <a:pt x="139" y="446"/>
                </a:cubicBezTo>
                <a:cubicBezTo>
                  <a:pt x="166" y="446"/>
                  <a:pt x="189" y="431"/>
                  <a:pt x="189" y="412"/>
                </a:cubicBezTo>
                <a:lnTo>
                  <a:pt x="189" y="364"/>
                </a:lnTo>
                <a:lnTo>
                  <a:pt x="386" y="364"/>
                </a:lnTo>
                <a:lnTo>
                  <a:pt x="386" y="412"/>
                </a:lnTo>
                <a:cubicBezTo>
                  <a:pt x="386" y="431"/>
                  <a:pt x="408" y="446"/>
                  <a:pt x="436" y="446"/>
                </a:cubicBezTo>
                <a:cubicBezTo>
                  <a:pt x="463" y="446"/>
                  <a:pt x="486" y="431"/>
                  <a:pt x="486" y="412"/>
                </a:cubicBezTo>
                <a:lnTo>
                  <a:pt x="486" y="359"/>
                </a:lnTo>
                <a:cubicBezTo>
                  <a:pt x="509" y="349"/>
                  <a:pt x="526" y="329"/>
                  <a:pt x="526" y="304"/>
                </a:cubicBezTo>
                <a:lnTo>
                  <a:pt x="526" y="220"/>
                </a:lnTo>
                <a:cubicBezTo>
                  <a:pt x="526" y="201"/>
                  <a:pt x="516" y="184"/>
                  <a:pt x="500" y="173"/>
                </a:cubicBezTo>
                <a:lnTo>
                  <a:pt x="583" y="169"/>
                </a:lnTo>
                <a:lnTo>
                  <a:pt x="583" y="126"/>
                </a:lnTo>
                <a:lnTo>
                  <a:pt x="583" y="126"/>
                </a:lnTo>
                <a:close/>
                <a:moveTo>
                  <a:pt x="122" y="75"/>
                </a:moveTo>
                <a:cubicBezTo>
                  <a:pt x="122" y="50"/>
                  <a:pt x="142" y="30"/>
                  <a:pt x="167" y="30"/>
                </a:cubicBezTo>
                <a:lnTo>
                  <a:pt x="416" y="30"/>
                </a:lnTo>
                <a:cubicBezTo>
                  <a:pt x="441" y="30"/>
                  <a:pt x="461" y="50"/>
                  <a:pt x="461" y="75"/>
                </a:cubicBezTo>
                <a:lnTo>
                  <a:pt x="461" y="160"/>
                </a:lnTo>
                <a:cubicBezTo>
                  <a:pt x="460" y="160"/>
                  <a:pt x="458" y="160"/>
                  <a:pt x="457" y="160"/>
                </a:cubicBezTo>
                <a:lnTo>
                  <a:pt x="126" y="160"/>
                </a:lnTo>
                <a:cubicBezTo>
                  <a:pt x="125" y="160"/>
                  <a:pt x="123" y="160"/>
                  <a:pt x="122" y="160"/>
                </a:cubicBezTo>
                <a:lnTo>
                  <a:pt x="122" y="75"/>
                </a:lnTo>
                <a:lnTo>
                  <a:pt x="122" y="75"/>
                </a:lnTo>
                <a:close/>
                <a:moveTo>
                  <a:pt x="374" y="270"/>
                </a:moveTo>
                <a:lnTo>
                  <a:pt x="374" y="289"/>
                </a:lnTo>
                <a:lnTo>
                  <a:pt x="219" y="289"/>
                </a:lnTo>
                <a:lnTo>
                  <a:pt x="219" y="270"/>
                </a:lnTo>
                <a:lnTo>
                  <a:pt x="374" y="270"/>
                </a:lnTo>
                <a:close/>
                <a:moveTo>
                  <a:pt x="107" y="298"/>
                </a:moveTo>
                <a:lnTo>
                  <a:pt x="107" y="232"/>
                </a:lnTo>
                <a:lnTo>
                  <a:pt x="197" y="232"/>
                </a:lnTo>
                <a:lnTo>
                  <a:pt x="197" y="298"/>
                </a:lnTo>
                <a:lnTo>
                  <a:pt x="107" y="298"/>
                </a:lnTo>
                <a:close/>
                <a:moveTo>
                  <a:pt x="209" y="347"/>
                </a:moveTo>
                <a:cubicBezTo>
                  <a:pt x="202" y="347"/>
                  <a:pt x="197" y="341"/>
                  <a:pt x="197" y="334"/>
                </a:cubicBezTo>
                <a:cubicBezTo>
                  <a:pt x="197" y="327"/>
                  <a:pt x="202" y="322"/>
                  <a:pt x="209" y="322"/>
                </a:cubicBezTo>
                <a:cubicBezTo>
                  <a:pt x="216" y="322"/>
                  <a:pt x="222" y="327"/>
                  <a:pt x="222" y="334"/>
                </a:cubicBezTo>
                <a:cubicBezTo>
                  <a:pt x="222" y="341"/>
                  <a:pt x="216" y="347"/>
                  <a:pt x="209" y="347"/>
                </a:cubicBezTo>
                <a:close/>
                <a:moveTo>
                  <a:pt x="386" y="347"/>
                </a:moveTo>
                <a:cubicBezTo>
                  <a:pt x="379" y="347"/>
                  <a:pt x="374" y="341"/>
                  <a:pt x="374" y="334"/>
                </a:cubicBezTo>
                <a:cubicBezTo>
                  <a:pt x="374" y="327"/>
                  <a:pt x="379" y="322"/>
                  <a:pt x="386" y="322"/>
                </a:cubicBezTo>
                <a:cubicBezTo>
                  <a:pt x="393" y="322"/>
                  <a:pt x="399" y="327"/>
                  <a:pt x="399" y="334"/>
                </a:cubicBezTo>
                <a:cubicBezTo>
                  <a:pt x="399" y="341"/>
                  <a:pt x="393" y="347"/>
                  <a:pt x="386" y="347"/>
                </a:cubicBezTo>
                <a:close/>
                <a:moveTo>
                  <a:pt x="488" y="298"/>
                </a:moveTo>
                <a:lnTo>
                  <a:pt x="398" y="298"/>
                </a:lnTo>
                <a:lnTo>
                  <a:pt x="398" y="232"/>
                </a:lnTo>
                <a:lnTo>
                  <a:pt x="488" y="232"/>
                </a:lnTo>
                <a:lnTo>
                  <a:pt x="488" y="298"/>
                </a:lnTo>
                <a:close/>
              </a:path>
            </a:pathLst>
          </a:custGeom>
          <a:solidFill>
            <a:srgbClr val="676A8A"/>
          </a:solidFill>
          <a:ln>
            <a:noFill/>
          </a:ln>
        </p:spPr>
        <p:txBody>
          <a:bodyPr/>
          <a:lstStyle/>
          <a:p>
            <a:endParaRPr lang="zh-CN" altLang="en-US"/>
          </a:p>
        </p:txBody>
      </p:sp>
      <p:sp>
        <p:nvSpPr>
          <p:cNvPr id="2" name="文本框 1"/>
          <p:cNvSpPr txBox="1"/>
          <p:nvPr/>
        </p:nvSpPr>
        <p:spPr>
          <a:xfrm>
            <a:off x="1183304" y="5521512"/>
            <a:ext cx="945676" cy="307777"/>
          </a:xfrm>
          <a:prstGeom prst="rect">
            <a:avLst/>
          </a:prstGeom>
          <a:noFill/>
        </p:spPr>
        <p:txBody>
          <a:bodyPr wrap="square" rtlCol="0">
            <a:spAutoFit/>
          </a:bodyPr>
          <a:lstStyle/>
          <a:p>
            <a:r>
              <a:rPr lang="en-US" altLang="zh-CN" sz="1400" dirty="0" smtClean="0"/>
              <a:t>BMW320</a:t>
            </a:r>
            <a:endParaRPr lang="zh-CN" altLang="en-US" sz="1400" dirty="0"/>
          </a:p>
        </p:txBody>
      </p:sp>
      <p:sp>
        <p:nvSpPr>
          <p:cNvPr id="55" name="文本框 54"/>
          <p:cNvSpPr txBox="1"/>
          <p:nvPr/>
        </p:nvSpPr>
        <p:spPr>
          <a:xfrm>
            <a:off x="2828362" y="5521512"/>
            <a:ext cx="945748" cy="307777"/>
          </a:xfrm>
          <a:prstGeom prst="rect">
            <a:avLst/>
          </a:prstGeom>
          <a:noFill/>
        </p:spPr>
        <p:txBody>
          <a:bodyPr wrap="square" rtlCol="0">
            <a:spAutoFit/>
          </a:bodyPr>
          <a:lstStyle/>
          <a:p>
            <a:r>
              <a:rPr lang="en-US" altLang="zh-CN" sz="1400" dirty="0" smtClean="0"/>
              <a:t>BMW532</a:t>
            </a:r>
            <a:endParaRPr lang="zh-CN" altLang="en-US" sz="1400" dirty="0"/>
          </a:p>
        </p:txBody>
      </p:sp>
      <p:cxnSp>
        <p:nvCxnSpPr>
          <p:cNvPr id="8" name="直接箭头连接符 7"/>
          <p:cNvCxnSpPr/>
          <p:nvPr/>
        </p:nvCxnSpPr>
        <p:spPr>
          <a:xfrm flipH="1">
            <a:off x="1572484" y="3195537"/>
            <a:ext cx="278248" cy="1511813"/>
          </a:xfrm>
          <a:prstGeom prst="straightConnector1">
            <a:avLst/>
          </a:prstGeom>
          <a:ln w="63500" cap="flat">
            <a:solidFill>
              <a:schemeClr val="tx1"/>
            </a:solidFill>
            <a:prstDash val="sysDash"/>
            <a:round/>
            <a:tailEnd type="triangle"/>
          </a:ln>
          <a:effectLst>
            <a:outerShdw blurRad="40000" dist="23000" dir="5400000" rotWithShape="0">
              <a:srgbClr val="000000">
                <a:alpha val="35000"/>
              </a:srgbClr>
            </a:outerShdw>
            <a:softEdge rad="0"/>
          </a:effectLst>
        </p:spPr>
        <p:style>
          <a:lnRef idx="3">
            <a:schemeClr val="accent1"/>
          </a:lnRef>
          <a:fillRef idx="0">
            <a:schemeClr val="accent1"/>
          </a:fillRef>
          <a:effectRef idx="2">
            <a:schemeClr val="accent1"/>
          </a:effectRef>
          <a:fontRef idx="minor">
            <a:schemeClr val="tx1"/>
          </a:fontRef>
        </p:style>
      </p:cxnSp>
      <p:cxnSp>
        <p:nvCxnSpPr>
          <p:cNvPr id="15" name="直接连接符 14"/>
          <p:cNvCxnSpPr/>
          <p:nvPr/>
        </p:nvCxnSpPr>
        <p:spPr>
          <a:xfrm flipV="1">
            <a:off x="4207727" y="2534677"/>
            <a:ext cx="2200507" cy="327469"/>
          </a:xfrm>
          <a:prstGeom prst="line">
            <a:avLst/>
          </a:prstGeom>
          <a:ln w="63500" cap="flat">
            <a:solidFill>
              <a:srgbClr val="E1691F"/>
            </a:solidFill>
            <a:prstDash val="sysDash"/>
            <a:round/>
            <a:tailEnd type="none"/>
          </a:ln>
          <a:effectLst>
            <a:outerShdw blurRad="40000" dist="23000" dir="5400000" rotWithShape="0">
              <a:srgbClr val="000000">
                <a:alpha val="35000"/>
              </a:srgbClr>
            </a:outerShdw>
            <a:softEdge rad="0"/>
          </a:effectLst>
        </p:spPr>
        <p:style>
          <a:lnRef idx="3">
            <a:schemeClr val="accent1"/>
          </a:lnRef>
          <a:fillRef idx="0">
            <a:schemeClr val="accent1"/>
          </a:fillRef>
          <a:effectRef idx="2">
            <a:schemeClr val="accent1"/>
          </a:effectRef>
          <a:fontRef idx="minor">
            <a:schemeClr val="tx1"/>
          </a:fontRef>
        </p:style>
      </p:cxnSp>
      <p:sp>
        <p:nvSpPr>
          <p:cNvPr id="22" name="factory-structure_18222"/>
          <p:cNvSpPr>
            <a:spLocks noChangeAspect="1"/>
          </p:cNvSpPr>
          <p:nvPr/>
        </p:nvSpPr>
        <p:spPr bwMode="auto">
          <a:xfrm>
            <a:off x="3014409" y="2127076"/>
            <a:ext cx="1078733" cy="1068836"/>
          </a:xfrm>
          <a:custGeom>
            <a:avLst/>
            <a:gdLst>
              <a:gd name="connsiteX0" fmla="*/ 345243 w 609332"/>
              <a:gd name="connsiteY0" fmla="*/ 467056 h 603742"/>
              <a:gd name="connsiteX1" fmla="*/ 313466 w 609332"/>
              <a:gd name="connsiteY1" fmla="*/ 498884 h 603742"/>
              <a:gd name="connsiteX2" fmla="*/ 313466 w 609332"/>
              <a:gd name="connsiteY2" fmla="*/ 534130 h 603742"/>
              <a:gd name="connsiteX3" fmla="*/ 345243 w 609332"/>
              <a:gd name="connsiteY3" fmla="*/ 565860 h 603742"/>
              <a:gd name="connsiteX4" fmla="*/ 380637 w 609332"/>
              <a:gd name="connsiteY4" fmla="*/ 565860 h 603742"/>
              <a:gd name="connsiteX5" fmla="*/ 412414 w 609332"/>
              <a:gd name="connsiteY5" fmla="*/ 534130 h 603742"/>
              <a:gd name="connsiteX6" fmla="*/ 412414 w 609332"/>
              <a:gd name="connsiteY6" fmla="*/ 498884 h 603742"/>
              <a:gd name="connsiteX7" fmla="*/ 380637 w 609332"/>
              <a:gd name="connsiteY7" fmla="*/ 467056 h 603742"/>
              <a:gd name="connsiteX8" fmla="*/ 207478 w 609332"/>
              <a:gd name="connsiteY8" fmla="*/ 467056 h 603742"/>
              <a:gd name="connsiteX9" fmla="*/ 175701 w 609332"/>
              <a:gd name="connsiteY9" fmla="*/ 498884 h 603742"/>
              <a:gd name="connsiteX10" fmla="*/ 175701 w 609332"/>
              <a:gd name="connsiteY10" fmla="*/ 534130 h 603742"/>
              <a:gd name="connsiteX11" fmla="*/ 207478 w 609332"/>
              <a:gd name="connsiteY11" fmla="*/ 565860 h 603742"/>
              <a:gd name="connsiteX12" fmla="*/ 242872 w 609332"/>
              <a:gd name="connsiteY12" fmla="*/ 565860 h 603742"/>
              <a:gd name="connsiteX13" fmla="*/ 274649 w 609332"/>
              <a:gd name="connsiteY13" fmla="*/ 534130 h 603742"/>
              <a:gd name="connsiteX14" fmla="*/ 274649 w 609332"/>
              <a:gd name="connsiteY14" fmla="*/ 498884 h 603742"/>
              <a:gd name="connsiteX15" fmla="*/ 242872 w 609332"/>
              <a:gd name="connsiteY15" fmla="*/ 467056 h 603742"/>
              <a:gd name="connsiteX16" fmla="*/ 69713 w 609332"/>
              <a:gd name="connsiteY16" fmla="*/ 467056 h 603742"/>
              <a:gd name="connsiteX17" fmla="*/ 37937 w 609332"/>
              <a:gd name="connsiteY17" fmla="*/ 498884 h 603742"/>
              <a:gd name="connsiteX18" fmla="*/ 37937 w 609332"/>
              <a:gd name="connsiteY18" fmla="*/ 534130 h 603742"/>
              <a:gd name="connsiteX19" fmla="*/ 69713 w 609332"/>
              <a:gd name="connsiteY19" fmla="*/ 565860 h 603742"/>
              <a:gd name="connsiteX20" fmla="*/ 105108 w 609332"/>
              <a:gd name="connsiteY20" fmla="*/ 565860 h 603742"/>
              <a:gd name="connsiteX21" fmla="*/ 136885 w 609332"/>
              <a:gd name="connsiteY21" fmla="*/ 534130 h 603742"/>
              <a:gd name="connsiteX22" fmla="*/ 136885 w 609332"/>
              <a:gd name="connsiteY22" fmla="*/ 498884 h 603742"/>
              <a:gd name="connsiteX23" fmla="*/ 105108 w 609332"/>
              <a:gd name="connsiteY23" fmla="*/ 467056 h 603742"/>
              <a:gd name="connsiteX24" fmla="*/ 478607 w 609332"/>
              <a:gd name="connsiteY24" fmla="*/ 132859 h 603742"/>
              <a:gd name="connsiteX25" fmla="*/ 577555 w 609332"/>
              <a:gd name="connsiteY25" fmla="*/ 132859 h 603742"/>
              <a:gd name="connsiteX26" fmla="*/ 609332 w 609332"/>
              <a:gd name="connsiteY26" fmla="*/ 469009 h 603742"/>
              <a:gd name="connsiteX27" fmla="*/ 609332 w 609332"/>
              <a:gd name="connsiteY27" fmla="*/ 603742 h 603742"/>
              <a:gd name="connsiteX28" fmla="*/ 446830 w 609332"/>
              <a:gd name="connsiteY28" fmla="*/ 603742 h 603742"/>
              <a:gd name="connsiteX29" fmla="*/ 386797 w 609332"/>
              <a:gd name="connsiteY29" fmla="*/ 603742 h 603742"/>
              <a:gd name="connsiteX30" fmla="*/ 0 w 609332"/>
              <a:gd name="connsiteY30" fmla="*/ 603742 h 603742"/>
              <a:gd name="connsiteX31" fmla="*/ 0 w 609332"/>
              <a:gd name="connsiteY31" fmla="*/ 349799 h 603742"/>
              <a:gd name="connsiteX32" fmla="*/ 150084 w 609332"/>
              <a:gd name="connsiteY32" fmla="*/ 273938 h 603742"/>
              <a:gd name="connsiteX33" fmla="*/ 150084 w 609332"/>
              <a:gd name="connsiteY33" fmla="*/ 348920 h 603742"/>
              <a:gd name="connsiteX34" fmla="*/ 298506 w 609332"/>
              <a:gd name="connsiteY34" fmla="*/ 273938 h 603742"/>
              <a:gd name="connsiteX35" fmla="*/ 298506 w 609332"/>
              <a:gd name="connsiteY35" fmla="*/ 348920 h 603742"/>
              <a:gd name="connsiteX36" fmla="*/ 446830 w 609332"/>
              <a:gd name="connsiteY36" fmla="*/ 273938 h 603742"/>
              <a:gd name="connsiteX37" fmla="*/ 446830 w 609332"/>
              <a:gd name="connsiteY37" fmla="*/ 349799 h 603742"/>
              <a:gd name="connsiteX38" fmla="*/ 446830 w 609332"/>
              <a:gd name="connsiteY38" fmla="*/ 469009 h 603742"/>
              <a:gd name="connsiteX39" fmla="*/ 238001 w 609332"/>
              <a:gd name="connsiteY39" fmla="*/ 0 h 603742"/>
              <a:gd name="connsiteX40" fmla="*/ 386789 w 609332"/>
              <a:gd name="connsiteY40" fmla="*/ 18744 h 603742"/>
              <a:gd name="connsiteX41" fmla="*/ 569109 w 609332"/>
              <a:gd name="connsiteY41" fmla="*/ 109925 h 603742"/>
              <a:gd name="connsiteX42" fmla="*/ 479073 w 609332"/>
              <a:gd name="connsiteY42" fmla="*/ 109925 h 603742"/>
              <a:gd name="connsiteX43" fmla="*/ 296754 w 609332"/>
              <a:gd name="connsiteY43" fmla="*/ 70290 h 603742"/>
              <a:gd name="connsiteX44" fmla="*/ 238001 w 609332"/>
              <a:gd name="connsiteY44" fmla="*/ 0 h 603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609332" h="603742">
                <a:moveTo>
                  <a:pt x="345243" y="467056"/>
                </a:moveTo>
                <a:cubicBezTo>
                  <a:pt x="327741" y="467056"/>
                  <a:pt x="313466" y="481310"/>
                  <a:pt x="313466" y="498884"/>
                </a:cubicBezTo>
                <a:lnTo>
                  <a:pt x="313466" y="534130"/>
                </a:lnTo>
                <a:cubicBezTo>
                  <a:pt x="313466" y="551606"/>
                  <a:pt x="327741" y="565860"/>
                  <a:pt x="345243" y="565860"/>
                </a:cubicBezTo>
                <a:lnTo>
                  <a:pt x="380637" y="565860"/>
                </a:lnTo>
                <a:cubicBezTo>
                  <a:pt x="398139" y="565860"/>
                  <a:pt x="412414" y="551606"/>
                  <a:pt x="412414" y="534130"/>
                </a:cubicBezTo>
                <a:lnTo>
                  <a:pt x="412414" y="498884"/>
                </a:lnTo>
                <a:cubicBezTo>
                  <a:pt x="412414" y="481310"/>
                  <a:pt x="398139" y="467056"/>
                  <a:pt x="380637" y="467056"/>
                </a:cubicBezTo>
                <a:close/>
                <a:moveTo>
                  <a:pt x="207478" y="467056"/>
                </a:moveTo>
                <a:cubicBezTo>
                  <a:pt x="189976" y="467056"/>
                  <a:pt x="175701" y="481310"/>
                  <a:pt x="175701" y="498884"/>
                </a:cubicBezTo>
                <a:lnTo>
                  <a:pt x="175701" y="534130"/>
                </a:lnTo>
                <a:cubicBezTo>
                  <a:pt x="175701" y="551606"/>
                  <a:pt x="189976" y="565860"/>
                  <a:pt x="207478" y="565860"/>
                </a:cubicBezTo>
                <a:lnTo>
                  <a:pt x="242872" y="565860"/>
                </a:lnTo>
                <a:cubicBezTo>
                  <a:pt x="260374" y="565860"/>
                  <a:pt x="274649" y="551606"/>
                  <a:pt x="274649" y="534130"/>
                </a:cubicBezTo>
                <a:lnTo>
                  <a:pt x="274649" y="498884"/>
                </a:lnTo>
                <a:cubicBezTo>
                  <a:pt x="274649" y="481310"/>
                  <a:pt x="260374" y="467056"/>
                  <a:pt x="242872" y="467056"/>
                </a:cubicBezTo>
                <a:close/>
                <a:moveTo>
                  <a:pt x="69713" y="467056"/>
                </a:moveTo>
                <a:cubicBezTo>
                  <a:pt x="52212" y="467056"/>
                  <a:pt x="37937" y="481310"/>
                  <a:pt x="37937" y="498884"/>
                </a:cubicBezTo>
                <a:lnTo>
                  <a:pt x="37937" y="534130"/>
                </a:lnTo>
                <a:cubicBezTo>
                  <a:pt x="37937" y="551606"/>
                  <a:pt x="52212" y="565860"/>
                  <a:pt x="69713" y="565860"/>
                </a:cubicBezTo>
                <a:lnTo>
                  <a:pt x="105108" y="565860"/>
                </a:lnTo>
                <a:cubicBezTo>
                  <a:pt x="122609" y="565860"/>
                  <a:pt x="136885" y="551606"/>
                  <a:pt x="136885" y="534130"/>
                </a:cubicBezTo>
                <a:lnTo>
                  <a:pt x="136885" y="498884"/>
                </a:lnTo>
                <a:cubicBezTo>
                  <a:pt x="136885" y="481310"/>
                  <a:pt x="122609" y="467056"/>
                  <a:pt x="105108" y="467056"/>
                </a:cubicBezTo>
                <a:close/>
                <a:moveTo>
                  <a:pt x="478607" y="132859"/>
                </a:moveTo>
                <a:lnTo>
                  <a:pt x="577555" y="132859"/>
                </a:lnTo>
                <a:lnTo>
                  <a:pt x="609332" y="469009"/>
                </a:lnTo>
                <a:lnTo>
                  <a:pt x="609332" y="603742"/>
                </a:lnTo>
                <a:lnTo>
                  <a:pt x="446830" y="603742"/>
                </a:lnTo>
                <a:lnTo>
                  <a:pt x="386797" y="603742"/>
                </a:lnTo>
                <a:lnTo>
                  <a:pt x="0" y="603742"/>
                </a:lnTo>
                <a:lnTo>
                  <a:pt x="0" y="349799"/>
                </a:lnTo>
                <a:lnTo>
                  <a:pt x="150084" y="273938"/>
                </a:lnTo>
                <a:lnTo>
                  <a:pt x="150084" y="348920"/>
                </a:lnTo>
                <a:lnTo>
                  <a:pt x="298506" y="273938"/>
                </a:lnTo>
                <a:lnTo>
                  <a:pt x="298506" y="348920"/>
                </a:lnTo>
                <a:lnTo>
                  <a:pt x="446830" y="273938"/>
                </a:lnTo>
                <a:lnTo>
                  <a:pt x="446830" y="349799"/>
                </a:lnTo>
                <a:lnTo>
                  <a:pt x="446830" y="469009"/>
                </a:lnTo>
                <a:close/>
                <a:moveTo>
                  <a:pt x="238001" y="0"/>
                </a:moveTo>
                <a:cubicBezTo>
                  <a:pt x="238001" y="0"/>
                  <a:pt x="219427" y="70290"/>
                  <a:pt x="386789" y="18744"/>
                </a:cubicBezTo>
                <a:cubicBezTo>
                  <a:pt x="554054" y="-32899"/>
                  <a:pt x="569109" y="109925"/>
                  <a:pt x="569109" y="109925"/>
                </a:cubicBezTo>
                <a:lnTo>
                  <a:pt x="479073" y="109925"/>
                </a:lnTo>
                <a:cubicBezTo>
                  <a:pt x="475065" y="55744"/>
                  <a:pt x="386300" y="80833"/>
                  <a:pt x="296754" y="70290"/>
                </a:cubicBezTo>
                <a:cubicBezTo>
                  <a:pt x="207109" y="59746"/>
                  <a:pt x="238001" y="0"/>
                  <a:pt x="238001" y="0"/>
                </a:cubicBezTo>
                <a:close/>
              </a:path>
            </a:pathLst>
          </a:custGeom>
          <a:solidFill>
            <a:srgbClr val="676A8A"/>
          </a:solidFill>
          <a:ln>
            <a:noFill/>
          </a:ln>
        </p:spPr>
      </p:sp>
      <p:sp>
        <p:nvSpPr>
          <p:cNvPr id="6" name="圆角矩形 5"/>
          <p:cNvSpPr/>
          <p:nvPr/>
        </p:nvSpPr>
        <p:spPr>
          <a:xfrm>
            <a:off x="813925" y="1821366"/>
            <a:ext cx="3743207" cy="1687551"/>
          </a:xfrm>
          <a:prstGeom prst="roundRect">
            <a:avLst/>
          </a:prstGeom>
          <a:noFill/>
          <a:ln w="63500">
            <a:solidFill>
              <a:schemeClr val="accent1">
                <a:shade val="50000"/>
                <a:alpha val="5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9" name="直接箭头连接符 8"/>
          <p:cNvCxnSpPr>
            <a:stCxn id="22" idx="2"/>
          </p:cNvCxnSpPr>
          <p:nvPr/>
        </p:nvCxnSpPr>
        <p:spPr>
          <a:xfrm flipH="1">
            <a:off x="3301237" y="3072674"/>
            <a:ext cx="268118" cy="1580593"/>
          </a:xfrm>
          <a:prstGeom prst="straightConnector1">
            <a:avLst/>
          </a:prstGeom>
          <a:ln w="63500" cap="flat">
            <a:solidFill>
              <a:schemeClr val="tx1"/>
            </a:solidFill>
            <a:prstDash val="sysDash"/>
            <a:round/>
            <a:tailEnd type="triangle"/>
          </a:ln>
          <a:effectLst>
            <a:outerShdw blurRad="40000" dist="23000" dir="5400000" rotWithShape="0">
              <a:srgbClr val="000000">
                <a:alpha val="35000"/>
              </a:srgbClr>
            </a:outerShdw>
            <a:softEdge rad="0"/>
          </a:effectLst>
        </p:spPr>
        <p:style>
          <a:lnRef idx="3">
            <a:schemeClr val="accent1"/>
          </a:lnRef>
          <a:fillRef idx="0">
            <a:schemeClr val="accent1"/>
          </a:fillRef>
          <a:effectRef idx="2">
            <a:schemeClr val="accent1"/>
          </a:effectRef>
          <a:fontRef idx="minor">
            <a:schemeClr val="tx1"/>
          </a:fontRef>
        </p:style>
      </p:cxnSp>
      <p:sp>
        <p:nvSpPr>
          <p:cNvPr id="17" name="Rectangle 3"/>
          <p:cNvSpPr>
            <a:spLocks noChangeArrowheads="1"/>
          </p:cNvSpPr>
          <p:nvPr/>
        </p:nvSpPr>
        <p:spPr bwMode="auto">
          <a:xfrm>
            <a:off x="6132513" y="1130300"/>
            <a:ext cx="5337717" cy="4247317"/>
          </a:xfrm>
          <a:prstGeom prst="rect">
            <a:avLst/>
          </a:prstGeom>
          <a:noFill/>
          <a:ln w="63500">
            <a:solidFill>
              <a:srgbClr val="D26206">
                <a:alpha val="61000"/>
              </a:srgbClr>
            </a:solidFill>
            <a:prstDash val="dash"/>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b="1" i="0" u="none" strike="noStrike" cap="none" normalizeH="0" baseline="0" dirty="0" smtClean="0">
                <a:ln>
                  <a:noFill/>
                </a:ln>
                <a:solidFill>
                  <a:srgbClr val="000080"/>
                </a:solidFill>
                <a:effectLst/>
                <a:latin typeface="Ubuntu Mono" panose="020B0509030602030204" pitchFamily="49" charset="0"/>
              </a:rPr>
              <a:t>interface </a:t>
            </a:r>
            <a:r>
              <a:rPr kumimoji="0" lang="zh-CN" altLang="zh-CN" b="0" i="0" u="none" strike="noStrike" cap="none" normalizeH="0" baseline="0" dirty="0" smtClean="0">
                <a:ln>
                  <a:noFill/>
                </a:ln>
                <a:solidFill>
                  <a:srgbClr val="000000"/>
                </a:solidFill>
                <a:effectLst/>
                <a:latin typeface="Ubuntu Mono" panose="020B0509030602030204" pitchFamily="49" charset="0"/>
              </a:rPr>
              <a:t>BMWFactory {</a:t>
            </a:r>
            <a:br>
              <a:rPr kumimoji="0" lang="zh-CN" altLang="zh-CN" b="0" i="0" u="none" strike="noStrike" cap="none" normalizeH="0" baseline="0" dirty="0" smtClean="0">
                <a:ln>
                  <a:noFill/>
                </a:ln>
                <a:solidFill>
                  <a:srgbClr val="000000"/>
                </a:solidFill>
                <a:effectLst/>
                <a:latin typeface="Ubuntu Mono" panose="020B0509030602030204" pitchFamily="49" charset="0"/>
              </a:rPr>
            </a:br>
            <a:r>
              <a:rPr kumimoji="0" lang="zh-CN" altLang="zh-CN" b="0" i="0" u="none" strike="noStrike" cap="none" normalizeH="0" baseline="0" dirty="0" smtClean="0">
                <a:ln>
                  <a:noFill/>
                </a:ln>
                <a:solidFill>
                  <a:srgbClr val="000000"/>
                </a:solidFill>
                <a:effectLst/>
                <a:latin typeface="Ubuntu Mono" panose="020B0509030602030204" pitchFamily="49" charset="0"/>
              </a:rPr>
              <a:t>    </a:t>
            </a:r>
            <a:r>
              <a:rPr kumimoji="0" lang="zh-CN" altLang="zh-CN" b="1" i="0" u="none" strike="noStrike" cap="none" normalizeH="0" baseline="0" dirty="0" smtClean="0">
                <a:ln>
                  <a:noFill/>
                </a:ln>
                <a:solidFill>
                  <a:srgbClr val="000080"/>
                </a:solidFill>
                <a:effectLst/>
                <a:latin typeface="Ubuntu Mono" panose="020B0509030602030204" pitchFamily="49" charset="0"/>
              </a:rPr>
              <a:t>fun </a:t>
            </a:r>
            <a:r>
              <a:rPr kumimoji="0" lang="zh-CN" altLang="zh-CN" b="0" i="0" u="none" strike="noStrike" cap="none" normalizeH="0" baseline="0" dirty="0" smtClean="0">
                <a:ln>
                  <a:noFill/>
                </a:ln>
                <a:solidFill>
                  <a:srgbClr val="000000"/>
                </a:solidFill>
                <a:effectLst/>
                <a:latin typeface="Ubuntu Mono" panose="020B0509030602030204" pitchFamily="49" charset="0"/>
              </a:rPr>
              <a:t>createBMW() : BMWM</a:t>
            </a:r>
            <a:br>
              <a:rPr kumimoji="0" lang="zh-CN" altLang="zh-CN" b="0" i="0" u="none" strike="noStrike" cap="none" normalizeH="0" baseline="0" dirty="0" smtClean="0">
                <a:ln>
                  <a:noFill/>
                </a:ln>
                <a:solidFill>
                  <a:srgbClr val="000000"/>
                </a:solidFill>
                <a:effectLst/>
                <a:latin typeface="Ubuntu Mono" panose="020B0509030602030204" pitchFamily="49" charset="0"/>
              </a:rPr>
            </a:br>
            <a:r>
              <a:rPr kumimoji="0" lang="zh-CN" altLang="zh-CN" b="0" i="0" u="none" strike="noStrike" cap="none" normalizeH="0" baseline="0" dirty="0" smtClean="0">
                <a:ln>
                  <a:noFill/>
                </a:ln>
                <a:solidFill>
                  <a:srgbClr val="000000"/>
                </a:solidFill>
                <a:effectLst/>
                <a:latin typeface="Ubuntu Mono" panose="020B0509030602030204" pitchFamily="49" charset="0"/>
              </a:rPr>
              <a:t>}</a:t>
            </a:r>
            <a:br>
              <a:rPr kumimoji="0" lang="zh-CN" altLang="zh-CN" b="0" i="0" u="none" strike="noStrike" cap="none" normalizeH="0" baseline="0" dirty="0" smtClean="0">
                <a:ln>
                  <a:noFill/>
                </a:ln>
                <a:solidFill>
                  <a:srgbClr val="000000"/>
                </a:solidFill>
                <a:effectLst/>
                <a:latin typeface="Ubuntu Mono" panose="020B0509030602030204" pitchFamily="49" charset="0"/>
              </a:rPr>
            </a:br>
            <a:r>
              <a:rPr kumimoji="0" lang="zh-CN" altLang="zh-CN" b="0" i="0" u="none" strike="noStrike" cap="none" normalizeH="0" baseline="0" dirty="0" smtClean="0">
                <a:ln>
                  <a:noFill/>
                </a:ln>
                <a:solidFill>
                  <a:srgbClr val="000000"/>
                </a:solidFill>
                <a:effectLst/>
                <a:latin typeface="Ubuntu Mono" panose="020B0509030602030204" pitchFamily="49" charset="0"/>
              </a:rPr>
              <a:t/>
            </a:r>
            <a:br>
              <a:rPr kumimoji="0" lang="zh-CN" altLang="zh-CN" b="0" i="0" u="none" strike="noStrike" cap="none" normalizeH="0" baseline="0" dirty="0" smtClean="0">
                <a:ln>
                  <a:noFill/>
                </a:ln>
                <a:solidFill>
                  <a:srgbClr val="000000"/>
                </a:solidFill>
                <a:effectLst/>
                <a:latin typeface="Ubuntu Mono" panose="020B0509030602030204" pitchFamily="49" charset="0"/>
              </a:rPr>
            </a:br>
            <a:r>
              <a:rPr kumimoji="0" lang="zh-CN" altLang="zh-CN" b="1" i="0" u="none" strike="noStrike" cap="none" normalizeH="0" baseline="0" dirty="0" smtClean="0">
                <a:ln>
                  <a:noFill/>
                </a:ln>
                <a:solidFill>
                  <a:srgbClr val="000080"/>
                </a:solidFill>
                <a:effectLst/>
                <a:latin typeface="Ubuntu Mono" panose="020B0509030602030204" pitchFamily="49" charset="0"/>
              </a:rPr>
              <a:t>class </a:t>
            </a:r>
            <a:r>
              <a:rPr kumimoji="0" lang="zh-CN" altLang="zh-CN" b="0" i="0" u="none" strike="noStrike" cap="none" normalizeH="0" baseline="0" dirty="0" smtClean="0">
                <a:ln>
                  <a:noFill/>
                </a:ln>
                <a:solidFill>
                  <a:srgbClr val="000000"/>
                </a:solidFill>
                <a:effectLst/>
                <a:latin typeface="Ubuntu Mono" panose="020B0509030602030204" pitchFamily="49" charset="0"/>
              </a:rPr>
              <a:t>BMW320MFactory : BMWFactory {</a:t>
            </a:r>
            <a:br>
              <a:rPr kumimoji="0" lang="zh-CN" altLang="zh-CN" b="0" i="0" u="none" strike="noStrike" cap="none" normalizeH="0" baseline="0" dirty="0" smtClean="0">
                <a:ln>
                  <a:noFill/>
                </a:ln>
                <a:solidFill>
                  <a:srgbClr val="000000"/>
                </a:solidFill>
                <a:effectLst/>
                <a:latin typeface="Ubuntu Mono" panose="020B0509030602030204" pitchFamily="49" charset="0"/>
              </a:rPr>
            </a:br>
            <a:r>
              <a:rPr kumimoji="0" lang="zh-CN" altLang="zh-CN" b="0" i="0" u="none" strike="noStrike" cap="none" normalizeH="0" baseline="0" dirty="0" smtClean="0">
                <a:ln>
                  <a:noFill/>
                </a:ln>
                <a:solidFill>
                  <a:srgbClr val="000000"/>
                </a:solidFill>
                <a:effectLst/>
                <a:latin typeface="Ubuntu Mono" panose="020B0509030602030204" pitchFamily="49" charset="0"/>
              </a:rPr>
              <a:t>   </a:t>
            </a:r>
            <a:r>
              <a:rPr kumimoji="0" lang="zh-CN" altLang="zh-CN" b="1" i="0" u="none" strike="noStrike" cap="none" normalizeH="0" baseline="0" dirty="0" smtClean="0">
                <a:ln>
                  <a:noFill/>
                </a:ln>
                <a:solidFill>
                  <a:srgbClr val="000080"/>
                </a:solidFill>
                <a:effectLst/>
                <a:latin typeface="Ubuntu Mono" panose="020B0509030602030204" pitchFamily="49" charset="0"/>
              </a:rPr>
              <a:t>override fun </a:t>
            </a:r>
            <a:r>
              <a:rPr kumimoji="0" lang="zh-CN" altLang="zh-CN" b="0" i="0" u="none" strike="noStrike" cap="none" normalizeH="0" baseline="0" dirty="0" smtClean="0">
                <a:ln>
                  <a:noFill/>
                </a:ln>
                <a:solidFill>
                  <a:srgbClr val="000000"/>
                </a:solidFill>
                <a:effectLst/>
                <a:latin typeface="Ubuntu Mono" panose="020B0509030602030204" pitchFamily="49" charset="0"/>
              </a:rPr>
              <a:t>createBMW() : BMW320M {</a:t>
            </a:r>
            <a:br>
              <a:rPr kumimoji="0" lang="zh-CN" altLang="zh-CN" b="0" i="0" u="none" strike="noStrike" cap="none" normalizeH="0" baseline="0" dirty="0" smtClean="0">
                <a:ln>
                  <a:noFill/>
                </a:ln>
                <a:solidFill>
                  <a:srgbClr val="000000"/>
                </a:solidFill>
                <a:effectLst/>
                <a:latin typeface="Ubuntu Mono" panose="020B0509030602030204" pitchFamily="49" charset="0"/>
              </a:rPr>
            </a:br>
            <a:r>
              <a:rPr kumimoji="0" lang="zh-CN" altLang="zh-CN" b="0" i="0" u="none" strike="noStrike" cap="none" normalizeH="0" baseline="0" dirty="0" smtClean="0">
                <a:ln>
                  <a:noFill/>
                </a:ln>
                <a:solidFill>
                  <a:srgbClr val="000000"/>
                </a:solidFill>
                <a:effectLst/>
                <a:latin typeface="Ubuntu Mono" panose="020B0509030602030204" pitchFamily="49" charset="0"/>
              </a:rPr>
              <a:t>       </a:t>
            </a:r>
            <a:r>
              <a:rPr kumimoji="0" lang="zh-CN" altLang="zh-CN" b="1" i="0" u="none" strike="noStrike" cap="none" normalizeH="0" baseline="0" dirty="0" smtClean="0">
                <a:ln>
                  <a:noFill/>
                </a:ln>
                <a:solidFill>
                  <a:srgbClr val="000080"/>
                </a:solidFill>
                <a:effectLst/>
                <a:latin typeface="Ubuntu Mono" panose="020B0509030602030204" pitchFamily="49" charset="0"/>
              </a:rPr>
              <a:t>return </a:t>
            </a:r>
            <a:r>
              <a:rPr kumimoji="0" lang="zh-CN" altLang="zh-CN" b="0" i="0" u="none" strike="noStrike" cap="none" normalizeH="0" baseline="0" dirty="0" smtClean="0">
                <a:ln>
                  <a:noFill/>
                </a:ln>
                <a:solidFill>
                  <a:srgbClr val="000000"/>
                </a:solidFill>
                <a:effectLst/>
                <a:latin typeface="Ubuntu Mono" panose="020B0509030602030204" pitchFamily="49" charset="0"/>
              </a:rPr>
              <a:t>BMW320M()</a:t>
            </a:r>
            <a:br>
              <a:rPr kumimoji="0" lang="zh-CN" altLang="zh-CN" b="0" i="0" u="none" strike="noStrike" cap="none" normalizeH="0" baseline="0" dirty="0" smtClean="0">
                <a:ln>
                  <a:noFill/>
                </a:ln>
                <a:solidFill>
                  <a:srgbClr val="000000"/>
                </a:solidFill>
                <a:effectLst/>
                <a:latin typeface="Ubuntu Mono" panose="020B0509030602030204" pitchFamily="49" charset="0"/>
              </a:rPr>
            </a:br>
            <a:r>
              <a:rPr kumimoji="0" lang="zh-CN" altLang="zh-CN" b="0" i="0" u="none" strike="noStrike" cap="none" normalizeH="0" baseline="0" dirty="0" smtClean="0">
                <a:ln>
                  <a:noFill/>
                </a:ln>
                <a:solidFill>
                  <a:srgbClr val="000000"/>
                </a:solidFill>
                <a:effectLst/>
                <a:latin typeface="Ubuntu Mono" panose="020B0509030602030204" pitchFamily="49" charset="0"/>
              </a:rPr>
              <a:t>   }</a:t>
            </a:r>
            <a:br>
              <a:rPr kumimoji="0" lang="zh-CN" altLang="zh-CN" b="0" i="0" u="none" strike="noStrike" cap="none" normalizeH="0" baseline="0" dirty="0" smtClean="0">
                <a:ln>
                  <a:noFill/>
                </a:ln>
                <a:solidFill>
                  <a:srgbClr val="000000"/>
                </a:solidFill>
                <a:effectLst/>
                <a:latin typeface="Ubuntu Mono" panose="020B0509030602030204" pitchFamily="49" charset="0"/>
              </a:rPr>
            </a:br>
            <a:r>
              <a:rPr kumimoji="0" lang="zh-CN" altLang="zh-CN" b="0" i="0" u="none" strike="noStrike" cap="none" normalizeH="0" baseline="0" dirty="0" smtClean="0">
                <a:ln>
                  <a:noFill/>
                </a:ln>
                <a:solidFill>
                  <a:srgbClr val="000000"/>
                </a:solidFill>
                <a:effectLst/>
                <a:latin typeface="Ubuntu Mono" panose="020B0509030602030204" pitchFamily="49" charset="0"/>
              </a:rPr>
              <a:t>}</a:t>
            </a:r>
            <a:br>
              <a:rPr kumimoji="0" lang="zh-CN" altLang="zh-CN" b="0" i="0" u="none" strike="noStrike" cap="none" normalizeH="0" baseline="0" dirty="0" smtClean="0">
                <a:ln>
                  <a:noFill/>
                </a:ln>
                <a:solidFill>
                  <a:srgbClr val="000000"/>
                </a:solidFill>
                <a:effectLst/>
                <a:latin typeface="Ubuntu Mono" panose="020B0509030602030204" pitchFamily="49" charset="0"/>
              </a:rPr>
            </a:br>
            <a:r>
              <a:rPr kumimoji="0" lang="zh-CN" altLang="zh-CN" b="0" i="0" u="none" strike="noStrike" cap="none" normalizeH="0" baseline="0" dirty="0" smtClean="0">
                <a:ln>
                  <a:noFill/>
                </a:ln>
                <a:solidFill>
                  <a:srgbClr val="000000"/>
                </a:solidFill>
                <a:effectLst/>
                <a:latin typeface="Ubuntu Mono" panose="020B0509030602030204" pitchFamily="49" charset="0"/>
              </a:rPr>
              <a:t/>
            </a:r>
            <a:br>
              <a:rPr kumimoji="0" lang="zh-CN" altLang="zh-CN" b="0" i="0" u="none" strike="noStrike" cap="none" normalizeH="0" baseline="0" dirty="0" smtClean="0">
                <a:ln>
                  <a:noFill/>
                </a:ln>
                <a:solidFill>
                  <a:srgbClr val="000000"/>
                </a:solidFill>
                <a:effectLst/>
                <a:latin typeface="Ubuntu Mono" panose="020B0509030602030204" pitchFamily="49" charset="0"/>
              </a:rPr>
            </a:br>
            <a:r>
              <a:rPr kumimoji="0" lang="zh-CN" altLang="zh-CN" b="1" i="0" u="none" strike="noStrike" cap="none" normalizeH="0" baseline="0" dirty="0" smtClean="0">
                <a:ln>
                  <a:noFill/>
                </a:ln>
                <a:solidFill>
                  <a:srgbClr val="000080"/>
                </a:solidFill>
                <a:effectLst/>
                <a:latin typeface="Ubuntu Mono" panose="020B0509030602030204" pitchFamily="49" charset="0"/>
              </a:rPr>
              <a:t>class </a:t>
            </a:r>
            <a:r>
              <a:rPr kumimoji="0" lang="zh-CN" altLang="zh-CN" b="0" i="0" u="none" strike="noStrike" cap="none" normalizeH="0" baseline="0" dirty="0" smtClean="0">
                <a:ln>
                  <a:noFill/>
                </a:ln>
                <a:solidFill>
                  <a:srgbClr val="000000"/>
                </a:solidFill>
                <a:effectLst/>
                <a:latin typeface="Ubuntu Mono" panose="020B0509030602030204" pitchFamily="49" charset="0"/>
              </a:rPr>
              <a:t>BMW523MFactory : BMWFactory {</a:t>
            </a:r>
            <a:br>
              <a:rPr kumimoji="0" lang="zh-CN" altLang="zh-CN" b="0" i="0" u="none" strike="noStrike" cap="none" normalizeH="0" baseline="0" dirty="0" smtClean="0">
                <a:ln>
                  <a:noFill/>
                </a:ln>
                <a:solidFill>
                  <a:srgbClr val="000000"/>
                </a:solidFill>
                <a:effectLst/>
                <a:latin typeface="Ubuntu Mono" panose="020B0509030602030204" pitchFamily="49" charset="0"/>
              </a:rPr>
            </a:br>
            <a:r>
              <a:rPr kumimoji="0" lang="zh-CN" altLang="zh-CN" b="0" i="0" u="none" strike="noStrike" cap="none" normalizeH="0" baseline="0" dirty="0" smtClean="0">
                <a:ln>
                  <a:noFill/>
                </a:ln>
                <a:solidFill>
                  <a:srgbClr val="000000"/>
                </a:solidFill>
                <a:effectLst/>
                <a:latin typeface="Ubuntu Mono" panose="020B0509030602030204" pitchFamily="49" charset="0"/>
              </a:rPr>
              <a:t>    </a:t>
            </a:r>
            <a:r>
              <a:rPr kumimoji="0" lang="zh-CN" altLang="zh-CN" b="1" i="0" u="none" strike="noStrike" cap="none" normalizeH="0" baseline="0" dirty="0" smtClean="0">
                <a:ln>
                  <a:noFill/>
                </a:ln>
                <a:solidFill>
                  <a:srgbClr val="000080"/>
                </a:solidFill>
                <a:effectLst/>
                <a:latin typeface="Ubuntu Mono" panose="020B0509030602030204" pitchFamily="49" charset="0"/>
              </a:rPr>
              <a:t>override fun </a:t>
            </a:r>
            <a:r>
              <a:rPr kumimoji="0" lang="zh-CN" altLang="zh-CN" b="0" i="0" u="none" strike="noStrike" cap="none" normalizeH="0" baseline="0" dirty="0" smtClean="0">
                <a:ln>
                  <a:noFill/>
                </a:ln>
                <a:solidFill>
                  <a:srgbClr val="000000"/>
                </a:solidFill>
                <a:effectLst/>
                <a:latin typeface="Ubuntu Mono" panose="020B0509030602030204" pitchFamily="49" charset="0"/>
              </a:rPr>
              <a:t>createBMW() : BMW523M {</a:t>
            </a:r>
            <a:br>
              <a:rPr kumimoji="0" lang="zh-CN" altLang="zh-CN" b="0" i="0" u="none" strike="noStrike" cap="none" normalizeH="0" baseline="0" dirty="0" smtClean="0">
                <a:ln>
                  <a:noFill/>
                </a:ln>
                <a:solidFill>
                  <a:srgbClr val="000000"/>
                </a:solidFill>
                <a:effectLst/>
                <a:latin typeface="Ubuntu Mono" panose="020B0509030602030204" pitchFamily="49" charset="0"/>
              </a:rPr>
            </a:br>
            <a:r>
              <a:rPr kumimoji="0" lang="zh-CN" altLang="zh-CN" b="0" i="0" u="none" strike="noStrike" cap="none" normalizeH="0" baseline="0" dirty="0" smtClean="0">
                <a:ln>
                  <a:noFill/>
                </a:ln>
                <a:solidFill>
                  <a:srgbClr val="000000"/>
                </a:solidFill>
                <a:effectLst/>
                <a:latin typeface="Ubuntu Mono" panose="020B0509030602030204" pitchFamily="49" charset="0"/>
              </a:rPr>
              <a:t>        </a:t>
            </a:r>
            <a:r>
              <a:rPr kumimoji="0" lang="zh-CN" altLang="zh-CN" b="1" i="0" u="none" strike="noStrike" cap="none" normalizeH="0" baseline="0" dirty="0" smtClean="0">
                <a:ln>
                  <a:noFill/>
                </a:ln>
                <a:solidFill>
                  <a:srgbClr val="000080"/>
                </a:solidFill>
                <a:effectLst/>
                <a:latin typeface="Ubuntu Mono" panose="020B0509030602030204" pitchFamily="49" charset="0"/>
              </a:rPr>
              <a:t>return </a:t>
            </a:r>
            <a:r>
              <a:rPr kumimoji="0" lang="zh-CN" altLang="zh-CN" b="0" i="0" u="none" strike="noStrike" cap="none" normalizeH="0" baseline="0" dirty="0" smtClean="0">
                <a:ln>
                  <a:noFill/>
                </a:ln>
                <a:solidFill>
                  <a:srgbClr val="000000"/>
                </a:solidFill>
                <a:effectLst/>
                <a:latin typeface="Ubuntu Mono" panose="020B0509030602030204" pitchFamily="49" charset="0"/>
              </a:rPr>
              <a:t>BMW523M()</a:t>
            </a:r>
            <a:br>
              <a:rPr kumimoji="0" lang="zh-CN" altLang="zh-CN" b="0" i="0" u="none" strike="noStrike" cap="none" normalizeH="0" baseline="0" dirty="0" smtClean="0">
                <a:ln>
                  <a:noFill/>
                </a:ln>
                <a:solidFill>
                  <a:srgbClr val="000000"/>
                </a:solidFill>
                <a:effectLst/>
                <a:latin typeface="Ubuntu Mono" panose="020B0509030602030204" pitchFamily="49" charset="0"/>
              </a:rPr>
            </a:br>
            <a:r>
              <a:rPr kumimoji="0" lang="zh-CN" altLang="zh-CN" b="0" i="0" u="none" strike="noStrike" cap="none" normalizeH="0" baseline="0" dirty="0" smtClean="0">
                <a:ln>
                  <a:noFill/>
                </a:ln>
                <a:solidFill>
                  <a:srgbClr val="000000"/>
                </a:solidFill>
                <a:effectLst/>
                <a:latin typeface="Ubuntu Mono" panose="020B0509030602030204" pitchFamily="49" charset="0"/>
              </a:rPr>
              <a:t>    }</a:t>
            </a:r>
            <a:br>
              <a:rPr kumimoji="0" lang="zh-CN" altLang="zh-CN" b="0" i="0" u="none" strike="noStrike" cap="none" normalizeH="0" baseline="0" dirty="0" smtClean="0">
                <a:ln>
                  <a:noFill/>
                </a:ln>
                <a:solidFill>
                  <a:srgbClr val="000000"/>
                </a:solidFill>
                <a:effectLst/>
                <a:latin typeface="Ubuntu Mono" panose="020B0509030602030204" pitchFamily="49" charset="0"/>
              </a:rPr>
            </a:br>
            <a:r>
              <a:rPr kumimoji="0" lang="zh-CN" altLang="zh-CN" b="0" i="0" u="none" strike="noStrike" cap="none" normalizeH="0" baseline="0" dirty="0" smtClean="0">
                <a:ln>
                  <a:noFill/>
                </a:ln>
                <a:solidFill>
                  <a:srgbClr val="000000"/>
                </a:solidFill>
                <a:effectLst/>
                <a:latin typeface="Ubuntu Mono" panose="020B0509030602030204" pitchFamily="49" charset="0"/>
              </a:rPr>
              <a:t>}</a:t>
            </a:r>
            <a:endParaRPr kumimoji="0" lang="zh-CN" altLang="zh-CN" b="0" i="0" u="none" strike="noStrike" cap="none" normalizeH="0" baseline="0" dirty="0" smtClean="0">
              <a:ln>
                <a:noFill/>
              </a:ln>
              <a:solidFill>
                <a:schemeClr val="tx1"/>
              </a:solidFill>
              <a:effectLst/>
              <a:latin typeface="Arial" panose="020B0604020202020204" pitchFamily="34" charset="0"/>
            </a:endParaRPr>
          </a:p>
        </p:txBody>
      </p:sp>
      <p:sp>
        <p:nvSpPr>
          <p:cNvPr id="24" name="coding_151359"/>
          <p:cNvSpPr>
            <a:spLocks noChangeAspect="1"/>
          </p:cNvSpPr>
          <p:nvPr/>
        </p:nvSpPr>
        <p:spPr bwMode="auto">
          <a:xfrm>
            <a:off x="6671664" y="211853"/>
            <a:ext cx="467336" cy="466684"/>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06439" h="605593">
                <a:moveTo>
                  <a:pt x="264222" y="458757"/>
                </a:moveTo>
                <a:lnTo>
                  <a:pt x="220421" y="579819"/>
                </a:lnTo>
                <a:lnTo>
                  <a:pt x="386019" y="579819"/>
                </a:lnTo>
                <a:lnTo>
                  <a:pt x="342217" y="458757"/>
                </a:lnTo>
                <a:close/>
                <a:moveTo>
                  <a:pt x="420977" y="157263"/>
                </a:moveTo>
                <a:lnTo>
                  <a:pt x="489088" y="231020"/>
                </a:lnTo>
                <a:lnTo>
                  <a:pt x="424086" y="301483"/>
                </a:lnTo>
                <a:lnTo>
                  <a:pt x="405150" y="283985"/>
                </a:lnTo>
                <a:lnTo>
                  <a:pt x="453949" y="231020"/>
                </a:lnTo>
                <a:lnTo>
                  <a:pt x="402042" y="174761"/>
                </a:lnTo>
                <a:close/>
                <a:moveTo>
                  <a:pt x="185461" y="157263"/>
                </a:moveTo>
                <a:lnTo>
                  <a:pt x="204397" y="174761"/>
                </a:lnTo>
                <a:lnTo>
                  <a:pt x="152489" y="231020"/>
                </a:lnTo>
                <a:lnTo>
                  <a:pt x="201288" y="283985"/>
                </a:lnTo>
                <a:lnTo>
                  <a:pt x="182352" y="301483"/>
                </a:lnTo>
                <a:lnTo>
                  <a:pt x="117350" y="231020"/>
                </a:lnTo>
                <a:close/>
                <a:moveTo>
                  <a:pt x="309343" y="122078"/>
                </a:moveTo>
                <a:lnTo>
                  <a:pt x="334401" y="128193"/>
                </a:lnTo>
                <a:lnTo>
                  <a:pt x="283718" y="336668"/>
                </a:lnTo>
                <a:lnTo>
                  <a:pt x="258565" y="330553"/>
                </a:lnTo>
                <a:close/>
                <a:moveTo>
                  <a:pt x="25810" y="25774"/>
                </a:moveTo>
                <a:lnTo>
                  <a:pt x="25810" y="432983"/>
                </a:lnTo>
                <a:lnTo>
                  <a:pt x="580629" y="432983"/>
                </a:lnTo>
                <a:lnTo>
                  <a:pt x="580629" y="25774"/>
                </a:lnTo>
                <a:close/>
                <a:moveTo>
                  <a:pt x="0" y="0"/>
                </a:moveTo>
                <a:lnTo>
                  <a:pt x="606439" y="0"/>
                </a:lnTo>
                <a:lnTo>
                  <a:pt x="606439" y="458757"/>
                </a:lnTo>
                <a:lnTo>
                  <a:pt x="369628" y="458757"/>
                </a:lnTo>
                <a:lnTo>
                  <a:pt x="413430" y="579819"/>
                </a:lnTo>
                <a:lnTo>
                  <a:pt x="459492" y="579819"/>
                </a:lnTo>
                <a:lnTo>
                  <a:pt x="459492" y="605593"/>
                </a:lnTo>
                <a:lnTo>
                  <a:pt x="146947" y="605593"/>
                </a:lnTo>
                <a:lnTo>
                  <a:pt x="146947" y="579819"/>
                </a:lnTo>
                <a:lnTo>
                  <a:pt x="192915" y="579819"/>
                </a:lnTo>
                <a:lnTo>
                  <a:pt x="236717" y="458757"/>
                </a:lnTo>
                <a:lnTo>
                  <a:pt x="0" y="458757"/>
                </a:lnTo>
                <a:close/>
              </a:path>
            </a:pathLst>
          </a:custGeom>
          <a:solidFill>
            <a:schemeClr val="accent1"/>
          </a:solidFill>
          <a:ln>
            <a:noFill/>
          </a:ln>
        </p:spPr>
      </p:sp>
    </p:spTree>
    <p:extLst>
      <p:ext uri="{BB962C8B-B14F-4D97-AF65-F5344CB8AC3E}">
        <p14:creationId xmlns:p14="http://schemas.microsoft.com/office/powerpoint/2010/main" val="33076670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íśḻîdè">
            <a:extLst>
              <a:ext uri="{FF2B5EF4-FFF2-40B4-BE49-F238E27FC236}">
                <a16:creationId xmlns:a16="http://schemas.microsoft.com/office/drawing/2014/main" id="{D2DB60E3-7251-4D71-B9F3-3D8B147756BC}"/>
              </a:ext>
            </a:extLst>
          </p:cNvPr>
          <p:cNvSpPr txBox="1"/>
          <p:nvPr/>
        </p:nvSpPr>
        <p:spPr>
          <a:xfrm>
            <a:off x="669925" y="1130300"/>
            <a:ext cx="1381043" cy="399958"/>
          </a:xfrm>
          <a:prstGeom prst="rect">
            <a:avLst/>
          </a:prstGeom>
          <a:solidFill>
            <a:srgbClr val="676A8A"/>
          </a:solidFill>
        </p:spPr>
        <p:txBody>
          <a:bodyPr wrap="square" lIns="91440" tIns="45720" rIns="91440" bIns="4572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914400">
              <a:defRPr/>
            </a:pPr>
            <a:r>
              <a:rPr lang="zh-CN" altLang="en-US" sz="2000" b="1" kern="0" dirty="0" smtClean="0">
                <a:solidFill>
                  <a:prstClr val="white"/>
                </a:solidFill>
              </a:rPr>
              <a:t>抽象工厂</a:t>
            </a:r>
            <a:endParaRPr lang="zh-CN" altLang="en-US" sz="2000" b="1" kern="0" dirty="0">
              <a:solidFill>
                <a:prstClr val="white"/>
              </a:solidFill>
            </a:endParaRPr>
          </a:p>
        </p:txBody>
      </p:sp>
      <p:sp>
        <p:nvSpPr>
          <p:cNvPr id="43" name="标题 1"/>
          <p:cNvSpPr>
            <a:spLocks noGrp="1"/>
          </p:cNvSpPr>
          <p:nvPr>
            <p:ph type="title"/>
          </p:nvPr>
        </p:nvSpPr>
        <p:spPr>
          <a:xfrm>
            <a:off x="1137925" y="205921"/>
            <a:ext cx="10401280" cy="695186"/>
          </a:xfrm>
        </p:spPr>
        <p:txBody>
          <a:bodyPr/>
          <a:lstStyle/>
          <a:p>
            <a:r>
              <a:rPr lang="zh-CN" altLang="en-US" sz="3200" b="0" dirty="0" smtClean="0">
                <a:latin typeface="Arial"/>
                <a:ea typeface="Microsoft YaHei"/>
                <a:cs typeface="+mn-ea"/>
                <a:sym typeface="Arial"/>
              </a:rPr>
              <a:t>工厂</a:t>
            </a:r>
            <a:r>
              <a:rPr lang="en-US" altLang="zh-CN" sz="3200" b="0" dirty="0" smtClean="0">
                <a:latin typeface="Arial"/>
                <a:ea typeface="Microsoft YaHei"/>
                <a:cs typeface="+mn-ea"/>
                <a:sym typeface="Arial"/>
              </a:rPr>
              <a:t>/</a:t>
            </a:r>
            <a:r>
              <a:rPr lang="zh-CN" altLang="en-US" sz="3200" b="0" dirty="0" smtClean="0">
                <a:latin typeface="Arial"/>
                <a:ea typeface="Microsoft YaHei"/>
                <a:cs typeface="+mn-ea"/>
                <a:sym typeface="Arial"/>
              </a:rPr>
              <a:t>抽象工厂模式</a:t>
            </a:r>
            <a:endParaRPr lang="zh-CN" altLang="en-US" sz="3200" b="0" dirty="0">
              <a:latin typeface="Arial"/>
              <a:ea typeface="Microsoft YaHei"/>
              <a:cs typeface="+mn-ea"/>
              <a:sym typeface="Arial"/>
            </a:endParaRPr>
          </a:p>
        </p:txBody>
      </p:sp>
      <p:grpSp>
        <p:nvGrpSpPr>
          <p:cNvPr id="44" name="组合 43">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45" name="椭圆 44">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46" name="椭圆 45">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
        <p:nvSpPr>
          <p:cNvPr id="47" name="î$ḷîḓê">
            <a:extLst>
              <a:ext uri="{FF2B5EF4-FFF2-40B4-BE49-F238E27FC236}">
                <a16:creationId xmlns:a16="http://schemas.microsoft.com/office/drawing/2014/main" id="{0120662D-08EC-45F4-BE9C-84021ADB4C9A}"/>
              </a:ext>
            </a:extLst>
          </p:cNvPr>
          <p:cNvSpPr/>
          <p:nvPr/>
        </p:nvSpPr>
        <p:spPr bwMode="gray">
          <a:xfrm>
            <a:off x="7211000" y="198392"/>
            <a:ext cx="1506790" cy="480145"/>
          </a:xfrm>
          <a:prstGeom prst="rect">
            <a:avLst/>
          </a:prstGeom>
          <a:solidFill>
            <a:schemeClr val="accent1"/>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创建型模式</a:t>
            </a:r>
            <a:endParaRPr lang="en-US" altLang="zh-CN" sz="2400" dirty="0">
              <a:solidFill>
                <a:schemeClr val="bg1"/>
              </a:solidFill>
            </a:endParaRPr>
          </a:p>
        </p:txBody>
      </p:sp>
      <p:sp>
        <p:nvSpPr>
          <p:cNvPr id="48" name="î$ḷîḓê">
            <a:extLst>
              <a:ext uri="{FF2B5EF4-FFF2-40B4-BE49-F238E27FC236}">
                <a16:creationId xmlns:a16="http://schemas.microsoft.com/office/drawing/2014/main" id="{0120662D-08EC-45F4-BE9C-84021ADB4C9A}"/>
              </a:ext>
            </a:extLst>
          </p:cNvPr>
          <p:cNvSpPr/>
          <p:nvPr/>
        </p:nvSpPr>
        <p:spPr bwMode="gray">
          <a:xfrm>
            <a:off x="8749874" y="199746"/>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结构型模式</a:t>
            </a:r>
            <a:endParaRPr lang="en-US" altLang="zh-CN" sz="2400" dirty="0">
              <a:solidFill>
                <a:schemeClr val="bg1"/>
              </a:solidFill>
            </a:endParaRPr>
          </a:p>
        </p:txBody>
      </p:sp>
      <p:sp>
        <p:nvSpPr>
          <p:cNvPr id="49" name="î$ḷîḓê">
            <a:extLst>
              <a:ext uri="{FF2B5EF4-FFF2-40B4-BE49-F238E27FC236}">
                <a16:creationId xmlns:a16="http://schemas.microsoft.com/office/drawing/2014/main" id="{0120662D-08EC-45F4-BE9C-84021ADB4C9A}"/>
              </a:ext>
            </a:extLst>
          </p:cNvPr>
          <p:cNvSpPr/>
          <p:nvPr/>
        </p:nvSpPr>
        <p:spPr bwMode="gray">
          <a:xfrm>
            <a:off x="10282004" y="189695"/>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行为型模式</a:t>
            </a:r>
            <a:endParaRPr lang="en-US" altLang="zh-CN" sz="2400" dirty="0">
              <a:solidFill>
                <a:schemeClr val="bg1"/>
              </a:solidFill>
            </a:endParaRPr>
          </a:p>
        </p:txBody>
      </p:sp>
      <p:sp>
        <p:nvSpPr>
          <p:cNvPr id="51" name="all-terrain-vehicle_3476"/>
          <p:cNvSpPr>
            <a:spLocks noChangeAspect="1"/>
          </p:cNvSpPr>
          <p:nvPr/>
        </p:nvSpPr>
        <p:spPr bwMode="auto">
          <a:xfrm>
            <a:off x="1817018" y="1716375"/>
            <a:ext cx="2452764" cy="1736361"/>
          </a:xfrm>
          <a:custGeom>
            <a:avLst/>
            <a:gdLst>
              <a:gd name="connsiteX0" fmla="*/ 487038 w 596814"/>
              <a:gd name="connsiteY0" fmla="*/ 304584 h 422497"/>
              <a:gd name="connsiteX1" fmla="*/ 551542 w 596814"/>
              <a:gd name="connsiteY1" fmla="*/ 304584 h 422497"/>
              <a:gd name="connsiteX2" fmla="*/ 551542 w 596814"/>
              <a:gd name="connsiteY2" fmla="*/ 422497 h 422497"/>
              <a:gd name="connsiteX3" fmla="*/ 487038 w 596814"/>
              <a:gd name="connsiteY3" fmla="*/ 422497 h 422497"/>
              <a:gd name="connsiteX4" fmla="*/ 37874 w 596814"/>
              <a:gd name="connsiteY4" fmla="*/ 301921 h 422497"/>
              <a:gd name="connsiteX5" fmla="*/ 102378 w 596814"/>
              <a:gd name="connsiteY5" fmla="*/ 301921 h 422497"/>
              <a:gd name="connsiteX6" fmla="*/ 102378 w 596814"/>
              <a:gd name="connsiteY6" fmla="*/ 419686 h 422497"/>
              <a:gd name="connsiteX7" fmla="*/ 37874 w 596814"/>
              <a:gd name="connsiteY7" fmla="*/ 419686 h 422497"/>
              <a:gd name="connsiteX8" fmla="*/ 398491 w 596814"/>
              <a:gd name="connsiteY8" fmla="*/ 231865 h 422497"/>
              <a:gd name="connsiteX9" fmla="*/ 398491 w 596814"/>
              <a:gd name="connsiteY9" fmla="*/ 276970 h 422497"/>
              <a:gd name="connsiteX10" fmla="*/ 497191 w 596814"/>
              <a:gd name="connsiteY10" fmla="*/ 276970 h 422497"/>
              <a:gd name="connsiteX11" fmla="*/ 497191 w 596814"/>
              <a:gd name="connsiteY11" fmla="*/ 231865 h 422497"/>
              <a:gd name="connsiteX12" fmla="*/ 94088 w 596814"/>
              <a:gd name="connsiteY12" fmla="*/ 231865 h 422497"/>
              <a:gd name="connsiteX13" fmla="*/ 94088 w 596814"/>
              <a:gd name="connsiteY13" fmla="*/ 276970 h 422497"/>
              <a:gd name="connsiteX14" fmla="*/ 192788 w 596814"/>
              <a:gd name="connsiteY14" fmla="*/ 276970 h 422497"/>
              <a:gd name="connsiteX15" fmla="*/ 192788 w 596814"/>
              <a:gd name="connsiteY15" fmla="*/ 231865 h 422497"/>
              <a:gd name="connsiteX16" fmla="*/ 324696 w 596814"/>
              <a:gd name="connsiteY16" fmla="*/ 222660 h 422497"/>
              <a:gd name="connsiteX17" fmla="*/ 324696 w 596814"/>
              <a:gd name="connsiteY17" fmla="*/ 288936 h 422497"/>
              <a:gd name="connsiteX18" fmla="*/ 352369 w 596814"/>
              <a:gd name="connsiteY18" fmla="*/ 288936 h 422497"/>
              <a:gd name="connsiteX19" fmla="*/ 352369 w 596814"/>
              <a:gd name="connsiteY19" fmla="*/ 222660 h 422497"/>
              <a:gd name="connsiteX20" fmla="*/ 282264 w 596814"/>
              <a:gd name="connsiteY20" fmla="*/ 222660 h 422497"/>
              <a:gd name="connsiteX21" fmla="*/ 282264 w 596814"/>
              <a:gd name="connsiteY21" fmla="*/ 288936 h 422497"/>
              <a:gd name="connsiteX22" fmla="*/ 309937 w 596814"/>
              <a:gd name="connsiteY22" fmla="*/ 288936 h 422497"/>
              <a:gd name="connsiteX23" fmla="*/ 309937 w 596814"/>
              <a:gd name="connsiteY23" fmla="*/ 222660 h 422497"/>
              <a:gd name="connsiteX24" fmla="*/ 237988 w 596814"/>
              <a:gd name="connsiteY24" fmla="*/ 222660 h 422497"/>
              <a:gd name="connsiteX25" fmla="*/ 237988 w 596814"/>
              <a:gd name="connsiteY25" fmla="*/ 288936 h 422497"/>
              <a:gd name="connsiteX26" fmla="*/ 265661 w 596814"/>
              <a:gd name="connsiteY26" fmla="*/ 288936 h 422497"/>
              <a:gd name="connsiteX27" fmla="*/ 265661 w 596814"/>
              <a:gd name="connsiteY27" fmla="*/ 222660 h 422497"/>
              <a:gd name="connsiteX28" fmla="*/ 251804 w 596814"/>
              <a:gd name="connsiteY28" fmla="*/ 53224 h 422497"/>
              <a:gd name="connsiteX29" fmla="*/ 333026 w 596814"/>
              <a:gd name="connsiteY29" fmla="*/ 53224 h 422497"/>
              <a:gd name="connsiteX30" fmla="*/ 333026 w 596814"/>
              <a:gd name="connsiteY30" fmla="*/ 69794 h 422497"/>
              <a:gd name="connsiteX31" fmla="*/ 251804 w 596814"/>
              <a:gd name="connsiteY31" fmla="*/ 69794 h 422497"/>
              <a:gd name="connsiteX32" fmla="*/ 145744 w 596814"/>
              <a:gd name="connsiteY32" fmla="*/ 41320 h 422497"/>
              <a:gd name="connsiteX33" fmla="*/ 127296 w 596814"/>
              <a:gd name="connsiteY33" fmla="*/ 177555 h 422497"/>
              <a:gd name="connsiteX34" fmla="*/ 463984 w 596814"/>
              <a:gd name="connsiteY34" fmla="*/ 177555 h 422497"/>
              <a:gd name="connsiteX35" fmla="*/ 445535 w 596814"/>
              <a:gd name="connsiteY35" fmla="*/ 41320 h 422497"/>
              <a:gd name="connsiteX36" fmla="*/ 256092 w 596814"/>
              <a:gd name="connsiteY36" fmla="*/ 133 h 422497"/>
              <a:gd name="connsiteX37" fmla="*/ 482432 w 596814"/>
              <a:gd name="connsiteY37" fmla="*/ 11864 h 422497"/>
              <a:gd name="connsiteX38" fmla="*/ 503648 w 596814"/>
              <a:gd name="connsiteY38" fmla="*/ 173873 h 422497"/>
              <a:gd name="connsiteX39" fmla="*/ 526709 w 596814"/>
              <a:gd name="connsiteY39" fmla="*/ 173873 h 422497"/>
              <a:gd name="connsiteX40" fmla="*/ 526709 w 596814"/>
              <a:gd name="connsiteY40" fmla="*/ 172032 h 422497"/>
              <a:gd name="connsiteX41" fmla="*/ 526709 w 596814"/>
              <a:gd name="connsiteY41" fmla="*/ 137973 h 422497"/>
              <a:gd name="connsiteX42" fmla="*/ 596814 w 596814"/>
              <a:gd name="connsiteY42" fmla="*/ 137973 h 422497"/>
              <a:gd name="connsiteX43" fmla="*/ 596814 w 596814"/>
              <a:gd name="connsiteY43" fmla="*/ 176634 h 422497"/>
              <a:gd name="connsiteX44" fmla="*/ 528554 w 596814"/>
              <a:gd name="connsiteY44" fmla="*/ 176634 h 422497"/>
              <a:gd name="connsiteX45" fmla="*/ 526709 w 596814"/>
              <a:gd name="connsiteY45" fmla="*/ 176634 h 422497"/>
              <a:gd name="connsiteX46" fmla="*/ 526709 w 596814"/>
              <a:gd name="connsiteY46" fmla="*/ 178475 h 422497"/>
              <a:gd name="connsiteX47" fmla="*/ 528554 w 596814"/>
              <a:gd name="connsiteY47" fmla="*/ 178475 h 422497"/>
              <a:gd name="connsiteX48" fmla="*/ 528554 w 596814"/>
              <a:gd name="connsiteY48" fmla="*/ 194124 h 422497"/>
              <a:gd name="connsiteX49" fmla="*/ 572831 w 596814"/>
              <a:gd name="connsiteY49" fmla="*/ 194124 h 422497"/>
              <a:gd name="connsiteX50" fmla="*/ 572831 w 596814"/>
              <a:gd name="connsiteY50" fmla="*/ 231865 h 422497"/>
              <a:gd name="connsiteX51" fmla="*/ 528554 w 596814"/>
              <a:gd name="connsiteY51" fmla="*/ 231865 h 422497"/>
              <a:gd name="connsiteX52" fmla="*/ 528554 w 596814"/>
              <a:gd name="connsiteY52" fmla="*/ 289857 h 422497"/>
              <a:gd name="connsiteX53" fmla="*/ 483355 w 596814"/>
              <a:gd name="connsiteY53" fmla="*/ 289857 h 422497"/>
              <a:gd name="connsiteX54" fmla="*/ 483355 w 596814"/>
              <a:gd name="connsiteY54" fmla="*/ 321154 h 422497"/>
              <a:gd name="connsiteX55" fmla="*/ 154046 w 596814"/>
              <a:gd name="connsiteY55" fmla="*/ 321154 h 422497"/>
              <a:gd name="connsiteX56" fmla="*/ 114382 w 596814"/>
              <a:gd name="connsiteY56" fmla="*/ 321154 h 422497"/>
              <a:gd name="connsiteX57" fmla="*/ 114382 w 596814"/>
              <a:gd name="connsiteY57" fmla="*/ 289857 h 422497"/>
              <a:gd name="connsiteX58" fmla="*/ 55346 w 596814"/>
              <a:gd name="connsiteY58" fmla="*/ 289857 h 422497"/>
              <a:gd name="connsiteX59" fmla="*/ 55346 w 596814"/>
              <a:gd name="connsiteY59" fmla="*/ 230944 h 422497"/>
              <a:gd name="connsiteX60" fmla="*/ 37820 w 596814"/>
              <a:gd name="connsiteY60" fmla="*/ 230944 h 422497"/>
              <a:gd name="connsiteX61" fmla="*/ 37820 w 596814"/>
              <a:gd name="connsiteY61" fmla="*/ 195965 h 422497"/>
              <a:gd name="connsiteX62" fmla="*/ 55346 w 596814"/>
              <a:gd name="connsiteY62" fmla="*/ 195965 h 422497"/>
              <a:gd name="connsiteX63" fmla="*/ 55346 w 596814"/>
              <a:gd name="connsiteY63" fmla="*/ 178475 h 422497"/>
              <a:gd name="connsiteX64" fmla="*/ 70105 w 596814"/>
              <a:gd name="connsiteY64" fmla="*/ 178475 h 422497"/>
              <a:gd name="connsiteX65" fmla="*/ 70105 w 596814"/>
              <a:gd name="connsiteY65" fmla="*/ 176634 h 422497"/>
              <a:gd name="connsiteX66" fmla="*/ 55346 w 596814"/>
              <a:gd name="connsiteY66" fmla="*/ 176634 h 422497"/>
              <a:gd name="connsiteX67" fmla="*/ 0 w 596814"/>
              <a:gd name="connsiteY67" fmla="*/ 176634 h 422497"/>
              <a:gd name="connsiteX68" fmla="*/ 0 w 596814"/>
              <a:gd name="connsiteY68" fmla="*/ 137973 h 422497"/>
              <a:gd name="connsiteX69" fmla="*/ 70105 w 596814"/>
              <a:gd name="connsiteY69" fmla="*/ 137973 h 422497"/>
              <a:gd name="connsiteX70" fmla="*/ 70105 w 596814"/>
              <a:gd name="connsiteY70" fmla="*/ 172032 h 422497"/>
              <a:gd name="connsiteX71" fmla="*/ 70105 w 596814"/>
              <a:gd name="connsiteY71" fmla="*/ 173873 h 422497"/>
              <a:gd name="connsiteX72" fmla="*/ 81174 w 596814"/>
              <a:gd name="connsiteY72" fmla="*/ 173873 h 422497"/>
              <a:gd name="connsiteX73" fmla="*/ 101468 w 596814"/>
              <a:gd name="connsiteY73" fmla="*/ 11864 h 422497"/>
              <a:gd name="connsiteX74" fmla="*/ 256092 w 596814"/>
              <a:gd name="connsiteY74" fmla="*/ 133 h 422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596814" h="422497">
                <a:moveTo>
                  <a:pt x="487038" y="304584"/>
                </a:moveTo>
                <a:lnTo>
                  <a:pt x="551542" y="304584"/>
                </a:lnTo>
                <a:lnTo>
                  <a:pt x="551542" y="422497"/>
                </a:lnTo>
                <a:lnTo>
                  <a:pt x="487038" y="422497"/>
                </a:lnTo>
                <a:close/>
                <a:moveTo>
                  <a:pt x="37874" y="301921"/>
                </a:moveTo>
                <a:lnTo>
                  <a:pt x="102378" y="301921"/>
                </a:lnTo>
                <a:lnTo>
                  <a:pt x="102378" y="419686"/>
                </a:lnTo>
                <a:lnTo>
                  <a:pt x="37874" y="419686"/>
                </a:lnTo>
                <a:close/>
                <a:moveTo>
                  <a:pt x="398491" y="231865"/>
                </a:moveTo>
                <a:lnTo>
                  <a:pt x="398491" y="276970"/>
                </a:lnTo>
                <a:lnTo>
                  <a:pt x="497191" y="276970"/>
                </a:lnTo>
                <a:lnTo>
                  <a:pt x="497191" y="231865"/>
                </a:lnTo>
                <a:close/>
                <a:moveTo>
                  <a:pt x="94088" y="231865"/>
                </a:moveTo>
                <a:lnTo>
                  <a:pt x="94088" y="276970"/>
                </a:lnTo>
                <a:lnTo>
                  <a:pt x="192788" y="276970"/>
                </a:lnTo>
                <a:lnTo>
                  <a:pt x="192788" y="231865"/>
                </a:lnTo>
                <a:close/>
                <a:moveTo>
                  <a:pt x="324696" y="222660"/>
                </a:moveTo>
                <a:lnTo>
                  <a:pt x="324696" y="288936"/>
                </a:lnTo>
                <a:lnTo>
                  <a:pt x="352369" y="288936"/>
                </a:lnTo>
                <a:lnTo>
                  <a:pt x="352369" y="222660"/>
                </a:lnTo>
                <a:close/>
                <a:moveTo>
                  <a:pt x="282264" y="222660"/>
                </a:moveTo>
                <a:lnTo>
                  <a:pt x="282264" y="288936"/>
                </a:lnTo>
                <a:lnTo>
                  <a:pt x="309937" y="288936"/>
                </a:lnTo>
                <a:lnTo>
                  <a:pt x="309937" y="222660"/>
                </a:lnTo>
                <a:close/>
                <a:moveTo>
                  <a:pt x="237988" y="222660"/>
                </a:moveTo>
                <a:lnTo>
                  <a:pt x="237988" y="288936"/>
                </a:lnTo>
                <a:lnTo>
                  <a:pt x="265661" y="288936"/>
                </a:lnTo>
                <a:lnTo>
                  <a:pt x="265661" y="222660"/>
                </a:lnTo>
                <a:close/>
                <a:moveTo>
                  <a:pt x="251804" y="53224"/>
                </a:moveTo>
                <a:lnTo>
                  <a:pt x="333026" y="53224"/>
                </a:lnTo>
                <a:lnTo>
                  <a:pt x="333026" y="69794"/>
                </a:lnTo>
                <a:lnTo>
                  <a:pt x="251804" y="69794"/>
                </a:lnTo>
                <a:close/>
                <a:moveTo>
                  <a:pt x="145744" y="41320"/>
                </a:moveTo>
                <a:lnTo>
                  <a:pt x="127296" y="177555"/>
                </a:lnTo>
                <a:lnTo>
                  <a:pt x="463984" y="177555"/>
                </a:lnTo>
                <a:lnTo>
                  <a:pt x="445535" y="41320"/>
                </a:lnTo>
                <a:close/>
                <a:moveTo>
                  <a:pt x="256092" y="133"/>
                </a:moveTo>
                <a:cubicBezTo>
                  <a:pt x="316005" y="-649"/>
                  <a:pt x="392149" y="1853"/>
                  <a:pt x="482432" y="11864"/>
                </a:cubicBezTo>
                <a:lnTo>
                  <a:pt x="503648" y="173873"/>
                </a:lnTo>
                <a:lnTo>
                  <a:pt x="526709" y="173873"/>
                </a:lnTo>
                <a:lnTo>
                  <a:pt x="526709" y="172032"/>
                </a:lnTo>
                <a:lnTo>
                  <a:pt x="526709" y="137973"/>
                </a:lnTo>
                <a:lnTo>
                  <a:pt x="596814" y="137973"/>
                </a:lnTo>
                <a:lnTo>
                  <a:pt x="596814" y="176634"/>
                </a:lnTo>
                <a:lnTo>
                  <a:pt x="528554" y="176634"/>
                </a:lnTo>
                <a:lnTo>
                  <a:pt x="526709" y="176634"/>
                </a:lnTo>
                <a:lnTo>
                  <a:pt x="526709" y="178475"/>
                </a:lnTo>
                <a:lnTo>
                  <a:pt x="528554" y="178475"/>
                </a:lnTo>
                <a:lnTo>
                  <a:pt x="528554" y="194124"/>
                </a:lnTo>
                <a:lnTo>
                  <a:pt x="572831" y="194124"/>
                </a:lnTo>
                <a:lnTo>
                  <a:pt x="572831" y="231865"/>
                </a:lnTo>
                <a:lnTo>
                  <a:pt x="528554" y="231865"/>
                </a:lnTo>
                <a:lnTo>
                  <a:pt x="528554" y="289857"/>
                </a:lnTo>
                <a:lnTo>
                  <a:pt x="483355" y="289857"/>
                </a:lnTo>
                <a:lnTo>
                  <a:pt x="483355" y="321154"/>
                </a:lnTo>
                <a:lnTo>
                  <a:pt x="154046" y="321154"/>
                </a:lnTo>
                <a:lnTo>
                  <a:pt x="114382" y="321154"/>
                </a:lnTo>
                <a:lnTo>
                  <a:pt x="114382" y="289857"/>
                </a:lnTo>
                <a:lnTo>
                  <a:pt x="55346" y="289857"/>
                </a:lnTo>
                <a:lnTo>
                  <a:pt x="55346" y="230944"/>
                </a:lnTo>
                <a:lnTo>
                  <a:pt x="37820" y="230944"/>
                </a:lnTo>
                <a:lnTo>
                  <a:pt x="37820" y="195965"/>
                </a:lnTo>
                <a:lnTo>
                  <a:pt x="55346" y="195965"/>
                </a:lnTo>
                <a:lnTo>
                  <a:pt x="55346" y="178475"/>
                </a:lnTo>
                <a:lnTo>
                  <a:pt x="70105" y="178475"/>
                </a:lnTo>
                <a:lnTo>
                  <a:pt x="70105" y="176634"/>
                </a:lnTo>
                <a:lnTo>
                  <a:pt x="55346" y="176634"/>
                </a:lnTo>
                <a:lnTo>
                  <a:pt x="0" y="176634"/>
                </a:lnTo>
                <a:lnTo>
                  <a:pt x="0" y="137973"/>
                </a:lnTo>
                <a:lnTo>
                  <a:pt x="70105" y="137973"/>
                </a:lnTo>
                <a:lnTo>
                  <a:pt x="70105" y="172032"/>
                </a:lnTo>
                <a:lnTo>
                  <a:pt x="70105" y="173873"/>
                </a:lnTo>
                <a:lnTo>
                  <a:pt x="81174" y="173873"/>
                </a:lnTo>
                <a:lnTo>
                  <a:pt x="101468" y="11864"/>
                </a:lnTo>
                <a:cubicBezTo>
                  <a:pt x="101468" y="11864"/>
                  <a:pt x="156237" y="1436"/>
                  <a:pt x="256092" y="133"/>
                </a:cubicBezTo>
                <a:close/>
              </a:path>
            </a:pathLst>
          </a:custGeom>
          <a:solidFill>
            <a:srgbClr val="676A8A"/>
          </a:solidFill>
          <a:ln>
            <a:noFill/>
          </a:ln>
        </p:spPr>
      </p:sp>
      <p:grpSp>
        <p:nvGrpSpPr>
          <p:cNvPr id="12" name="组合 11"/>
          <p:cNvGrpSpPr/>
          <p:nvPr/>
        </p:nvGrpSpPr>
        <p:grpSpPr>
          <a:xfrm>
            <a:off x="1856286" y="3638854"/>
            <a:ext cx="2824968" cy="942688"/>
            <a:chOff x="6132513" y="1301619"/>
            <a:chExt cx="4124151" cy="1361021"/>
          </a:xfrm>
        </p:grpSpPr>
        <p:grpSp>
          <p:nvGrpSpPr>
            <p:cNvPr id="4" name="组合 3"/>
            <p:cNvGrpSpPr/>
            <p:nvPr/>
          </p:nvGrpSpPr>
          <p:grpSpPr>
            <a:xfrm>
              <a:off x="6132513" y="1301619"/>
              <a:ext cx="2465797" cy="1361021"/>
              <a:chOff x="6960701" y="1426180"/>
              <a:chExt cx="2465797" cy="1361021"/>
            </a:xfrm>
          </p:grpSpPr>
          <p:sp>
            <p:nvSpPr>
              <p:cNvPr id="23" name="rim_350005"/>
              <p:cNvSpPr>
                <a:spLocks noChangeAspect="1"/>
              </p:cNvSpPr>
              <p:nvPr/>
            </p:nvSpPr>
            <p:spPr bwMode="auto">
              <a:xfrm>
                <a:off x="6960701" y="1426180"/>
                <a:ext cx="1363080" cy="1361021"/>
              </a:xfrm>
              <a:custGeom>
                <a:avLst/>
                <a:gdLst>
                  <a:gd name="connsiteX0" fmla="*/ 336329 w 607639"/>
                  <a:gd name="connsiteY0" fmla="*/ 371598 h 606722"/>
                  <a:gd name="connsiteX1" fmla="*/ 391709 w 607639"/>
                  <a:gd name="connsiteY1" fmla="*/ 426883 h 606722"/>
                  <a:gd name="connsiteX2" fmla="*/ 329117 w 607639"/>
                  <a:gd name="connsiteY2" fmla="*/ 452748 h 606722"/>
                  <a:gd name="connsiteX3" fmla="*/ 329117 w 607639"/>
                  <a:gd name="connsiteY3" fmla="*/ 374531 h 606722"/>
                  <a:gd name="connsiteX4" fmla="*/ 336329 w 607639"/>
                  <a:gd name="connsiteY4" fmla="*/ 371598 h 606722"/>
                  <a:gd name="connsiteX5" fmla="*/ 271310 w 607639"/>
                  <a:gd name="connsiteY5" fmla="*/ 371598 h 606722"/>
                  <a:gd name="connsiteX6" fmla="*/ 278522 w 607639"/>
                  <a:gd name="connsiteY6" fmla="*/ 374531 h 606722"/>
                  <a:gd name="connsiteX7" fmla="*/ 278522 w 607639"/>
                  <a:gd name="connsiteY7" fmla="*/ 452748 h 606722"/>
                  <a:gd name="connsiteX8" fmla="*/ 215930 w 607639"/>
                  <a:gd name="connsiteY8" fmla="*/ 426883 h 606722"/>
                  <a:gd name="connsiteX9" fmla="*/ 375030 w 607639"/>
                  <a:gd name="connsiteY9" fmla="*/ 328623 h 606722"/>
                  <a:gd name="connsiteX10" fmla="*/ 453383 w 607639"/>
                  <a:gd name="connsiteY10" fmla="*/ 328623 h 606722"/>
                  <a:gd name="connsiteX11" fmla="*/ 427473 w 607639"/>
                  <a:gd name="connsiteY11" fmla="*/ 391144 h 606722"/>
                  <a:gd name="connsiteX12" fmla="*/ 372092 w 607639"/>
                  <a:gd name="connsiteY12" fmla="*/ 335826 h 606722"/>
                  <a:gd name="connsiteX13" fmla="*/ 375030 w 607639"/>
                  <a:gd name="connsiteY13" fmla="*/ 328623 h 606722"/>
                  <a:gd name="connsiteX14" fmla="*/ 154185 w 607639"/>
                  <a:gd name="connsiteY14" fmla="*/ 328623 h 606722"/>
                  <a:gd name="connsiteX15" fmla="*/ 232470 w 607639"/>
                  <a:gd name="connsiteY15" fmla="*/ 328623 h 606722"/>
                  <a:gd name="connsiteX16" fmla="*/ 235406 w 607639"/>
                  <a:gd name="connsiteY16" fmla="*/ 335826 h 606722"/>
                  <a:gd name="connsiteX17" fmla="*/ 180161 w 607639"/>
                  <a:gd name="connsiteY17" fmla="*/ 391144 h 606722"/>
                  <a:gd name="connsiteX18" fmla="*/ 154185 w 607639"/>
                  <a:gd name="connsiteY18" fmla="*/ 328623 h 606722"/>
                  <a:gd name="connsiteX19" fmla="*/ 303820 w 607639"/>
                  <a:gd name="connsiteY19" fmla="*/ 278099 h 606722"/>
                  <a:gd name="connsiteX20" fmla="*/ 329118 w 607639"/>
                  <a:gd name="connsiteY20" fmla="*/ 303362 h 606722"/>
                  <a:gd name="connsiteX21" fmla="*/ 303820 w 607639"/>
                  <a:gd name="connsiteY21" fmla="*/ 328625 h 606722"/>
                  <a:gd name="connsiteX22" fmla="*/ 278522 w 607639"/>
                  <a:gd name="connsiteY22" fmla="*/ 303362 h 606722"/>
                  <a:gd name="connsiteX23" fmla="*/ 303820 w 607639"/>
                  <a:gd name="connsiteY23" fmla="*/ 278099 h 606722"/>
                  <a:gd name="connsiteX24" fmla="*/ 427473 w 607639"/>
                  <a:gd name="connsiteY24" fmla="*/ 215578 h 606722"/>
                  <a:gd name="connsiteX25" fmla="*/ 453383 w 607639"/>
                  <a:gd name="connsiteY25" fmla="*/ 278099 h 606722"/>
                  <a:gd name="connsiteX26" fmla="*/ 375030 w 607639"/>
                  <a:gd name="connsiteY26" fmla="*/ 278099 h 606722"/>
                  <a:gd name="connsiteX27" fmla="*/ 372092 w 607639"/>
                  <a:gd name="connsiteY27" fmla="*/ 270895 h 606722"/>
                  <a:gd name="connsiteX28" fmla="*/ 180161 w 607639"/>
                  <a:gd name="connsiteY28" fmla="*/ 215578 h 606722"/>
                  <a:gd name="connsiteX29" fmla="*/ 235406 w 607639"/>
                  <a:gd name="connsiteY29" fmla="*/ 270895 h 606722"/>
                  <a:gd name="connsiteX30" fmla="*/ 232470 w 607639"/>
                  <a:gd name="connsiteY30" fmla="*/ 278099 h 606722"/>
                  <a:gd name="connsiteX31" fmla="*/ 154185 w 607639"/>
                  <a:gd name="connsiteY31" fmla="*/ 278099 h 606722"/>
                  <a:gd name="connsiteX32" fmla="*/ 180161 w 607639"/>
                  <a:gd name="connsiteY32" fmla="*/ 215578 h 606722"/>
                  <a:gd name="connsiteX33" fmla="*/ 278522 w 607639"/>
                  <a:gd name="connsiteY33" fmla="*/ 154044 h 606722"/>
                  <a:gd name="connsiteX34" fmla="*/ 278522 w 607639"/>
                  <a:gd name="connsiteY34" fmla="*/ 232193 h 606722"/>
                  <a:gd name="connsiteX35" fmla="*/ 271310 w 607639"/>
                  <a:gd name="connsiteY35" fmla="*/ 235124 h 606722"/>
                  <a:gd name="connsiteX36" fmla="*/ 215930 w 607639"/>
                  <a:gd name="connsiteY36" fmla="*/ 179886 h 606722"/>
                  <a:gd name="connsiteX37" fmla="*/ 278522 w 607639"/>
                  <a:gd name="connsiteY37" fmla="*/ 154044 h 606722"/>
                  <a:gd name="connsiteX38" fmla="*/ 329117 w 607639"/>
                  <a:gd name="connsiteY38" fmla="*/ 153903 h 606722"/>
                  <a:gd name="connsiteX39" fmla="*/ 391709 w 607639"/>
                  <a:gd name="connsiteY39" fmla="*/ 179857 h 606722"/>
                  <a:gd name="connsiteX40" fmla="*/ 336329 w 607639"/>
                  <a:gd name="connsiteY40" fmla="*/ 235053 h 606722"/>
                  <a:gd name="connsiteX41" fmla="*/ 329117 w 607639"/>
                  <a:gd name="connsiteY41" fmla="*/ 232120 h 606722"/>
                  <a:gd name="connsiteX42" fmla="*/ 303775 w 607639"/>
                  <a:gd name="connsiteY42" fmla="*/ 101135 h 606722"/>
                  <a:gd name="connsiteX43" fmla="*/ 161100 w 607639"/>
                  <a:gd name="connsiteY43" fmla="*/ 159967 h 606722"/>
                  <a:gd name="connsiteX44" fmla="*/ 160566 w 607639"/>
                  <a:gd name="connsiteY44" fmla="*/ 160412 h 606722"/>
                  <a:gd name="connsiteX45" fmla="*/ 160209 w 607639"/>
                  <a:gd name="connsiteY45" fmla="*/ 160856 h 606722"/>
                  <a:gd name="connsiteX46" fmla="*/ 101288 w 607639"/>
                  <a:gd name="connsiteY46" fmla="*/ 303316 h 606722"/>
                  <a:gd name="connsiteX47" fmla="*/ 160209 w 607639"/>
                  <a:gd name="connsiteY47" fmla="*/ 445777 h 606722"/>
                  <a:gd name="connsiteX48" fmla="*/ 160566 w 607639"/>
                  <a:gd name="connsiteY48" fmla="*/ 446310 h 606722"/>
                  <a:gd name="connsiteX49" fmla="*/ 161100 w 607639"/>
                  <a:gd name="connsiteY49" fmla="*/ 446666 h 606722"/>
                  <a:gd name="connsiteX50" fmla="*/ 303775 w 607639"/>
                  <a:gd name="connsiteY50" fmla="*/ 505587 h 606722"/>
                  <a:gd name="connsiteX51" fmla="*/ 446450 w 607639"/>
                  <a:gd name="connsiteY51" fmla="*/ 446666 h 606722"/>
                  <a:gd name="connsiteX52" fmla="*/ 446984 w 607639"/>
                  <a:gd name="connsiteY52" fmla="*/ 446310 h 606722"/>
                  <a:gd name="connsiteX53" fmla="*/ 447429 w 607639"/>
                  <a:gd name="connsiteY53" fmla="*/ 445777 h 606722"/>
                  <a:gd name="connsiteX54" fmla="*/ 506351 w 607639"/>
                  <a:gd name="connsiteY54" fmla="*/ 303316 h 606722"/>
                  <a:gd name="connsiteX55" fmla="*/ 447429 w 607639"/>
                  <a:gd name="connsiteY55" fmla="*/ 160856 h 606722"/>
                  <a:gd name="connsiteX56" fmla="*/ 446984 w 607639"/>
                  <a:gd name="connsiteY56" fmla="*/ 160412 h 606722"/>
                  <a:gd name="connsiteX57" fmla="*/ 446450 w 607639"/>
                  <a:gd name="connsiteY57" fmla="*/ 159967 h 606722"/>
                  <a:gd name="connsiteX58" fmla="*/ 303775 w 607639"/>
                  <a:gd name="connsiteY58" fmla="*/ 101135 h 606722"/>
                  <a:gd name="connsiteX59" fmla="*/ 303775 w 607639"/>
                  <a:gd name="connsiteY59" fmla="*/ 0 h 606722"/>
                  <a:gd name="connsiteX60" fmla="*/ 607639 w 607639"/>
                  <a:gd name="connsiteY60" fmla="*/ 303316 h 606722"/>
                  <a:gd name="connsiteX61" fmla="*/ 303775 w 607639"/>
                  <a:gd name="connsiteY61" fmla="*/ 606722 h 606722"/>
                  <a:gd name="connsiteX62" fmla="*/ 0 w 607639"/>
                  <a:gd name="connsiteY62" fmla="*/ 303316 h 606722"/>
                  <a:gd name="connsiteX63" fmla="*/ 303775 w 607639"/>
                  <a:gd name="connsiteY63"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607639" h="606722">
                    <a:moveTo>
                      <a:pt x="336329" y="371598"/>
                    </a:moveTo>
                    <a:lnTo>
                      <a:pt x="391709" y="426883"/>
                    </a:lnTo>
                    <a:cubicBezTo>
                      <a:pt x="373368" y="439860"/>
                      <a:pt x="352088" y="448926"/>
                      <a:pt x="329117" y="452748"/>
                    </a:cubicBezTo>
                    <a:lnTo>
                      <a:pt x="329117" y="374531"/>
                    </a:lnTo>
                    <a:cubicBezTo>
                      <a:pt x="331521" y="373731"/>
                      <a:pt x="333925" y="372754"/>
                      <a:pt x="336329" y="371598"/>
                    </a:cubicBezTo>
                    <a:close/>
                    <a:moveTo>
                      <a:pt x="271310" y="371598"/>
                    </a:moveTo>
                    <a:cubicBezTo>
                      <a:pt x="273625" y="372754"/>
                      <a:pt x="276029" y="373643"/>
                      <a:pt x="278522" y="374531"/>
                    </a:cubicBezTo>
                    <a:lnTo>
                      <a:pt x="278522" y="452748"/>
                    </a:lnTo>
                    <a:cubicBezTo>
                      <a:pt x="255462" y="448926"/>
                      <a:pt x="234182" y="439860"/>
                      <a:pt x="215930" y="426883"/>
                    </a:cubicBezTo>
                    <a:close/>
                    <a:moveTo>
                      <a:pt x="375030" y="328623"/>
                    </a:moveTo>
                    <a:lnTo>
                      <a:pt x="453383" y="328623"/>
                    </a:lnTo>
                    <a:cubicBezTo>
                      <a:pt x="449465" y="351568"/>
                      <a:pt x="440473" y="372824"/>
                      <a:pt x="427473" y="391144"/>
                    </a:cubicBezTo>
                    <a:lnTo>
                      <a:pt x="372092" y="335826"/>
                    </a:lnTo>
                    <a:cubicBezTo>
                      <a:pt x="373249" y="333514"/>
                      <a:pt x="374140" y="331113"/>
                      <a:pt x="375030" y="328623"/>
                    </a:cubicBezTo>
                    <a:close/>
                    <a:moveTo>
                      <a:pt x="154185" y="328623"/>
                    </a:moveTo>
                    <a:lnTo>
                      <a:pt x="232470" y="328623"/>
                    </a:lnTo>
                    <a:cubicBezTo>
                      <a:pt x="233360" y="331113"/>
                      <a:pt x="234338" y="333514"/>
                      <a:pt x="235406" y="335826"/>
                    </a:cubicBezTo>
                    <a:lnTo>
                      <a:pt x="180161" y="391144"/>
                    </a:lnTo>
                    <a:cubicBezTo>
                      <a:pt x="167084" y="372824"/>
                      <a:pt x="158099" y="351568"/>
                      <a:pt x="154185" y="328623"/>
                    </a:cubicBezTo>
                    <a:close/>
                    <a:moveTo>
                      <a:pt x="303820" y="278099"/>
                    </a:moveTo>
                    <a:cubicBezTo>
                      <a:pt x="317792" y="278099"/>
                      <a:pt x="329118" y="289410"/>
                      <a:pt x="329118" y="303362"/>
                    </a:cubicBezTo>
                    <a:cubicBezTo>
                      <a:pt x="329118" y="317314"/>
                      <a:pt x="317792" y="328625"/>
                      <a:pt x="303820" y="328625"/>
                    </a:cubicBezTo>
                    <a:cubicBezTo>
                      <a:pt x="289848" y="328625"/>
                      <a:pt x="278522" y="317314"/>
                      <a:pt x="278522" y="303362"/>
                    </a:cubicBezTo>
                    <a:cubicBezTo>
                      <a:pt x="278522" y="289410"/>
                      <a:pt x="289848" y="278099"/>
                      <a:pt x="303820" y="278099"/>
                    </a:cubicBezTo>
                    <a:close/>
                    <a:moveTo>
                      <a:pt x="427473" y="215578"/>
                    </a:moveTo>
                    <a:cubicBezTo>
                      <a:pt x="440473" y="233898"/>
                      <a:pt x="449554" y="255065"/>
                      <a:pt x="453383" y="278099"/>
                    </a:cubicBezTo>
                    <a:lnTo>
                      <a:pt x="375030" y="278099"/>
                    </a:lnTo>
                    <a:cubicBezTo>
                      <a:pt x="374140" y="275609"/>
                      <a:pt x="373249" y="273207"/>
                      <a:pt x="372092" y="270895"/>
                    </a:cubicBezTo>
                    <a:close/>
                    <a:moveTo>
                      <a:pt x="180161" y="215578"/>
                    </a:moveTo>
                    <a:lnTo>
                      <a:pt x="235406" y="270895"/>
                    </a:lnTo>
                    <a:cubicBezTo>
                      <a:pt x="234338" y="273207"/>
                      <a:pt x="233360" y="275609"/>
                      <a:pt x="232470" y="278099"/>
                    </a:cubicBezTo>
                    <a:lnTo>
                      <a:pt x="154185" y="278099"/>
                    </a:lnTo>
                    <a:cubicBezTo>
                      <a:pt x="158099" y="255065"/>
                      <a:pt x="167084" y="233809"/>
                      <a:pt x="180161" y="215578"/>
                    </a:cubicBezTo>
                    <a:close/>
                    <a:moveTo>
                      <a:pt x="278522" y="154044"/>
                    </a:moveTo>
                    <a:lnTo>
                      <a:pt x="278522" y="232193"/>
                    </a:lnTo>
                    <a:cubicBezTo>
                      <a:pt x="276029" y="232992"/>
                      <a:pt x="273625" y="233969"/>
                      <a:pt x="271310" y="235124"/>
                    </a:cubicBezTo>
                    <a:lnTo>
                      <a:pt x="215930" y="179886"/>
                    </a:lnTo>
                    <a:cubicBezTo>
                      <a:pt x="234182" y="166921"/>
                      <a:pt x="255462" y="157862"/>
                      <a:pt x="278522" y="154044"/>
                    </a:cubicBezTo>
                    <a:close/>
                    <a:moveTo>
                      <a:pt x="329117" y="153903"/>
                    </a:moveTo>
                    <a:cubicBezTo>
                      <a:pt x="352088" y="157814"/>
                      <a:pt x="373368" y="166791"/>
                      <a:pt x="391709" y="179857"/>
                    </a:cubicBezTo>
                    <a:lnTo>
                      <a:pt x="336329" y="235053"/>
                    </a:lnTo>
                    <a:cubicBezTo>
                      <a:pt x="334014" y="233986"/>
                      <a:pt x="331610" y="233008"/>
                      <a:pt x="329117" y="232120"/>
                    </a:cubicBezTo>
                    <a:close/>
                    <a:moveTo>
                      <a:pt x="303775" y="101135"/>
                    </a:moveTo>
                    <a:cubicBezTo>
                      <a:pt x="248147" y="101135"/>
                      <a:pt x="197770" y="123619"/>
                      <a:pt x="161100" y="159967"/>
                    </a:cubicBezTo>
                    <a:cubicBezTo>
                      <a:pt x="160922" y="160145"/>
                      <a:pt x="160744" y="160234"/>
                      <a:pt x="160566" y="160412"/>
                    </a:cubicBezTo>
                    <a:cubicBezTo>
                      <a:pt x="160387" y="160501"/>
                      <a:pt x="160387" y="160767"/>
                      <a:pt x="160209" y="160856"/>
                    </a:cubicBezTo>
                    <a:cubicBezTo>
                      <a:pt x="123806" y="197471"/>
                      <a:pt x="101288" y="247861"/>
                      <a:pt x="101288" y="303316"/>
                    </a:cubicBezTo>
                    <a:cubicBezTo>
                      <a:pt x="101288" y="358861"/>
                      <a:pt x="123806" y="409251"/>
                      <a:pt x="160209" y="445777"/>
                    </a:cubicBezTo>
                    <a:cubicBezTo>
                      <a:pt x="160387" y="445955"/>
                      <a:pt x="160387" y="446221"/>
                      <a:pt x="160566" y="446310"/>
                    </a:cubicBezTo>
                    <a:cubicBezTo>
                      <a:pt x="160744" y="446488"/>
                      <a:pt x="160922" y="446577"/>
                      <a:pt x="161100" y="446666"/>
                    </a:cubicBezTo>
                    <a:cubicBezTo>
                      <a:pt x="197770" y="483103"/>
                      <a:pt x="248147" y="505587"/>
                      <a:pt x="303775" y="505587"/>
                    </a:cubicBezTo>
                    <a:cubicBezTo>
                      <a:pt x="359403" y="505587"/>
                      <a:pt x="409869" y="483103"/>
                      <a:pt x="446450" y="446666"/>
                    </a:cubicBezTo>
                    <a:cubicBezTo>
                      <a:pt x="446628" y="446577"/>
                      <a:pt x="446895" y="446488"/>
                      <a:pt x="446984" y="446310"/>
                    </a:cubicBezTo>
                    <a:cubicBezTo>
                      <a:pt x="447163" y="446221"/>
                      <a:pt x="447251" y="445955"/>
                      <a:pt x="447429" y="445777"/>
                    </a:cubicBezTo>
                    <a:cubicBezTo>
                      <a:pt x="483744" y="409251"/>
                      <a:pt x="506351" y="358861"/>
                      <a:pt x="506351" y="303316"/>
                    </a:cubicBezTo>
                    <a:cubicBezTo>
                      <a:pt x="506351" y="247861"/>
                      <a:pt x="483744" y="197471"/>
                      <a:pt x="447429" y="160856"/>
                    </a:cubicBezTo>
                    <a:cubicBezTo>
                      <a:pt x="447251" y="160767"/>
                      <a:pt x="447163" y="160501"/>
                      <a:pt x="446984" y="160412"/>
                    </a:cubicBezTo>
                    <a:cubicBezTo>
                      <a:pt x="446895" y="160234"/>
                      <a:pt x="446628" y="160145"/>
                      <a:pt x="446450" y="159967"/>
                    </a:cubicBezTo>
                    <a:cubicBezTo>
                      <a:pt x="409869" y="123619"/>
                      <a:pt x="359403" y="101135"/>
                      <a:pt x="303775" y="101135"/>
                    </a:cubicBezTo>
                    <a:close/>
                    <a:moveTo>
                      <a:pt x="303775" y="0"/>
                    </a:moveTo>
                    <a:cubicBezTo>
                      <a:pt x="471372" y="0"/>
                      <a:pt x="607639" y="136061"/>
                      <a:pt x="607639" y="303316"/>
                    </a:cubicBezTo>
                    <a:cubicBezTo>
                      <a:pt x="607639" y="470661"/>
                      <a:pt x="471372" y="606722"/>
                      <a:pt x="303775" y="606722"/>
                    </a:cubicBezTo>
                    <a:cubicBezTo>
                      <a:pt x="136267" y="606722"/>
                      <a:pt x="0" y="470661"/>
                      <a:pt x="0" y="303316"/>
                    </a:cubicBezTo>
                    <a:cubicBezTo>
                      <a:pt x="0" y="136061"/>
                      <a:pt x="136267" y="0"/>
                      <a:pt x="303775" y="0"/>
                    </a:cubicBezTo>
                    <a:close/>
                  </a:path>
                </a:pathLst>
              </a:custGeom>
              <a:solidFill>
                <a:srgbClr val="676A8A"/>
              </a:solidFill>
              <a:ln>
                <a:noFill/>
              </a:ln>
            </p:spPr>
          </p:sp>
          <p:sp>
            <p:nvSpPr>
              <p:cNvPr id="3" name="文本框 2"/>
              <p:cNvSpPr txBox="1"/>
              <p:nvPr/>
            </p:nvSpPr>
            <p:spPr>
              <a:xfrm>
                <a:off x="8323781" y="1947745"/>
                <a:ext cx="1102717" cy="764621"/>
              </a:xfrm>
              <a:prstGeom prst="rect">
                <a:avLst/>
              </a:prstGeom>
              <a:noFill/>
            </p:spPr>
            <p:txBody>
              <a:bodyPr wrap="square" rtlCol="0">
                <a:spAutoFit/>
              </a:bodyPr>
              <a:lstStyle/>
              <a:p>
                <a:r>
                  <a:rPr lang="zh-CN" altLang="en-US" sz="1400" dirty="0" smtClean="0">
                    <a:latin typeface="微软雅黑" panose="020B0503020204020204" pitchFamily="34" charset="-122"/>
                    <a:ea typeface="微软雅黑" panose="020B0503020204020204" pitchFamily="34" charset="-122"/>
                  </a:rPr>
                  <a:t>轮胎</a:t>
                </a:r>
                <a:r>
                  <a:rPr lang="en-US" altLang="zh-CN" sz="1400" dirty="0" smtClean="0">
                    <a:latin typeface="微软雅黑" panose="020B0503020204020204" pitchFamily="34" charset="-122"/>
                    <a:ea typeface="微软雅黑" panose="020B0503020204020204" pitchFamily="34" charset="-122"/>
                  </a:rPr>
                  <a:t>(Tire)</a:t>
                </a:r>
                <a:endParaRPr lang="zh-CN" altLang="en-US" sz="1400" dirty="0">
                  <a:latin typeface="微软雅黑" panose="020B0503020204020204" pitchFamily="34" charset="-122"/>
                  <a:ea typeface="微软雅黑" panose="020B0503020204020204" pitchFamily="34" charset="-122"/>
                </a:endParaRPr>
              </a:p>
            </p:txBody>
          </p:sp>
        </p:grpSp>
        <p:sp>
          <p:nvSpPr>
            <p:cNvPr id="11" name="文本框 10"/>
            <p:cNvSpPr txBox="1"/>
            <p:nvPr/>
          </p:nvSpPr>
          <p:spPr>
            <a:xfrm>
              <a:off x="8576546" y="1656652"/>
              <a:ext cx="1680118" cy="674667"/>
            </a:xfrm>
            <a:prstGeom prst="rect">
              <a:avLst/>
            </a:prstGeom>
            <a:noFill/>
          </p:spPr>
          <p:txBody>
            <a:bodyPr wrap="square" rtlCol="0">
              <a:spAutoFit/>
            </a:bodyPr>
            <a:lstStyle/>
            <a:p>
              <a:pPr marL="285750" indent="-285750">
                <a:buFont typeface="Arial" panose="020B0604020202020204" pitchFamily="34" charset="0"/>
                <a:buChar char="•"/>
              </a:pPr>
              <a:r>
                <a:rPr lang="zh-CN" altLang="en-US" sz="1200" dirty="0" smtClean="0"/>
                <a:t>普通轮胎</a:t>
              </a:r>
              <a:endParaRPr lang="en-US" altLang="zh-CN" sz="1200" dirty="0" smtClean="0"/>
            </a:p>
            <a:p>
              <a:pPr marL="285750" indent="-285750">
                <a:buFont typeface="Arial" panose="020B0604020202020204" pitchFamily="34" charset="0"/>
                <a:buChar char="•"/>
              </a:pPr>
              <a:r>
                <a:rPr lang="zh-CN" altLang="en-US" sz="1200" dirty="0" smtClean="0"/>
                <a:t>越野轮胎</a:t>
              </a:r>
              <a:endParaRPr lang="zh-CN" altLang="en-US" sz="1200" dirty="0"/>
            </a:p>
          </p:txBody>
        </p:sp>
      </p:grpSp>
      <p:grpSp>
        <p:nvGrpSpPr>
          <p:cNvPr id="5" name="组合 4"/>
          <p:cNvGrpSpPr/>
          <p:nvPr/>
        </p:nvGrpSpPr>
        <p:grpSpPr>
          <a:xfrm>
            <a:off x="1665248" y="4758710"/>
            <a:ext cx="1880063" cy="705388"/>
            <a:chOff x="6960701" y="3183037"/>
            <a:chExt cx="2465797" cy="929938"/>
          </a:xfrm>
        </p:grpSpPr>
        <p:sp>
          <p:nvSpPr>
            <p:cNvPr id="24" name="engine_53090"/>
            <p:cNvSpPr>
              <a:spLocks noChangeAspect="1"/>
            </p:cNvSpPr>
            <p:nvPr/>
          </p:nvSpPr>
          <p:spPr bwMode="auto">
            <a:xfrm>
              <a:off x="6960701" y="3183037"/>
              <a:ext cx="1367098" cy="820990"/>
            </a:xfrm>
            <a:custGeom>
              <a:avLst/>
              <a:gdLst>
                <a:gd name="connsiteX0" fmla="*/ 572497 w 595339"/>
                <a:gd name="connsiteY0" fmla="*/ 128871 h 357522"/>
                <a:gd name="connsiteX1" fmla="*/ 585408 w 595339"/>
                <a:gd name="connsiteY1" fmla="*/ 128871 h 357522"/>
                <a:gd name="connsiteX2" fmla="*/ 595339 w 595339"/>
                <a:gd name="connsiteY2" fmla="*/ 138294 h 357522"/>
                <a:gd name="connsiteX3" fmla="*/ 595339 w 595339"/>
                <a:gd name="connsiteY3" fmla="*/ 308410 h 357522"/>
                <a:gd name="connsiteX4" fmla="*/ 585408 w 595339"/>
                <a:gd name="connsiteY4" fmla="*/ 317833 h 357522"/>
                <a:gd name="connsiteX5" fmla="*/ 572497 w 595339"/>
                <a:gd name="connsiteY5" fmla="*/ 317833 h 357522"/>
                <a:gd name="connsiteX6" fmla="*/ 563062 w 595339"/>
                <a:gd name="connsiteY6" fmla="*/ 308410 h 357522"/>
                <a:gd name="connsiteX7" fmla="*/ 563062 w 595339"/>
                <a:gd name="connsiteY7" fmla="*/ 138294 h 357522"/>
                <a:gd name="connsiteX8" fmla="*/ 572497 w 595339"/>
                <a:gd name="connsiteY8" fmla="*/ 128871 h 357522"/>
                <a:gd name="connsiteX9" fmla="*/ 9924 w 595339"/>
                <a:gd name="connsiteY9" fmla="*/ 120502 h 357522"/>
                <a:gd name="connsiteX10" fmla="*/ 36221 w 595339"/>
                <a:gd name="connsiteY10" fmla="*/ 120502 h 357522"/>
                <a:gd name="connsiteX11" fmla="*/ 46145 w 595339"/>
                <a:gd name="connsiteY11" fmla="*/ 130419 h 357522"/>
                <a:gd name="connsiteX12" fmla="*/ 46145 w 595339"/>
                <a:gd name="connsiteY12" fmla="*/ 316363 h 357522"/>
                <a:gd name="connsiteX13" fmla="*/ 36221 w 595339"/>
                <a:gd name="connsiteY13" fmla="*/ 326280 h 357522"/>
                <a:gd name="connsiteX14" fmla="*/ 9924 w 595339"/>
                <a:gd name="connsiteY14" fmla="*/ 326280 h 357522"/>
                <a:gd name="connsiteX15" fmla="*/ 0 w 595339"/>
                <a:gd name="connsiteY15" fmla="*/ 316363 h 357522"/>
                <a:gd name="connsiteX16" fmla="*/ 0 w 595339"/>
                <a:gd name="connsiteY16" fmla="*/ 130419 h 357522"/>
                <a:gd name="connsiteX17" fmla="*/ 9924 w 595339"/>
                <a:gd name="connsiteY17" fmla="*/ 120502 h 357522"/>
                <a:gd name="connsiteX18" fmla="*/ 239809 w 595339"/>
                <a:gd name="connsiteY18" fmla="*/ 0 h 357522"/>
                <a:gd name="connsiteX19" fmla="*/ 438908 w 595339"/>
                <a:gd name="connsiteY19" fmla="*/ 0 h 357522"/>
                <a:gd name="connsiteX20" fmla="*/ 449335 w 595339"/>
                <a:gd name="connsiteY20" fmla="*/ 10413 h 357522"/>
                <a:gd name="connsiteX21" fmla="*/ 449335 w 595339"/>
                <a:gd name="connsiteY21" fmla="*/ 22314 h 357522"/>
                <a:gd name="connsiteX22" fmla="*/ 438908 w 595339"/>
                <a:gd name="connsiteY22" fmla="*/ 32727 h 357522"/>
                <a:gd name="connsiteX23" fmla="*/ 379327 w 595339"/>
                <a:gd name="connsiteY23" fmla="*/ 32727 h 357522"/>
                <a:gd name="connsiteX24" fmla="*/ 368901 w 595339"/>
                <a:gd name="connsiteY24" fmla="*/ 42645 h 357522"/>
                <a:gd name="connsiteX25" fmla="*/ 368901 w 595339"/>
                <a:gd name="connsiteY25" fmla="*/ 45124 h 357522"/>
                <a:gd name="connsiteX26" fmla="*/ 378831 w 595339"/>
                <a:gd name="connsiteY26" fmla="*/ 55042 h 357522"/>
                <a:gd name="connsiteX27" fmla="*/ 445363 w 595339"/>
                <a:gd name="connsiteY27" fmla="*/ 55042 h 357522"/>
                <a:gd name="connsiteX28" fmla="*/ 459265 w 595339"/>
                <a:gd name="connsiteY28" fmla="*/ 59008 h 357522"/>
                <a:gd name="connsiteX29" fmla="*/ 517356 w 595339"/>
                <a:gd name="connsiteY29" fmla="*/ 99670 h 357522"/>
                <a:gd name="connsiteX30" fmla="*/ 528776 w 595339"/>
                <a:gd name="connsiteY30" fmla="*/ 121984 h 357522"/>
                <a:gd name="connsiteX31" fmla="*/ 528279 w 595339"/>
                <a:gd name="connsiteY31" fmla="*/ 188430 h 357522"/>
                <a:gd name="connsiteX32" fmla="*/ 535727 w 595339"/>
                <a:gd name="connsiteY32" fmla="*/ 195868 h 357522"/>
                <a:gd name="connsiteX33" fmla="*/ 543174 w 595339"/>
                <a:gd name="connsiteY33" fmla="*/ 195868 h 357522"/>
                <a:gd name="connsiteX34" fmla="*/ 548636 w 595339"/>
                <a:gd name="connsiteY34" fmla="*/ 201323 h 357522"/>
                <a:gd name="connsiteX35" fmla="*/ 548636 w 595339"/>
                <a:gd name="connsiteY35" fmla="*/ 233555 h 357522"/>
                <a:gd name="connsiteX36" fmla="*/ 542678 w 595339"/>
                <a:gd name="connsiteY36" fmla="*/ 239505 h 357522"/>
                <a:gd name="connsiteX37" fmla="*/ 535727 w 595339"/>
                <a:gd name="connsiteY37" fmla="*/ 239505 h 357522"/>
                <a:gd name="connsiteX38" fmla="*/ 528776 w 595339"/>
                <a:gd name="connsiteY38" fmla="*/ 246943 h 357522"/>
                <a:gd name="connsiteX39" fmla="*/ 528776 w 595339"/>
                <a:gd name="connsiteY39" fmla="*/ 301985 h 357522"/>
                <a:gd name="connsiteX40" fmla="*/ 500971 w 595339"/>
                <a:gd name="connsiteY40" fmla="*/ 329257 h 357522"/>
                <a:gd name="connsiteX41" fmla="*/ 452810 w 595339"/>
                <a:gd name="connsiteY41" fmla="*/ 329257 h 357522"/>
                <a:gd name="connsiteX42" fmla="*/ 446852 w 595339"/>
                <a:gd name="connsiteY42" fmla="*/ 330249 h 357522"/>
                <a:gd name="connsiteX43" fmla="*/ 381313 w 595339"/>
                <a:gd name="connsiteY43" fmla="*/ 356034 h 357522"/>
                <a:gd name="connsiteX44" fmla="*/ 372873 w 595339"/>
                <a:gd name="connsiteY44" fmla="*/ 357522 h 357522"/>
                <a:gd name="connsiteX45" fmla="*/ 105752 w 595339"/>
                <a:gd name="connsiteY45" fmla="*/ 357522 h 357522"/>
                <a:gd name="connsiteX46" fmla="*/ 86885 w 595339"/>
                <a:gd name="connsiteY46" fmla="*/ 327770 h 357522"/>
                <a:gd name="connsiteX47" fmla="*/ 86885 w 595339"/>
                <a:gd name="connsiteY47" fmla="*/ 286613 h 357522"/>
                <a:gd name="connsiteX48" fmla="*/ 79934 w 595339"/>
                <a:gd name="connsiteY48" fmla="*/ 279670 h 357522"/>
                <a:gd name="connsiteX49" fmla="*/ 73976 w 595339"/>
                <a:gd name="connsiteY49" fmla="*/ 279670 h 357522"/>
                <a:gd name="connsiteX50" fmla="*/ 60570 w 595339"/>
                <a:gd name="connsiteY50" fmla="*/ 266282 h 357522"/>
                <a:gd name="connsiteX51" fmla="*/ 60570 w 595339"/>
                <a:gd name="connsiteY51" fmla="*/ 193885 h 357522"/>
                <a:gd name="connsiteX52" fmla="*/ 73976 w 595339"/>
                <a:gd name="connsiteY52" fmla="*/ 180497 h 357522"/>
                <a:gd name="connsiteX53" fmla="*/ 79934 w 595339"/>
                <a:gd name="connsiteY53" fmla="*/ 180497 h 357522"/>
                <a:gd name="connsiteX54" fmla="*/ 87381 w 595339"/>
                <a:gd name="connsiteY54" fmla="*/ 173554 h 357522"/>
                <a:gd name="connsiteX55" fmla="*/ 86885 w 595339"/>
                <a:gd name="connsiteY55" fmla="*/ 127934 h 357522"/>
                <a:gd name="connsiteX56" fmla="*/ 114193 w 595339"/>
                <a:gd name="connsiteY56" fmla="*/ 100662 h 357522"/>
                <a:gd name="connsiteX57" fmla="*/ 153417 w 595339"/>
                <a:gd name="connsiteY57" fmla="*/ 100662 h 357522"/>
                <a:gd name="connsiteX58" fmla="*/ 165829 w 595339"/>
                <a:gd name="connsiteY58" fmla="*/ 96695 h 357522"/>
                <a:gd name="connsiteX59" fmla="*/ 207039 w 595339"/>
                <a:gd name="connsiteY59" fmla="*/ 65951 h 357522"/>
                <a:gd name="connsiteX60" fmla="*/ 239312 w 595339"/>
                <a:gd name="connsiteY60" fmla="*/ 55042 h 357522"/>
                <a:gd name="connsiteX61" fmla="*/ 304851 w 595339"/>
                <a:gd name="connsiteY61" fmla="*/ 55537 h 357522"/>
                <a:gd name="connsiteX62" fmla="*/ 315278 w 595339"/>
                <a:gd name="connsiteY62" fmla="*/ 45124 h 357522"/>
                <a:gd name="connsiteX63" fmla="*/ 315278 w 595339"/>
                <a:gd name="connsiteY63" fmla="*/ 42645 h 357522"/>
                <a:gd name="connsiteX64" fmla="*/ 304851 w 595339"/>
                <a:gd name="connsiteY64" fmla="*/ 32727 h 357522"/>
                <a:gd name="connsiteX65" fmla="*/ 239809 w 595339"/>
                <a:gd name="connsiteY65" fmla="*/ 32727 h 357522"/>
                <a:gd name="connsiteX66" fmla="*/ 229382 w 595339"/>
                <a:gd name="connsiteY66" fmla="*/ 22314 h 357522"/>
                <a:gd name="connsiteX67" fmla="*/ 229382 w 595339"/>
                <a:gd name="connsiteY67" fmla="*/ 10413 h 357522"/>
                <a:gd name="connsiteX68" fmla="*/ 239809 w 595339"/>
                <a:gd name="connsiteY68" fmla="*/ 0 h 357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595339" h="357522">
                  <a:moveTo>
                    <a:pt x="572497" y="128871"/>
                  </a:moveTo>
                  <a:lnTo>
                    <a:pt x="585408" y="128871"/>
                  </a:lnTo>
                  <a:cubicBezTo>
                    <a:pt x="590870" y="128871"/>
                    <a:pt x="595339" y="133335"/>
                    <a:pt x="595339" y="138294"/>
                  </a:cubicBezTo>
                  <a:lnTo>
                    <a:pt x="595339" y="308410"/>
                  </a:lnTo>
                  <a:cubicBezTo>
                    <a:pt x="595339" y="313369"/>
                    <a:pt x="590870" y="317833"/>
                    <a:pt x="585408" y="317833"/>
                  </a:cubicBezTo>
                  <a:lnTo>
                    <a:pt x="572497" y="317833"/>
                  </a:lnTo>
                  <a:cubicBezTo>
                    <a:pt x="567035" y="317833"/>
                    <a:pt x="563062" y="313369"/>
                    <a:pt x="563062" y="308410"/>
                  </a:cubicBezTo>
                  <a:lnTo>
                    <a:pt x="563062" y="138294"/>
                  </a:lnTo>
                  <a:cubicBezTo>
                    <a:pt x="563062" y="133335"/>
                    <a:pt x="567035" y="128871"/>
                    <a:pt x="572497" y="128871"/>
                  </a:cubicBezTo>
                  <a:close/>
                  <a:moveTo>
                    <a:pt x="9924" y="120502"/>
                  </a:moveTo>
                  <a:lnTo>
                    <a:pt x="36221" y="120502"/>
                  </a:lnTo>
                  <a:cubicBezTo>
                    <a:pt x="41679" y="120502"/>
                    <a:pt x="46145" y="124965"/>
                    <a:pt x="46145" y="130419"/>
                  </a:cubicBezTo>
                  <a:lnTo>
                    <a:pt x="46145" y="316363"/>
                  </a:lnTo>
                  <a:cubicBezTo>
                    <a:pt x="46145" y="321817"/>
                    <a:pt x="41679" y="326280"/>
                    <a:pt x="36221" y="326280"/>
                  </a:cubicBezTo>
                  <a:lnTo>
                    <a:pt x="9924" y="326280"/>
                  </a:lnTo>
                  <a:cubicBezTo>
                    <a:pt x="4466" y="326280"/>
                    <a:pt x="0" y="321817"/>
                    <a:pt x="0" y="316363"/>
                  </a:cubicBezTo>
                  <a:lnTo>
                    <a:pt x="0" y="130419"/>
                  </a:lnTo>
                  <a:cubicBezTo>
                    <a:pt x="0" y="124965"/>
                    <a:pt x="4466" y="120502"/>
                    <a:pt x="9924" y="120502"/>
                  </a:cubicBezTo>
                  <a:close/>
                  <a:moveTo>
                    <a:pt x="239809" y="0"/>
                  </a:moveTo>
                  <a:lnTo>
                    <a:pt x="438908" y="0"/>
                  </a:lnTo>
                  <a:cubicBezTo>
                    <a:pt x="444866" y="0"/>
                    <a:pt x="449335" y="4463"/>
                    <a:pt x="449335" y="10413"/>
                  </a:cubicBezTo>
                  <a:lnTo>
                    <a:pt x="449335" y="22314"/>
                  </a:lnTo>
                  <a:cubicBezTo>
                    <a:pt x="449335" y="27769"/>
                    <a:pt x="444866" y="32727"/>
                    <a:pt x="438908" y="32727"/>
                  </a:cubicBezTo>
                  <a:lnTo>
                    <a:pt x="379327" y="32727"/>
                  </a:lnTo>
                  <a:cubicBezTo>
                    <a:pt x="373369" y="32727"/>
                    <a:pt x="368901" y="37190"/>
                    <a:pt x="368901" y="42645"/>
                  </a:cubicBezTo>
                  <a:lnTo>
                    <a:pt x="368901" y="45124"/>
                  </a:lnTo>
                  <a:cubicBezTo>
                    <a:pt x="368901" y="50579"/>
                    <a:pt x="373369" y="55042"/>
                    <a:pt x="378831" y="55042"/>
                  </a:cubicBezTo>
                  <a:lnTo>
                    <a:pt x="445363" y="55042"/>
                  </a:lnTo>
                  <a:cubicBezTo>
                    <a:pt x="450328" y="55042"/>
                    <a:pt x="455293" y="56033"/>
                    <a:pt x="459265" y="59008"/>
                  </a:cubicBezTo>
                  <a:cubicBezTo>
                    <a:pt x="465719" y="62975"/>
                    <a:pt x="503950" y="90248"/>
                    <a:pt x="517356" y="99670"/>
                  </a:cubicBezTo>
                  <a:cubicBezTo>
                    <a:pt x="524804" y="105124"/>
                    <a:pt x="528776" y="112067"/>
                    <a:pt x="528776" y="121984"/>
                  </a:cubicBezTo>
                  <a:lnTo>
                    <a:pt x="528279" y="188430"/>
                  </a:lnTo>
                  <a:cubicBezTo>
                    <a:pt x="528279" y="192397"/>
                    <a:pt x="531755" y="195868"/>
                    <a:pt x="535727" y="195868"/>
                  </a:cubicBezTo>
                  <a:lnTo>
                    <a:pt x="543174" y="195868"/>
                  </a:lnTo>
                  <a:cubicBezTo>
                    <a:pt x="546153" y="195868"/>
                    <a:pt x="548636" y="198348"/>
                    <a:pt x="548636" y="201323"/>
                  </a:cubicBezTo>
                  <a:lnTo>
                    <a:pt x="548636" y="233555"/>
                  </a:lnTo>
                  <a:cubicBezTo>
                    <a:pt x="548636" y="237522"/>
                    <a:pt x="548139" y="239505"/>
                    <a:pt x="542678" y="239505"/>
                  </a:cubicBezTo>
                  <a:lnTo>
                    <a:pt x="535727" y="239505"/>
                  </a:lnTo>
                  <a:cubicBezTo>
                    <a:pt x="531755" y="239505"/>
                    <a:pt x="528776" y="242976"/>
                    <a:pt x="528776" y="246943"/>
                  </a:cubicBezTo>
                  <a:lnTo>
                    <a:pt x="528776" y="301985"/>
                  </a:lnTo>
                  <a:cubicBezTo>
                    <a:pt x="528776" y="318844"/>
                    <a:pt x="517853" y="329257"/>
                    <a:pt x="500971" y="329257"/>
                  </a:cubicBezTo>
                  <a:cubicBezTo>
                    <a:pt x="485083" y="329257"/>
                    <a:pt x="469195" y="329257"/>
                    <a:pt x="452810" y="329257"/>
                  </a:cubicBezTo>
                  <a:cubicBezTo>
                    <a:pt x="450824" y="329257"/>
                    <a:pt x="448838" y="329753"/>
                    <a:pt x="446852" y="330249"/>
                  </a:cubicBezTo>
                  <a:cubicBezTo>
                    <a:pt x="425006" y="338679"/>
                    <a:pt x="403160" y="347605"/>
                    <a:pt x="381313" y="356034"/>
                  </a:cubicBezTo>
                  <a:cubicBezTo>
                    <a:pt x="378831" y="357026"/>
                    <a:pt x="375852" y="357522"/>
                    <a:pt x="372873" y="357522"/>
                  </a:cubicBezTo>
                  <a:lnTo>
                    <a:pt x="105752" y="357522"/>
                  </a:lnTo>
                  <a:cubicBezTo>
                    <a:pt x="86885" y="357522"/>
                    <a:pt x="86885" y="338183"/>
                    <a:pt x="86885" y="327770"/>
                  </a:cubicBezTo>
                  <a:cubicBezTo>
                    <a:pt x="86885" y="316365"/>
                    <a:pt x="86885" y="297026"/>
                    <a:pt x="86885" y="286613"/>
                  </a:cubicBezTo>
                  <a:cubicBezTo>
                    <a:pt x="86885" y="283142"/>
                    <a:pt x="83906" y="279670"/>
                    <a:pt x="79934" y="279670"/>
                  </a:cubicBezTo>
                  <a:lnTo>
                    <a:pt x="73976" y="279670"/>
                  </a:lnTo>
                  <a:cubicBezTo>
                    <a:pt x="66528" y="279670"/>
                    <a:pt x="60570" y="273720"/>
                    <a:pt x="60570" y="266282"/>
                  </a:cubicBezTo>
                  <a:lnTo>
                    <a:pt x="60570" y="193885"/>
                  </a:lnTo>
                  <a:cubicBezTo>
                    <a:pt x="60570" y="186447"/>
                    <a:pt x="66528" y="180497"/>
                    <a:pt x="73976" y="180497"/>
                  </a:cubicBezTo>
                  <a:lnTo>
                    <a:pt x="79934" y="180497"/>
                  </a:lnTo>
                  <a:cubicBezTo>
                    <a:pt x="83906" y="180497"/>
                    <a:pt x="87381" y="177521"/>
                    <a:pt x="87381" y="173554"/>
                  </a:cubicBezTo>
                  <a:lnTo>
                    <a:pt x="86885" y="127934"/>
                  </a:lnTo>
                  <a:cubicBezTo>
                    <a:pt x="86885" y="111571"/>
                    <a:pt x="97808" y="101157"/>
                    <a:pt x="114193" y="100662"/>
                  </a:cubicBezTo>
                  <a:cubicBezTo>
                    <a:pt x="127102" y="100662"/>
                    <a:pt x="140508" y="100662"/>
                    <a:pt x="153417" y="100662"/>
                  </a:cubicBezTo>
                  <a:cubicBezTo>
                    <a:pt x="157885" y="100662"/>
                    <a:pt x="162354" y="99670"/>
                    <a:pt x="165829" y="96695"/>
                  </a:cubicBezTo>
                  <a:cubicBezTo>
                    <a:pt x="179235" y="86281"/>
                    <a:pt x="193137" y="75868"/>
                    <a:pt x="207039" y="65951"/>
                  </a:cubicBezTo>
                  <a:cubicBezTo>
                    <a:pt x="216473" y="59008"/>
                    <a:pt x="226900" y="55042"/>
                    <a:pt x="239312" y="55042"/>
                  </a:cubicBezTo>
                  <a:lnTo>
                    <a:pt x="304851" y="55537"/>
                  </a:lnTo>
                  <a:cubicBezTo>
                    <a:pt x="310313" y="55537"/>
                    <a:pt x="315278" y="51075"/>
                    <a:pt x="315278" y="45124"/>
                  </a:cubicBezTo>
                  <a:lnTo>
                    <a:pt x="315278" y="42645"/>
                  </a:lnTo>
                  <a:cubicBezTo>
                    <a:pt x="315278" y="37190"/>
                    <a:pt x="310313" y="32727"/>
                    <a:pt x="304851" y="32727"/>
                  </a:cubicBezTo>
                  <a:lnTo>
                    <a:pt x="239809" y="32727"/>
                  </a:lnTo>
                  <a:cubicBezTo>
                    <a:pt x="233851" y="32727"/>
                    <a:pt x="229382" y="27769"/>
                    <a:pt x="229382" y="22314"/>
                  </a:cubicBezTo>
                  <a:lnTo>
                    <a:pt x="229382" y="10413"/>
                  </a:lnTo>
                  <a:cubicBezTo>
                    <a:pt x="229382" y="4463"/>
                    <a:pt x="233851" y="0"/>
                    <a:pt x="239809" y="0"/>
                  </a:cubicBezTo>
                  <a:close/>
                </a:path>
              </a:pathLst>
            </a:custGeom>
            <a:solidFill>
              <a:srgbClr val="676A8A"/>
            </a:solidFill>
            <a:ln>
              <a:noFill/>
            </a:ln>
          </p:spPr>
        </p:sp>
        <p:sp>
          <p:nvSpPr>
            <p:cNvPr id="27" name="文本框 26"/>
            <p:cNvSpPr txBox="1"/>
            <p:nvPr/>
          </p:nvSpPr>
          <p:spPr>
            <a:xfrm>
              <a:off x="8323780" y="3458348"/>
              <a:ext cx="1102718" cy="654627"/>
            </a:xfrm>
            <a:prstGeom prst="rect">
              <a:avLst/>
            </a:prstGeom>
            <a:noFill/>
          </p:spPr>
          <p:txBody>
            <a:bodyPr wrap="square" rtlCol="0">
              <a:spAutoFit/>
            </a:bodyPr>
            <a:lstStyle/>
            <a:p>
              <a:r>
                <a:rPr lang="zh-CN" altLang="en-US" sz="1400" dirty="0" smtClean="0">
                  <a:latin typeface="微软雅黑" panose="020B0503020204020204" pitchFamily="34" charset="-122"/>
                  <a:ea typeface="微软雅黑" panose="020B0503020204020204" pitchFamily="34" charset="-122"/>
                </a:rPr>
                <a:t>引擎</a:t>
              </a:r>
              <a:r>
                <a:rPr lang="en-US" altLang="zh-CN" sz="1400" dirty="0" smtClean="0">
                  <a:latin typeface="微软雅黑" panose="020B0503020204020204" pitchFamily="34" charset="-122"/>
                  <a:ea typeface="微软雅黑" panose="020B0503020204020204" pitchFamily="34" charset="-122"/>
                </a:rPr>
                <a:t>(Engine)</a:t>
              </a:r>
              <a:endParaRPr lang="zh-CN" altLang="en-US" sz="1400" dirty="0">
                <a:latin typeface="微软雅黑" panose="020B0503020204020204" pitchFamily="34" charset="-122"/>
                <a:ea typeface="微软雅黑" panose="020B0503020204020204" pitchFamily="34" charset="-122"/>
              </a:endParaRPr>
            </a:p>
          </p:txBody>
        </p:sp>
      </p:grpSp>
      <p:sp>
        <p:nvSpPr>
          <p:cNvPr id="33" name="文本框 32"/>
          <p:cNvSpPr txBox="1"/>
          <p:nvPr/>
        </p:nvSpPr>
        <p:spPr>
          <a:xfrm>
            <a:off x="3499242" y="4819957"/>
            <a:ext cx="1280914" cy="461665"/>
          </a:xfrm>
          <a:prstGeom prst="rect">
            <a:avLst/>
          </a:prstGeom>
          <a:noFill/>
        </p:spPr>
        <p:txBody>
          <a:bodyPr wrap="square" rtlCol="0">
            <a:spAutoFit/>
          </a:bodyPr>
          <a:lstStyle/>
          <a:p>
            <a:pPr marL="285750" indent="-285750">
              <a:buFont typeface="Arial" panose="020B0604020202020204" pitchFamily="34" charset="0"/>
              <a:buChar char="•"/>
            </a:pPr>
            <a:r>
              <a:rPr lang="zh-CN" altLang="en-US" sz="1200" dirty="0" smtClean="0"/>
              <a:t>国产发动机</a:t>
            </a:r>
            <a:endParaRPr lang="en-US" altLang="zh-CN" sz="1200" dirty="0" smtClean="0"/>
          </a:p>
          <a:p>
            <a:pPr marL="285750" indent="-285750">
              <a:buFont typeface="Arial" panose="020B0604020202020204" pitchFamily="34" charset="0"/>
              <a:buChar char="•"/>
            </a:pPr>
            <a:r>
              <a:rPr lang="zh-CN" altLang="en-US" sz="1200" dirty="0" smtClean="0"/>
              <a:t>进口发动机</a:t>
            </a:r>
            <a:endParaRPr lang="zh-CN" altLang="en-US" sz="1200" dirty="0"/>
          </a:p>
        </p:txBody>
      </p:sp>
      <p:grpSp>
        <p:nvGrpSpPr>
          <p:cNvPr id="14" name="组合 13"/>
          <p:cNvGrpSpPr/>
          <p:nvPr/>
        </p:nvGrpSpPr>
        <p:grpSpPr>
          <a:xfrm>
            <a:off x="1856285" y="5783346"/>
            <a:ext cx="2707400" cy="879431"/>
            <a:chOff x="6127503" y="4787790"/>
            <a:chExt cx="4154501" cy="1349485"/>
          </a:xfrm>
        </p:grpSpPr>
        <p:grpSp>
          <p:nvGrpSpPr>
            <p:cNvPr id="7" name="组合 6"/>
            <p:cNvGrpSpPr/>
            <p:nvPr/>
          </p:nvGrpSpPr>
          <p:grpSpPr>
            <a:xfrm>
              <a:off x="6127503" y="4787790"/>
              <a:ext cx="2465797" cy="1349485"/>
              <a:chOff x="6960701" y="4398035"/>
              <a:chExt cx="2465797" cy="1349485"/>
            </a:xfrm>
          </p:grpSpPr>
          <p:sp>
            <p:nvSpPr>
              <p:cNvPr id="26" name="polaroid_99429"/>
              <p:cNvSpPr>
                <a:spLocks noChangeAspect="1"/>
              </p:cNvSpPr>
              <p:nvPr/>
            </p:nvSpPr>
            <p:spPr bwMode="auto">
              <a:xfrm>
                <a:off x="6960701" y="4398035"/>
                <a:ext cx="1363080" cy="1349485"/>
              </a:xfrm>
              <a:custGeom>
                <a:avLst/>
                <a:gdLst>
                  <a:gd name="connsiteX0" fmla="*/ 144883 w 608415"/>
                  <a:gd name="connsiteY0" fmla="*/ 431125 h 602347"/>
                  <a:gd name="connsiteX1" fmla="*/ 118457 w 608415"/>
                  <a:gd name="connsiteY1" fmla="*/ 559542 h 602347"/>
                  <a:gd name="connsiteX2" fmla="*/ 489958 w 608415"/>
                  <a:gd name="connsiteY2" fmla="*/ 559542 h 602347"/>
                  <a:gd name="connsiteX3" fmla="*/ 463532 w 608415"/>
                  <a:gd name="connsiteY3" fmla="*/ 431125 h 602347"/>
                  <a:gd name="connsiteX4" fmla="*/ 369351 w 608415"/>
                  <a:gd name="connsiteY4" fmla="*/ 362390 h 602347"/>
                  <a:gd name="connsiteX5" fmla="*/ 369351 w 608415"/>
                  <a:gd name="connsiteY5" fmla="*/ 388319 h 602347"/>
                  <a:gd name="connsiteX6" fmla="*/ 480894 w 608415"/>
                  <a:gd name="connsiteY6" fmla="*/ 388319 h 602347"/>
                  <a:gd name="connsiteX7" fmla="*/ 501942 w 608415"/>
                  <a:gd name="connsiteY7" fmla="*/ 405349 h 602347"/>
                  <a:gd name="connsiteX8" fmla="*/ 520686 w 608415"/>
                  <a:gd name="connsiteY8" fmla="*/ 496024 h 602347"/>
                  <a:gd name="connsiteX9" fmla="*/ 546344 w 608415"/>
                  <a:gd name="connsiteY9" fmla="*/ 496024 h 602347"/>
                  <a:gd name="connsiteX10" fmla="*/ 565549 w 608415"/>
                  <a:gd name="connsiteY10" fmla="*/ 476845 h 602347"/>
                  <a:gd name="connsiteX11" fmla="*/ 565549 w 608415"/>
                  <a:gd name="connsiteY11" fmla="*/ 381568 h 602347"/>
                  <a:gd name="connsiteX12" fmla="*/ 546344 w 608415"/>
                  <a:gd name="connsiteY12" fmla="*/ 362390 h 602347"/>
                  <a:gd name="connsiteX13" fmla="*/ 281930 w 608415"/>
                  <a:gd name="connsiteY13" fmla="*/ 362390 h 602347"/>
                  <a:gd name="connsiteX14" fmla="*/ 281930 w 608415"/>
                  <a:gd name="connsiteY14" fmla="*/ 388319 h 602347"/>
                  <a:gd name="connsiteX15" fmla="*/ 326485 w 608415"/>
                  <a:gd name="connsiteY15" fmla="*/ 388319 h 602347"/>
                  <a:gd name="connsiteX16" fmla="*/ 326485 w 608415"/>
                  <a:gd name="connsiteY16" fmla="*/ 362390 h 602347"/>
                  <a:gd name="connsiteX17" fmla="*/ 62071 w 608415"/>
                  <a:gd name="connsiteY17" fmla="*/ 362390 h 602347"/>
                  <a:gd name="connsiteX18" fmla="*/ 42866 w 608415"/>
                  <a:gd name="connsiteY18" fmla="*/ 381568 h 602347"/>
                  <a:gd name="connsiteX19" fmla="*/ 42866 w 608415"/>
                  <a:gd name="connsiteY19" fmla="*/ 476845 h 602347"/>
                  <a:gd name="connsiteX20" fmla="*/ 62071 w 608415"/>
                  <a:gd name="connsiteY20" fmla="*/ 496024 h 602347"/>
                  <a:gd name="connsiteX21" fmla="*/ 87729 w 608415"/>
                  <a:gd name="connsiteY21" fmla="*/ 496024 h 602347"/>
                  <a:gd name="connsiteX22" fmla="*/ 106473 w 608415"/>
                  <a:gd name="connsiteY22" fmla="*/ 405349 h 602347"/>
                  <a:gd name="connsiteX23" fmla="*/ 127521 w 608415"/>
                  <a:gd name="connsiteY23" fmla="*/ 388319 h 602347"/>
                  <a:gd name="connsiteX24" fmla="*/ 239064 w 608415"/>
                  <a:gd name="connsiteY24" fmla="*/ 388319 h 602347"/>
                  <a:gd name="connsiteX25" fmla="*/ 239064 w 608415"/>
                  <a:gd name="connsiteY25" fmla="*/ 362390 h 602347"/>
                  <a:gd name="connsiteX26" fmla="*/ 281930 w 608415"/>
                  <a:gd name="connsiteY26" fmla="*/ 307157 h 602347"/>
                  <a:gd name="connsiteX27" fmla="*/ 281930 w 608415"/>
                  <a:gd name="connsiteY27" fmla="*/ 319585 h 602347"/>
                  <a:gd name="connsiteX28" fmla="*/ 326485 w 608415"/>
                  <a:gd name="connsiteY28" fmla="*/ 319585 h 602347"/>
                  <a:gd name="connsiteX29" fmla="*/ 326485 w 608415"/>
                  <a:gd name="connsiteY29" fmla="*/ 307157 h 602347"/>
                  <a:gd name="connsiteX30" fmla="*/ 304208 w 608415"/>
                  <a:gd name="connsiteY30" fmla="*/ 309459 h 602347"/>
                  <a:gd name="connsiteX31" fmla="*/ 281930 w 608415"/>
                  <a:gd name="connsiteY31" fmla="*/ 307157 h 602347"/>
                  <a:gd name="connsiteX32" fmla="*/ 445579 w 608415"/>
                  <a:gd name="connsiteY32" fmla="*/ 249026 h 602347"/>
                  <a:gd name="connsiteX33" fmla="*/ 460778 w 608415"/>
                  <a:gd name="connsiteY33" fmla="*/ 255310 h 602347"/>
                  <a:gd name="connsiteX34" fmla="*/ 467072 w 608415"/>
                  <a:gd name="connsiteY34" fmla="*/ 270331 h 602347"/>
                  <a:gd name="connsiteX35" fmla="*/ 460778 w 608415"/>
                  <a:gd name="connsiteY35" fmla="*/ 285505 h 602347"/>
                  <a:gd name="connsiteX36" fmla="*/ 445579 w 608415"/>
                  <a:gd name="connsiteY36" fmla="*/ 291789 h 602347"/>
                  <a:gd name="connsiteX37" fmla="*/ 430533 w 608415"/>
                  <a:gd name="connsiteY37" fmla="*/ 285505 h 602347"/>
                  <a:gd name="connsiteX38" fmla="*/ 424239 w 608415"/>
                  <a:gd name="connsiteY38" fmla="*/ 270331 h 602347"/>
                  <a:gd name="connsiteX39" fmla="*/ 430533 w 608415"/>
                  <a:gd name="connsiteY39" fmla="*/ 255310 h 602347"/>
                  <a:gd name="connsiteX40" fmla="*/ 445579 w 608415"/>
                  <a:gd name="connsiteY40" fmla="*/ 249026 h 602347"/>
                  <a:gd name="connsiteX41" fmla="*/ 162872 w 608415"/>
                  <a:gd name="connsiteY41" fmla="*/ 249026 h 602347"/>
                  <a:gd name="connsiteX42" fmla="*/ 177942 w 608415"/>
                  <a:gd name="connsiteY42" fmla="*/ 255310 h 602347"/>
                  <a:gd name="connsiteX43" fmla="*/ 184247 w 608415"/>
                  <a:gd name="connsiteY43" fmla="*/ 270331 h 602347"/>
                  <a:gd name="connsiteX44" fmla="*/ 177942 w 608415"/>
                  <a:gd name="connsiteY44" fmla="*/ 285505 h 602347"/>
                  <a:gd name="connsiteX45" fmla="*/ 162872 w 608415"/>
                  <a:gd name="connsiteY45" fmla="*/ 291789 h 602347"/>
                  <a:gd name="connsiteX46" fmla="*/ 147648 w 608415"/>
                  <a:gd name="connsiteY46" fmla="*/ 285505 h 602347"/>
                  <a:gd name="connsiteX47" fmla="*/ 141343 w 608415"/>
                  <a:gd name="connsiteY47" fmla="*/ 270331 h 602347"/>
                  <a:gd name="connsiteX48" fmla="*/ 147648 w 608415"/>
                  <a:gd name="connsiteY48" fmla="*/ 255310 h 602347"/>
                  <a:gd name="connsiteX49" fmla="*/ 162872 w 608415"/>
                  <a:gd name="connsiteY49" fmla="*/ 249026 h 602347"/>
                  <a:gd name="connsiteX50" fmla="*/ 304208 w 608415"/>
                  <a:gd name="connsiteY50" fmla="*/ 133020 h 602347"/>
                  <a:gd name="connsiteX51" fmla="*/ 237220 w 608415"/>
                  <a:gd name="connsiteY51" fmla="*/ 199760 h 602347"/>
                  <a:gd name="connsiteX52" fmla="*/ 304208 w 608415"/>
                  <a:gd name="connsiteY52" fmla="*/ 266653 h 602347"/>
                  <a:gd name="connsiteX53" fmla="*/ 371195 w 608415"/>
                  <a:gd name="connsiteY53" fmla="*/ 199760 h 602347"/>
                  <a:gd name="connsiteX54" fmla="*/ 304208 w 608415"/>
                  <a:gd name="connsiteY54" fmla="*/ 133020 h 602347"/>
                  <a:gd name="connsiteX55" fmla="*/ 410237 w 608415"/>
                  <a:gd name="connsiteY55" fmla="*/ 72541 h 602347"/>
                  <a:gd name="connsiteX56" fmla="*/ 445567 w 608415"/>
                  <a:gd name="connsiteY56" fmla="*/ 72541 h 602347"/>
                  <a:gd name="connsiteX57" fmla="*/ 467072 w 608415"/>
                  <a:gd name="connsiteY57" fmla="*/ 93887 h 602347"/>
                  <a:gd name="connsiteX58" fmla="*/ 445567 w 608415"/>
                  <a:gd name="connsiteY58" fmla="*/ 115233 h 602347"/>
                  <a:gd name="connsiteX59" fmla="*/ 410237 w 608415"/>
                  <a:gd name="connsiteY59" fmla="*/ 115233 h 602347"/>
                  <a:gd name="connsiteX60" fmla="*/ 388886 w 608415"/>
                  <a:gd name="connsiteY60" fmla="*/ 93887 h 602347"/>
                  <a:gd name="connsiteX61" fmla="*/ 410237 w 608415"/>
                  <a:gd name="connsiteY61" fmla="*/ 72541 h 602347"/>
                  <a:gd name="connsiteX62" fmla="*/ 369351 w 608415"/>
                  <a:gd name="connsiteY62" fmla="*/ 42805 h 602347"/>
                  <a:gd name="connsiteX63" fmla="*/ 369351 w 608415"/>
                  <a:gd name="connsiteY63" fmla="*/ 111540 h 602347"/>
                  <a:gd name="connsiteX64" fmla="*/ 414060 w 608415"/>
                  <a:gd name="connsiteY64" fmla="*/ 199760 h 602347"/>
                  <a:gd name="connsiteX65" fmla="*/ 369351 w 608415"/>
                  <a:gd name="connsiteY65" fmla="*/ 287979 h 602347"/>
                  <a:gd name="connsiteX66" fmla="*/ 369351 w 608415"/>
                  <a:gd name="connsiteY66" fmla="*/ 319585 h 602347"/>
                  <a:gd name="connsiteX67" fmla="*/ 506859 w 608415"/>
                  <a:gd name="connsiteY67" fmla="*/ 319585 h 602347"/>
                  <a:gd name="connsiteX68" fmla="*/ 506859 w 608415"/>
                  <a:gd name="connsiteY68" fmla="*/ 62137 h 602347"/>
                  <a:gd name="connsiteX69" fmla="*/ 487500 w 608415"/>
                  <a:gd name="connsiteY69" fmla="*/ 42805 h 602347"/>
                  <a:gd name="connsiteX70" fmla="*/ 281930 w 608415"/>
                  <a:gd name="connsiteY70" fmla="*/ 42805 h 602347"/>
                  <a:gd name="connsiteX71" fmla="*/ 281930 w 608415"/>
                  <a:gd name="connsiteY71" fmla="*/ 92362 h 602347"/>
                  <a:gd name="connsiteX72" fmla="*/ 304208 w 608415"/>
                  <a:gd name="connsiteY72" fmla="*/ 90214 h 602347"/>
                  <a:gd name="connsiteX73" fmla="*/ 326485 w 608415"/>
                  <a:gd name="connsiteY73" fmla="*/ 92362 h 602347"/>
                  <a:gd name="connsiteX74" fmla="*/ 326485 w 608415"/>
                  <a:gd name="connsiteY74" fmla="*/ 42805 h 602347"/>
                  <a:gd name="connsiteX75" fmla="*/ 120915 w 608415"/>
                  <a:gd name="connsiteY75" fmla="*/ 42805 h 602347"/>
                  <a:gd name="connsiteX76" fmla="*/ 101556 w 608415"/>
                  <a:gd name="connsiteY76" fmla="*/ 62137 h 602347"/>
                  <a:gd name="connsiteX77" fmla="*/ 101556 w 608415"/>
                  <a:gd name="connsiteY77" fmla="*/ 319585 h 602347"/>
                  <a:gd name="connsiteX78" fmla="*/ 239064 w 608415"/>
                  <a:gd name="connsiteY78" fmla="*/ 319585 h 602347"/>
                  <a:gd name="connsiteX79" fmla="*/ 239064 w 608415"/>
                  <a:gd name="connsiteY79" fmla="*/ 287979 h 602347"/>
                  <a:gd name="connsiteX80" fmla="*/ 194355 w 608415"/>
                  <a:gd name="connsiteY80" fmla="*/ 199760 h 602347"/>
                  <a:gd name="connsiteX81" fmla="*/ 239064 w 608415"/>
                  <a:gd name="connsiteY81" fmla="*/ 111540 h 602347"/>
                  <a:gd name="connsiteX82" fmla="*/ 239064 w 608415"/>
                  <a:gd name="connsiteY82" fmla="*/ 42805 h 602347"/>
                  <a:gd name="connsiteX83" fmla="*/ 120915 w 608415"/>
                  <a:gd name="connsiteY83" fmla="*/ 0 h 602347"/>
                  <a:gd name="connsiteX84" fmla="*/ 487500 w 608415"/>
                  <a:gd name="connsiteY84" fmla="*/ 0 h 602347"/>
                  <a:gd name="connsiteX85" fmla="*/ 549724 w 608415"/>
                  <a:gd name="connsiteY85" fmla="*/ 62137 h 602347"/>
                  <a:gd name="connsiteX86" fmla="*/ 549724 w 608415"/>
                  <a:gd name="connsiteY86" fmla="*/ 319738 h 602347"/>
                  <a:gd name="connsiteX87" fmla="*/ 608415 w 608415"/>
                  <a:gd name="connsiteY87" fmla="*/ 381568 h 602347"/>
                  <a:gd name="connsiteX88" fmla="*/ 608415 w 608415"/>
                  <a:gd name="connsiteY88" fmla="*/ 476845 h 602347"/>
                  <a:gd name="connsiteX89" fmla="*/ 546344 w 608415"/>
                  <a:gd name="connsiteY89" fmla="*/ 538829 h 602347"/>
                  <a:gd name="connsiteX90" fmla="*/ 529444 w 608415"/>
                  <a:gd name="connsiteY90" fmla="*/ 538829 h 602347"/>
                  <a:gd name="connsiteX91" fmla="*/ 536972 w 608415"/>
                  <a:gd name="connsiteY91" fmla="*/ 575191 h 602347"/>
                  <a:gd name="connsiteX92" fmla="*/ 537740 w 608415"/>
                  <a:gd name="connsiteY92" fmla="*/ 580868 h 602347"/>
                  <a:gd name="connsiteX93" fmla="*/ 516385 w 608415"/>
                  <a:gd name="connsiteY93" fmla="*/ 602347 h 602347"/>
                  <a:gd name="connsiteX94" fmla="*/ 516231 w 608415"/>
                  <a:gd name="connsiteY94" fmla="*/ 602347 h 602347"/>
                  <a:gd name="connsiteX95" fmla="*/ 92184 w 608415"/>
                  <a:gd name="connsiteY95" fmla="*/ 602347 h 602347"/>
                  <a:gd name="connsiteX96" fmla="*/ 75437 w 608415"/>
                  <a:gd name="connsiteY96" fmla="*/ 594369 h 602347"/>
                  <a:gd name="connsiteX97" fmla="*/ 71135 w 608415"/>
                  <a:gd name="connsiteY97" fmla="*/ 576572 h 602347"/>
                  <a:gd name="connsiteX98" fmla="*/ 78971 w 608415"/>
                  <a:gd name="connsiteY98" fmla="*/ 538829 h 602347"/>
                  <a:gd name="connsiteX99" fmla="*/ 62071 w 608415"/>
                  <a:gd name="connsiteY99" fmla="*/ 538829 h 602347"/>
                  <a:gd name="connsiteX100" fmla="*/ 0 w 608415"/>
                  <a:gd name="connsiteY100" fmla="*/ 476845 h 602347"/>
                  <a:gd name="connsiteX101" fmla="*/ 0 w 608415"/>
                  <a:gd name="connsiteY101" fmla="*/ 381568 h 602347"/>
                  <a:gd name="connsiteX102" fmla="*/ 58691 w 608415"/>
                  <a:gd name="connsiteY102" fmla="*/ 319738 h 602347"/>
                  <a:gd name="connsiteX103" fmla="*/ 58691 w 608415"/>
                  <a:gd name="connsiteY103" fmla="*/ 62137 h 602347"/>
                  <a:gd name="connsiteX104" fmla="*/ 120915 w 608415"/>
                  <a:gd name="connsiteY104" fmla="*/ 0 h 602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608415" h="602347">
                    <a:moveTo>
                      <a:pt x="144883" y="431125"/>
                    </a:moveTo>
                    <a:lnTo>
                      <a:pt x="118457" y="559542"/>
                    </a:lnTo>
                    <a:lnTo>
                      <a:pt x="489958" y="559542"/>
                    </a:lnTo>
                    <a:lnTo>
                      <a:pt x="463532" y="431125"/>
                    </a:lnTo>
                    <a:close/>
                    <a:moveTo>
                      <a:pt x="369351" y="362390"/>
                    </a:moveTo>
                    <a:lnTo>
                      <a:pt x="369351" y="388319"/>
                    </a:lnTo>
                    <a:lnTo>
                      <a:pt x="480894" y="388319"/>
                    </a:lnTo>
                    <a:cubicBezTo>
                      <a:pt x="491188" y="388319"/>
                      <a:pt x="499945" y="395530"/>
                      <a:pt x="501942" y="405349"/>
                    </a:cubicBezTo>
                    <a:lnTo>
                      <a:pt x="520686" y="496024"/>
                    </a:lnTo>
                    <a:lnTo>
                      <a:pt x="546344" y="496024"/>
                    </a:lnTo>
                    <a:cubicBezTo>
                      <a:pt x="556946" y="496024"/>
                      <a:pt x="565549" y="487432"/>
                      <a:pt x="565549" y="476845"/>
                    </a:cubicBezTo>
                    <a:lnTo>
                      <a:pt x="565549" y="381568"/>
                    </a:lnTo>
                    <a:cubicBezTo>
                      <a:pt x="565549" y="370982"/>
                      <a:pt x="556946" y="362390"/>
                      <a:pt x="546344" y="362390"/>
                    </a:cubicBezTo>
                    <a:close/>
                    <a:moveTo>
                      <a:pt x="281930" y="362390"/>
                    </a:moveTo>
                    <a:lnTo>
                      <a:pt x="281930" y="388319"/>
                    </a:lnTo>
                    <a:lnTo>
                      <a:pt x="326485" y="388319"/>
                    </a:lnTo>
                    <a:lnTo>
                      <a:pt x="326485" y="362390"/>
                    </a:lnTo>
                    <a:close/>
                    <a:moveTo>
                      <a:pt x="62071" y="362390"/>
                    </a:moveTo>
                    <a:cubicBezTo>
                      <a:pt x="51469" y="362390"/>
                      <a:pt x="42866" y="370982"/>
                      <a:pt x="42866" y="381568"/>
                    </a:cubicBezTo>
                    <a:lnTo>
                      <a:pt x="42866" y="476845"/>
                    </a:lnTo>
                    <a:cubicBezTo>
                      <a:pt x="42866" y="487432"/>
                      <a:pt x="51469" y="496024"/>
                      <a:pt x="62071" y="496024"/>
                    </a:cubicBezTo>
                    <a:lnTo>
                      <a:pt x="87729" y="496024"/>
                    </a:lnTo>
                    <a:lnTo>
                      <a:pt x="106473" y="405349"/>
                    </a:lnTo>
                    <a:cubicBezTo>
                      <a:pt x="108470" y="395530"/>
                      <a:pt x="117381" y="388319"/>
                      <a:pt x="127521" y="388319"/>
                    </a:cubicBezTo>
                    <a:lnTo>
                      <a:pt x="239064" y="388319"/>
                    </a:lnTo>
                    <a:lnTo>
                      <a:pt x="239064" y="362390"/>
                    </a:lnTo>
                    <a:close/>
                    <a:moveTo>
                      <a:pt x="281930" y="307157"/>
                    </a:moveTo>
                    <a:lnTo>
                      <a:pt x="281930" y="319585"/>
                    </a:lnTo>
                    <a:lnTo>
                      <a:pt x="326485" y="319585"/>
                    </a:lnTo>
                    <a:lnTo>
                      <a:pt x="326485" y="307157"/>
                    </a:lnTo>
                    <a:cubicBezTo>
                      <a:pt x="319264" y="308692"/>
                      <a:pt x="311890" y="309459"/>
                      <a:pt x="304208" y="309459"/>
                    </a:cubicBezTo>
                    <a:cubicBezTo>
                      <a:pt x="296526" y="309459"/>
                      <a:pt x="289151" y="308692"/>
                      <a:pt x="281930" y="307157"/>
                    </a:cubicBezTo>
                    <a:close/>
                    <a:moveTo>
                      <a:pt x="445579" y="249026"/>
                    </a:moveTo>
                    <a:cubicBezTo>
                      <a:pt x="451259" y="249026"/>
                      <a:pt x="456786" y="251325"/>
                      <a:pt x="460778" y="255310"/>
                    </a:cubicBezTo>
                    <a:cubicBezTo>
                      <a:pt x="464769" y="259296"/>
                      <a:pt x="467072" y="264813"/>
                      <a:pt x="467072" y="270331"/>
                    </a:cubicBezTo>
                    <a:cubicBezTo>
                      <a:pt x="467072" y="276002"/>
                      <a:pt x="464769" y="281520"/>
                      <a:pt x="460778" y="285505"/>
                    </a:cubicBezTo>
                    <a:cubicBezTo>
                      <a:pt x="456786" y="289490"/>
                      <a:pt x="451259" y="291789"/>
                      <a:pt x="445579" y="291789"/>
                    </a:cubicBezTo>
                    <a:cubicBezTo>
                      <a:pt x="440052" y="291789"/>
                      <a:pt x="434525" y="289490"/>
                      <a:pt x="430533" y="285505"/>
                    </a:cubicBezTo>
                    <a:cubicBezTo>
                      <a:pt x="426542" y="281520"/>
                      <a:pt x="424239" y="276002"/>
                      <a:pt x="424239" y="270331"/>
                    </a:cubicBezTo>
                    <a:cubicBezTo>
                      <a:pt x="424239" y="264813"/>
                      <a:pt x="426542" y="259296"/>
                      <a:pt x="430533" y="255310"/>
                    </a:cubicBezTo>
                    <a:cubicBezTo>
                      <a:pt x="434525" y="251325"/>
                      <a:pt x="440052" y="249026"/>
                      <a:pt x="445579" y="249026"/>
                    </a:cubicBezTo>
                    <a:close/>
                    <a:moveTo>
                      <a:pt x="162872" y="249026"/>
                    </a:moveTo>
                    <a:cubicBezTo>
                      <a:pt x="168408" y="249026"/>
                      <a:pt x="173944" y="251325"/>
                      <a:pt x="177942" y="255310"/>
                    </a:cubicBezTo>
                    <a:cubicBezTo>
                      <a:pt x="181940" y="259296"/>
                      <a:pt x="184247" y="264813"/>
                      <a:pt x="184247" y="270331"/>
                    </a:cubicBezTo>
                    <a:cubicBezTo>
                      <a:pt x="184247" y="276002"/>
                      <a:pt x="181940" y="281520"/>
                      <a:pt x="177942" y="285505"/>
                    </a:cubicBezTo>
                    <a:cubicBezTo>
                      <a:pt x="173944" y="289490"/>
                      <a:pt x="168408" y="291789"/>
                      <a:pt x="162872" y="291789"/>
                    </a:cubicBezTo>
                    <a:cubicBezTo>
                      <a:pt x="157182" y="291789"/>
                      <a:pt x="151646" y="289490"/>
                      <a:pt x="147648" y="285505"/>
                    </a:cubicBezTo>
                    <a:cubicBezTo>
                      <a:pt x="143650" y="281520"/>
                      <a:pt x="141343" y="276002"/>
                      <a:pt x="141343" y="270331"/>
                    </a:cubicBezTo>
                    <a:cubicBezTo>
                      <a:pt x="141343" y="264813"/>
                      <a:pt x="143650" y="259296"/>
                      <a:pt x="147648" y="255310"/>
                    </a:cubicBezTo>
                    <a:cubicBezTo>
                      <a:pt x="151646" y="251325"/>
                      <a:pt x="157182" y="249026"/>
                      <a:pt x="162872" y="249026"/>
                    </a:cubicBezTo>
                    <a:close/>
                    <a:moveTo>
                      <a:pt x="304208" y="133020"/>
                    </a:moveTo>
                    <a:cubicBezTo>
                      <a:pt x="267334" y="133020"/>
                      <a:pt x="237220" y="162938"/>
                      <a:pt x="237220" y="199760"/>
                    </a:cubicBezTo>
                    <a:cubicBezTo>
                      <a:pt x="237220" y="236735"/>
                      <a:pt x="267334" y="266653"/>
                      <a:pt x="304208" y="266653"/>
                    </a:cubicBezTo>
                    <a:cubicBezTo>
                      <a:pt x="341081" y="266653"/>
                      <a:pt x="371195" y="236735"/>
                      <a:pt x="371195" y="199760"/>
                    </a:cubicBezTo>
                    <a:cubicBezTo>
                      <a:pt x="371195" y="162938"/>
                      <a:pt x="341081" y="133020"/>
                      <a:pt x="304208" y="133020"/>
                    </a:cubicBezTo>
                    <a:close/>
                    <a:moveTo>
                      <a:pt x="410237" y="72541"/>
                    </a:moveTo>
                    <a:lnTo>
                      <a:pt x="445567" y="72541"/>
                    </a:lnTo>
                    <a:cubicBezTo>
                      <a:pt x="457395" y="72541"/>
                      <a:pt x="467072" y="82062"/>
                      <a:pt x="467072" y="93887"/>
                    </a:cubicBezTo>
                    <a:cubicBezTo>
                      <a:pt x="467072" y="105712"/>
                      <a:pt x="457395" y="115233"/>
                      <a:pt x="445567" y="115233"/>
                    </a:cubicBezTo>
                    <a:lnTo>
                      <a:pt x="410237" y="115233"/>
                    </a:lnTo>
                    <a:cubicBezTo>
                      <a:pt x="398410" y="115233"/>
                      <a:pt x="388886" y="105712"/>
                      <a:pt x="388886" y="93887"/>
                    </a:cubicBezTo>
                    <a:cubicBezTo>
                      <a:pt x="388886" y="82062"/>
                      <a:pt x="398410" y="72541"/>
                      <a:pt x="410237" y="72541"/>
                    </a:cubicBezTo>
                    <a:close/>
                    <a:moveTo>
                      <a:pt x="369351" y="42805"/>
                    </a:moveTo>
                    <a:lnTo>
                      <a:pt x="369351" y="111540"/>
                    </a:lnTo>
                    <a:cubicBezTo>
                      <a:pt x="396392" y="131639"/>
                      <a:pt x="414060" y="163705"/>
                      <a:pt x="414060" y="199760"/>
                    </a:cubicBezTo>
                    <a:cubicBezTo>
                      <a:pt x="414060" y="235968"/>
                      <a:pt x="396392" y="268034"/>
                      <a:pt x="369351" y="287979"/>
                    </a:cubicBezTo>
                    <a:lnTo>
                      <a:pt x="369351" y="319585"/>
                    </a:lnTo>
                    <a:lnTo>
                      <a:pt x="506859" y="319585"/>
                    </a:lnTo>
                    <a:lnTo>
                      <a:pt x="506859" y="62137"/>
                    </a:lnTo>
                    <a:cubicBezTo>
                      <a:pt x="506859" y="51551"/>
                      <a:pt x="498101" y="42805"/>
                      <a:pt x="487500" y="42805"/>
                    </a:cubicBezTo>
                    <a:close/>
                    <a:moveTo>
                      <a:pt x="281930" y="42805"/>
                    </a:moveTo>
                    <a:lnTo>
                      <a:pt x="281930" y="92362"/>
                    </a:lnTo>
                    <a:cubicBezTo>
                      <a:pt x="289151" y="90981"/>
                      <a:pt x="296526" y="90214"/>
                      <a:pt x="304208" y="90214"/>
                    </a:cubicBezTo>
                    <a:cubicBezTo>
                      <a:pt x="311890" y="90214"/>
                      <a:pt x="319264" y="90981"/>
                      <a:pt x="326485" y="92362"/>
                    </a:cubicBezTo>
                    <a:lnTo>
                      <a:pt x="326485" y="42805"/>
                    </a:lnTo>
                    <a:close/>
                    <a:moveTo>
                      <a:pt x="120915" y="42805"/>
                    </a:moveTo>
                    <a:cubicBezTo>
                      <a:pt x="110314" y="42805"/>
                      <a:pt x="101556" y="51551"/>
                      <a:pt x="101556" y="62137"/>
                    </a:cubicBezTo>
                    <a:lnTo>
                      <a:pt x="101556" y="319585"/>
                    </a:lnTo>
                    <a:lnTo>
                      <a:pt x="239064" y="319585"/>
                    </a:lnTo>
                    <a:lnTo>
                      <a:pt x="239064" y="287979"/>
                    </a:lnTo>
                    <a:cubicBezTo>
                      <a:pt x="212023" y="268034"/>
                      <a:pt x="194355" y="235968"/>
                      <a:pt x="194355" y="199760"/>
                    </a:cubicBezTo>
                    <a:cubicBezTo>
                      <a:pt x="194355" y="163705"/>
                      <a:pt x="212023" y="131639"/>
                      <a:pt x="239064" y="111540"/>
                    </a:cubicBezTo>
                    <a:lnTo>
                      <a:pt x="239064" y="42805"/>
                    </a:lnTo>
                    <a:close/>
                    <a:moveTo>
                      <a:pt x="120915" y="0"/>
                    </a:moveTo>
                    <a:lnTo>
                      <a:pt x="487500" y="0"/>
                    </a:lnTo>
                    <a:cubicBezTo>
                      <a:pt x="521762" y="0"/>
                      <a:pt x="549724" y="27923"/>
                      <a:pt x="549724" y="62137"/>
                    </a:cubicBezTo>
                    <a:lnTo>
                      <a:pt x="549724" y="319738"/>
                    </a:lnTo>
                    <a:cubicBezTo>
                      <a:pt x="582296" y="321426"/>
                      <a:pt x="608415" y="348582"/>
                      <a:pt x="608415" y="381568"/>
                    </a:cubicBezTo>
                    <a:lnTo>
                      <a:pt x="608415" y="476845"/>
                    </a:lnTo>
                    <a:cubicBezTo>
                      <a:pt x="608415" y="511059"/>
                      <a:pt x="580606" y="538829"/>
                      <a:pt x="546344" y="538829"/>
                    </a:cubicBezTo>
                    <a:lnTo>
                      <a:pt x="529444" y="538829"/>
                    </a:lnTo>
                    <a:lnTo>
                      <a:pt x="536972" y="575191"/>
                    </a:lnTo>
                    <a:cubicBezTo>
                      <a:pt x="537433" y="577032"/>
                      <a:pt x="537740" y="578873"/>
                      <a:pt x="537740" y="580868"/>
                    </a:cubicBezTo>
                    <a:cubicBezTo>
                      <a:pt x="537740" y="592681"/>
                      <a:pt x="528215" y="602347"/>
                      <a:pt x="516385" y="602347"/>
                    </a:cubicBezTo>
                    <a:cubicBezTo>
                      <a:pt x="516385" y="602347"/>
                      <a:pt x="516385" y="602347"/>
                      <a:pt x="516231" y="602347"/>
                    </a:cubicBezTo>
                    <a:lnTo>
                      <a:pt x="92184" y="602347"/>
                    </a:lnTo>
                    <a:cubicBezTo>
                      <a:pt x="85731" y="602347"/>
                      <a:pt x="79586" y="599432"/>
                      <a:pt x="75437" y="594369"/>
                    </a:cubicBezTo>
                    <a:cubicBezTo>
                      <a:pt x="71443" y="589460"/>
                      <a:pt x="69906" y="582862"/>
                      <a:pt x="71135" y="576572"/>
                    </a:cubicBezTo>
                    <a:lnTo>
                      <a:pt x="78971" y="538829"/>
                    </a:lnTo>
                    <a:lnTo>
                      <a:pt x="62071" y="538829"/>
                    </a:lnTo>
                    <a:cubicBezTo>
                      <a:pt x="27809" y="538829"/>
                      <a:pt x="0" y="511059"/>
                      <a:pt x="0" y="476845"/>
                    </a:cubicBezTo>
                    <a:lnTo>
                      <a:pt x="0" y="381568"/>
                    </a:lnTo>
                    <a:cubicBezTo>
                      <a:pt x="0" y="348582"/>
                      <a:pt x="26119" y="321426"/>
                      <a:pt x="58691" y="319738"/>
                    </a:cubicBezTo>
                    <a:lnTo>
                      <a:pt x="58691" y="62137"/>
                    </a:lnTo>
                    <a:cubicBezTo>
                      <a:pt x="58691" y="27923"/>
                      <a:pt x="86653" y="0"/>
                      <a:pt x="120915" y="0"/>
                    </a:cubicBezTo>
                    <a:close/>
                  </a:path>
                </a:pathLst>
              </a:custGeom>
              <a:solidFill>
                <a:srgbClr val="676A8A"/>
              </a:solidFill>
              <a:ln>
                <a:noFill/>
              </a:ln>
            </p:spPr>
          </p:sp>
          <p:sp>
            <p:nvSpPr>
              <p:cNvPr id="28" name="文本框 2"/>
              <p:cNvSpPr txBox="1"/>
              <p:nvPr/>
            </p:nvSpPr>
            <p:spPr>
              <a:xfrm>
                <a:off x="8323781" y="4891683"/>
                <a:ext cx="1102717" cy="778853"/>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sz="1400" dirty="0" smtClean="0">
                    <a:latin typeface="微软雅黑" panose="020B0503020204020204" pitchFamily="34" charset="-122"/>
                    <a:ea typeface="微软雅黑" panose="020B0503020204020204" pitchFamily="34" charset="-122"/>
                  </a:rPr>
                  <a:t>刹车</a:t>
                </a:r>
                <a:r>
                  <a:rPr lang="en-US" altLang="zh-CN" sz="1400" dirty="0" smtClean="0">
                    <a:latin typeface="微软雅黑" panose="020B0503020204020204" pitchFamily="34" charset="-122"/>
                    <a:ea typeface="微软雅黑" panose="020B0503020204020204" pitchFamily="34" charset="-122"/>
                  </a:rPr>
                  <a:t>(Brake)</a:t>
                </a:r>
                <a:endParaRPr lang="zh-CN" altLang="en-US" sz="1400" dirty="0">
                  <a:latin typeface="微软雅黑" panose="020B0503020204020204" pitchFamily="34" charset="-122"/>
                  <a:ea typeface="微软雅黑" panose="020B0503020204020204" pitchFamily="34" charset="-122"/>
                </a:endParaRPr>
              </a:p>
            </p:txBody>
          </p:sp>
        </p:grpSp>
        <p:sp>
          <p:nvSpPr>
            <p:cNvPr id="34" name="文本框 10"/>
            <p:cNvSpPr txBox="1"/>
            <p:nvPr/>
          </p:nvSpPr>
          <p:spPr>
            <a:xfrm>
              <a:off x="8601886" y="5139366"/>
              <a:ext cx="1680118" cy="687223"/>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zh-CN" altLang="en-US" sz="1200" dirty="0" smtClean="0"/>
                <a:t>普通制动</a:t>
              </a:r>
              <a:endParaRPr lang="en-US" altLang="zh-CN" sz="1200" dirty="0" smtClean="0"/>
            </a:p>
            <a:p>
              <a:pPr marL="285750" indent="-285750">
                <a:buFont typeface="Arial" panose="020B0604020202020204" pitchFamily="34" charset="0"/>
                <a:buChar char="•"/>
              </a:pPr>
              <a:r>
                <a:rPr lang="zh-CN" altLang="en-US" sz="1200" dirty="0" smtClean="0"/>
                <a:t>高级制动</a:t>
              </a:r>
              <a:endParaRPr lang="zh-CN" altLang="en-US" sz="1200" dirty="0"/>
            </a:p>
          </p:txBody>
        </p:sp>
      </p:grpSp>
      <p:cxnSp>
        <p:nvCxnSpPr>
          <p:cNvPr id="18" name="直接连接符 17"/>
          <p:cNvCxnSpPr/>
          <p:nvPr/>
        </p:nvCxnSpPr>
        <p:spPr>
          <a:xfrm>
            <a:off x="1412488" y="4653776"/>
            <a:ext cx="3627863" cy="0"/>
          </a:xfrm>
          <a:prstGeom prst="line">
            <a:avLst/>
          </a:prstGeom>
          <a:ln w="63500" cap="flat">
            <a:solidFill>
              <a:srgbClr val="4EC1FF"/>
            </a:solidFill>
            <a:prstDash val="sysDash"/>
            <a:round/>
            <a:tailEnd type="triangle"/>
          </a:ln>
          <a:effectLst>
            <a:outerShdw blurRad="40000" dist="23000" dir="5400000" rotWithShape="0">
              <a:srgbClr val="000000">
                <a:alpha val="35000"/>
              </a:srgbClr>
            </a:outerShdw>
            <a:softEdge rad="0"/>
          </a:effectLst>
        </p:spPr>
        <p:style>
          <a:lnRef idx="3">
            <a:schemeClr val="accent1"/>
          </a:lnRef>
          <a:fillRef idx="0">
            <a:schemeClr val="accent1"/>
          </a:fillRef>
          <a:effectRef idx="2">
            <a:schemeClr val="accent1"/>
          </a:effectRef>
          <a:fontRef idx="minor">
            <a:schemeClr val="tx1"/>
          </a:fontRef>
        </p:style>
      </p:cxnSp>
      <p:cxnSp>
        <p:nvCxnSpPr>
          <p:cNvPr id="40" name="直接连接符 39"/>
          <p:cNvCxnSpPr/>
          <p:nvPr/>
        </p:nvCxnSpPr>
        <p:spPr>
          <a:xfrm>
            <a:off x="1411353" y="5653668"/>
            <a:ext cx="3627863" cy="0"/>
          </a:xfrm>
          <a:prstGeom prst="line">
            <a:avLst/>
          </a:prstGeom>
          <a:ln w="63500" cap="flat">
            <a:solidFill>
              <a:srgbClr val="4EC1FF"/>
            </a:solidFill>
            <a:prstDash val="sysDash"/>
            <a:round/>
            <a:tailEnd type="triangle"/>
          </a:ln>
          <a:effectLst>
            <a:outerShdw blurRad="40000" dist="23000" dir="5400000" rotWithShape="0">
              <a:srgbClr val="000000">
                <a:alpha val="35000"/>
              </a:srgbClr>
            </a:outerShdw>
            <a:softEdge rad="0"/>
          </a:effectLst>
        </p:spPr>
        <p:style>
          <a:lnRef idx="3">
            <a:schemeClr val="accent1"/>
          </a:lnRef>
          <a:fillRef idx="0">
            <a:schemeClr val="accent1"/>
          </a:fillRef>
          <a:effectRef idx="2">
            <a:schemeClr val="accent1"/>
          </a:effectRef>
          <a:fontRef idx="minor">
            <a:schemeClr val="tx1"/>
          </a:fontRef>
        </p:style>
      </p:cxnSp>
      <p:cxnSp>
        <p:nvCxnSpPr>
          <p:cNvPr id="41" name="直接连接符 40"/>
          <p:cNvCxnSpPr/>
          <p:nvPr/>
        </p:nvCxnSpPr>
        <p:spPr>
          <a:xfrm>
            <a:off x="1411353" y="3547946"/>
            <a:ext cx="3627863" cy="0"/>
          </a:xfrm>
          <a:prstGeom prst="line">
            <a:avLst/>
          </a:prstGeom>
          <a:ln w="63500" cap="flat">
            <a:solidFill>
              <a:schemeClr val="accent1">
                <a:lumMod val="60000"/>
                <a:lumOff val="40000"/>
              </a:schemeClr>
            </a:solidFill>
            <a:prstDash val="sysDash"/>
            <a:round/>
            <a:tailEnd type="triangle"/>
          </a:ln>
          <a:effectLst>
            <a:outerShdw blurRad="40000" dist="23000" dir="5400000" rotWithShape="0">
              <a:srgbClr val="000000">
                <a:alpha val="35000"/>
              </a:srgbClr>
            </a:outerShdw>
            <a:softEdge rad="0"/>
          </a:effectLst>
        </p:spPr>
        <p:style>
          <a:lnRef idx="3">
            <a:schemeClr val="accent1"/>
          </a:lnRef>
          <a:fillRef idx="0">
            <a:schemeClr val="accent1"/>
          </a:fillRef>
          <a:effectRef idx="2">
            <a:schemeClr val="accent1"/>
          </a:effectRef>
          <a:fontRef idx="minor">
            <a:schemeClr val="tx1"/>
          </a:fontRef>
        </p:style>
      </p:cxnSp>
      <p:sp>
        <p:nvSpPr>
          <p:cNvPr id="29" name="coding_151359"/>
          <p:cNvSpPr>
            <a:spLocks noChangeAspect="1"/>
          </p:cNvSpPr>
          <p:nvPr/>
        </p:nvSpPr>
        <p:spPr bwMode="auto">
          <a:xfrm>
            <a:off x="6509664" y="205122"/>
            <a:ext cx="467336" cy="466684"/>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06439" h="605593">
                <a:moveTo>
                  <a:pt x="264222" y="458757"/>
                </a:moveTo>
                <a:lnTo>
                  <a:pt x="220421" y="579819"/>
                </a:lnTo>
                <a:lnTo>
                  <a:pt x="386019" y="579819"/>
                </a:lnTo>
                <a:lnTo>
                  <a:pt x="342217" y="458757"/>
                </a:lnTo>
                <a:close/>
                <a:moveTo>
                  <a:pt x="420977" y="157263"/>
                </a:moveTo>
                <a:lnTo>
                  <a:pt x="489088" y="231020"/>
                </a:lnTo>
                <a:lnTo>
                  <a:pt x="424086" y="301483"/>
                </a:lnTo>
                <a:lnTo>
                  <a:pt x="405150" y="283985"/>
                </a:lnTo>
                <a:lnTo>
                  <a:pt x="453949" y="231020"/>
                </a:lnTo>
                <a:lnTo>
                  <a:pt x="402042" y="174761"/>
                </a:lnTo>
                <a:close/>
                <a:moveTo>
                  <a:pt x="185461" y="157263"/>
                </a:moveTo>
                <a:lnTo>
                  <a:pt x="204397" y="174761"/>
                </a:lnTo>
                <a:lnTo>
                  <a:pt x="152489" y="231020"/>
                </a:lnTo>
                <a:lnTo>
                  <a:pt x="201288" y="283985"/>
                </a:lnTo>
                <a:lnTo>
                  <a:pt x="182352" y="301483"/>
                </a:lnTo>
                <a:lnTo>
                  <a:pt x="117350" y="231020"/>
                </a:lnTo>
                <a:close/>
                <a:moveTo>
                  <a:pt x="309343" y="122078"/>
                </a:moveTo>
                <a:lnTo>
                  <a:pt x="334401" y="128193"/>
                </a:lnTo>
                <a:lnTo>
                  <a:pt x="283718" y="336668"/>
                </a:lnTo>
                <a:lnTo>
                  <a:pt x="258565" y="330553"/>
                </a:lnTo>
                <a:close/>
                <a:moveTo>
                  <a:pt x="25810" y="25774"/>
                </a:moveTo>
                <a:lnTo>
                  <a:pt x="25810" y="432983"/>
                </a:lnTo>
                <a:lnTo>
                  <a:pt x="580629" y="432983"/>
                </a:lnTo>
                <a:lnTo>
                  <a:pt x="580629" y="25774"/>
                </a:lnTo>
                <a:close/>
                <a:moveTo>
                  <a:pt x="0" y="0"/>
                </a:moveTo>
                <a:lnTo>
                  <a:pt x="606439" y="0"/>
                </a:lnTo>
                <a:lnTo>
                  <a:pt x="606439" y="458757"/>
                </a:lnTo>
                <a:lnTo>
                  <a:pt x="369628" y="458757"/>
                </a:lnTo>
                <a:lnTo>
                  <a:pt x="413430" y="579819"/>
                </a:lnTo>
                <a:lnTo>
                  <a:pt x="459492" y="579819"/>
                </a:lnTo>
                <a:lnTo>
                  <a:pt x="459492" y="605593"/>
                </a:lnTo>
                <a:lnTo>
                  <a:pt x="146947" y="605593"/>
                </a:lnTo>
                <a:lnTo>
                  <a:pt x="146947" y="579819"/>
                </a:lnTo>
                <a:lnTo>
                  <a:pt x="192915" y="579819"/>
                </a:lnTo>
                <a:lnTo>
                  <a:pt x="236717" y="458757"/>
                </a:lnTo>
                <a:lnTo>
                  <a:pt x="0" y="458757"/>
                </a:lnTo>
                <a:close/>
              </a:path>
            </a:pathLst>
          </a:custGeom>
          <a:solidFill>
            <a:schemeClr val="accent1"/>
          </a:solidFill>
          <a:ln>
            <a:noFill/>
          </a:ln>
        </p:spPr>
      </p:sp>
    </p:spTree>
    <p:extLst>
      <p:ext uri="{BB962C8B-B14F-4D97-AF65-F5344CB8AC3E}">
        <p14:creationId xmlns:p14="http://schemas.microsoft.com/office/powerpoint/2010/main" val="486199637"/>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72" name="1088"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960426" y="990933"/>
            <a:ext cx="10676670" cy="4367154"/>
            <a:chOff x="798194" y="1536624"/>
            <a:chExt cx="10676670" cy="4367154"/>
          </a:xfrm>
        </p:grpSpPr>
        <p:grpSp>
          <p:nvGrpSpPr>
            <p:cNvPr id="73" name="íṣḷîďè">
              <a:extLst>
                <a:ext uri="{FF2B5EF4-FFF2-40B4-BE49-F238E27FC236}">
                  <a16:creationId xmlns:a16="http://schemas.microsoft.com/office/drawing/2014/main" id="{2830AD03-27C7-47AA-8418-D1C537A22689}"/>
                </a:ext>
              </a:extLst>
            </p:cNvPr>
            <p:cNvGrpSpPr/>
            <p:nvPr/>
          </p:nvGrpSpPr>
          <p:grpSpPr>
            <a:xfrm>
              <a:off x="8359849" y="4816279"/>
              <a:ext cx="2312118" cy="1087499"/>
              <a:chOff x="7064781" y="1349909"/>
              <a:chExt cx="2057954" cy="967954"/>
            </a:xfrm>
          </p:grpSpPr>
          <p:sp>
            <p:nvSpPr>
              <p:cNvPr id="93" name="íSļîḓe">
                <a:extLst>
                  <a:ext uri="{FF2B5EF4-FFF2-40B4-BE49-F238E27FC236}">
                    <a16:creationId xmlns:a16="http://schemas.microsoft.com/office/drawing/2014/main" id="{ADD2B430-2458-4867-BEC3-AAF9B043AA67}"/>
                  </a:ext>
                </a:extLst>
              </p:cNvPr>
              <p:cNvSpPr/>
              <p:nvPr/>
            </p:nvSpPr>
            <p:spPr bwMode="auto">
              <a:xfrm>
                <a:off x="7064781" y="1639093"/>
                <a:ext cx="2057954" cy="678770"/>
              </a:xfrm>
              <a:custGeom>
                <a:avLst/>
                <a:gdLst>
                  <a:gd name="T0" fmla="*/ 1446 w 1446"/>
                  <a:gd name="T1" fmla="*/ 0 h 475"/>
                  <a:gd name="T2" fmla="*/ 1446 w 1446"/>
                  <a:gd name="T3" fmla="*/ 273 h 475"/>
                  <a:gd name="T4" fmla="*/ 723 w 1446"/>
                  <a:gd name="T5" fmla="*/ 475 h 475"/>
                  <a:gd name="T6" fmla="*/ 0 w 1446"/>
                  <a:gd name="T7" fmla="*/ 273 h 475"/>
                  <a:gd name="T8" fmla="*/ 0 w 1446"/>
                  <a:gd name="T9" fmla="*/ 0 h 475"/>
                  <a:gd name="T10" fmla="*/ 723 w 1446"/>
                  <a:gd name="T11" fmla="*/ 84 h 475"/>
                  <a:gd name="T12" fmla="*/ 1446 w 1446"/>
                  <a:gd name="T13" fmla="*/ 0 h 475"/>
                </a:gdLst>
                <a:ahLst/>
                <a:cxnLst>
                  <a:cxn ang="0">
                    <a:pos x="T0" y="T1"/>
                  </a:cxn>
                  <a:cxn ang="0">
                    <a:pos x="T2" y="T3"/>
                  </a:cxn>
                  <a:cxn ang="0">
                    <a:pos x="T4" y="T5"/>
                  </a:cxn>
                  <a:cxn ang="0">
                    <a:pos x="T6" y="T7"/>
                  </a:cxn>
                  <a:cxn ang="0">
                    <a:pos x="T8" y="T9"/>
                  </a:cxn>
                  <a:cxn ang="0">
                    <a:pos x="T10" y="T11"/>
                  </a:cxn>
                  <a:cxn ang="0">
                    <a:pos x="T12" y="T13"/>
                  </a:cxn>
                </a:cxnLst>
                <a:rect l="0" t="0" r="r" b="b"/>
                <a:pathLst>
                  <a:path w="1446" h="475">
                    <a:moveTo>
                      <a:pt x="1446" y="0"/>
                    </a:moveTo>
                    <a:cubicBezTo>
                      <a:pt x="1446" y="273"/>
                      <a:pt x="1446" y="273"/>
                      <a:pt x="1446" y="273"/>
                    </a:cubicBezTo>
                    <a:cubicBezTo>
                      <a:pt x="1446" y="384"/>
                      <a:pt x="1122" y="475"/>
                      <a:pt x="723" y="475"/>
                    </a:cubicBezTo>
                    <a:cubicBezTo>
                      <a:pt x="324" y="475"/>
                      <a:pt x="0" y="384"/>
                      <a:pt x="0" y="273"/>
                    </a:cubicBezTo>
                    <a:cubicBezTo>
                      <a:pt x="0" y="0"/>
                      <a:pt x="0" y="0"/>
                      <a:pt x="0" y="0"/>
                    </a:cubicBezTo>
                    <a:cubicBezTo>
                      <a:pt x="0" y="0"/>
                      <a:pt x="440" y="84"/>
                      <a:pt x="723" y="84"/>
                    </a:cubicBezTo>
                    <a:cubicBezTo>
                      <a:pt x="967" y="84"/>
                      <a:pt x="1446" y="0"/>
                      <a:pt x="1446" y="0"/>
                    </a:cubicBezTo>
                  </a:path>
                </a:pathLst>
              </a:custGeom>
              <a:solidFill>
                <a:schemeClr val="accent3"/>
              </a:solidFill>
              <a:ln>
                <a:noFill/>
              </a:ln>
              <a:extLst>
                <a:ext uri="{91240B29-F687-4f45-9708-019B960494DF}">
                  <a14:hiddenLine xmlns="" xmlns:lc="http://schemas.openxmlformats.org/drawingml/2006/lockedCanvas" xmlns:a16="http://schemas.microsoft.com/office/drawing/2014/main" xmlns:a14="http://schemas.microsoft.com/office/drawing/2010/main" xmlns:p14="http://schemas.microsoft.com/office/powerpoint/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94" name="îṥḷîďê">
                <a:extLst>
                  <a:ext uri="{FF2B5EF4-FFF2-40B4-BE49-F238E27FC236}">
                    <a16:creationId xmlns:a16="http://schemas.microsoft.com/office/drawing/2014/main" id="{639C71FE-0004-4A90-A951-9349BC7519FF}"/>
                  </a:ext>
                </a:extLst>
              </p:cNvPr>
              <p:cNvSpPr/>
              <p:nvPr/>
            </p:nvSpPr>
            <p:spPr bwMode="auto">
              <a:xfrm>
                <a:off x="7064781" y="1349909"/>
                <a:ext cx="2057954" cy="578367"/>
              </a:xfrm>
              <a:prstGeom prst="ellipse">
                <a:avLst/>
              </a:prstGeom>
              <a:solidFill>
                <a:schemeClr val="accent3">
                  <a:lumMod val="60000"/>
                  <a:lumOff val="40000"/>
                </a:schemeClr>
              </a:solidFill>
              <a:ln>
                <a:noFill/>
              </a:ln>
              <a:extLst>
                <a:ext uri="{91240B29-F687-4f45-9708-019B960494DF}">
                  <a14:hiddenLine xmlns="" xmlns:lc="http://schemas.openxmlformats.org/drawingml/2006/lockedCanvas" xmlns:a16="http://schemas.microsoft.com/office/drawing/2014/main"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anchor="t" anchorCtr="0" compatLnSpc="1">
                <a:prstTxWarp prst="textNoShape">
                  <a:avLst/>
                </a:prstTxWarp>
                <a:normAutofit fontScale="92500"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id-ID" sz="2800" b="1" dirty="0">
                    <a:solidFill>
                      <a:schemeClr val="bg1"/>
                    </a:solidFill>
                  </a:rPr>
                  <a:t>3</a:t>
                </a:r>
              </a:p>
            </p:txBody>
          </p:sp>
        </p:grpSp>
        <p:sp>
          <p:nvSpPr>
            <p:cNvPr id="74" name="îṣļídê">
              <a:extLst>
                <a:ext uri="{FF2B5EF4-FFF2-40B4-BE49-F238E27FC236}">
                  <a16:creationId xmlns:a16="http://schemas.microsoft.com/office/drawing/2014/main" id="{FEE63573-7888-4118-B9EB-67EABD788FD7}"/>
                </a:ext>
              </a:extLst>
            </p:cNvPr>
            <p:cNvSpPr/>
            <p:nvPr/>
          </p:nvSpPr>
          <p:spPr>
            <a:xfrm rot="1275563">
              <a:off x="6577233" y="4457418"/>
              <a:ext cx="2077587" cy="880668"/>
            </a:xfrm>
            <a:custGeom>
              <a:avLst/>
              <a:gdLst>
                <a:gd name="connsiteX0" fmla="*/ 0 w 2768484"/>
                <a:gd name="connsiteY0" fmla="*/ 0 h 542513"/>
                <a:gd name="connsiteX1" fmla="*/ 2768484 w 2768484"/>
                <a:gd name="connsiteY1" fmla="*/ 0 h 542513"/>
                <a:gd name="connsiteX2" fmla="*/ 2768484 w 2768484"/>
                <a:gd name="connsiteY2" fmla="*/ 542513 h 542513"/>
                <a:gd name="connsiteX3" fmla="*/ 0 w 2768484"/>
                <a:gd name="connsiteY3" fmla="*/ 542513 h 542513"/>
                <a:gd name="connsiteX4" fmla="*/ 0 w 2768484"/>
                <a:gd name="connsiteY4" fmla="*/ 0 h 542513"/>
                <a:gd name="connsiteX0" fmla="*/ 0 w 2768484"/>
                <a:gd name="connsiteY0" fmla="*/ 0 h 795602"/>
                <a:gd name="connsiteX1" fmla="*/ 2768484 w 2768484"/>
                <a:gd name="connsiteY1" fmla="*/ 0 h 795602"/>
                <a:gd name="connsiteX2" fmla="*/ 2223060 w 2768484"/>
                <a:gd name="connsiteY2" fmla="*/ 795602 h 795602"/>
                <a:gd name="connsiteX3" fmla="*/ 0 w 2768484"/>
                <a:gd name="connsiteY3" fmla="*/ 542513 h 795602"/>
                <a:gd name="connsiteX4" fmla="*/ 0 w 2768484"/>
                <a:gd name="connsiteY4" fmla="*/ 0 h 795602"/>
                <a:gd name="connsiteX0" fmla="*/ 0 w 2223060"/>
                <a:gd name="connsiteY0" fmla="*/ 0 h 795602"/>
                <a:gd name="connsiteX1" fmla="*/ 1959724 w 2223060"/>
                <a:gd name="connsiteY1" fmla="*/ 416867 h 795602"/>
                <a:gd name="connsiteX2" fmla="*/ 2223060 w 2223060"/>
                <a:gd name="connsiteY2" fmla="*/ 795602 h 795602"/>
                <a:gd name="connsiteX3" fmla="*/ 0 w 2223060"/>
                <a:gd name="connsiteY3" fmla="*/ 542513 h 795602"/>
                <a:gd name="connsiteX4" fmla="*/ 0 w 2223060"/>
                <a:gd name="connsiteY4" fmla="*/ 0 h 795602"/>
                <a:gd name="connsiteX0" fmla="*/ 0 w 2223060"/>
                <a:gd name="connsiteY0" fmla="*/ 0 h 795602"/>
                <a:gd name="connsiteX1" fmla="*/ 2083514 w 2223060"/>
                <a:gd name="connsiteY1" fmla="*/ 419807 h 795602"/>
                <a:gd name="connsiteX2" fmla="*/ 2223060 w 2223060"/>
                <a:gd name="connsiteY2" fmla="*/ 795602 h 795602"/>
                <a:gd name="connsiteX3" fmla="*/ 0 w 2223060"/>
                <a:gd name="connsiteY3" fmla="*/ 542513 h 795602"/>
                <a:gd name="connsiteX4" fmla="*/ 0 w 2223060"/>
                <a:gd name="connsiteY4" fmla="*/ 0 h 795602"/>
                <a:gd name="connsiteX0" fmla="*/ 355586 w 2223060"/>
                <a:gd name="connsiteY0" fmla="*/ 0 h 801082"/>
                <a:gd name="connsiteX1" fmla="*/ 2083514 w 2223060"/>
                <a:gd name="connsiteY1" fmla="*/ 425287 h 801082"/>
                <a:gd name="connsiteX2" fmla="*/ 2223060 w 2223060"/>
                <a:gd name="connsiteY2" fmla="*/ 801082 h 801082"/>
                <a:gd name="connsiteX3" fmla="*/ 0 w 2223060"/>
                <a:gd name="connsiteY3" fmla="*/ 547993 h 801082"/>
                <a:gd name="connsiteX4" fmla="*/ 355586 w 2223060"/>
                <a:gd name="connsiteY4" fmla="*/ 0 h 801082"/>
                <a:gd name="connsiteX0" fmla="*/ 0 w 1867474"/>
                <a:gd name="connsiteY0" fmla="*/ 0 h 801082"/>
                <a:gd name="connsiteX1" fmla="*/ 1727928 w 1867474"/>
                <a:gd name="connsiteY1" fmla="*/ 425287 h 801082"/>
                <a:gd name="connsiteX2" fmla="*/ 1867474 w 1867474"/>
                <a:gd name="connsiteY2" fmla="*/ 801082 h 801082"/>
                <a:gd name="connsiteX3" fmla="*/ 133666 w 1867474"/>
                <a:gd name="connsiteY3" fmla="*/ 623376 h 801082"/>
                <a:gd name="connsiteX4" fmla="*/ 0 w 1867474"/>
                <a:gd name="connsiteY4" fmla="*/ 0 h 801082"/>
                <a:gd name="connsiteX0" fmla="*/ 0 w 2317947"/>
                <a:gd name="connsiteY0" fmla="*/ 0 h 801082"/>
                <a:gd name="connsiteX1" fmla="*/ 2317947 w 2317947"/>
                <a:gd name="connsiteY1" fmla="*/ 648660 h 801082"/>
                <a:gd name="connsiteX2" fmla="*/ 1867474 w 2317947"/>
                <a:gd name="connsiteY2" fmla="*/ 801082 h 801082"/>
                <a:gd name="connsiteX3" fmla="*/ 133666 w 2317947"/>
                <a:gd name="connsiteY3" fmla="*/ 623376 h 801082"/>
                <a:gd name="connsiteX4" fmla="*/ 0 w 2317947"/>
                <a:gd name="connsiteY4" fmla="*/ 0 h 801082"/>
                <a:gd name="connsiteX0" fmla="*/ 0 w 2506029"/>
                <a:gd name="connsiteY0" fmla="*/ 0 h 1162858"/>
                <a:gd name="connsiteX1" fmla="*/ 2317947 w 2506029"/>
                <a:gd name="connsiteY1" fmla="*/ 648660 h 1162858"/>
                <a:gd name="connsiteX2" fmla="*/ 2506029 w 2506029"/>
                <a:gd name="connsiteY2" fmla="*/ 1162858 h 1162858"/>
                <a:gd name="connsiteX3" fmla="*/ 133666 w 2506029"/>
                <a:gd name="connsiteY3" fmla="*/ 623376 h 1162858"/>
                <a:gd name="connsiteX4" fmla="*/ 0 w 2506029"/>
                <a:gd name="connsiteY4" fmla="*/ 0 h 1162858"/>
                <a:gd name="connsiteX0" fmla="*/ 0 w 2582492"/>
                <a:gd name="connsiteY0" fmla="*/ 0 h 1214508"/>
                <a:gd name="connsiteX1" fmla="*/ 2317947 w 2582492"/>
                <a:gd name="connsiteY1" fmla="*/ 648660 h 1214508"/>
                <a:gd name="connsiteX2" fmla="*/ 2582492 w 2582492"/>
                <a:gd name="connsiteY2" fmla="*/ 1214508 h 1214508"/>
                <a:gd name="connsiteX3" fmla="*/ 133666 w 2582492"/>
                <a:gd name="connsiteY3" fmla="*/ 623376 h 1214508"/>
                <a:gd name="connsiteX4" fmla="*/ 0 w 2582492"/>
                <a:gd name="connsiteY4" fmla="*/ 0 h 1214508"/>
                <a:gd name="connsiteX0" fmla="*/ 0 w 2582492"/>
                <a:gd name="connsiteY0" fmla="*/ 0 h 1214508"/>
                <a:gd name="connsiteX1" fmla="*/ 2404802 w 2582492"/>
                <a:gd name="connsiteY1" fmla="*/ 665947 h 1214508"/>
                <a:gd name="connsiteX2" fmla="*/ 2582492 w 2582492"/>
                <a:gd name="connsiteY2" fmla="*/ 1214508 h 1214508"/>
                <a:gd name="connsiteX3" fmla="*/ 133666 w 2582492"/>
                <a:gd name="connsiteY3" fmla="*/ 623376 h 1214508"/>
                <a:gd name="connsiteX4" fmla="*/ 0 w 2582492"/>
                <a:gd name="connsiteY4" fmla="*/ 0 h 1214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2492" h="1214508">
                  <a:moveTo>
                    <a:pt x="0" y="0"/>
                  </a:moveTo>
                  <a:lnTo>
                    <a:pt x="2404802" y="665947"/>
                  </a:lnTo>
                  <a:lnTo>
                    <a:pt x="2582492" y="1214508"/>
                  </a:lnTo>
                  <a:lnTo>
                    <a:pt x="133666" y="623376"/>
                  </a:lnTo>
                  <a:lnTo>
                    <a:pt x="0" y="0"/>
                  </a:lnTo>
                  <a:close/>
                </a:path>
              </a:pathLst>
            </a:custGeom>
            <a:gradFill>
              <a:gsLst>
                <a:gs pos="0">
                  <a:schemeClr val="accent2">
                    <a:lumMod val="75000"/>
                  </a:schemeClr>
                </a:gs>
                <a:gs pos="38000">
                  <a:schemeClr val="accent2"/>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p>
          </p:txBody>
        </p:sp>
        <p:sp>
          <p:nvSpPr>
            <p:cNvPr id="75" name="îṥḻïḍé">
              <a:extLst>
                <a:ext uri="{FF2B5EF4-FFF2-40B4-BE49-F238E27FC236}">
                  <a16:creationId xmlns:a16="http://schemas.microsoft.com/office/drawing/2014/main" id="{8472A313-FF3F-410F-A719-0A103B309A2E}"/>
                </a:ext>
              </a:extLst>
            </p:cNvPr>
            <p:cNvSpPr/>
            <p:nvPr/>
          </p:nvSpPr>
          <p:spPr>
            <a:xfrm rot="1275563">
              <a:off x="7653555" y="4951129"/>
              <a:ext cx="910089" cy="589255"/>
            </a:xfrm>
            <a:custGeom>
              <a:avLst/>
              <a:gdLst>
                <a:gd name="connsiteX0" fmla="*/ 0 w 858651"/>
                <a:gd name="connsiteY0" fmla="*/ 0 h 555951"/>
                <a:gd name="connsiteX1" fmla="*/ 723781 w 858651"/>
                <a:gd name="connsiteY1" fmla="*/ 180659 h 555951"/>
                <a:gd name="connsiteX2" fmla="*/ 858651 w 858651"/>
                <a:gd name="connsiteY2" fmla="*/ 555951 h 555951"/>
                <a:gd name="connsiteX3" fmla="*/ 156897 w 858651"/>
                <a:gd name="connsiteY3" fmla="*/ 403264 h 555951"/>
              </a:gdLst>
              <a:ahLst/>
              <a:cxnLst>
                <a:cxn ang="0">
                  <a:pos x="connsiteX0" y="connsiteY0"/>
                </a:cxn>
                <a:cxn ang="0">
                  <a:pos x="connsiteX1" y="connsiteY1"/>
                </a:cxn>
                <a:cxn ang="0">
                  <a:pos x="connsiteX2" y="connsiteY2"/>
                </a:cxn>
                <a:cxn ang="0">
                  <a:pos x="connsiteX3" y="connsiteY3"/>
                </a:cxn>
              </a:cxnLst>
              <a:rect l="l" t="t" r="r" b="b"/>
              <a:pathLst>
                <a:path w="858651" h="555951">
                  <a:moveTo>
                    <a:pt x="0" y="0"/>
                  </a:moveTo>
                  <a:lnTo>
                    <a:pt x="723781" y="180659"/>
                  </a:lnTo>
                  <a:lnTo>
                    <a:pt x="858651" y="555951"/>
                  </a:lnTo>
                  <a:lnTo>
                    <a:pt x="156897" y="403264"/>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p>
          </p:txBody>
        </p:sp>
        <p:grpSp>
          <p:nvGrpSpPr>
            <p:cNvPr id="76" name="ïSļîḋe">
              <a:extLst>
                <a:ext uri="{FF2B5EF4-FFF2-40B4-BE49-F238E27FC236}">
                  <a16:creationId xmlns:a16="http://schemas.microsoft.com/office/drawing/2014/main" id="{A8E46372-6ECC-41BC-8019-BAE1CC6750B7}"/>
                </a:ext>
              </a:extLst>
            </p:cNvPr>
            <p:cNvGrpSpPr/>
            <p:nvPr/>
          </p:nvGrpSpPr>
          <p:grpSpPr>
            <a:xfrm>
              <a:off x="4530735" y="3839597"/>
              <a:ext cx="2312118" cy="1087499"/>
              <a:chOff x="7064781" y="1349909"/>
              <a:chExt cx="2057954" cy="967954"/>
            </a:xfrm>
          </p:grpSpPr>
          <p:sp>
            <p:nvSpPr>
              <p:cNvPr id="91" name="iS1íďe">
                <a:extLst>
                  <a:ext uri="{FF2B5EF4-FFF2-40B4-BE49-F238E27FC236}">
                    <a16:creationId xmlns:a16="http://schemas.microsoft.com/office/drawing/2014/main" id="{6DB1630E-A6D6-4A58-920A-0B62BD4940C6}"/>
                  </a:ext>
                </a:extLst>
              </p:cNvPr>
              <p:cNvSpPr/>
              <p:nvPr/>
            </p:nvSpPr>
            <p:spPr bwMode="auto">
              <a:xfrm>
                <a:off x="7064781" y="1639093"/>
                <a:ext cx="2057954" cy="678770"/>
              </a:xfrm>
              <a:custGeom>
                <a:avLst/>
                <a:gdLst>
                  <a:gd name="T0" fmla="*/ 1446 w 1446"/>
                  <a:gd name="T1" fmla="*/ 0 h 475"/>
                  <a:gd name="T2" fmla="*/ 1446 w 1446"/>
                  <a:gd name="T3" fmla="*/ 273 h 475"/>
                  <a:gd name="T4" fmla="*/ 723 w 1446"/>
                  <a:gd name="T5" fmla="*/ 475 h 475"/>
                  <a:gd name="T6" fmla="*/ 0 w 1446"/>
                  <a:gd name="T7" fmla="*/ 273 h 475"/>
                  <a:gd name="T8" fmla="*/ 0 w 1446"/>
                  <a:gd name="T9" fmla="*/ 0 h 475"/>
                  <a:gd name="T10" fmla="*/ 723 w 1446"/>
                  <a:gd name="T11" fmla="*/ 84 h 475"/>
                  <a:gd name="T12" fmla="*/ 1446 w 1446"/>
                  <a:gd name="T13" fmla="*/ 0 h 475"/>
                </a:gdLst>
                <a:ahLst/>
                <a:cxnLst>
                  <a:cxn ang="0">
                    <a:pos x="T0" y="T1"/>
                  </a:cxn>
                  <a:cxn ang="0">
                    <a:pos x="T2" y="T3"/>
                  </a:cxn>
                  <a:cxn ang="0">
                    <a:pos x="T4" y="T5"/>
                  </a:cxn>
                  <a:cxn ang="0">
                    <a:pos x="T6" y="T7"/>
                  </a:cxn>
                  <a:cxn ang="0">
                    <a:pos x="T8" y="T9"/>
                  </a:cxn>
                  <a:cxn ang="0">
                    <a:pos x="T10" y="T11"/>
                  </a:cxn>
                  <a:cxn ang="0">
                    <a:pos x="T12" y="T13"/>
                  </a:cxn>
                </a:cxnLst>
                <a:rect l="0" t="0" r="r" b="b"/>
                <a:pathLst>
                  <a:path w="1446" h="475">
                    <a:moveTo>
                      <a:pt x="1446" y="0"/>
                    </a:moveTo>
                    <a:cubicBezTo>
                      <a:pt x="1446" y="273"/>
                      <a:pt x="1446" y="273"/>
                      <a:pt x="1446" y="273"/>
                    </a:cubicBezTo>
                    <a:cubicBezTo>
                      <a:pt x="1446" y="384"/>
                      <a:pt x="1122" y="475"/>
                      <a:pt x="723" y="475"/>
                    </a:cubicBezTo>
                    <a:cubicBezTo>
                      <a:pt x="324" y="475"/>
                      <a:pt x="0" y="384"/>
                      <a:pt x="0" y="273"/>
                    </a:cubicBezTo>
                    <a:cubicBezTo>
                      <a:pt x="0" y="0"/>
                      <a:pt x="0" y="0"/>
                      <a:pt x="0" y="0"/>
                    </a:cubicBezTo>
                    <a:cubicBezTo>
                      <a:pt x="0" y="0"/>
                      <a:pt x="440" y="84"/>
                      <a:pt x="723" y="84"/>
                    </a:cubicBezTo>
                    <a:cubicBezTo>
                      <a:pt x="967" y="84"/>
                      <a:pt x="1446" y="0"/>
                      <a:pt x="1446" y="0"/>
                    </a:cubicBezTo>
                  </a:path>
                </a:pathLst>
              </a:custGeom>
              <a:solidFill>
                <a:schemeClr val="accent2"/>
              </a:solidFill>
              <a:ln>
                <a:noFill/>
              </a:ln>
              <a:extLst>
                <a:ext uri="{91240B29-F687-4f45-9708-019B960494DF}">
                  <a14:hiddenLine xmlns="" xmlns:lc="http://schemas.openxmlformats.org/drawingml/2006/lockedCanvas" xmlns:a16="http://schemas.microsoft.com/office/drawing/2014/main" xmlns:a14="http://schemas.microsoft.com/office/drawing/2010/main" xmlns:p14="http://schemas.microsoft.com/office/powerpoint/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92" name="íṩļíďe">
                <a:extLst>
                  <a:ext uri="{FF2B5EF4-FFF2-40B4-BE49-F238E27FC236}">
                    <a16:creationId xmlns:a16="http://schemas.microsoft.com/office/drawing/2014/main" id="{6923C0EB-CCFA-427F-A1F8-C594BC5F058E}"/>
                  </a:ext>
                </a:extLst>
              </p:cNvPr>
              <p:cNvSpPr/>
              <p:nvPr/>
            </p:nvSpPr>
            <p:spPr bwMode="auto">
              <a:xfrm>
                <a:off x="7064781" y="1349909"/>
                <a:ext cx="2057954" cy="578367"/>
              </a:xfrm>
              <a:prstGeom prst="ellipse">
                <a:avLst/>
              </a:prstGeom>
              <a:solidFill>
                <a:schemeClr val="accent2">
                  <a:lumMod val="60000"/>
                  <a:lumOff val="40000"/>
                </a:schemeClr>
              </a:solidFill>
              <a:ln>
                <a:noFill/>
              </a:ln>
              <a:extLst>
                <a:ext uri="{91240B29-F687-4f45-9708-019B960494DF}">
                  <a14:hiddenLine xmlns="" xmlns:lc="http://schemas.openxmlformats.org/drawingml/2006/lockedCanvas" xmlns:a16="http://schemas.microsoft.com/office/drawing/2014/main"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anchor="ctr" anchorCtr="0" compatLnSpc="1">
                <a:prstTxWarp prst="textNoShape">
                  <a:avLst/>
                </a:prstTxWarp>
                <a:normAutofit fontScale="92500"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id-ID" sz="2800" b="1" dirty="0">
                    <a:solidFill>
                      <a:schemeClr val="bg1"/>
                    </a:solidFill>
                  </a:rPr>
                  <a:t>2</a:t>
                </a:r>
              </a:p>
            </p:txBody>
          </p:sp>
        </p:grpSp>
        <p:sp>
          <p:nvSpPr>
            <p:cNvPr id="77" name="îṩľíḑè">
              <a:extLst>
                <a:ext uri="{FF2B5EF4-FFF2-40B4-BE49-F238E27FC236}">
                  <a16:creationId xmlns:a16="http://schemas.microsoft.com/office/drawing/2014/main" id="{2CE8B05B-FC2C-40CD-8F21-8D89623BD4DB}"/>
                </a:ext>
              </a:extLst>
            </p:cNvPr>
            <p:cNvSpPr/>
            <p:nvPr/>
          </p:nvSpPr>
          <p:spPr>
            <a:xfrm rot="1275563">
              <a:off x="2804708" y="3517612"/>
              <a:ext cx="2077587" cy="880668"/>
            </a:xfrm>
            <a:custGeom>
              <a:avLst/>
              <a:gdLst>
                <a:gd name="connsiteX0" fmla="*/ 0 w 2768484"/>
                <a:gd name="connsiteY0" fmla="*/ 0 h 542513"/>
                <a:gd name="connsiteX1" fmla="*/ 2768484 w 2768484"/>
                <a:gd name="connsiteY1" fmla="*/ 0 h 542513"/>
                <a:gd name="connsiteX2" fmla="*/ 2768484 w 2768484"/>
                <a:gd name="connsiteY2" fmla="*/ 542513 h 542513"/>
                <a:gd name="connsiteX3" fmla="*/ 0 w 2768484"/>
                <a:gd name="connsiteY3" fmla="*/ 542513 h 542513"/>
                <a:gd name="connsiteX4" fmla="*/ 0 w 2768484"/>
                <a:gd name="connsiteY4" fmla="*/ 0 h 542513"/>
                <a:gd name="connsiteX0" fmla="*/ 0 w 2768484"/>
                <a:gd name="connsiteY0" fmla="*/ 0 h 795602"/>
                <a:gd name="connsiteX1" fmla="*/ 2768484 w 2768484"/>
                <a:gd name="connsiteY1" fmla="*/ 0 h 795602"/>
                <a:gd name="connsiteX2" fmla="*/ 2223060 w 2768484"/>
                <a:gd name="connsiteY2" fmla="*/ 795602 h 795602"/>
                <a:gd name="connsiteX3" fmla="*/ 0 w 2768484"/>
                <a:gd name="connsiteY3" fmla="*/ 542513 h 795602"/>
                <a:gd name="connsiteX4" fmla="*/ 0 w 2768484"/>
                <a:gd name="connsiteY4" fmla="*/ 0 h 795602"/>
                <a:gd name="connsiteX0" fmla="*/ 0 w 2223060"/>
                <a:gd name="connsiteY0" fmla="*/ 0 h 795602"/>
                <a:gd name="connsiteX1" fmla="*/ 1959724 w 2223060"/>
                <a:gd name="connsiteY1" fmla="*/ 416867 h 795602"/>
                <a:gd name="connsiteX2" fmla="*/ 2223060 w 2223060"/>
                <a:gd name="connsiteY2" fmla="*/ 795602 h 795602"/>
                <a:gd name="connsiteX3" fmla="*/ 0 w 2223060"/>
                <a:gd name="connsiteY3" fmla="*/ 542513 h 795602"/>
                <a:gd name="connsiteX4" fmla="*/ 0 w 2223060"/>
                <a:gd name="connsiteY4" fmla="*/ 0 h 795602"/>
                <a:gd name="connsiteX0" fmla="*/ 0 w 2223060"/>
                <a:gd name="connsiteY0" fmla="*/ 0 h 795602"/>
                <a:gd name="connsiteX1" fmla="*/ 2083514 w 2223060"/>
                <a:gd name="connsiteY1" fmla="*/ 419807 h 795602"/>
                <a:gd name="connsiteX2" fmla="*/ 2223060 w 2223060"/>
                <a:gd name="connsiteY2" fmla="*/ 795602 h 795602"/>
                <a:gd name="connsiteX3" fmla="*/ 0 w 2223060"/>
                <a:gd name="connsiteY3" fmla="*/ 542513 h 795602"/>
                <a:gd name="connsiteX4" fmla="*/ 0 w 2223060"/>
                <a:gd name="connsiteY4" fmla="*/ 0 h 795602"/>
                <a:gd name="connsiteX0" fmla="*/ 355586 w 2223060"/>
                <a:gd name="connsiteY0" fmla="*/ 0 h 801082"/>
                <a:gd name="connsiteX1" fmla="*/ 2083514 w 2223060"/>
                <a:gd name="connsiteY1" fmla="*/ 425287 h 801082"/>
                <a:gd name="connsiteX2" fmla="*/ 2223060 w 2223060"/>
                <a:gd name="connsiteY2" fmla="*/ 801082 h 801082"/>
                <a:gd name="connsiteX3" fmla="*/ 0 w 2223060"/>
                <a:gd name="connsiteY3" fmla="*/ 547993 h 801082"/>
                <a:gd name="connsiteX4" fmla="*/ 355586 w 2223060"/>
                <a:gd name="connsiteY4" fmla="*/ 0 h 801082"/>
                <a:gd name="connsiteX0" fmla="*/ 0 w 1867474"/>
                <a:gd name="connsiteY0" fmla="*/ 0 h 801082"/>
                <a:gd name="connsiteX1" fmla="*/ 1727928 w 1867474"/>
                <a:gd name="connsiteY1" fmla="*/ 425287 h 801082"/>
                <a:gd name="connsiteX2" fmla="*/ 1867474 w 1867474"/>
                <a:gd name="connsiteY2" fmla="*/ 801082 h 801082"/>
                <a:gd name="connsiteX3" fmla="*/ 133666 w 1867474"/>
                <a:gd name="connsiteY3" fmla="*/ 623376 h 801082"/>
                <a:gd name="connsiteX4" fmla="*/ 0 w 1867474"/>
                <a:gd name="connsiteY4" fmla="*/ 0 h 801082"/>
                <a:gd name="connsiteX0" fmla="*/ 0 w 2317947"/>
                <a:gd name="connsiteY0" fmla="*/ 0 h 801082"/>
                <a:gd name="connsiteX1" fmla="*/ 2317947 w 2317947"/>
                <a:gd name="connsiteY1" fmla="*/ 648660 h 801082"/>
                <a:gd name="connsiteX2" fmla="*/ 1867474 w 2317947"/>
                <a:gd name="connsiteY2" fmla="*/ 801082 h 801082"/>
                <a:gd name="connsiteX3" fmla="*/ 133666 w 2317947"/>
                <a:gd name="connsiteY3" fmla="*/ 623376 h 801082"/>
                <a:gd name="connsiteX4" fmla="*/ 0 w 2317947"/>
                <a:gd name="connsiteY4" fmla="*/ 0 h 801082"/>
                <a:gd name="connsiteX0" fmla="*/ 0 w 2506029"/>
                <a:gd name="connsiteY0" fmla="*/ 0 h 1162858"/>
                <a:gd name="connsiteX1" fmla="*/ 2317947 w 2506029"/>
                <a:gd name="connsiteY1" fmla="*/ 648660 h 1162858"/>
                <a:gd name="connsiteX2" fmla="*/ 2506029 w 2506029"/>
                <a:gd name="connsiteY2" fmla="*/ 1162858 h 1162858"/>
                <a:gd name="connsiteX3" fmla="*/ 133666 w 2506029"/>
                <a:gd name="connsiteY3" fmla="*/ 623376 h 1162858"/>
                <a:gd name="connsiteX4" fmla="*/ 0 w 2506029"/>
                <a:gd name="connsiteY4" fmla="*/ 0 h 1162858"/>
                <a:gd name="connsiteX0" fmla="*/ 0 w 2582492"/>
                <a:gd name="connsiteY0" fmla="*/ 0 h 1214508"/>
                <a:gd name="connsiteX1" fmla="*/ 2317947 w 2582492"/>
                <a:gd name="connsiteY1" fmla="*/ 648660 h 1214508"/>
                <a:gd name="connsiteX2" fmla="*/ 2582492 w 2582492"/>
                <a:gd name="connsiteY2" fmla="*/ 1214508 h 1214508"/>
                <a:gd name="connsiteX3" fmla="*/ 133666 w 2582492"/>
                <a:gd name="connsiteY3" fmla="*/ 623376 h 1214508"/>
                <a:gd name="connsiteX4" fmla="*/ 0 w 2582492"/>
                <a:gd name="connsiteY4" fmla="*/ 0 h 1214508"/>
                <a:gd name="connsiteX0" fmla="*/ 0 w 2582492"/>
                <a:gd name="connsiteY0" fmla="*/ 0 h 1214508"/>
                <a:gd name="connsiteX1" fmla="*/ 2404802 w 2582492"/>
                <a:gd name="connsiteY1" fmla="*/ 665947 h 1214508"/>
                <a:gd name="connsiteX2" fmla="*/ 2582492 w 2582492"/>
                <a:gd name="connsiteY2" fmla="*/ 1214508 h 1214508"/>
                <a:gd name="connsiteX3" fmla="*/ 133666 w 2582492"/>
                <a:gd name="connsiteY3" fmla="*/ 623376 h 1214508"/>
                <a:gd name="connsiteX4" fmla="*/ 0 w 2582492"/>
                <a:gd name="connsiteY4" fmla="*/ 0 h 1214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2492" h="1214508">
                  <a:moveTo>
                    <a:pt x="0" y="0"/>
                  </a:moveTo>
                  <a:lnTo>
                    <a:pt x="2404802" y="665947"/>
                  </a:lnTo>
                  <a:lnTo>
                    <a:pt x="2582492" y="1214508"/>
                  </a:lnTo>
                  <a:lnTo>
                    <a:pt x="133666" y="623376"/>
                  </a:lnTo>
                  <a:lnTo>
                    <a:pt x="0" y="0"/>
                  </a:lnTo>
                  <a:close/>
                </a:path>
              </a:pathLst>
            </a:custGeom>
            <a:gradFill>
              <a:gsLst>
                <a:gs pos="0">
                  <a:schemeClr val="accent1">
                    <a:lumMod val="75000"/>
                  </a:schemeClr>
                </a:gs>
                <a:gs pos="38000">
                  <a:schemeClr val="accent1"/>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p>
          </p:txBody>
        </p:sp>
        <p:grpSp>
          <p:nvGrpSpPr>
            <p:cNvPr id="78" name="îšḻïde">
              <a:extLst>
                <a:ext uri="{FF2B5EF4-FFF2-40B4-BE49-F238E27FC236}">
                  <a16:creationId xmlns:a16="http://schemas.microsoft.com/office/drawing/2014/main" id="{74C90B77-AC87-4D58-9E1E-D24B05908BF9}"/>
                </a:ext>
              </a:extLst>
            </p:cNvPr>
            <p:cNvGrpSpPr/>
            <p:nvPr/>
          </p:nvGrpSpPr>
          <p:grpSpPr>
            <a:xfrm>
              <a:off x="798194" y="2902653"/>
              <a:ext cx="2312118" cy="1087499"/>
              <a:chOff x="7064781" y="1349909"/>
              <a:chExt cx="2057954" cy="967954"/>
            </a:xfrm>
          </p:grpSpPr>
          <p:sp>
            <p:nvSpPr>
              <p:cNvPr id="89" name="îSḷíḑé">
                <a:extLst>
                  <a:ext uri="{FF2B5EF4-FFF2-40B4-BE49-F238E27FC236}">
                    <a16:creationId xmlns:a16="http://schemas.microsoft.com/office/drawing/2014/main" id="{EFC6E17D-020F-4082-9AE7-9B0F019AA9B6}"/>
                  </a:ext>
                </a:extLst>
              </p:cNvPr>
              <p:cNvSpPr/>
              <p:nvPr/>
            </p:nvSpPr>
            <p:spPr bwMode="auto">
              <a:xfrm>
                <a:off x="7064781" y="1639093"/>
                <a:ext cx="2057954" cy="678770"/>
              </a:xfrm>
              <a:custGeom>
                <a:avLst/>
                <a:gdLst>
                  <a:gd name="T0" fmla="*/ 1446 w 1446"/>
                  <a:gd name="T1" fmla="*/ 0 h 475"/>
                  <a:gd name="T2" fmla="*/ 1446 w 1446"/>
                  <a:gd name="T3" fmla="*/ 273 h 475"/>
                  <a:gd name="T4" fmla="*/ 723 w 1446"/>
                  <a:gd name="T5" fmla="*/ 475 h 475"/>
                  <a:gd name="T6" fmla="*/ 0 w 1446"/>
                  <a:gd name="T7" fmla="*/ 273 h 475"/>
                  <a:gd name="T8" fmla="*/ 0 w 1446"/>
                  <a:gd name="T9" fmla="*/ 0 h 475"/>
                  <a:gd name="T10" fmla="*/ 723 w 1446"/>
                  <a:gd name="T11" fmla="*/ 84 h 475"/>
                  <a:gd name="T12" fmla="*/ 1446 w 1446"/>
                  <a:gd name="T13" fmla="*/ 0 h 475"/>
                </a:gdLst>
                <a:ahLst/>
                <a:cxnLst>
                  <a:cxn ang="0">
                    <a:pos x="T0" y="T1"/>
                  </a:cxn>
                  <a:cxn ang="0">
                    <a:pos x="T2" y="T3"/>
                  </a:cxn>
                  <a:cxn ang="0">
                    <a:pos x="T4" y="T5"/>
                  </a:cxn>
                  <a:cxn ang="0">
                    <a:pos x="T6" y="T7"/>
                  </a:cxn>
                  <a:cxn ang="0">
                    <a:pos x="T8" y="T9"/>
                  </a:cxn>
                  <a:cxn ang="0">
                    <a:pos x="T10" y="T11"/>
                  </a:cxn>
                  <a:cxn ang="0">
                    <a:pos x="T12" y="T13"/>
                  </a:cxn>
                </a:cxnLst>
                <a:rect l="0" t="0" r="r" b="b"/>
                <a:pathLst>
                  <a:path w="1446" h="475">
                    <a:moveTo>
                      <a:pt x="1446" y="0"/>
                    </a:moveTo>
                    <a:cubicBezTo>
                      <a:pt x="1446" y="273"/>
                      <a:pt x="1446" y="273"/>
                      <a:pt x="1446" y="273"/>
                    </a:cubicBezTo>
                    <a:cubicBezTo>
                      <a:pt x="1446" y="384"/>
                      <a:pt x="1122" y="475"/>
                      <a:pt x="723" y="475"/>
                    </a:cubicBezTo>
                    <a:cubicBezTo>
                      <a:pt x="324" y="475"/>
                      <a:pt x="0" y="384"/>
                      <a:pt x="0" y="273"/>
                    </a:cubicBezTo>
                    <a:cubicBezTo>
                      <a:pt x="0" y="0"/>
                      <a:pt x="0" y="0"/>
                      <a:pt x="0" y="0"/>
                    </a:cubicBezTo>
                    <a:cubicBezTo>
                      <a:pt x="0" y="0"/>
                      <a:pt x="440" y="84"/>
                      <a:pt x="723" y="84"/>
                    </a:cubicBezTo>
                    <a:cubicBezTo>
                      <a:pt x="967" y="84"/>
                      <a:pt x="1446" y="0"/>
                      <a:pt x="1446" y="0"/>
                    </a:cubicBezTo>
                  </a:path>
                </a:pathLst>
              </a:custGeom>
              <a:solidFill>
                <a:schemeClr val="accent1"/>
              </a:solidFill>
              <a:ln>
                <a:noFill/>
              </a:ln>
              <a:extLst>
                <a:ext uri="{91240B29-F687-4f45-9708-019B960494DF}">
                  <a14:hiddenLine xmlns="" xmlns:lc="http://schemas.openxmlformats.org/drawingml/2006/lockedCanvas" xmlns:a16="http://schemas.microsoft.com/office/drawing/2014/main" xmlns:a14="http://schemas.microsoft.com/office/drawing/2010/main" xmlns:p14="http://schemas.microsoft.com/office/powerpoint/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90" name="ïṧ1îḓè">
                <a:extLst>
                  <a:ext uri="{FF2B5EF4-FFF2-40B4-BE49-F238E27FC236}">
                    <a16:creationId xmlns:a16="http://schemas.microsoft.com/office/drawing/2014/main" id="{DF6F0E41-0114-4608-A007-3DFFD5CC6E85}"/>
                  </a:ext>
                </a:extLst>
              </p:cNvPr>
              <p:cNvSpPr/>
              <p:nvPr/>
            </p:nvSpPr>
            <p:spPr bwMode="auto">
              <a:xfrm>
                <a:off x="7064781" y="1349909"/>
                <a:ext cx="2057954" cy="578367"/>
              </a:xfrm>
              <a:prstGeom prst="ellipse">
                <a:avLst/>
              </a:prstGeom>
              <a:solidFill>
                <a:schemeClr val="accent1">
                  <a:lumMod val="60000"/>
                  <a:lumOff val="40000"/>
                </a:schemeClr>
              </a:solidFill>
              <a:ln>
                <a:noFill/>
              </a:ln>
              <a:extLst>
                <a:ext uri="{91240B29-F687-4f45-9708-019B960494DF}">
                  <a14:hiddenLine xmlns="" xmlns:lc="http://schemas.openxmlformats.org/drawingml/2006/lockedCanvas" xmlns:a16="http://schemas.microsoft.com/office/drawing/2014/main"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anchor="ctr" anchorCtr="0" compatLnSpc="1">
                <a:prstTxWarp prst="textNoShape">
                  <a:avLst/>
                </a:prstTxWarp>
                <a:normAutofit fontScale="92500"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id-ID" sz="2800" b="1" dirty="0">
                    <a:solidFill>
                      <a:schemeClr val="bg1"/>
                    </a:solidFill>
                  </a:rPr>
                  <a:t>1</a:t>
                </a:r>
              </a:p>
            </p:txBody>
          </p:sp>
        </p:grpSp>
        <p:sp>
          <p:nvSpPr>
            <p:cNvPr id="79" name="ïṣļïḍé">
              <a:extLst>
                <a:ext uri="{FF2B5EF4-FFF2-40B4-BE49-F238E27FC236}">
                  <a16:creationId xmlns:a16="http://schemas.microsoft.com/office/drawing/2014/main" id="{4BF188FA-58A4-4BD1-950C-E27A5A3657B5}"/>
                </a:ext>
              </a:extLst>
            </p:cNvPr>
            <p:cNvSpPr/>
            <p:nvPr/>
          </p:nvSpPr>
          <p:spPr>
            <a:xfrm rot="1275563">
              <a:off x="3881031" y="4011322"/>
              <a:ext cx="910089" cy="589255"/>
            </a:xfrm>
            <a:custGeom>
              <a:avLst/>
              <a:gdLst>
                <a:gd name="connsiteX0" fmla="*/ 0 w 858651"/>
                <a:gd name="connsiteY0" fmla="*/ 0 h 555951"/>
                <a:gd name="connsiteX1" fmla="*/ 723781 w 858651"/>
                <a:gd name="connsiteY1" fmla="*/ 180659 h 555951"/>
                <a:gd name="connsiteX2" fmla="*/ 858651 w 858651"/>
                <a:gd name="connsiteY2" fmla="*/ 555951 h 555951"/>
                <a:gd name="connsiteX3" fmla="*/ 156897 w 858651"/>
                <a:gd name="connsiteY3" fmla="*/ 403264 h 555951"/>
              </a:gdLst>
              <a:ahLst/>
              <a:cxnLst>
                <a:cxn ang="0">
                  <a:pos x="connsiteX0" y="connsiteY0"/>
                </a:cxn>
                <a:cxn ang="0">
                  <a:pos x="connsiteX1" y="connsiteY1"/>
                </a:cxn>
                <a:cxn ang="0">
                  <a:pos x="connsiteX2" y="connsiteY2"/>
                </a:cxn>
                <a:cxn ang="0">
                  <a:pos x="connsiteX3" y="connsiteY3"/>
                </a:cxn>
              </a:cxnLst>
              <a:rect l="l" t="t" r="r" b="b"/>
              <a:pathLst>
                <a:path w="858651" h="555951">
                  <a:moveTo>
                    <a:pt x="0" y="0"/>
                  </a:moveTo>
                  <a:lnTo>
                    <a:pt x="723781" y="180659"/>
                  </a:lnTo>
                  <a:lnTo>
                    <a:pt x="858651" y="555951"/>
                  </a:lnTo>
                  <a:lnTo>
                    <a:pt x="156897" y="403264"/>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p>
          </p:txBody>
        </p:sp>
        <p:sp>
          <p:nvSpPr>
            <p:cNvPr id="80" name="ïṡḷïḋé">
              <a:extLst>
                <a:ext uri="{FF2B5EF4-FFF2-40B4-BE49-F238E27FC236}">
                  <a16:creationId xmlns:a16="http://schemas.microsoft.com/office/drawing/2014/main" id="{B9D82E8B-866F-4462-BE16-B74C9A7DB2A8}"/>
                </a:ext>
              </a:extLst>
            </p:cNvPr>
            <p:cNvSpPr txBox="1"/>
            <p:nvPr/>
          </p:nvSpPr>
          <p:spPr>
            <a:xfrm>
              <a:off x="1921450" y="1536624"/>
              <a:ext cx="1381043" cy="399958"/>
            </a:xfrm>
            <a:prstGeom prst="rect">
              <a:avLst/>
            </a:prstGeom>
            <a:solidFill>
              <a:srgbClr val="4EC1FF"/>
            </a:solidFill>
          </p:spPr>
          <p:txBody>
            <a:bodyPr wrap="square" lIns="91440" tIns="45720" rIns="91440" bIns="4572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914400">
                <a:defRPr/>
              </a:pPr>
              <a:r>
                <a:rPr lang="zh-CN" altLang="en-US" sz="2000" b="1" kern="0" dirty="0" smtClean="0">
                  <a:solidFill>
                    <a:prstClr val="white"/>
                  </a:solidFill>
                </a:rPr>
                <a:t>抽象工厂</a:t>
              </a:r>
              <a:endParaRPr lang="en-US" altLang="zh-CN" sz="2000" b="1" kern="0" dirty="0" smtClean="0">
                <a:solidFill>
                  <a:prstClr val="white"/>
                </a:solidFill>
              </a:endParaRPr>
            </a:p>
          </p:txBody>
        </p:sp>
        <p:sp>
          <p:nvSpPr>
            <p:cNvPr id="81" name="í$ḷîďé">
              <a:extLst>
                <a:ext uri="{FF2B5EF4-FFF2-40B4-BE49-F238E27FC236}">
                  <a16:creationId xmlns:a16="http://schemas.microsoft.com/office/drawing/2014/main" id="{FD3337BB-B0B6-4241-931D-C1BD0CEBBCF7}"/>
                </a:ext>
              </a:extLst>
            </p:cNvPr>
            <p:cNvSpPr txBox="1"/>
            <p:nvPr/>
          </p:nvSpPr>
          <p:spPr>
            <a:xfrm>
              <a:off x="5558554" y="2355687"/>
              <a:ext cx="1381043" cy="399958"/>
            </a:xfrm>
            <a:prstGeom prst="rect">
              <a:avLst/>
            </a:prstGeom>
            <a:solidFill>
              <a:srgbClr val="A4ACB3"/>
            </a:solidFill>
          </p:spPr>
          <p:txBody>
            <a:bodyPr wrap="square" lIns="91440" tIns="45720" rIns="91440" bIns="4572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914400">
                <a:defRPr/>
              </a:pPr>
              <a:r>
                <a:rPr lang="zh-CN" altLang="en-US" sz="2000" b="1" kern="0" dirty="0" smtClean="0">
                  <a:solidFill>
                    <a:prstClr val="white"/>
                  </a:solidFill>
                </a:rPr>
                <a:t>工厂方法</a:t>
              </a:r>
              <a:endParaRPr lang="zh-CN" altLang="en-US" sz="2000" b="1" kern="0" dirty="0">
                <a:solidFill>
                  <a:prstClr val="white"/>
                </a:solidFill>
              </a:endParaRPr>
            </a:p>
          </p:txBody>
        </p:sp>
        <p:sp>
          <p:nvSpPr>
            <p:cNvPr id="82" name="íśḻîdè">
              <a:extLst>
                <a:ext uri="{FF2B5EF4-FFF2-40B4-BE49-F238E27FC236}">
                  <a16:creationId xmlns:a16="http://schemas.microsoft.com/office/drawing/2014/main" id="{D2DB60E3-7251-4D71-B9F3-3D8B147756BC}"/>
                </a:ext>
              </a:extLst>
            </p:cNvPr>
            <p:cNvSpPr txBox="1"/>
            <p:nvPr/>
          </p:nvSpPr>
          <p:spPr>
            <a:xfrm>
              <a:off x="9309499" y="3552451"/>
              <a:ext cx="1381043" cy="399958"/>
            </a:xfrm>
            <a:prstGeom prst="rect">
              <a:avLst/>
            </a:prstGeom>
            <a:solidFill>
              <a:srgbClr val="676A8A"/>
            </a:solidFill>
          </p:spPr>
          <p:txBody>
            <a:bodyPr wrap="square" lIns="91440" tIns="45720" rIns="91440" bIns="4572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914400">
                <a:defRPr/>
              </a:pPr>
              <a:r>
                <a:rPr lang="zh-CN" altLang="en-US" sz="2000" b="1" kern="0" dirty="0" smtClean="0">
                  <a:solidFill>
                    <a:prstClr val="white"/>
                  </a:solidFill>
                </a:rPr>
                <a:t>简单工厂</a:t>
              </a:r>
              <a:endParaRPr lang="zh-CN" altLang="en-US" sz="2000" b="1" kern="0" dirty="0">
                <a:solidFill>
                  <a:prstClr val="white"/>
                </a:solidFill>
              </a:endParaRPr>
            </a:p>
          </p:txBody>
        </p:sp>
        <p:sp>
          <p:nvSpPr>
            <p:cNvPr id="83" name="išľíḑe">
              <a:extLst>
                <a:ext uri="{FF2B5EF4-FFF2-40B4-BE49-F238E27FC236}">
                  <a16:creationId xmlns:a16="http://schemas.microsoft.com/office/drawing/2014/main" id="{AB1266D4-6851-46A1-A23C-BCBB83E726B2}"/>
                </a:ext>
              </a:extLst>
            </p:cNvPr>
            <p:cNvSpPr/>
            <p:nvPr/>
          </p:nvSpPr>
          <p:spPr>
            <a:xfrm>
              <a:off x="1178033" y="1860387"/>
              <a:ext cx="528863" cy="560291"/>
            </a:xfrm>
            <a:custGeom>
              <a:avLst/>
              <a:gdLst>
                <a:gd name="connsiteX0" fmla="*/ 66188 w 573750"/>
                <a:gd name="connsiteY0" fmla="*/ 328212 h 607845"/>
                <a:gd name="connsiteX1" fmla="*/ 31117 w 573750"/>
                <a:gd name="connsiteY1" fmla="*/ 363222 h 607845"/>
                <a:gd name="connsiteX2" fmla="*/ 66188 w 573750"/>
                <a:gd name="connsiteY2" fmla="*/ 398232 h 607845"/>
                <a:gd name="connsiteX3" fmla="*/ 101185 w 573750"/>
                <a:gd name="connsiteY3" fmla="*/ 363222 h 607845"/>
                <a:gd name="connsiteX4" fmla="*/ 66188 w 573750"/>
                <a:gd name="connsiteY4" fmla="*/ 328212 h 607845"/>
                <a:gd name="connsiteX5" fmla="*/ 0 w 573750"/>
                <a:gd name="connsiteY5" fmla="*/ 303779 h 607845"/>
                <a:gd name="connsiteX6" fmla="*/ 132451 w 573750"/>
                <a:gd name="connsiteY6" fmla="*/ 303779 h 607845"/>
                <a:gd name="connsiteX7" fmla="*/ 132451 w 573750"/>
                <a:gd name="connsiteY7" fmla="*/ 607845 h 607845"/>
                <a:gd name="connsiteX8" fmla="*/ 0 w 573750"/>
                <a:gd name="connsiteY8" fmla="*/ 607845 h 607845"/>
                <a:gd name="connsiteX9" fmla="*/ 364852 w 573750"/>
                <a:gd name="connsiteY9" fmla="*/ 583 h 607845"/>
                <a:gd name="connsiteX10" fmla="*/ 386354 w 573750"/>
                <a:gd name="connsiteY10" fmla="*/ 11635 h 607845"/>
                <a:gd name="connsiteX11" fmla="*/ 395753 w 573750"/>
                <a:gd name="connsiteY11" fmla="*/ 168802 h 607845"/>
                <a:gd name="connsiteX12" fmla="*/ 370390 w 573750"/>
                <a:gd name="connsiteY12" fmla="*/ 227945 h 607845"/>
                <a:gd name="connsiteX13" fmla="*/ 468483 w 573750"/>
                <a:gd name="connsiteY13" fmla="*/ 236437 h 607845"/>
                <a:gd name="connsiteX14" fmla="*/ 567545 w 573750"/>
                <a:gd name="connsiteY14" fmla="*/ 315021 h 607845"/>
                <a:gd name="connsiteX15" fmla="*/ 567545 w 573750"/>
                <a:gd name="connsiteY15" fmla="*/ 354276 h 607845"/>
                <a:gd name="connsiteX16" fmla="*/ 560384 w 573750"/>
                <a:gd name="connsiteY16" fmla="*/ 393605 h 607845"/>
                <a:gd name="connsiteX17" fmla="*/ 554566 w 573750"/>
                <a:gd name="connsiteY17" fmla="*/ 425858 h 607845"/>
                <a:gd name="connsiteX18" fmla="*/ 535096 w 573750"/>
                <a:gd name="connsiteY18" fmla="*/ 488055 h 607845"/>
                <a:gd name="connsiteX19" fmla="*/ 526965 w 573750"/>
                <a:gd name="connsiteY19" fmla="*/ 514870 h 607845"/>
                <a:gd name="connsiteX20" fmla="*/ 505780 w 573750"/>
                <a:gd name="connsiteY20" fmla="*/ 560456 h 607845"/>
                <a:gd name="connsiteX21" fmla="*/ 375761 w 573750"/>
                <a:gd name="connsiteY21" fmla="*/ 581685 h 607845"/>
                <a:gd name="connsiteX22" fmla="*/ 251187 w 573750"/>
                <a:gd name="connsiteY22" fmla="*/ 563808 h 607845"/>
                <a:gd name="connsiteX23" fmla="*/ 158913 w 573750"/>
                <a:gd name="connsiteY23" fmla="*/ 551145 h 607845"/>
                <a:gd name="connsiteX24" fmla="*/ 158913 w 573750"/>
                <a:gd name="connsiteY24" fmla="*/ 321427 h 607845"/>
                <a:gd name="connsiteX25" fmla="*/ 216873 w 573750"/>
                <a:gd name="connsiteY25" fmla="*/ 254314 h 607845"/>
                <a:gd name="connsiteX26" fmla="*/ 311609 w 573750"/>
                <a:gd name="connsiteY26" fmla="*/ 120535 h 607845"/>
                <a:gd name="connsiteX27" fmla="*/ 338538 w 573750"/>
                <a:gd name="connsiteY27" fmla="*/ 27575 h 607845"/>
                <a:gd name="connsiteX28" fmla="*/ 364852 w 573750"/>
                <a:gd name="connsiteY28" fmla="*/ 583 h 607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73750" h="607845">
                  <a:moveTo>
                    <a:pt x="66188" y="328212"/>
                  </a:moveTo>
                  <a:cubicBezTo>
                    <a:pt x="46862" y="328212"/>
                    <a:pt x="31117" y="343929"/>
                    <a:pt x="31117" y="363222"/>
                  </a:cubicBezTo>
                  <a:cubicBezTo>
                    <a:pt x="31117" y="382514"/>
                    <a:pt x="46862" y="398232"/>
                    <a:pt x="66188" y="398232"/>
                  </a:cubicBezTo>
                  <a:cubicBezTo>
                    <a:pt x="85515" y="398232"/>
                    <a:pt x="101185" y="382514"/>
                    <a:pt x="101185" y="363222"/>
                  </a:cubicBezTo>
                  <a:cubicBezTo>
                    <a:pt x="101185" y="343929"/>
                    <a:pt x="85515" y="328212"/>
                    <a:pt x="66188" y="328212"/>
                  </a:cubicBezTo>
                  <a:close/>
                  <a:moveTo>
                    <a:pt x="0" y="303779"/>
                  </a:moveTo>
                  <a:lnTo>
                    <a:pt x="132451" y="303779"/>
                  </a:lnTo>
                  <a:lnTo>
                    <a:pt x="132451" y="607845"/>
                  </a:lnTo>
                  <a:lnTo>
                    <a:pt x="0" y="607845"/>
                  </a:lnTo>
                  <a:close/>
                  <a:moveTo>
                    <a:pt x="364852" y="583"/>
                  </a:moveTo>
                  <a:cubicBezTo>
                    <a:pt x="376004" y="2939"/>
                    <a:pt x="386354" y="11635"/>
                    <a:pt x="386354" y="11635"/>
                  </a:cubicBezTo>
                  <a:cubicBezTo>
                    <a:pt x="467513" y="89250"/>
                    <a:pt x="395753" y="168802"/>
                    <a:pt x="395753" y="168802"/>
                  </a:cubicBezTo>
                  <a:cubicBezTo>
                    <a:pt x="363378" y="207610"/>
                    <a:pt x="370390" y="227945"/>
                    <a:pt x="370390" y="227945"/>
                  </a:cubicBezTo>
                  <a:cubicBezTo>
                    <a:pt x="380535" y="254835"/>
                    <a:pt x="468483" y="236437"/>
                    <a:pt x="468483" y="236437"/>
                  </a:cubicBezTo>
                  <a:cubicBezTo>
                    <a:pt x="610885" y="210366"/>
                    <a:pt x="567545" y="315021"/>
                    <a:pt x="567545" y="315021"/>
                  </a:cubicBezTo>
                  <a:cubicBezTo>
                    <a:pt x="557027" y="335728"/>
                    <a:pt x="567545" y="354276"/>
                    <a:pt x="567545" y="354276"/>
                  </a:cubicBezTo>
                  <a:cubicBezTo>
                    <a:pt x="583359" y="375877"/>
                    <a:pt x="560384" y="393605"/>
                    <a:pt x="560384" y="393605"/>
                  </a:cubicBezTo>
                  <a:cubicBezTo>
                    <a:pt x="544794" y="408502"/>
                    <a:pt x="554566" y="425858"/>
                    <a:pt x="554566" y="425858"/>
                  </a:cubicBezTo>
                  <a:cubicBezTo>
                    <a:pt x="573140" y="463995"/>
                    <a:pt x="535096" y="488055"/>
                    <a:pt x="535096" y="488055"/>
                  </a:cubicBezTo>
                  <a:cubicBezTo>
                    <a:pt x="521968" y="497887"/>
                    <a:pt x="526965" y="514870"/>
                    <a:pt x="526965" y="514870"/>
                  </a:cubicBezTo>
                  <a:cubicBezTo>
                    <a:pt x="532411" y="540717"/>
                    <a:pt x="505780" y="560456"/>
                    <a:pt x="505780" y="560456"/>
                  </a:cubicBezTo>
                  <a:cubicBezTo>
                    <a:pt x="475420" y="583994"/>
                    <a:pt x="375761" y="581685"/>
                    <a:pt x="375761" y="581685"/>
                  </a:cubicBezTo>
                  <a:cubicBezTo>
                    <a:pt x="326677" y="581685"/>
                    <a:pt x="251187" y="563808"/>
                    <a:pt x="251187" y="563808"/>
                  </a:cubicBezTo>
                  <a:cubicBezTo>
                    <a:pt x="209936" y="549432"/>
                    <a:pt x="170997" y="550922"/>
                    <a:pt x="158913" y="551145"/>
                  </a:cubicBezTo>
                  <a:lnTo>
                    <a:pt x="158913" y="321427"/>
                  </a:lnTo>
                  <a:cubicBezTo>
                    <a:pt x="195166" y="320384"/>
                    <a:pt x="216873" y="254314"/>
                    <a:pt x="216873" y="254314"/>
                  </a:cubicBezTo>
                  <a:cubicBezTo>
                    <a:pt x="233135" y="196139"/>
                    <a:pt x="311609" y="120535"/>
                    <a:pt x="311609" y="120535"/>
                  </a:cubicBezTo>
                  <a:cubicBezTo>
                    <a:pt x="339508" y="81280"/>
                    <a:pt x="332048" y="78301"/>
                    <a:pt x="338538" y="27575"/>
                  </a:cubicBezTo>
                  <a:cubicBezTo>
                    <a:pt x="341745" y="2212"/>
                    <a:pt x="353700" y="-1773"/>
                    <a:pt x="364852" y="583"/>
                  </a:cubicBezTo>
                  <a:close/>
                </a:path>
              </a:pathLst>
            </a:custGeom>
            <a:solidFill>
              <a:srgbClr val="4EC1FF"/>
            </a:solidFill>
            <a:ln w="12700">
              <a:miter lim="400000"/>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84" name="ïṧḷíḑe">
              <a:extLst>
                <a:ext uri="{FF2B5EF4-FFF2-40B4-BE49-F238E27FC236}">
                  <a16:creationId xmlns:a16="http://schemas.microsoft.com/office/drawing/2014/main" id="{083A07AB-7F66-4448-9538-553E30F18A45}"/>
                </a:ext>
              </a:extLst>
            </p:cNvPr>
            <p:cNvSpPr/>
            <p:nvPr/>
          </p:nvSpPr>
          <p:spPr>
            <a:xfrm>
              <a:off x="8552075" y="3903542"/>
              <a:ext cx="487986" cy="487318"/>
            </a:xfrm>
            <a:custGeom>
              <a:avLst/>
              <a:gdLst>
                <a:gd name="T0" fmla="*/ 293 w 587"/>
                <a:gd name="T1" fmla="*/ 0 h 587"/>
                <a:gd name="T2" fmla="*/ 0 w 587"/>
                <a:gd name="T3" fmla="*/ 293 h 587"/>
                <a:gd name="T4" fmla="*/ 293 w 587"/>
                <a:gd name="T5" fmla="*/ 587 h 587"/>
                <a:gd name="T6" fmla="*/ 587 w 587"/>
                <a:gd name="T7" fmla="*/ 293 h 587"/>
                <a:gd name="T8" fmla="*/ 293 w 587"/>
                <a:gd name="T9" fmla="*/ 0 h 587"/>
                <a:gd name="T10" fmla="*/ 400 w 587"/>
                <a:gd name="T11" fmla="*/ 147 h 587"/>
                <a:gd name="T12" fmla="*/ 447 w 587"/>
                <a:gd name="T13" fmla="*/ 193 h 587"/>
                <a:gd name="T14" fmla="*/ 400 w 587"/>
                <a:gd name="T15" fmla="*/ 240 h 587"/>
                <a:gd name="T16" fmla="*/ 353 w 587"/>
                <a:gd name="T17" fmla="*/ 193 h 587"/>
                <a:gd name="T18" fmla="*/ 400 w 587"/>
                <a:gd name="T19" fmla="*/ 147 h 587"/>
                <a:gd name="T20" fmla="*/ 187 w 587"/>
                <a:gd name="T21" fmla="*/ 147 h 587"/>
                <a:gd name="T22" fmla="*/ 233 w 587"/>
                <a:gd name="T23" fmla="*/ 193 h 587"/>
                <a:gd name="T24" fmla="*/ 187 w 587"/>
                <a:gd name="T25" fmla="*/ 240 h 587"/>
                <a:gd name="T26" fmla="*/ 140 w 587"/>
                <a:gd name="T27" fmla="*/ 193 h 587"/>
                <a:gd name="T28" fmla="*/ 187 w 587"/>
                <a:gd name="T29" fmla="*/ 147 h 587"/>
                <a:gd name="T30" fmla="*/ 440 w 587"/>
                <a:gd name="T31" fmla="*/ 480 h 587"/>
                <a:gd name="T32" fmla="*/ 427 w 587"/>
                <a:gd name="T33" fmla="*/ 467 h 587"/>
                <a:gd name="T34" fmla="*/ 293 w 587"/>
                <a:gd name="T35" fmla="*/ 333 h 587"/>
                <a:gd name="T36" fmla="*/ 160 w 587"/>
                <a:gd name="T37" fmla="*/ 467 h 587"/>
                <a:gd name="T38" fmla="*/ 147 w 587"/>
                <a:gd name="T39" fmla="*/ 480 h 587"/>
                <a:gd name="T40" fmla="*/ 133 w 587"/>
                <a:gd name="T41" fmla="*/ 467 h 587"/>
                <a:gd name="T42" fmla="*/ 293 w 587"/>
                <a:gd name="T43" fmla="*/ 307 h 587"/>
                <a:gd name="T44" fmla="*/ 453 w 587"/>
                <a:gd name="T45" fmla="*/ 467 h 587"/>
                <a:gd name="T46" fmla="*/ 440 w 587"/>
                <a:gd name="T47" fmla="*/ 48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7" h="587">
                  <a:moveTo>
                    <a:pt x="293" y="0"/>
                  </a:moveTo>
                  <a:cubicBezTo>
                    <a:pt x="132" y="0"/>
                    <a:pt x="0" y="132"/>
                    <a:pt x="0" y="293"/>
                  </a:cubicBezTo>
                  <a:cubicBezTo>
                    <a:pt x="0" y="455"/>
                    <a:pt x="132" y="587"/>
                    <a:pt x="293" y="587"/>
                  </a:cubicBezTo>
                  <a:cubicBezTo>
                    <a:pt x="455" y="587"/>
                    <a:pt x="587" y="455"/>
                    <a:pt x="587" y="293"/>
                  </a:cubicBezTo>
                  <a:cubicBezTo>
                    <a:pt x="587" y="132"/>
                    <a:pt x="455" y="0"/>
                    <a:pt x="293" y="0"/>
                  </a:cubicBezTo>
                  <a:close/>
                  <a:moveTo>
                    <a:pt x="400" y="147"/>
                  </a:moveTo>
                  <a:cubicBezTo>
                    <a:pt x="426" y="147"/>
                    <a:pt x="447" y="168"/>
                    <a:pt x="447" y="193"/>
                  </a:cubicBezTo>
                  <a:cubicBezTo>
                    <a:pt x="447" y="219"/>
                    <a:pt x="426" y="240"/>
                    <a:pt x="400" y="240"/>
                  </a:cubicBezTo>
                  <a:cubicBezTo>
                    <a:pt x="374" y="240"/>
                    <a:pt x="353" y="219"/>
                    <a:pt x="353" y="193"/>
                  </a:cubicBezTo>
                  <a:cubicBezTo>
                    <a:pt x="353" y="168"/>
                    <a:pt x="374" y="147"/>
                    <a:pt x="400" y="147"/>
                  </a:cubicBezTo>
                  <a:close/>
                  <a:moveTo>
                    <a:pt x="187" y="147"/>
                  </a:moveTo>
                  <a:cubicBezTo>
                    <a:pt x="212" y="147"/>
                    <a:pt x="233" y="168"/>
                    <a:pt x="233" y="193"/>
                  </a:cubicBezTo>
                  <a:cubicBezTo>
                    <a:pt x="233" y="219"/>
                    <a:pt x="212" y="240"/>
                    <a:pt x="187" y="240"/>
                  </a:cubicBezTo>
                  <a:cubicBezTo>
                    <a:pt x="161" y="240"/>
                    <a:pt x="140" y="219"/>
                    <a:pt x="140" y="193"/>
                  </a:cubicBezTo>
                  <a:cubicBezTo>
                    <a:pt x="140" y="168"/>
                    <a:pt x="161" y="147"/>
                    <a:pt x="187" y="147"/>
                  </a:cubicBezTo>
                  <a:close/>
                  <a:moveTo>
                    <a:pt x="440" y="480"/>
                  </a:moveTo>
                  <a:cubicBezTo>
                    <a:pt x="433" y="480"/>
                    <a:pt x="427" y="474"/>
                    <a:pt x="427" y="467"/>
                  </a:cubicBezTo>
                  <a:cubicBezTo>
                    <a:pt x="427" y="393"/>
                    <a:pt x="367" y="333"/>
                    <a:pt x="293" y="333"/>
                  </a:cubicBezTo>
                  <a:cubicBezTo>
                    <a:pt x="220" y="333"/>
                    <a:pt x="160" y="393"/>
                    <a:pt x="160" y="467"/>
                  </a:cubicBezTo>
                  <a:cubicBezTo>
                    <a:pt x="160" y="474"/>
                    <a:pt x="154" y="480"/>
                    <a:pt x="147" y="480"/>
                  </a:cubicBezTo>
                  <a:cubicBezTo>
                    <a:pt x="139" y="480"/>
                    <a:pt x="133" y="474"/>
                    <a:pt x="133" y="467"/>
                  </a:cubicBezTo>
                  <a:cubicBezTo>
                    <a:pt x="133" y="378"/>
                    <a:pt x="205" y="307"/>
                    <a:pt x="293" y="307"/>
                  </a:cubicBezTo>
                  <a:cubicBezTo>
                    <a:pt x="382" y="307"/>
                    <a:pt x="453" y="378"/>
                    <a:pt x="453" y="467"/>
                  </a:cubicBezTo>
                  <a:cubicBezTo>
                    <a:pt x="453" y="474"/>
                    <a:pt x="447" y="480"/>
                    <a:pt x="440" y="480"/>
                  </a:cubicBezTo>
                  <a:close/>
                </a:path>
              </a:pathLst>
            </a:custGeom>
            <a:solidFill>
              <a:srgbClr val="676A8A"/>
            </a:solidFill>
            <a:ln w="12700">
              <a:miter lim="400000"/>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85" name="íŝ1îḋe">
              <a:extLst>
                <a:ext uri="{FF2B5EF4-FFF2-40B4-BE49-F238E27FC236}">
                  <a16:creationId xmlns:a16="http://schemas.microsoft.com/office/drawing/2014/main" id="{116306C7-DD0E-4C58-A407-0B3C033EE14D}"/>
                </a:ext>
              </a:extLst>
            </p:cNvPr>
            <p:cNvSpPr/>
            <p:nvPr/>
          </p:nvSpPr>
          <p:spPr>
            <a:xfrm>
              <a:off x="4802650" y="2764899"/>
              <a:ext cx="489459" cy="488725"/>
            </a:xfrm>
            <a:custGeom>
              <a:avLst/>
              <a:gdLst>
                <a:gd name="connsiteX0" fmla="*/ 352192 w 470813"/>
                <a:gd name="connsiteY0" fmla="*/ 294258 h 470107"/>
                <a:gd name="connsiteX1" fmla="*/ 235416 w 470813"/>
                <a:gd name="connsiteY1" fmla="*/ 365952 h 470107"/>
                <a:gd name="connsiteX2" fmla="*/ 119044 w 470813"/>
                <a:gd name="connsiteY2" fmla="*/ 295065 h 470107"/>
                <a:gd name="connsiteX3" fmla="*/ 377574 w 470813"/>
                <a:gd name="connsiteY3" fmla="*/ 259826 h 470107"/>
                <a:gd name="connsiteX4" fmla="*/ 93413 w 470813"/>
                <a:gd name="connsiteY4" fmla="*/ 260805 h 470107"/>
                <a:gd name="connsiteX5" fmla="*/ 93413 w 470813"/>
                <a:gd name="connsiteY5" fmla="*/ 260863 h 470107"/>
                <a:gd name="connsiteX6" fmla="*/ 88451 w 470813"/>
                <a:gd name="connsiteY6" fmla="*/ 261554 h 470107"/>
                <a:gd name="connsiteX7" fmla="*/ 76969 w 470813"/>
                <a:gd name="connsiteY7" fmla="*/ 282986 h 470107"/>
                <a:gd name="connsiteX8" fmla="*/ 235407 w 470813"/>
                <a:gd name="connsiteY8" fmla="*/ 400340 h 470107"/>
                <a:gd name="connsiteX9" fmla="*/ 394191 w 470813"/>
                <a:gd name="connsiteY9" fmla="*/ 281834 h 470107"/>
                <a:gd name="connsiteX10" fmla="*/ 382536 w 470813"/>
                <a:gd name="connsiteY10" fmla="*/ 260517 h 470107"/>
                <a:gd name="connsiteX11" fmla="*/ 377574 w 470813"/>
                <a:gd name="connsiteY11" fmla="*/ 259884 h 470107"/>
                <a:gd name="connsiteX12" fmla="*/ 288604 w 470813"/>
                <a:gd name="connsiteY12" fmla="*/ 189656 h 470107"/>
                <a:gd name="connsiteX13" fmla="*/ 265929 w 470813"/>
                <a:gd name="connsiteY13" fmla="*/ 212354 h 470107"/>
                <a:gd name="connsiteX14" fmla="*/ 288604 w 470813"/>
                <a:gd name="connsiteY14" fmla="*/ 235053 h 470107"/>
                <a:gd name="connsiteX15" fmla="*/ 311337 w 470813"/>
                <a:gd name="connsiteY15" fmla="*/ 212354 h 470107"/>
                <a:gd name="connsiteX16" fmla="*/ 288604 w 470813"/>
                <a:gd name="connsiteY16" fmla="*/ 189656 h 470107"/>
                <a:gd name="connsiteX17" fmla="*/ 182152 w 470813"/>
                <a:gd name="connsiteY17" fmla="*/ 189656 h 470107"/>
                <a:gd name="connsiteX18" fmla="*/ 159476 w 470813"/>
                <a:gd name="connsiteY18" fmla="*/ 212354 h 470107"/>
                <a:gd name="connsiteX19" fmla="*/ 182152 w 470813"/>
                <a:gd name="connsiteY19" fmla="*/ 235053 h 470107"/>
                <a:gd name="connsiteX20" fmla="*/ 204884 w 470813"/>
                <a:gd name="connsiteY20" fmla="*/ 212354 h 470107"/>
                <a:gd name="connsiteX21" fmla="*/ 182152 w 470813"/>
                <a:gd name="connsiteY21" fmla="*/ 189656 h 470107"/>
                <a:gd name="connsiteX22" fmla="*/ 235407 w 470813"/>
                <a:gd name="connsiteY22" fmla="*/ 0 h 470107"/>
                <a:gd name="connsiteX23" fmla="*/ 470813 w 470813"/>
                <a:gd name="connsiteY23" fmla="*/ 235053 h 470107"/>
                <a:gd name="connsiteX24" fmla="*/ 235407 w 470813"/>
                <a:gd name="connsiteY24" fmla="*/ 470107 h 470107"/>
                <a:gd name="connsiteX25" fmla="*/ 0 w 470813"/>
                <a:gd name="connsiteY25" fmla="*/ 235053 h 470107"/>
                <a:gd name="connsiteX26" fmla="*/ 235407 w 470813"/>
                <a:gd name="connsiteY26" fmla="*/ 0 h 470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70813" h="470107">
                  <a:moveTo>
                    <a:pt x="352192" y="294258"/>
                  </a:moveTo>
                  <a:cubicBezTo>
                    <a:pt x="330152" y="337367"/>
                    <a:pt x="285034" y="365952"/>
                    <a:pt x="235416" y="365952"/>
                  </a:cubicBezTo>
                  <a:cubicBezTo>
                    <a:pt x="186202" y="365952"/>
                    <a:pt x="141257" y="337713"/>
                    <a:pt x="119044" y="295065"/>
                  </a:cubicBezTo>
                  <a:close/>
                  <a:moveTo>
                    <a:pt x="377574" y="259826"/>
                  </a:moveTo>
                  <a:lnTo>
                    <a:pt x="93413" y="260805"/>
                  </a:lnTo>
                  <a:lnTo>
                    <a:pt x="93413" y="260863"/>
                  </a:lnTo>
                  <a:cubicBezTo>
                    <a:pt x="91739" y="260863"/>
                    <a:pt x="90124" y="261036"/>
                    <a:pt x="88451" y="261554"/>
                  </a:cubicBezTo>
                  <a:cubicBezTo>
                    <a:pt x="79334" y="264262"/>
                    <a:pt x="74199" y="273826"/>
                    <a:pt x="76969" y="282986"/>
                  </a:cubicBezTo>
                  <a:cubicBezTo>
                    <a:pt x="98201" y="353157"/>
                    <a:pt x="161900" y="400340"/>
                    <a:pt x="235407" y="400340"/>
                  </a:cubicBezTo>
                  <a:cubicBezTo>
                    <a:pt x="308279" y="400340"/>
                    <a:pt x="373592" y="351601"/>
                    <a:pt x="394191" y="281834"/>
                  </a:cubicBezTo>
                  <a:cubicBezTo>
                    <a:pt x="396845" y="272789"/>
                    <a:pt x="391652" y="263225"/>
                    <a:pt x="382536" y="260517"/>
                  </a:cubicBezTo>
                  <a:cubicBezTo>
                    <a:pt x="380862" y="260056"/>
                    <a:pt x="379247" y="259884"/>
                    <a:pt x="377574" y="259884"/>
                  </a:cubicBezTo>
                  <a:close/>
                  <a:moveTo>
                    <a:pt x="288604" y="189656"/>
                  </a:moveTo>
                  <a:cubicBezTo>
                    <a:pt x="276083" y="189656"/>
                    <a:pt x="265929" y="199853"/>
                    <a:pt x="265929" y="212354"/>
                  </a:cubicBezTo>
                  <a:cubicBezTo>
                    <a:pt x="265929" y="224856"/>
                    <a:pt x="276083" y="235053"/>
                    <a:pt x="288604" y="235053"/>
                  </a:cubicBezTo>
                  <a:cubicBezTo>
                    <a:pt x="301182" y="235053"/>
                    <a:pt x="311337" y="224856"/>
                    <a:pt x="311337" y="212354"/>
                  </a:cubicBezTo>
                  <a:cubicBezTo>
                    <a:pt x="311337" y="199853"/>
                    <a:pt x="301182" y="189656"/>
                    <a:pt x="288604" y="189656"/>
                  </a:cubicBezTo>
                  <a:close/>
                  <a:moveTo>
                    <a:pt x="182152" y="189656"/>
                  </a:moveTo>
                  <a:cubicBezTo>
                    <a:pt x="169573" y="189656"/>
                    <a:pt x="159476" y="199853"/>
                    <a:pt x="159476" y="212354"/>
                  </a:cubicBezTo>
                  <a:cubicBezTo>
                    <a:pt x="159476" y="224856"/>
                    <a:pt x="169631" y="235053"/>
                    <a:pt x="182152" y="235053"/>
                  </a:cubicBezTo>
                  <a:cubicBezTo>
                    <a:pt x="194730" y="235053"/>
                    <a:pt x="204884" y="224856"/>
                    <a:pt x="204884" y="212354"/>
                  </a:cubicBezTo>
                  <a:cubicBezTo>
                    <a:pt x="204884" y="199853"/>
                    <a:pt x="194730" y="189656"/>
                    <a:pt x="182152" y="189656"/>
                  </a:cubicBezTo>
                  <a:close/>
                  <a:moveTo>
                    <a:pt x="235407" y="0"/>
                  </a:moveTo>
                  <a:cubicBezTo>
                    <a:pt x="365226" y="0"/>
                    <a:pt x="470813" y="105428"/>
                    <a:pt x="470813" y="235053"/>
                  </a:cubicBezTo>
                  <a:cubicBezTo>
                    <a:pt x="470813" y="364679"/>
                    <a:pt x="365226" y="470107"/>
                    <a:pt x="235407" y="470107"/>
                  </a:cubicBezTo>
                  <a:cubicBezTo>
                    <a:pt x="105587" y="470107"/>
                    <a:pt x="0" y="364679"/>
                    <a:pt x="0" y="235053"/>
                  </a:cubicBezTo>
                  <a:cubicBezTo>
                    <a:pt x="0" y="105428"/>
                    <a:pt x="105587" y="0"/>
                    <a:pt x="235407" y="0"/>
                  </a:cubicBezTo>
                  <a:close/>
                </a:path>
              </a:pathLst>
            </a:custGeom>
            <a:solidFill>
              <a:srgbClr val="A4ACB3"/>
            </a:solidFill>
            <a:ln w="12700">
              <a:miter lim="400000"/>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86" name="îšḷiďè">
              <a:extLst>
                <a:ext uri="{FF2B5EF4-FFF2-40B4-BE49-F238E27FC236}">
                  <a16:creationId xmlns:a16="http://schemas.microsoft.com/office/drawing/2014/main" id="{406A271D-2B30-4CD8-920F-A00E1136ED18}"/>
                </a:ext>
              </a:extLst>
            </p:cNvPr>
            <p:cNvSpPr/>
            <p:nvPr/>
          </p:nvSpPr>
          <p:spPr>
            <a:xfrm>
              <a:off x="1921450" y="1980904"/>
              <a:ext cx="2427687" cy="783629"/>
            </a:xfrm>
            <a:prstGeom prst="rect">
              <a:avLst/>
            </a:prstGeom>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20000"/>
                </a:lnSpc>
              </a:pPr>
              <a:r>
                <a:rPr lang="zh-CN" altLang="en-US" sz="1100" dirty="0" smtClean="0">
                  <a:solidFill>
                    <a:srgbClr val="4EC1FF"/>
                  </a:solidFill>
                </a:rPr>
                <a:t>原则：创建一系列产品。</a:t>
              </a:r>
              <a:endParaRPr lang="zh-CN" altLang="en-US" sz="1100" dirty="0">
                <a:solidFill>
                  <a:srgbClr val="4EC1FF"/>
                </a:solidFill>
              </a:endParaRPr>
            </a:p>
          </p:txBody>
        </p:sp>
        <p:sp>
          <p:nvSpPr>
            <p:cNvPr id="87" name="ïsḻídè">
              <a:extLst>
                <a:ext uri="{FF2B5EF4-FFF2-40B4-BE49-F238E27FC236}">
                  <a16:creationId xmlns:a16="http://schemas.microsoft.com/office/drawing/2014/main" id="{9B35C8CF-4123-468D-9616-B0CF4A38D2E9}"/>
                </a:ext>
              </a:extLst>
            </p:cNvPr>
            <p:cNvSpPr/>
            <p:nvPr/>
          </p:nvSpPr>
          <p:spPr>
            <a:xfrm>
              <a:off x="5558554" y="2809415"/>
              <a:ext cx="2427687" cy="907617"/>
            </a:xfrm>
            <a:prstGeom prst="rect">
              <a:avLst/>
            </a:prstGeom>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20000"/>
                </a:lnSpc>
              </a:pPr>
              <a:r>
                <a:rPr lang="zh-CN" altLang="en-US" sz="1100" dirty="0" smtClean="0">
                  <a:solidFill>
                    <a:srgbClr val="A4ACB3"/>
                  </a:solidFill>
                </a:rPr>
                <a:t>原则：一个（工厂）接口，多个工厂实现，一个抽象产品。</a:t>
              </a:r>
              <a:endParaRPr lang="zh-CN" altLang="en-US" sz="1100" dirty="0">
                <a:solidFill>
                  <a:srgbClr val="A4ACB3"/>
                </a:solidFill>
              </a:endParaRPr>
            </a:p>
          </p:txBody>
        </p:sp>
        <p:sp>
          <p:nvSpPr>
            <p:cNvPr id="88" name="ísļíḓè">
              <a:extLst>
                <a:ext uri="{FF2B5EF4-FFF2-40B4-BE49-F238E27FC236}">
                  <a16:creationId xmlns:a16="http://schemas.microsoft.com/office/drawing/2014/main" id="{855D1555-12B2-4364-9A38-1124F84FEAE4}"/>
                </a:ext>
              </a:extLst>
            </p:cNvPr>
            <p:cNvSpPr/>
            <p:nvPr/>
          </p:nvSpPr>
          <p:spPr>
            <a:xfrm>
              <a:off x="9309499" y="3994226"/>
              <a:ext cx="2165365" cy="750746"/>
            </a:xfrm>
            <a:prstGeom prst="rect">
              <a:avLst/>
            </a:prstGeom>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20000"/>
                </a:lnSpc>
              </a:pPr>
              <a:r>
                <a:rPr lang="zh-CN" altLang="en-US" sz="1100" dirty="0" smtClean="0">
                  <a:solidFill>
                    <a:srgbClr val="676A8A"/>
                  </a:solidFill>
                </a:rPr>
                <a:t>添加新产品要对工厂进行大改造。</a:t>
              </a:r>
              <a:endParaRPr lang="en-US" altLang="zh-CN" sz="1100" dirty="0" smtClean="0">
                <a:solidFill>
                  <a:srgbClr val="676A8A"/>
                </a:solidFill>
              </a:endParaRPr>
            </a:p>
            <a:p>
              <a:pPr>
                <a:lnSpc>
                  <a:spcPct val="120000"/>
                </a:lnSpc>
              </a:pPr>
              <a:r>
                <a:rPr lang="zh-CN" altLang="en-US" sz="1100" dirty="0" smtClean="0">
                  <a:solidFill>
                    <a:srgbClr val="676A8A"/>
                  </a:solidFill>
                </a:rPr>
                <a:t>违背开闭原则。</a:t>
              </a:r>
              <a:endParaRPr lang="en-US" altLang="zh-CN" sz="1100" dirty="0">
                <a:solidFill>
                  <a:srgbClr val="676A8A"/>
                </a:solidFill>
              </a:endParaRPr>
            </a:p>
          </p:txBody>
        </p:sp>
      </p:grpSp>
      <p:grpSp>
        <p:nvGrpSpPr>
          <p:cNvPr id="102" name="组合 101"/>
          <p:cNvGrpSpPr/>
          <p:nvPr/>
        </p:nvGrpSpPr>
        <p:grpSpPr>
          <a:xfrm>
            <a:off x="5072428" y="4970205"/>
            <a:ext cx="1844563" cy="1447842"/>
            <a:chOff x="4586749" y="4883951"/>
            <a:chExt cx="2330244" cy="1829065"/>
          </a:xfrm>
          <a:solidFill>
            <a:srgbClr val="69747E"/>
          </a:solidFill>
        </p:grpSpPr>
        <p:sp>
          <p:nvSpPr>
            <p:cNvPr id="95" name="factory-structure_18222"/>
            <p:cNvSpPr>
              <a:spLocks noChangeAspect="1"/>
            </p:cNvSpPr>
            <p:nvPr/>
          </p:nvSpPr>
          <p:spPr bwMode="auto">
            <a:xfrm>
              <a:off x="6100874" y="4883951"/>
              <a:ext cx="816119" cy="808631"/>
            </a:xfrm>
            <a:custGeom>
              <a:avLst/>
              <a:gdLst>
                <a:gd name="connsiteX0" fmla="*/ 345243 w 609332"/>
                <a:gd name="connsiteY0" fmla="*/ 467056 h 603742"/>
                <a:gd name="connsiteX1" fmla="*/ 313466 w 609332"/>
                <a:gd name="connsiteY1" fmla="*/ 498884 h 603742"/>
                <a:gd name="connsiteX2" fmla="*/ 313466 w 609332"/>
                <a:gd name="connsiteY2" fmla="*/ 534130 h 603742"/>
                <a:gd name="connsiteX3" fmla="*/ 345243 w 609332"/>
                <a:gd name="connsiteY3" fmla="*/ 565860 h 603742"/>
                <a:gd name="connsiteX4" fmla="*/ 380637 w 609332"/>
                <a:gd name="connsiteY4" fmla="*/ 565860 h 603742"/>
                <a:gd name="connsiteX5" fmla="*/ 412414 w 609332"/>
                <a:gd name="connsiteY5" fmla="*/ 534130 h 603742"/>
                <a:gd name="connsiteX6" fmla="*/ 412414 w 609332"/>
                <a:gd name="connsiteY6" fmla="*/ 498884 h 603742"/>
                <a:gd name="connsiteX7" fmla="*/ 380637 w 609332"/>
                <a:gd name="connsiteY7" fmla="*/ 467056 h 603742"/>
                <a:gd name="connsiteX8" fmla="*/ 207478 w 609332"/>
                <a:gd name="connsiteY8" fmla="*/ 467056 h 603742"/>
                <a:gd name="connsiteX9" fmla="*/ 175701 w 609332"/>
                <a:gd name="connsiteY9" fmla="*/ 498884 h 603742"/>
                <a:gd name="connsiteX10" fmla="*/ 175701 w 609332"/>
                <a:gd name="connsiteY10" fmla="*/ 534130 h 603742"/>
                <a:gd name="connsiteX11" fmla="*/ 207478 w 609332"/>
                <a:gd name="connsiteY11" fmla="*/ 565860 h 603742"/>
                <a:gd name="connsiteX12" fmla="*/ 242872 w 609332"/>
                <a:gd name="connsiteY12" fmla="*/ 565860 h 603742"/>
                <a:gd name="connsiteX13" fmla="*/ 274649 w 609332"/>
                <a:gd name="connsiteY13" fmla="*/ 534130 h 603742"/>
                <a:gd name="connsiteX14" fmla="*/ 274649 w 609332"/>
                <a:gd name="connsiteY14" fmla="*/ 498884 h 603742"/>
                <a:gd name="connsiteX15" fmla="*/ 242872 w 609332"/>
                <a:gd name="connsiteY15" fmla="*/ 467056 h 603742"/>
                <a:gd name="connsiteX16" fmla="*/ 69713 w 609332"/>
                <a:gd name="connsiteY16" fmla="*/ 467056 h 603742"/>
                <a:gd name="connsiteX17" fmla="*/ 37937 w 609332"/>
                <a:gd name="connsiteY17" fmla="*/ 498884 h 603742"/>
                <a:gd name="connsiteX18" fmla="*/ 37937 w 609332"/>
                <a:gd name="connsiteY18" fmla="*/ 534130 h 603742"/>
                <a:gd name="connsiteX19" fmla="*/ 69713 w 609332"/>
                <a:gd name="connsiteY19" fmla="*/ 565860 h 603742"/>
                <a:gd name="connsiteX20" fmla="*/ 105108 w 609332"/>
                <a:gd name="connsiteY20" fmla="*/ 565860 h 603742"/>
                <a:gd name="connsiteX21" fmla="*/ 136885 w 609332"/>
                <a:gd name="connsiteY21" fmla="*/ 534130 h 603742"/>
                <a:gd name="connsiteX22" fmla="*/ 136885 w 609332"/>
                <a:gd name="connsiteY22" fmla="*/ 498884 h 603742"/>
                <a:gd name="connsiteX23" fmla="*/ 105108 w 609332"/>
                <a:gd name="connsiteY23" fmla="*/ 467056 h 603742"/>
                <a:gd name="connsiteX24" fmla="*/ 478607 w 609332"/>
                <a:gd name="connsiteY24" fmla="*/ 132859 h 603742"/>
                <a:gd name="connsiteX25" fmla="*/ 577555 w 609332"/>
                <a:gd name="connsiteY25" fmla="*/ 132859 h 603742"/>
                <a:gd name="connsiteX26" fmla="*/ 609332 w 609332"/>
                <a:gd name="connsiteY26" fmla="*/ 469009 h 603742"/>
                <a:gd name="connsiteX27" fmla="*/ 609332 w 609332"/>
                <a:gd name="connsiteY27" fmla="*/ 603742 h 603742"/>
                <a:gd name="connsiteX28" fmla="*/ 446830 w 609332"/>
                <a:gd name="connsiteY28" fmla="*/ 603742 h 603742"/>
                <a:gd name="connsiteX29" fmla="*/ 386797 w 609332"/>
                <a:gd name="connsiteY29" fmla="*/ 603742 h 603742"/>
                <a:gd name="connsiteX30" fmla="*/ 0 w 609332"/>
                <a:gd name="connsiteY30" fmla="*/ 603742 h 603742"/>
                <a:gd name="connsiteX31" fmla="*/ 0 w 609332"/>
                <a:gd name="connsiteY31" fmla="*/ 349799 h 603742"/>
                <a:gd name="connsiteX32" fmla="*/ 150084 w 609332"/>
                <a:gd name="connsiteY32" fmla="*/ 273938 h 603742"/>
                <a:gd name="connsiteX33" fmla="*/ 150084 w 609332"/>
                <a:gd name="connsiteY33" fmla="*/ 348920 h 603742"/>
                <a:gd name="connsiteX34" fmla="*/ 298506 w 609332"/>
                <a:gd name="connsiteY34" fmla="*/ 273938 h 603742"/>
                <a:gd name="connsiteX35" fmla="*/ 298506 w 609332"/>
                <a:gd name="connsiteY35" fmla="*/ 348920 h 603742"/>
                <a:gd name="connsiteX36" fmla="*/ 446830 w 609332"/>
                <a:gd name="connsiteY36" fmla="*/ 273938 h 603742"/>
                <a:gd name="connsiteX37" fmla="*/ 446830 w 609332"/>
                <a:gd name="connsiteY37" fmla="*/ 349799 h 603742"/>
                <a:gd name="connsiteX38" fmla="*/ 446830 w 609332"/>
                <a:gd name="connsiteY38" fmla="*/ 469009 h 603742"/>
                <a:gd name="connsiteX39" fmla="*/ 238001 w 609332"/>
                <a:gd name="connsiteY39" fmla="*/ 0 h 603742"/>
                <a:gd name="connsiteX40" fmla="*/ 386789 w 609332"/>
                <a:gd name="connsiteY40" fmla="*/ 18744 h 603742"/>
                <a:gd name="connsiteX41" fmla="*/ 569109 w 609332"/>
                <a:gd name="connsiteY41" fmla="*/ 109925 h 603742"/>
                <a:gd name="connsiteX42" fmla="*/ 479073 w 609332"/>
                <a:gd name="connsiteY42" fmla="*/ 109925 h 603742"/>
                <a:gd name="connsiteX43" fmla="*/ 296754 w 609332"/>
                <a:gd name="connsiteY43" fmla="*/ 70290 h 603742"/>
                <a:gd name="connsiteX44" fmla="*/ 238001 w 609332"/>
                <a:gd name="connsiteY44" fmla="*/ 0 h 603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609332" h="603742">
                  <a:moveTo>
                    <a:pt x="345243" y="467056"/>
                  </a:moveTo>
                  <a:cubicBezTo>
                    <a:pt x="327741" y="467056"/>
                    <a:pt x="313466" y="481310"/>
                    <a:pt x="313466" y="498884"/>
                  </a:cubicBezTo>
                  <a:lnTo>
                    <a:pt x="313466" y="534130"/>
                  </a:lnTo>
                  <a:cubicBezTo>
                    <a:pt x="313466" y="551606"/>
                    <a:pt x="327741" y="565860"/>
                    <a:pt x="345243" y="565860"/>
                  </a:cubicBezTo>
                  <a:lnTo>
                    <a:pt x="380637" y="565860"/>
                  </a:lnTo>
                  <a:cubicBezTo>
                    <a:pt x="398139" y="565860"/>
                    <a:pt x="412414" y="551606"/>
                    <a:pt x="412414" y="534130"/>
                  </a:cubicBezTo>
                  <a:lnTo>
                    <a:pt x="412414" y="498884"/>
                  </a:lnTo>
                  <a:cubicBezTo>
                    <a:pt x="412414" y="481310"/>
                    <a:pt x="398139" y="467056"/>
                    <a:pt x="380637" y="467056"/>
                  </a:cubicBezTo>
                  <a:close/>
                  <a:moveTo>
                    <a:pt x="207478" y="467056"/>
                  </a:moveTo>
                  <a:cubicBezTo>
                    <a:pt x="189976" y="467056"/>
                    <a:pt x="175701" y="481310"/>
                    <a:pt x="175701" y="498884"/>
                  </a:cubicBezTo>
                  <a:lnTo>
                    <a:pt x="175701" y="534130"/>
                  </a:lnTo>
                  <a:cubicBezTo>
                    <a:pt x="175701" y="551606"/>
                    <a:pt x="189976" y="565860"/>
                    <a:pt x="207478" y="565860"/>
                  </a:cubicBezTo>
                  <a:lnTo>
                    <a:pt x="242872" y="565860"/>
                  </a:lnTo>
                  <a:cubicBezTo>
                    <a:pt x="260374" y="565860"/>
                    <a:pt x="274649" y="551606"/>
                    <a:pt x="274649" y="534130"/>
                  </a:cubicBezTo>
                  <a:lnTo>
                    <a:pt x="274649" y="498884"/>
                  </a:lnTo>
                  <a:cubicBezTo>
                    <a:pt x="274649" y="481310"/>
                    <a:pt x="260374" y="467056"/>
                    <a:pt x="242872" y="467056"/>
                  </a:cubicBezTo>
                  <a:close/>
                  <a:moveTo>
                    <a:pt x="69713" y="467056"/>
                  </a:moveTo>
                  <a:cubicBezTo>
                    <a:pt x="52212" y="467056"/>
                    <a:pt x="37937" y="481310"/>
                    <a:pt x="37937" y="498884"/>
                  </a:cubicBezTo>
                  <a:lnTo>
                    <a:pt x="37937" y="534130"/>
                  </a:lnTo>
                  <a:cubicBezTo>
                    <a:pt x="37937" y="551606"/>
                    <a:pt x="52212" y="565860"/>
                    <a:pt x="69713" y="565860"/>
                  </a:cubicBezTo>
                  <a:lnTo>
                    <a:pt x="105108" y="565860"/>
                  </a:lnTo>
                  <a:cubicBezTo>
                    <a:pt x="122609" y="565860"/>
                    <a:pt x="136885" y="551606"/>
                    <a:pt x="136885" y="534130"/>
                  </a:cubicBezTo>
                  <a:lnTo>
                    <a:pt x="136885" y="498884"/>
                  </a:lnTo>
                  <a:cubicBezTo>
                    <a:pt x="136885" y="481310"/>
                    <a:pt x="122609" y="467056"/>
                    <a:pt x="105108" y="467056"/>
                  </a:cubicBezTo>
                  <a:close/>
                  <a:moveTo>
                    <a:pt x="478607" y="132859"/>
                  </a:moveTo>
                  <a:lnTo>
                    <a:pt x="577555" y="132859"/>
                  </a:lnTo>
                  <a:lnTo>
                    <a:pt x="609332" y="469009"/>
                  </a:lnTo>
                  <a:lnTo>
                    <a:pt x="609332" y="603742"/>
                  </a:lnTo>
                  <a:lnTo>
                    <a:pt x="446830" y="603742"/>
                  </a:lnTo>
                  <a:lnTo>
                    <a:pt x="386797" y="603742"/>
                  </a:lnTo>
                  <a:lnTo>
                    <a:pt x="0" y="603742"/>
                  </a:lnTo>
                  <a:lnTo>
                    <a:pt x="0" y="349799"/>
                  </a:lnTo>
                  <a:lnTo>
                    <a:pt x="150084" y="273938"/>
                  </a:lnTo>
                  <a:lnTo>
                    <a:pt x="150084" y="348920"/>
                  </a:lnTo>
                  <a:lnTo>
                    <a:pt x="298506" y="273938"/>
                  </a:lnTo>
                  <a:lnTo>
                    <a:pt x="298506" y="348920"/>
                  </a:lnTo>
                  <a:lnTo>
                    <a:pt x="446830" y="273938"/>
                  </a:lnTo>
                  <a:lnTo>
                    <a:pt x="446830" y="349799"/>
                  </a:lnTo>
                  <a:lnTo>
                    <a:pt x="446830" y="469009"/>
                  </a:lnTo>
                  <a:close/>
                  <a:moveTo>
                    <a:pt x="238001" y="0"/>
                  </a:moveTo>
                  <a:cubicBezTo>
                    <a:pt x="238001" y="0"/>
                    <a:pt x="219427" y="70290"/>
                    <a:pt x="386789" y="18744"/>
                  </a:cubicBezTo>
                  <a:cubicBezTo>
                    <a:pt x="554054" y="-32899"/>
                    <a:pt x="569109" y="109925"/>
                    <a:pt x="569109" y="109925"/>
                  </a:cubicBezTo>
                  <a:lnTo>
                    <a:pt x="479073" y="109925"/>
                  </a:lnTo>
                  <a:cubicBezTo>
                    <a:pt x="475065" y="55744"/>
                    <a:pt x="386300" y="80833"/>
                    <a:pt x="296754" y="70290"/>
                  </a:cubicBezTo>
                  <a:cubicBezTo>
                    <a:pt x="207109" y="59746"/>
                    <a:pt x="238001" y="0"/>
                    <a:pt x="238001" y="0"/>
                  </a:cubicBezTo>
                  <a:close/>
                </a:path>
              </a:pathLst>
            </a:custGeom>
            <a:grpFill/>
            <a:ln>
              <a:noFill/>
            </a:ln>
          </p:spPr>
        </p:sp>
        <p:sp>
          <p:nvSpPr>
            <p:cNvPr id="96" name="nuclear-plant_99736"/>
            <p:cNvSpPr>
              <a:spLocks noChangeAspect="1"/>
            </p:cNvSpPr>
            <p:nvPr/>
          </p:nvSpPr>
          <p:spPr bwMode="auto">
            <a:xfrm>
              <a:off x="4586749" y="5004514"/>
              <a:ext cx="840701" cy="698180"/>
            </a:xfrm>
            <a:custGeom>
              <a:avLst/>
              <a:gdLst>
                <a:gd name="T0" fmla="*/ 278945 h 440259"/>
                <a:gd name="T1" fmla="*/ 278945 h 440259"/>
                <a:gd name="T2" fmla="*/ 278945 h 440259"/>
                <a:gd name="T3" fmla="*/ 278945 h 440259"/>
                <a:gd name="T4" fmla="*/ 278945 h 440259"/>
                <a:gd name="T5" fmla="*/ 278945 h 440259"/>
                <a:gd name="T6" fmla="*/ 278945 h 440259"/>
                <a:gd name="T7" fmla="*/ 278945 h 440259"/>
                <a:gd name="T8" fmla="*/ 278945 h 440259"/>
                <a:gd name="T9" fmla="*/ 278945 h 440259"/>
                <a:gd name="T10" fmla="*/ 278945 h 440259"/>
                <a:gd name="T11" fmla="*/ 278945 h 440259"/>
                <a:gd name="T12" fmla="*/ 278945 h 440259"/>
                <a:gd name="T13" fmla="*/ 278945 h 440259"/>
                <a:gd name="T14" fmla="*/ 278945 h 440259"/>
                <a:gd name="T15" fmla="*/ 278945 h 440259"/>
                <a:gd name="T16" fmla="*/ 278945 h 440259"/>
                <a:gd name="T17" fmla="*/ 278945 h 440259"/>
                <a:gd name="T18" fmla="*/ 278945 h 440259"/>
                <a:gd name="T19" fmla="*/ 278945 h 440259"/>
                <a:gd name="T20" fmla="*/ 278945 h 440259"/>
                <a:gd name="T21" fmla="*/ 278945 h 440259"/>
                <a:gd name="T22" fmla="*/ 278945 h 440259"/>
                <a:gd name="T23" fmla="*/ 278945 h 440259"/>
                <a:gd name="T24" fmla="*/ 278945 h 440259"/>
                <a:gd name="T25" fmla="*/ 278945 h 440259"/>
                <a:gd name="T26" fmla="*/ 278945 h 440259"/>
                <a:gd name="T27" fmla="*/ 278945 h 440259"/>
                <a:gd name="T28" fmla="*/ 278945 h 440259"/>
                <a:gd name="T29" fmla="*/ 278945 h 440259"/>
                <a:gd name="T30" fmla="*/ 278945 h 440259"/>
                <a:gd name="T31" fmla="*/ 278945 h 440259"/>
                <a:gd name="T32" fmla="*/ 278945 h 440259"/>
                <a:gd name="T33" fmla="*/ 278945 h 440259"/>
                <a:gd name="T34" fmla="*/ 278945 h 440259"/>
                <a:gd name="T35" fmla="*/ 278945 h 440259"/>
                <a:gd name="T36" fmla="*/ 278945 h 440259"/>
                <a:gd name="T37" fmla="*/ 278945 h 440259"/>
                <a:gd name="T38" fmla="*/ 278945 h 440259"/>
                <a:gd name="T39" fmla="*/ 278945 h 440259"/>
                <a:gd name="T40" fmla="*/ 278945 h 440259"/>
                <a:gd name="T41" fmla="*/ 278945 h 440259"/>
                <a:gd name="T42" fmla="*/ 88862 h 440259"/>
                <a:gd name="T43" fmla="*/ 88862 h 440259"/>
                <a:gd name="T44" fmla="*/ 278945 h 440259"/>
                <a:gd name="T45" fmla="*/ 278945 h 440259"/>
                <a:gd name="T46" fmla="*/ 278945 h 440259"/>
                <a:gd name="T47" fmla="*/ 278945 h 440259"/>
                <a:gd name="T48" fmla="*/ 278945 h 440259"/>
                <a:gd name="T49" fmla="*/ 278945 h 440259"/>
                <a:gd name="T50" fmla="*/ 278945 h 440259"/>
                <a:gd name="T51" fmla="*/ 278945 h 440259"/>
                <a:gd name="T52" fmla="*/ 278945 h 440259"/>
                <a:gd name="T53" fmla="*/ 278945 h 440259"/>
                <a:gd name="T54" fmla="*/ 278945 h 440259"/>
                <a:gd name="T55" fmla="*/ 278945 h 440259"/>
                <a:gd name="T56" fmla="*/ 278945 h 440259"/>
                <a:gd name="T57" fmla="*/ 278945 h 440259"/>
                <a:gd name="T58" fmla="*/ 278945 h 440259"/>
                <a:gd name="T59" fmla="*/ 278945 h 440259"/>
                <a:gd name="T60" fmla="*/ 88862 h 440259"/>
                <a:gd name="T61" fmla="*/ 88862 h 440259"/>
                <a:gd name="T62" fmla="*/ 278945 h 440259"/>
                <a:gd name="T63" fmla="*/ 278945 h 440259"/>
                <a:gd name="T64" fmla="*/ 278945 h 440259"/>
                <a:gd name="T65" fmla="*/ 278945 h 440259"/>
                <a:gd name="T66" fmla="*/ 278945 h 440259"/>
                <a:gd name="T67" fmla="*/ 278945 h 440259"/>
                <a:gd name="T68" fmla="*/ 278945 h 440259"/>
                <a:gd name="T69" fmla="*/ 278945 h 440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61" h="3294">
                  <a:moveTo>
                    <a:pt x="3898" y="1320"/>
                  </a:moveTo>
                  <a:cubicBezTo>
                    <a:pt x="3859" y="1303"/>
                    <a:pt x="3812" y="1311"/>
                    <a:pt x="3781" y="1341"/>
                  </a:cubicBezTo>
                  <a:lnTo>
                    <a:pt x="2894" y="2194"/>
                  </a:lnTo>
                  <a:lnTo>
                    <a:pt x="2894" y="1418"/>
                  </a:lnTo>
                  <a:cubicBezTo>
                    <a:pt x="2894" y="1375"/>
                    <a:pt x="2871" y="1336"/>
                    <a:pt x="2832" y="1319"/>
                  </a:cubicBezTo>
                  <a:cubicBezTo>
                    <a:pt x="2792" y="1303"/>
                    <a:pt x="2745" y="1311"/>
                    <a:pt x="2715" y="1341"/>
                  </a:cubicBezTo>
                  <a:lnTo>
                    <a:pt x="1841" y="2186"/>
                  </a:lnTo>
                  <a:lnTo>
                    <a:pt x="1841" y="1418"/>
                  </a:lnTo>
                  <a:cubicBezTo>
                    <a:pt x="1841" y="1375"/>
                    <a:pt x="1818" y="1336"/>
                    <a:pt x="1778" y="1320"/>
                  </a:cubicBezTo>
                  <a:cubicBezTo>
                    <a:pt x="1739" y="1303"/>
                    <a:pt x="1694" y="1311"/>
                    <a:pt x="1664" y="1341"/>
                  </a:cubicBezTo>
                  <a:lnTo>
                    <a:pt x="783" y="2192"/>
                  </a:lnTo>
                  <a:lnTo>
                    <a:pt x="713" y="675"/>
                  </a:lnTo>
                  <a:cubicBezTo>
                    <a:pt x="711" y="618"/>
                    <a:pt x="664" y="574"/>
                    <a:pt x="607" y="574"/>
                  </a:cubicBezTo>
                  <a:lnTo>
                    <a:pt x="527" y="574"/>
                  </a:lnTo>
                  <a:cubicBezTo>
                    <a:pt x="669" y="546"/>
                    <a:pt x="759" y="478"/>
                    <a:pt x="835" y="421"/>
                  </a:cubicBezTo>
                  <a:cubicBezTo>
                    <a:pt x="915" y="360"/>
                    <a:pt x="968" y="320"/>
                    <a:pt x="1091" y="320"/>
                  </a:cubicBezTo>
                  <a:cubicBezTo>
                    <a:pt x="1214" y="320"/>
                    <a:pt x="1268" y="361"/>
                    <a:pt x="1348" y="421"/>
                  </a:cubicBezTo>
                  <a:cubicBezTo>
                    <a:pt x="1446" y="495"/>
                    <a:pt x="1568" y="587"/>
                    <a:pt x="1798" y="587"/>
                  </a:cubicBezTo>
                  <a:cubicBezTo>
                    <a:pt x="2028" y="587"/>
                    <a:pt x="2150" y="495"/>
                    <a:pt x="2248" y="421"/>
                  </a:cubicBezTo>
                  <a:cubicBezTo>
                    <a:pt x="2328" y="360"/>
                    <a:pt x="2381" y="320"/>
                    <a:pt x="2504" y="320"/>
                  </a:cubicBezTo>
                  <a:cubicBezTo>
                    <a:pt x="2627" y="320"/>
                    <a:pt x="2681" y="361"/>
                    <a:pt x="2761" y="421"/>
                  </a:cubicBezTo>
                  <a:cubicBezTo>
                    <a:pt x="2859" y="495"/>
                    <a:pt x="2981" y="587"/>
                    <a:pt x="3211" y="587"/>
                  </a:cubicBezTo>
                  <a:cubicBezTo>
                    <a:pt x="3299" y="587"/>
                    <a:pt x="3371" y="515"/>
                    <a:pt x="3371" y="427"/>
                  </a:cubicBezTo>
                  <a:cubicBezTo>
                    <a:pt x="3371" y="339"/>
                    <a:pt x="3299" y="267"/>
                    <a:pt x="3211" y="267"/>
                  </a:cubicBezTo>
                  <a:cubicBezTo>
                    <a:pt x="3088" y="267"/>
                    <a:pt x="3035" y="227"/>
                    <a:pt x="2954" y="166"/>
                  </a:cubicBezTo>
                  <a:cubicBezTo>
                    <a:pt x="2856" y="92"/>
                    <a:pt x="2735" y="0"/>
                    <a:pt x="2504" y="0"/>
                  </a:cubicBezTo>
                  <a:cubicBezTo>
                    <a:pt x="2274" y="0"/>
                    <a:pt x="2152" y="92"/>
                    <a:pt x="2055" y="166"/>
                  </a:cubicBezTo>
                  <a:cubicBezTo>
                    <a:pt x="1974" y="227"/>
                    <a:pt x="1921" y="267"/>
                    <a:pt x="1798" y="267"/>
                  </a:cubicBezTo>
                  <a:cubicBezTo>
                    <a:pt x="1675" y="267"/>
                    <a:pt x="1622" y="227"/>
                    <a:pt x="1541" y="166"/>
                  </a:cubicBezTo>
                  <a:cubicBezTo>
                    <a:pt x="1443" y="92"/>
                    <a:pt x="1322" y="0"/>
                    <a:pt x="1091" y="0"/>
                  </a:cubicBezTo>
                  <a:cubicBezTo>
                    <a:pt x="861" y="0"/>
                    <a:pt x="740" y="92"/>
                    <a:pt x="642" y="166"/>
                  </a:cubicBezTo>
                  <a:cubicBezTo>
                    <a:pt x="561" y="227"/>
                    <a:pt x="508" y="267"/>
                    <a:pt x="385" y="267"/>
                  </a:cubicBezTo>
                  <a:cubicBezTo>
                    <a:pt x="297" y="267"/>
                    <a:pt x="225" y="339"/>
                    <a:pt x="225" y="427"/>
                  </a:cubicBezTo>
                  <a:cubicBezTo>
                    <a:pt x="225" y="493"/>
                    <a:pt x="265" y="549"/>
                    <a:pt x="321" y="574"/>
                  </a:cubicBezTo>
                  <a:lnTo>
                    <a:pt x="224" y="574"/>
                  </a:lnTo>
                  <a:cubicBezTo>
                    <a:pt x="167" y="574"/>
                    <a:pt x="120" y="618"/>
                    <a:pt x="117" y="675"/>
                  </a:cubicBezTo>
                  <a:lnTo>
                    <a:pt x="1" y="3182"/>
                  </a:lnTo>
                  <a:cubicBezTo>
                    <a:pt x="0" y="3211"/>
                    <a:pt x="10" y="3240"/>
                    <a:pt x="31" y="3261"/>
                  </a:cubicBezTo>
                  <a:cubicBezTo>
                    <a:pt x="51" y="3282"/>
                    <a:pt x="79" y="3294"/>
                    <a:pt x="108" y="3294"/>
                  </a:cubicBezTo>
                  <a:lnTo>
                    <a:pt x="3859" y="3294"/>
                  </a:lnTo>
                  <a:cubicBezTo>
                    <a:pt x="3918" y="3294"/>
                    <a:pt x="3961" y="3246"/>
                    <a:pt x="3961" y="3187"/>
                  </a:cubicBezTo>
                  <a:lnTo>
                    <a:pt x="3961" y="1418"/>
                  </a:lnTo>
                  <a:cubicBezTo>
                    <a:pt x="3961" y="1375"/>
                    <a:pt x="3938" y="1336"/>
                    <a:pt x="3898" y="1320"/>
                  </a:cubicBezTo>
                  <a:close/>
                  <a:moveTo>
                    <a:pt x="3668" y="2747"/>
                  </a:moveTo>
                  <a:cubicBezTo>
                    <a:pt x="3668" y="2806"/>
                    <a:pt x="3620" y="2854"/>
                    <a:pt x="3561" y="2854"/>
                  </a:cubicBezTo>
                  <a:lnTo>
                    <a:pt x="3281" y="2854"/>
                  </a:lnTo>
                  <a:cubicBezTo>
                    <a:pt x="3222" y="2854"/>
                    <a:pt x="3174" y="2806"/>
                    <a:pt x="3174" y="2747"/>
                  </a:cubicBezTo>
                  <a:lnTo>
                    <a:pt x="3174" y="2494"/>
                  </a:lnTo>
                  <a:cubicBezTo>
                    <a:pt x="3174" y="2435"/>
                    <a:pt x="3222" y="2387"/>
                    <a:pt x="3281" y="2387"/>
                  </a:cubicBezTo>
                  <a:lnTo>
                    <a:pt x="3561" y="2387"/>
                  </a:lnTo>
                  <a:cubicBezTo>
                    <a:pt x="3620" y="2387"/>
                    <a:pt x="3668" y="2435"/>
                    <a:pt x="3668" y="2494"/>
                  </a:cubicBezTo>
                  <a:lnTo>
                    <a:pt x="3668" y="2747"/>
                  </a:lnTo>
                  <a:close/>
                  <a:moveTo>
                    <a:pt x="2601" y="2747"/>
                  </a:moveTo>
                  <a:cubicBezTo>
                    <a:pt x="2601" y="2806"/>
                    <a:pt x="2553" y="2854"/>
                    <a:pt x="2494" y="2854"/>
                  </a:cubicBezTo>
                  <a:lnTo>
                    <a:pt x="2228" y="2854"/>
                  </a:lnTo>
                  <a:cubicBezTo>
                    <a:pt x="2169" y="2854"/>
                    <a:pt x="2121" y="2806"/>
                    <a:pt x="2121" y="2747"/>
                  </a:cubicBezTo>
                  <a:lnTo>
                    <a:pt x="2121" y="2494"/>
                  </a:lnTo>
                  <a:cubicBezTo>
                    <a:pt x="2121" y="2435"/>
                    <a:pt x="2169" y="2387"/>
                    <a:pt x="2228" y="2387"/>
                  </a:cubicBezTo>
                  <a:lnTo>
                    <a:pt x="2494" y="2387"/>
                  </a:lnTo>
                  <a:cubicBezTo>
                    <a:pt x="2553" y="2387"/>
                    <a:pt x="2601" y="2435"/>
                    <a:pt x="2601" y="2494"/>
                  </a:cubicBezTo>
                  <a:lnTo>
                    <a:pt x="2601" y="2747"/>
                  </a:lnTo>
                  <a:close/>
                  <a:moveTo>
                    <a:pt x="1548" y="2747"/>
                  </a:moveTo>
                  <a:cubicBezTo>
                    <a:pt x="1548" y="2806"/>
                    <a:pt x="1500" y="2854"/>
                    <a:pt x="1441" y="2854"/>
                  </a:cubicBezTo>
                  <a:lnTo>
                    <a:pt x="1174" y="2854"/>
                  </a:lnTo>
                  <a:cubicBezTo>
                    <a:pt x="1115" y="2854"/>
                    <a:pt x="1068" y="2806"/>
                    <a:pt x="1068" y="2747"/>
                  </a:cubicBezTo>
                  <a:lnTo>
                    <a:pt x="1068" y="2494"/>
                  </a:lnTo>
                  <a:cubicBezTo>
                    <a:pt x="1068" y="2435"/>
                    <a:pt x="1115" y="2387"/>
                    <a:pt x="1174" y="2387"/>
                  </a:cubicBezTo>
                  <a:lnTo>
                    <a:pt x="1441" y="2387"/>
                  </a:lnTo>
                  <a:cubicBezTo>
                    <a:pt x="1500" y="2387"/>
                    <a:pt x="1548" y="2435"/>
                    <a:pt x="1548" y="2494"/>
                  </a:cubicBezTo>
                  <a:lnTo>
                    <a:pt x="1548" y="2747"/>
                  </a:lnTo>
                  <a:close/>
                </a:path>
              </a:pathLst>
            </a:custGeom>
            <a:grpFill/>
            <a:ln>
              <a:noFill/>
            </a:ln>
          </p:spPr>
          <p:txBody>
            <a:bodyPr/>
            <a:lstStyle/>
            <a:p>
              <a:endParaRPr lang="zh-CN" altLang="en-US"/>
            </a:p>
          </p:txBody>
        </p:sp>
        <p:sp>
          <p:nvSpPr>
            <p:cNvPr id="97" name="birthday-wrapped-present_18067"/>
            <p:cNvSpPr>
              <a:spLocks noChangeAspect="1"/>
            </p:cNvSpPr>
            <p:nvPr/>
          </p:nvSpPr>
          <p:spPr bwMode="auto">
            <a:xfrm>
              <a:off x="5507595" y="6103332"/>
              <a:ext cx="557376" cy="609684"/>
            </a:xfrm>
            <a:custGeom>
              <a:avLst/>
              <a:gdLst>
                <a:gd name="connsiteX0" fmla="*/ 31896 w 556408"/>
                <a:gd name="connsiteY0" fmla="*/ 234771 h 608626"/>
                <a:gd name="connsiteX1" fmla="*/ 246751 w 556408"/>
                <a:gd name="connsiteY1" fmla="*/ 234771 h 608626"/>
                <a:gd name="connsiteX2" fmla="*/ 246751 w 556408"/>
                <a:gd name="connsiteY2" fmla="*/ 591755 h 608626"/>
                <a:gd name="connsiteX3" fmla="*/ 278134 w 556408"/>
                <a:gd name="connsiteY3" fmla="*/ 591755 h 608626"/>
                <a:gd name="connsiteX4" fmla="*/ 309517 w 556408"/>
                <a:gd name="connsiteY4" fmla="*/ 591755 h 608626"/>
                <a:gd name="connsiteX5" fmla="*/ 309517 w 556408"/>
                <a:gd name="connsiteY5" fmla="*/ 234771 h 608626"/>
                <a:gd name="connsiteX6" fmla="*/ 524372 w 556408"/>
                <a:gd name="connsiteY6" fmla="*/ 234771 h 608626"/>
                <a:gd name="connsiteX7" fmla="*/ 524372 w 556408"/>
                <a:gd name="connsiteY7" fmla="*/ 608626 h 608626"/>
                <a:gd name="connsiteX8" fmla="*/ 278134 w 556408"/>
                <a:gd name="connsiteY8" fmla="*/ 608626 h 608626"/>
                <a:gd name="connsiteX9" fmla="*/ 31896 w 556408"/>
                <a:gd name="connsiteY9" fmla="*/ 608626 h 608626"/>
                <a:gd name="connsiteX10" fmla="*/ 246777 w 556408"/>
                <a:gd name="connsiteY10" fmla="*/ 117807 h 608626"/>
                <a:gd name="connsiteX11" fmla="*/ 246777 w 556408"/>
                <a:gd name="connsiteY11" fmla="*/ 200300 h 608626"/>
                <a:gd name="connsiteX12" fmla="*/ 278158 w 556408"/>
                <a:gd name="connsiteY12" fmla="*/ 200300 h 608626"/>
                <a:gd name="connsiteX13" fmla="*/ 309538 w 556408"/>
                <a:gd name="connsiteY13" fmla="*/ 200300 h 608626"/>
                <a:gd name="connsiteX14" fmla="*/ 309538 w 556408"/>
                <a:gd name="connsiteY14" fmla="*/ 117807 h 608626"/>
                <a:gd name="connsiteX15" fmla="*/ 278158 w 556408"/>
                <a:gd name="connsiteY15" fmla="*/ 117807 h 608626"/>
                <a:gd name="connsiteX16" fmla="*/ 391333 w 556408"/>
                <a:gd name="connsiteY16" fmla="*/ 16962 h 608626"/>
                <a:gd name="connsiteX17" fmla="*/ 324672 w 556408"/>
                <a:gd name="connsiteY17" fmla="*/ 65809 h 608626"/>
                <a:gd name="connsiteX18" fmla="*/ 296912 w 556408"/>
                <a:gd name="connsiteY18" fmla="*/ 94357 h 608626"/>
                <a:gd name="connsiteX19" fmla="*/ 302761 w 556408"/>
                <a:gd name="connsiteY19" fmla="*/ 94820 h 608626"/>
                <a:gd name="connsiteX20" fmla="*/ 364037 w 556408"/>
                <a:gd name="connsiteY20" fmla="*/ 94820 h 608626"/>
                <a:gd name="connsiteX21" fmla="*/ 429863 w 556408"/>
                <a:gd name="connsiteY21" fmla="*/ 70814 h 608626"/>
                <a:gd name="connsiteX22" fmla="*/ 423550 w 556408"/>
                <a:gd name="connsiteY22" fmla="*/ 35036 h 608626"/>
                <a:gd name="connsiteX23" fmla="*/ 391333 w 556408"/>
                <a:gd name="connsiteY23" fmla="*/ 16962 h 608626"/>
                <a:gd name="connsiteX24" fmla="*/ 165075 w 556408"/>
                <a:gd name="connsiteY24" fmla="*/ 16962 h 608626"/>
                <a:gd name="connsiteX25" fmla="*/ 132765 w 556408"/>
                <a:gd name="connsiteY25" fmla="*/ 35036 h 608626"/>
                <a:gd name="connsiteX26" fmla="*/ 126452 w 556408"/>
                <a:gd name="connsiteY26" fmla="*/ 70814 h 608626"/>
                <a:gd name="connsiteX27" fmla="*/ 192278 w 556408"/>
                <a:gd name="connsiteY27" fmla="*/ 94820 h 608626"/>
                <a:gd name="connsiteX28" fmla="*/ 253554 w 556408"/>
                <a:gd name="connsiteY28" fmla="*/ 94820 h 608626"/>
                <a:gd name="connsiteX29" fmla="*/ 259403 w 556408"/>
                <a:gd name="connsiteY29" fmla="*/ 94357 h 608626"/>
                <a:gd name="connsiteX30" fmla="*/ 231643 w 556408"/>
                <a:gd name="connsiteY30" fmla="*/ 65809 h 608626"/>
                <a:gd name="connsiteX31" fmla="*/ 165075 w 556408"/>
                <a:gd name="connsiteY31" fmla="*/ 16962 h 608626"/>
                <a:gd name="connsiteX32" fmla="*/ 165075 w 556408"/>
                <a:gd name="connsiteY32" fmla="*/ 0 h 608626"/>
                <a:gd name="connsiteX33" fmla="*/ 244270 w 556408"/>
                <a:gd name="connsiteY33" fmla="*/ 54408 h 608626"/>
                <a:gd name="connsiteX34" fmla="*/ 278158 w 556408"/>
                <a:gd name="connsiteY34" fmla="*/ 87591 h 608626"/>
                <a:gd name="connsiteX35" fmla="*/ 312045 w 556408"/>
                <a:gd name="connsiteY35" fmla="*/ 54408 h 608626"/>
                <a:gd name="connsiteX36" fmla="*/ 391240 w 556408"/>
                <a:gd name="connsiteY36" fmla="*/ 0 h 608626"/>
                <a:gd name="connsiteX37" fmla="*/ 436826 w 556408"/>
                <a:gd name="connsiteY37" fmla="*/ 24377 h 608626"/>
                <a:gd name="connsiteX38" fmla="*/ 437662 w 556408"/>
                <a:gd name="connsiteY38" fmla="*/ 25582 h 608626"/>
                <a:gd name="connsiteX39" fmla="*/ 444625 w 556408"/>
                <a:gd name="connsiteY39" fmla="*/ 79063 h 608626"/>
                <a:gd name="connsiteX40" fmla="*/ 429027 w 556408"/>
                <a:gd name="connsiteY40" fmla="*/ 94728 h 608626"/>
                <a:gd name="connsiteX41" fmla="*/ 556408 w 556408"/>
                <a:gd name="connsiteY41" fmla="*/ 94728 h 608626"/>
                <a:gd name="connsiteX42" fmla="*/ 556408 w 556408"/>
                <a:gd name="connsiteY42" fmla="*/ 216706 h 608626"/>
                <a:gd name="connsiteX43" fmla="*/ 278158 w 556408"/>
                <a:gd name="connsiteY43" fmla="*/ 216706 h 608626"/>
                <a:gd name="connsiteX44" fmla="*/ 0 w 556408"/>
                <a:gd name="connsiteY44" fmla="*/ 216706 h 608626"/>
                <a:gd name="connsiteX45" fmla="*/ 0 w 556408"/>
                <a:gd name="connsiteY45" fmla="*/ 94728 h 608626"/>
                <a:gd name="connsiteX46" fmla="*/ 127288 w 556408"/>
                <a:gd name="connsiteY46" fmla="*/ 94728 h 608626"/>
                <a:gd name="connsiteX47" fmla="*/ 111690 w 556408"/>
                <a:gd name="connsiteY47" fmla="*/ 79063 h 608626"/>
                <a:gd name="connsiteX48" fmla="*/ 118653 w 556408"/>
                <a:gd name="connsiteY48" fmla="*/ 25582 h 608626"/>
                <a:gd name="connsiteX49" fmla="*/ 119582 w 556408"/>
                <a:gd name="connsiteY49" fmla="*/ 24377 h 608626"/>
                <a:gd name="connsiteX50" fmla="*/ 165075 w 556408"/>
                <a:gd name="connsiteY50" fmla="*/ 0 h 608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56408" h="608626">
                  <a:moveTo>
                    <a:pt x="31896" y="234771"/>
                  </a:moveTo>
                  <a:lnTo>
                    <a:pt x="246751" y="234771"/>
                  </a:lnTo>
                  <a:lnTo>
                    <a:pt x="246751" y="591755"/>
                  </a:lnTo>
                  <a:lnTo>
                    <a:pt x="278134" y="591755"/>
                  </a:lnTo>
                  <a:lnTo>
                    <a:pt x="309517" y="591755"/>
                  </a:lnTo>
                  <a:lnTo>
                    <a:pt x="309517" y="234771"/>
                  </a:lnTo>
                  <a:lnTo>
                    <a:pt x="524372" y="234771"/>
                  </a:lnTo>
                  <a:lnTo>
                    <a:pt x="524372" y="608626"/>
                  </a:lnTo>
                  <a:lnTo>
                    <a:pt x="278134" y="608626"/>
                  </a:lnTo>
                  <a:lnTo>
                    <a:pt x="31896" y="608626"/>
                  </a:lnTo>
                  <a:close/>
                  <a:moveTo>
                    <a:pt x="246777" y="117807"/>
                  </a:moveTo>
                  <a:lnTo>
                    <a:pt x="246777" y="200300"/>
                  </a:lnTo>
                  <a:lnTo>
                    <a:pt x="278158" y="200300"/>
                  </a:lnTo>
                  <a:lnTo>
                    <a:pt x="309538" y="200300"/>
                  </a:lnTo>
                  <a:lnTo>
                    <a:pt x="309538" y="117807"/>
                  </a:lnTo>
                  <a:lnTo>
                    <a:pt x="278158" y="117807"/>
                  </a:lnTo>
                  <a:close/>
                  <a:moveTo>
                    <a:pt x="391333" y="16962"/>
                  </a:moveTo>
                  <a:cubicBezTo>
                    <a:pt x="368865" y="16962"/>
                    <a:pt x="346397" y="41803"/>
                    <a:pt x="324672" y="65809"/>
                  </a:cubicBezTo>
                  <a:cubicBezTo>
                    <a:pt x="315202" y="76190"/>
                    <a:pt x="306103" y="86386"/>
                    <a:pt x="296912" y="94357"/>
                  </a:cubicBezTo>
                  <a:cubicBezTo>
                    <a:pt x="298769" y="94450"/>
                    <a:pt x="300811" y="94635"/>
                    <a:pt x="302761" y="94820"/>
                  </a:cubicBezTo>
                  <a:lnTo>
                    <a:pt x="364037" y="94820"/>
                  </a:lnTo>
                  <a:cubicBezTo>
                    <a:pt x="398389" y="94357"/>
                    <a:pt x="422528" y="83791"/>
                    <a:pt x="429863" y="70814"/>
                  </a:cubicBezTo>
                  <a:cubicBezTo>
                    <a:pt x="435898" y="59043"/>
                    <a:pt x="431070" y="45047"/>
                    <a:pt x="423550" y="35036"/>
                  </a:cubicBezTo>
                  <a:cubicBezTo>
                    <a:pt x="412687" y="22801"/>
                    <a:pt x="402103" y="16962"/>
                    <a:pt x="391333" y="16962"/>
                  </a:cubicBezTo>
                  <a:close/>
                  <a:moveTo>
                    <a:pt x="165075" y="16962"/>
                  </a:moveTo>
                  <a:cubicBezTo>
                    <a:pt x="154212" y="16962"/>
                    <a:pt x="143628" y="22801"/>
                    <a:pt x="132765" y="35036"/>
                  </a:cubicBezTo>
                  <a:cubicBezTo>
                    <a:pt x="125245" y="45047"/>
                    <a:pt x="120417" y="59043"/>
                    <a:pt x="126452" y="70814"/>
                  </a:cubicBezTo>
                  <a:cubicBezTo>
                    <a:pt x="133787" y="83791"/>
                    <a:pt x="157926" y="94357"/>
                    <a:pt x="192278" y="94820"/>
                  </a:cubicBezTo>
                  <a:lnTo>
                    <a:pt x="253554" y="94820"/>
                  </a:lnTo>
                  <a:cubicBezTo>
                    <a:pt x="255504" y="94635"/>
                    <a:pt x="257546" y="94450"/>
                    <a:pt x="259403" y="94357"/>
                  </a:cubicBezTo>
                  <a:cubicBezTo>
                    <a:pt x="250305" y="86386"/>
                    <a:pt x="241113" y="76190"/>
                    <a:pt x="231643" y="65809"/>
                  </a:cubicBezTo>
                  <a:cubicBezTo>
                    <a:pt x="209918" y="41803"/>
                    <a:pt x="187450" y="16962"/>
                    <a:pt x="165075" y="16962"/>
                  </a:cubicBezTo>
                  <a:close/>
                  <a:moveTo>
                    <a:pt x="165075" y="0"/>
                  </a:moveTo>
                  <a:cubicBezTo>
                    <a:pt x="195063" y="0"/>
                    <a:pt x="220038" y="27621"/>
                    <a:pt x="244270" y="54408"/>
                  </a:cubicBezTo>
                  <a:cubicBezTo>
                    <a:pt x="256247" y="67663"/>
                    <a:pt x="267666" y="80176"/>
                    <a:pt x="278158" y="87591"/>
                  </a:cubicBezTo>
                  <a:cubicBezTo>
                    <a:pt x="288649" y="80176"/>
                    <a:pt x="300069" y="67663"/>
                    <a:pt x="312045" y="54408"/>
                  </a:cubicBezTo>
                  <a:cubicBezTo>
                    <a:pt x="336277" y="27621"/>
                    <a:pt x="361252" y="0"/>
                    <a:pt x="391240" y="0"/>
                  </a:cubicBezTo>
                  <a:cubicBezTo>
                    <a:pt x="407209" y="0"/>
                    <a:pt x="423364" y="8064"/>
                    <a:pt x="436826" y="24377"/>
                  </a:cubicBezTo>
                  <a:lnTo>
                    <a:pt x="437662" y="25582"/>
                  </a:lnTo>
                  <a:cubicBezTo>
                    <a:pt x="450846" y="44583"/>
                    <a:pt x="453445" y="62565"/>
                    <a:pt x="444625" y="79063"/>
                  </a:cubicBezTo>
                  <a:cubicBezTo>
                    <a:pt x="441190" y="85181"/>
                    <a:pt x="435898" y="90279"/>
                    <a:pt x="429027" y="94728"/>
                  </a:cubicBezTo>
                  <a:lnTo>
                    <a:pt x="556408" y="94728"/>
                  </a:lnTo>
                  <a:lnTo>
                    <a:pt x="556408" y="216706"/>
                  </a:lnTo>
                  <a:lnTo>
                    <a:pt x="278158" y="216706"/>
                  </a:lnTo>
                  <a:lnTo>
                    <a:pt x="0" y="216706"/>
                  </a:lnTo>
                  <a:lnTo>
                    <a:pt x="0" y="94728"/>
                  </a:lnTo>
                  <a:lnTo>
                    <a:pt x="127288" y="94728"/>
                  </a:lnTo>
                  <a:cubicBezTo>
                    <a:pt x="120417" y="90279"/>
                    <a:pt x="115125" y="85181"/>
                    <a:pt x="111690" y="79063"/>
                  </a:cubicBezTo>
                  <a:cubicBezTo>
                    <a:pt x="102870" y="62565"/>
                    <a:pt x="105470" y="44583"/>
                    <a:pt x="118653" y="25582"/>
                  </a:cubicBezTo>
                  <a:lnTo>
                    <a:pt x="119582" y="24377"/>
                  </a:lnTo>
                  <a:cubicBezTo>
                    <a:pt x="132951" y="8064"/>
                    <a:pt x="149106" y="0"/>
                    <a:pt x="165075" y="0"/>
                  </a:cubicBezTo>
                  <a:close/>
                </a:path>
              </a:pathLst>
            </a:custGeom>
            <a:grpFill/>
            <a:ln>
              <a:noFill/>
            </a:ln>
          </p:spPr>
          <p:txBody>
            <a:bodyPr/>
            <a:lstStyle/>
            <a:p>
              <a:endParaRPr lang="zh-CN" altLang="en-US"/>
            </a:p>
          </p:txBody>
        </p:sp>
        <p:cxnSp>
          <p:nvCxnSpPr>
            <p:cNvPr id="99" name="直接箭头连接符 98"/>
            <p:cNvCxnSpPr>
              <a:endCxn id="97" idx="45"/>
            </p:cNvCxnSpPr>
            <p:nvPr/>
          </p:nvCxnSpPr>
          <p:spPr>
            <a:xfrm>
              <a:off x="4999703" y="5692877"/>
              <a:ext cx="507892" cy="505348"/>
            </a:xfrm>
            <a:prstGeom prst="straightConnector1">
              <a:avLst/>
            </a:prstGeom>
            <a:grpFill/>
            <a:ln>
              <a:solidFill>
                <a:srgbClr val="69747E"/>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直接箭头连接符 100"/>
            <p:cNvCxnSpPr>
              <a:stCxn id="95" idx="4"/>
              <a:endCxn id="97" idx="41"/>
            </p:cNvCxnSpPr>
            <p:nvPr/>
          </p:nvCxnSpPr>
          <p:spPr>
            <a:xfrm flipH="1">
              <a:off x="6064972" y="5641844"/>
              <a:ext cx="545715" cy="556381"/>
            </a:xfrm>
            <a:prstGeom prst="straightConnector1">
              <a:avLst/>
            </a:prstGeom>
            <a:grpFill/>
            <a:ln>
              <a:solidFill>
                <a:srgbClr val="69747E"/>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15" name="组合 114"/>
          <p:cNvGrpSpPr/>
          <p:nvPr/>
        </p:nvGrpSpPr>
        <p:grpSpPr>
          <a:xfrm>
            <a:off x="806204" y="4861744"/>
            <a:ext cx="2364743" cy="1555757"/>
            <a:chOff x="732461" y="4861744"/>
            <a:chExt cx="2364743" cy="1555757"/>
          </a:xfrm>
          <a:solidFill>
            <a:srgbClr val="008CD7"/>
          </a:solidFill>
        </p:grpSpPr>
        <p:sp>
          <p:nvSpPr>
            <p:cNvPr id="103" name="industrial_386626"/>
            <p:cNvSpPr>
              <a:spLocks noChangeAspect="1"/>
            </p:cNvSpPr>
            <p:nvPr/>
          </p:nvSpPr>
          <p:spPr bwMode="auto">
            <a:xfrm>
              <a:off x="1558370" y="4861744"/>
              <a:ext cx="609685" cy="595524"/>
            </a:xfrm>
            <a:custGeom>
              <a:avLst/>
              <a:gdLst>
                <a:gd name="connsiteX0" fmla="*/ 435844 w 607639"/>
                <a:gd name="connsiteY0" fmla="*/ 435307 h 593526"/>
                <a:gd name="connsiteX1" fmla="*/ 435844 w 607639"/>
                <a:gd name="connsiteY1" fmla="*/ 474864 h 593526"/>
                <a:gd name="connsiteX2" fmla="*/ 475531 w 607639"/>
                <a:gd name="connsiteY2" fmla="*/ 474864 h 593526"/>
                <a:gd name="connsiteX3" fmla="*/ 475531 w 607639"/>
                <a:gd name="connsiteY3" fmla="*/ 435307 h 593526"/>
                <a:gd name="connsiteX4" fmla="*/ 356649 w 607639"/>
                <a:gd name="connsiteY4" fmla="*/ 435307 h 593526"/>
                <a:gd name="connsiteX5" fmla="*/ 356649 w 607639"/>
                <a:gd name="connsiteY5" fmla="*/ 474864 h 593526"/>
                <a:gd name="connsiteX6" fmla="*/ 396246 w 607639"/>
                <a:gd name="connsiteY6" fmla="*/ 474864 h 593526"/>
                <a:gd name="connsiteX7" fmla="*/ 396246 w 607639"/>
                <a:gd name="connsiteY7" fmla="*/ 435307 h 593526"/>
                <a:gd name="connsiteX8" fmla="*/ 198116 w 607639"/>
                <a:gd name="connsiteY8" fmla="*/ 435307 h 593526"/>
                <a:gd name="connsiteX9" fmla="*/ 198116 w 607639"/>
                <a:gd name="connsiteY9" fmla="*/ 474864 h 593526"/>
                <a:gd name="connsiteX10" fmla="*/ 237710 w 607639"/>
                <a:gd name="connsiteY10" fmla="*/ 474864 h 593526"/>
                <a:gd name="connsiteX11" fmla="*/ 237710 w 607639"/>
                <a:gd name="connsiteY11" fmla="*/ 435307 h 593526"/>
                <a:gd name="connsiteX12" fmla="*/ 118928 w 607639"/>
                <a:gd name="connsiteY12" fmla="*/ 435307 h 593526"/>
                <a:gd name="connsiteX13" fmla="*/ 118928 w 607639"/>
                <a:gd name="connsiteY13" fmla="*/ 474864 h 593526"/>
                <a:gd name="connsiteX14" fmla="*/ 158522 w 607639"/>
                <a:gd name="connsiteY14" fmla="*/ 474864 h 593526"/>
                <a:gd name="connsiteX15" fmla="*/ 158522 w 607639"/>
                <a:gd name="connsiteY15" fmla="*/ 435307 h 593526"/>
                <a:gd name="connsiteX16" fmla="*/ 336806 w 607639"/>
                <a:gd name="connsiteY16" fmla="*/ 395660 h 593526"/>
                <a:gd name="connsiteX17" fmla="*/ 495285 w 607639"/>
                <a:gd name="connsiteY17" fmla="*/ 395660 h 593526"/>
                <a:gd name="connsiteX18" fmla="*/ 515128 w 607639"/>
                <a:gd name="connsiteY18" fmla="*/ 415483 h 593526"/>
                <a:gd name="connsiteX19" fmla="*/ 515128 w 607639"/>
                <a:gd name="connsiteY19" fmla="*/ 494599 h 593526"/>
                <a:gd name="connsiteX20" fmla="*/ 495285 w 607639"/>
                <a:gd name="connsiteY20" fmla="*/ 514422 h 593526"/>
                <a:gd name="connsiteX21" fmla="*/ 336806 w 607639"/>
                <a:gd name="connsiteY21" fmla="*/ 514422 h 593526"/>
                <a:gd name="connsiteX22" fmla="*/ 317051 w 607639"/>
                <a:gd name="connsiteY22" fmla="*/ 494599 h 593526"/>
                <a:gd name="connsiteX23" fmla="*/ 317051 w 607639"/>
                <a:gd name="connsiteY23" fmla="*/ 415483 h 593526"/>
                <a:gd name="connsiteX24" fmla="*/ 336806 w 607639"/>
                <a:gd name="connsiteY24" fmla="*/ 395660 h 593526"/>
                <a:gd name="connsiteX25" fmla="*/ 99086 w 607639"/>
                <a:gd name="connsiteY25" fmla="*/ 395660 h 593526"/>
                <a:gd name="connsiteX26" fmla="*/ 257551 w 607639"/>
                <a:gd name="connsiteY26" fmla="*/ 395660 h 593526"/>
                <a:gd name="connsiteX27" fmla="*/ 277393 w 607639"/>
                <a:gd name="connsiteY27" fmla="*/ 415483 h 593526"/>
                <a:gd name="connsiteX28" fmla="*/ 277393 w 607639"/>
                <a:gd name="connsiteY28" fmla="*/ 494599 h 593526"/>
                <a:gd name="connsiteX29" fmla="*/ 257551 w 607639"/>
                <a:gd name="connsiteY29" fmla="*/ 514422 h 593526"/>
                <a:gd name="connsiteX30" fmla="*/ 99086 w 607639"/>
                <a:gd name="connsiteY30" fmla="*/ 514422 h 593526"/>
                <a:gd name="connsiteX31" fmla="*/ 79245 w 607639"/>
                <a:gd name="connsiteY31" fmla="*/ 494599 h 593526"/>
                <a:gd name="connsiteX32" fmla="*/ 79245 w 607639"/>
                <a:gd name="connsiteY32" fmla="*/ 415483 h 593526"/>
                <a:gd name="connsiteX33" fmla="*/ 99086 w 607639"/>
                <a:gd name="connsiteY33" fmla="*/ 395660 h 593526"/>
                <a:gd name="connsiteX34" fmla="*/ 493712 w 607639"/>
                <a:gd name="connsiteY34" fmla="*/ 277032 h 593526"/>
                <a:gd name="connsiteX35" fmla="*/ 490419 w 607639"/>
                <a:gd name="connsiteY35" fmla="*/ 316583 h 593526"/>
                <a:gd name="connsiteX36" fmla="*/ 566252 w 607639"/>
                <a:gd name="connsiteY36" fmla="*/ 316583 h 593526"/>
                <a:gd name="connsiteX37" fmla="*/ 562959 w 607639"/>
                <a:gd name="connsiteY37" fmla="*/ 277032 h 593526"/>
                <a:gd name="connsiteX38" fmla="*/ 178277 w 607639"/>
                <a:gd name="connsiteY38" fmla="*/ 254635 h 593526"/>
                <a:gd name="connsiteX39" fmla="*/ 39607 w 607639"/>
                <a:gd name="connsiteY39" fmla="*/ 346979 h 593526"/>
                <a:gd name="connsiteX40" fmla="*/ 39607 w 607639"/>
                <a:gd name="connsiteY40" fmla="*/ 553976 h 593526"/>
                <a:gd name="connsiteX41" fmla="*/ 567943 w 607639"/>
                <a:gd name="connsiteY41" fmla="*/ 553976 h 593526"/>
                <a:gd name="connsiteX42" fmla="*/ 567943 w 607639"/>
                <a:gd name="connsiteY42" fmla="*/ 356133 h 593526"/>
                <a:gd name="connsiteX43" fmla="*/ 376493 w 607639"/>
                <a:gd name="connsiteY43" fmla="*/ 356133 h 593526"/>
                <a:gd name="connsiteX44" fmla="*/ 356644 w 607639"/>
                <a:gd name="connsiteY44" fmla="*/ 336402 h 593526"/>
                <a:gd name="connsiteX45" fmla="*/ 356644 w 607639"/>
                <a:gd name="connsiteY45" fmla="*/ 254635 h 593526"/>
                <a:gd name="connsiteX46" fmla="*/ 209162 w 607639"/>
                <a:gd name="connsiteY46" fmla="*/ 352845 h 593526"/>
                <a:gd name="connsiteX47" fmla="*/ 178277 w 607639"/>
                <a:gd name="connsiteY47" fmla="*/ 336402 h 593526"/>
                <a:gd name="connsiteX48" fmla="*/ 500388 w 607639"/>
                <a:gd name="connsiteY48" fmla="*/ 197842 h 593526"/>
                <a:gd name="connsiteX49" fmla="*/ 497095 w 607639"/>
                <a:gd name="connsiteY49" fmla="*/ 237481 h 593526"/>
                <a:gd name="connsiteX50" fmla="*/ 559665 w 607639"/>
                <a:gd name="connsiteY50" fmla="*/ 237481 h 593526"/>
                <a:gd name="connsiteX51" fmla="*/ 556372 w 607639"/>
                <a:gd name="connsiteY51" fmla="*/ 197842 h 593526"/>
                <a:gd name="connsiteX52" fmla="*/ 506974 w 607639"/>
                <a:gd name="connsiteY52" fmla="*/ 118741 h 593526"/>
                <a:gd name="connsiteX53" fmla="*/ 503681 w 607639"/>
                <a:gd name="connsiteY53" fmla="*/ 158291 h 593526"/>
                <a:gd name="connsiteX54" fmla="*/ 553079 w 607639"/>
                <a:gd name="connsiteY54" fmla="*/ 158291 h 593526"/>
                <a:gd name="connsiteX55" fmla="*/ 549786 w 607639"/>
                <a:gd name="connsiteY55" fmla="*/ 118741 h 593526"/>
                <a:gd name="connsiteX56" fmla="*/ 350058 w 607639"/>
                <a:gd name="connsiteY56" fmla="*/ 39550 h 593526"/>
                <a:gd name="connsiteX57" fmla="*/ 330210 w 607639"/>
                <a:gd name="connsiteY57" fmla="*/ 59370 h 593526"/>
                <a:gd name="connsiteX58" fmla="*/ 310450 w 607639"/>
                <a:gd name="connsiteY58" fmla="*/ 79190 h 593526"/>
                <a:gd name="connsiteX59" fmla="*/ 231146 w 607639"/>
                <a:gd name="connsiteY59" fmla="*/ 79190 h 593526"/>
                <a:gd name="connsiteX60" fmla="*/ 211298 w 607639"/>
                <a:gd name="connsiteY60" fmla="*/ 98921 h 593526"/>
                <a:gd name="connsiteX61" fmla="*/ 231146 w 607639"/>
                <a:gd name="connsiteY61" fmla="*/ 118741 h 593526"/>
                <a:gd name="connsiteX62" fmla="*/ 350058 w 607639"/>
                <a:gd name="connsiteY62" fmla="*/ 118741 h 593526"/>
                <a:gd name="connsiteX63" fmla="*/ 369817 w 607639"/>
                <a:gd name="connsiteY63" fmla="*/ 98921 h 593526"/>
                <a:gd name="connsiteX64" fmla="*/ 389665 w 607639"/>
                <a:gd name="connsiteY64" fmla="*/ 79190 h 593526"/>
                <a:gd name="connsiteX65" fmla="*/ 488728 w 607639"/>
                <a:gd name="connsiteY65" fmla="*/ 79190 h 593526"/>
                <a:gd name="connsiteX66" fmla="*/ 548184 w 607639"/>
                <a:gd name="connsiteY66" fmla="*/ 79190 h 593526"/>
                <a:gd name="connsiteX67" fmla="*/ 548184 w 607639"/>
                <a:gd name="connsiteY67" fmla="*/ 59370 h 593526"/>
                <a:gd name="connsiteX68" fmla="*/ 528336 w 607639"/>
                <a:gd name="connsiteY68" fmla="*/ 39550 h 593526"/>
                <a:gd name="connsiteX69" fmla="*/ 350058 w 607639"/>
                <a:gd name="connsiteY69" fmla="*/ 0 h 593526"/>
                <a:gd name="connsiteX70" fmla="*/ 528336 w 607639"/>
                <a:gd name="connsiteY70" fmla="*/ 0 h 593526"/>
                <a:gd name="connsiteX71" fmla="*/ 587791 w 607639"/>
                <a:gd name="connsiteY71" fmla="*/ 59370 h 593526"/>
                <a:gd name="connsiteX72" fmla="*/ 587791 w 607639"/>
                <a:gd name="connsiteY72" fmla="*/ 98121 h 593526"/>
                <a:gd name="connsiteX73" fmla="*/ 607639 w 607639"/>
                <a:gd name="connsiteY73" fmla="*/ 336402 h 593526"/>
                <a:gd name="connsiteX74" fmla="*/ 607639 w 607639"/>
                <a:gd name="connsiteY74" fmla="*/ 573795 h 593526"/>
                <a:gd name="connsiteX75" fmla="*/ 587791 w 607639"/>
                <a:gd name="connsiteY75" fmla="*/ 593526 h 593526"/>
                <a:gd name="connsiteX76" fmla="*/ 19848 w 607639"/>
                <a:gd name="connsiteY76" fmla="*/ 593526 h 593526"/>
                <a:gd name="connsiteX77" fmla="*/ 0 w 607639"/>
                <a:gd name="connsiteY77" fmla="*/ 573795 h 593526"/>
                <a:gd name="connsiteX78" fmla="*/ 0 w 607639"/>
                <a:gd name="connsiteY78" fmla="*/ 336402 h 593526"/>
                <a:gd name="connsiteX79" fmla="*/ 8811 w 607639"/>
                <a:gd name="connsiteY79" fmla="*/ 319871 h 593526"/>
                <a:gd name="connsiteX80" fmla="*/ 187178 w 607639"/>
                <a:gd name="connsiteY80" fmla="*/ 201219 h 593526"/>
                <a:gd name="connsiteX81" fmla="*/ 217974 w 607639"/>
                <a:gd name="connsiteY81" fmla="*/ 217662 h 593526"/>
                <a:gd name="connsiteX82" fmla="*/ 217974 w 607639"/>
                <a:gd name="connsiteY82" fmla="*/ 299429 h 593526"/>
                <a:gd name="connsiteX83" fmla="*/ 365456 w 607639"/>
                <a:gd name="connsiteY83" fmla="*/ 201219 h 593526"/>
                <a:gd name="connsiteX84" fmla="*/ 396252 w 607639"/>
                <a:gd name="connsiteY84" fmla="*/ 217662 h 593526"/>
                <a:gd name="connsiteX85" fmla="*/ 396252 w 607639"/>
                <a:gd name="connsiteY85" fmla="*/ 316583 h 593526"/>
                <a:gd name="connsiteX86" fmla="*/ 450723 w 607639"/>
                <a:gd name="connsiteY86" fmla="*/ 316583 h 593526"/>
                <a:gd name="connsiteX87" fmla="*/ 467189 w 607639"/>
                <a:gd name="connsiteY87" fmla="*/ 118741 h 593526"/>
                <a:gd name="connsiteX88" fmla="*/ 406042 w 607639"/>
                <a:gd name="connsiteY88" fmla="*/ 118741 h 593526"/>
                <a:gd name="connsiteX89" fmla="*/ 350058 w 607639"/>
                <a:gd name="connsiteY89" fmla="*/ 158291 h 593526"/>
                <a:gd name="connsiteX90" fmla="*/ 231146 w 607639"/>
                <a:gd name="connsiteY90" fmla="*/ 158291 h 593526"/>
                <a:gd name="connsiteX91" fmla="*/ 171691 w 607639"/>
                <a:gd name="connsiteY91" fmla="*/ 98921 h 593526"/>
                <a:gd name="connsiteX92" fmla="*/ 231146 w 607639"/>
                <a:gd name="connsiteY92" fmla="*/ 39550 h 593526"/>
                <a:gd name="connsiteX93" fmla="*/ 293984 w 607639"/>
                <a:gd name="connsiteY93" fmla="*/ 39550 h 593526"/>
                <a:gd name="connsiteX94" fmla="*/ 350058 w 607639"/>
                <a:gd name="connsiteY94" fmla="*/ 0 h 59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607639" h="593526">
                  <a:moveTo>
                    <a:pt x="435844" y="435307"/>
                  </a:moveTo>
                  <a:lnTo>
                    <a:pt x="435844" y="474864"/>
                  </a:lnTo>
                  <a:lnTo>
                    <a:pt x="475531" y="474864"/>
                  </a:lnTo>
                  <a:lnTo>
                    <a:pt x="475531" y="435307"/>
                  </a:lnTo>
                  <a:close/>
                  <a:moveTo>
                    <a:pt x="356649" y="435307"/>
                  </a:moveTo>
                  <a:lnTo>
                    <a:pt x="356649" y="474864"/>
                  </a:lnTo>
                  <a:lnTo>
                    <a:pt x="396246" y="474864"/>
                  </a:lnTo>
                  <a:lnTo>
                    <a:pt x="396246" y="435307"/>
                  </a:lnTo>
                  <a:close/>
                  <a:moveTo>
                    <a:pt x="198116" y="435307"/>
                  </a:moveTo>
                  <a:lnTo>
                    <a:pt x="198116" y="474864"/>
                  </a:lnTo>
                  <a:lnTo>
                    <a:pt x="237710" y="474864"/>
                  </a:lnTo>
                  <a:lnTo>
                    <a:pt x="237710" y="435307"/>
                  </a:lnTo>
                  <a:close/>
                  <a:moveTo>
                    <a:pt x="118928" y="435307"/>
                  </a:moveTo>
                  <a:lnTo>
                    <a:pt x="118928" y="474864"/>
                  </a:lnTo>
                  <a:lnTo>
                    <a:pt x="158522" y="474864"/>
                  </a:lnTo>
                  <a:lnTo>
                    <a:pt x="158522" y="435307"/>
                  </a:lnTo>
                  <a:close/>
                  <a:moveTo>
                    <a:pt x="336806" y="395660"/>
                  </a:moveTo>
                  <a:lnTo>
                    <a:pt x="495285" y="395660"/>
                  </a:lnTo>
                  <a:cubicBezTo>
                    <a:pt x="506230" y="395660"/>
                    <a:pt x="515128" y="404549"/>
                    <a:pt x="515128" y="415483"/>
                  </a:cubicBezTo>
                  <a:lnTo>
                    <a:pt x="515128" y="494599"/>
                  </a:lnTo>
                  <a:cubicBezTo>
                    <a:pt x="515128" y="505533"/>
                    <a:pt x="506230" y="514422"/>
                    <a:pt x="495285" y="514422"/>
                  </a:cubicBezTo>
                  <a:lnTo>
                    <a:pt x="336806" y="514422"/>
                  </a:lnTo>
                  <a:cubicBezTo>
                    <a:pt x="325861" y="514422"/>
                    <a:pt x="317051" y="505533"/>
                    <a:pt x="317051" y="494599"/>
                  </a:cubicBezTo>
                  <a:lnTo>
                    <a:pt x="317051" y="415483"/>
                  </a:lnTo>
                  <a:cubicBezTo>
                    <a:pt x="317051" y="404549"/>
                    <a:pt x="325861" y="395660"/>
                    <a:pt x="336806" y="395660"/>
                  </a:cubicBezTo>
                  <a:close/>
                  <a:moveTo>
                    <a:pt x="99086" y="395660"/>
                  </a:moveTo>
                  <a:lnTo>
                    <a:pt x="257551" y="395660"/>
                  </a:lnTo>
                  <a:cubicBezTo>
                    <a:pt x="268495" y="395660"/>
                    <a:pt x="277393" y="404549"/>
                    <a:pt x="277393" y="415483"/>
                  </a:cubicBezTo>
                  <a:lnTo>
                    <a:pt x="277393" y="494599"/>
                  </a:lnTo>
                  <a:cubicBezTo>
                    <a:pt x="277393" y="505533"/>
                    <a:pt x="268495" y="514422"/>
                    <a:pt x="257551" y="514422"/>
                  </a:cubicBezTo>
                  <a:lnTo>
                    <a:pt x="99086" y="514422"/>
                  </a:lnTo>
                  <a:cubicBezTo>
                    <a:pt x="88142" y="514422"/>
                    <a:pt x="79245" y="505533"/>
                    <a:pt x="79245" y="494599"/>
                  </a:cubicBezTo>
                  <a:lnTo>
                    <a:pt x="79245" y="415483"/>
                  </a:lnTo>
                  <a:cubicBezTo>
                    <a:pt x="79245" y="404549"/>
                    <a:pt x="88142" y="395660"/>
                    <a:pt x="99086" y="395660"/>
                  </a:cubicBezTo>
                  <a:close/>
                  <a:moveTo>
                    <a:pt x="493712" y="277032"/>
                  </a:moveTo>
                  <a:lnTo>
                    <a:pt x="490419" y="316583"/>
                  </a:lnTo>
                  <a:lnTo>
                    <a:pt x="566252" y="316583"/>
                  </a:lnTo>
                  <a:lnTo>
                    <a:pt x="562959" y="277032"/>
                  </a:lnTo>
                  <a:close/>
                  <a:moveTo>
                    <a:pt x="178277" y="254635"/>
                  </a:moveTo>
                  <a:lnTo>
                    <a:pt x="39607" y="346979"/>
                  </a:lnTo>
                  <a:lnTo>
                    <a:pt x="39607" y="553976"/>
                  </a:lnTo>
                  <a:lnTo>
                    <a:pt x="567943" y="553976"/>
                  </a:lnTo>
                  <a:lnTo>
                    <a:pt x="567943" y="356133"/>
                  </a:lnTo>
                  <a:lnTo>
                    <a:pt x="376493" y="356133"/>
                  </a:lnTo>
                  <a:cubicBezTo>
                    <a:pt x="365545" y="356133"/>
                    <a:pt x="356644" y="347334"/>
                    <a:pt x="356644" y="336402"/>
                  </a:cubicBezTo>
                  <a:lnTo>
                    <a:pt x="356644" y="254635"/>
                  </a:lnTo>
                  <a:lnTo>
                    <a:pt x="209162" y="352845"/>
                  </a:lnTo>
                  <a:cubicBezTo>
                    <a:pt x="195989" y="361555"/>
                    <a:pt x="178277" y="352134"/>
                    <a:pt x="178277" y="336402"/>
                  </a:cubicBezTo>
                  <a:close/>
                  <a:moveTo>
                    <a:pt x="500388" y="197842"/>
                  </a:moveTo>
                  <a:lnTo>
                    <a:pt x="497095" y="237481"/>
                  </a:lnTo>
                  <a:lnTo>
                    <a:pt x="559665" y="237481"/>
                  </a:lnTo>
                  <a:lnTo>
                    <a:pt x="556372" y="197842"/>
                  </a:lnTo>
                  <a:close/>
                  <a:moveTo>
                    <a:pt x="506974" y="118741"/>
                  </a:moveTo>
                  <a:lnTo>
                    <a:pt x="503681" y="158291"/>
                  </a:lnTo>
                  <a:lnTo>
                    <a:pt x="553079" y="158291"/>
                  </a:lnTo>
                  <a:lnTo>
                    <a:pt x="549786" y="118741"/>
                  </a:lnTo>
                  <a:close/>
                  <a:moveTo>
                    <a:pt x="350058" y="39550"/>
                  </a:moveTo>
                  <a:cubicBezTo>
                    <a:pt x="339110" y="39550"/>
                    <a:pt x="330210" y="48438"/>
                    <a:pt x="330210" y="59370"/>
                  </a:cubicBezTo>
                  <a:cubicBezTo>
                    <a:pt x="330210" y="70302"/>
                    <a:pt x="321309" y="79190"/>
                    <a:pt x="310450" y="79190"/>
                  </a:cubicBezTo>
                  <a:lnTo>
                    <a:pt x="231146" y="79190"/>
                  </a:lnTo>
                  <a:cubicBezTo>
                    <a:pt x="220199" y="79190"/>
                    <a:pt x="211298" y="88078"/>
                    <a:pt x="211298" y="98921"/>
                  </a:cubicBezTo>
                  <a:cubicBezTo>
                    <a:pt x="211298" y="109853"/>
                    <a:pt x="220199" y="118741"/>
                    <a:pt x="231146" y="118741"/>
                  </a:cubicBezTo>
                  <a:lnTo>
                    <a:pt x="350058" y="118741"/>
                  </a:lnTo>
                  <a:cubicBezTo>
                    <a:pt x="360917" y="118741"/>
                    <a:pt x="369817" y="109853"/>
                    <a:pt x="369817" y="98921"/>
                  </a:cubicBezTo>
                  <a:cubicBezTo>
                    <a:pt x="369817" y="87989"/>
                    <a:pt x="378718" y="79190"/>
                    <a:pt x="389665" y="79190"/>
                  </a:cubicBezTo>
                  <a:lnTo>
                    <a:pt x="488728" y="79190"/>
                  </a:lnTo>
                  <a:lnTo>
                    <a:pt x="548184" y="79190"/>
                  </a:lnTo>
                  <a:lnTo>
                    <a:pt x="548184" y="59370"/>
                  </a:lnTo>
                  <a:cubicBezTo>
                    <a:pt x="548184" y="48438"/>
                    <a:pt x="539283" y="39550"/>
                    <a:pt x="528336" y="39550"/>
                  </a:cubicBezTo>
                  <a:close/>
                  <a:moveTo>
                    <a:pt x="350058" y="0"/>
                  </a:moveTo>
                  <a:lnTo>
                    <a:pt x="528336" y="0"/>
                  </a:lnTo>
                  <a:cubicBezTo>
                    <a:pt x="561089" y="0"/>
                    <a:pt x="587791" y="26663"/>
                    <a:pt x="587791" y="59370"/>
                  </a:cubicBezTo>
                  <a:lnTo>
                    <a:pt x="587791" y="98121"/>
                  </a:lnTo>
                  <a:cubicBezTo>
                    <a:pt x="595178" y="186466"/>
                    <a:pt x="607639" y="335069"/>
                    <a:pt x="607639" y="336402"/>
                  </a:cubicBezTo>
                  <a:lnTo>
                    <a:pt x="607639" y="573795"/>
                  </a:lnTo>
                  <a:cubicBezTo>
                    <a:pt x="607639" y="584727"/>
                    <a:pt x="598739" y="593526"/>
                    <a:pt x="587791" y="593526"/>
                  </a:cubicBezTo>
                  <a:lnTo>
                    <a:pt x="19848" y="593526"/>
                  </a:lnTo>
                  <a:cubicBezTo>
                    <a:pt x="8900" y="593526"/>
                    <a:pt x="0" y="584727"/>
                    <a:pt x="0" y="573795"/>
                  </a:cubicBezTo>
                  <a:lnTo>
                    <a:pt x="0" y="336402"/>
                  </a:lnTo>
                  <a:cubicBezTo>
                    <a:pt x="0" y="329737"/>
                    <a:pt x="3293" y="323604"/>
                    <a:pt x="8811" y="319871"/>
                  </a:cubicBezTo>
                  <a:lnTo>
                    <a:pt x="187178" y="201219"/>
                  </a:lnTo>
                  <a:cubicBezTo>
                    <a:pt x="200262" y="192420"/>
                    <a:pt x="217974" y="201841"/>
                    <a:pt x="217974" y="217662"/>
                  </a:cubicBezTo>
                  <a:lnTo>
                    <a:pt x="217974" y="299429"/>
                  </a:lnTo>
                  <a:lnTo>
                    <a:pt x="365456" y="201219"/>
                  </a:lnTo>
                  <a:cubicBezTo>
                    <a:pt x="378629" y="192420"/>
                    <a:pt x="396252" y="201841"/>
                    <a:pt x="396252" y="217662"/>
                  </a:cubicBezTo>
                  <a:lnTo>
                    <a:pt x="396252" y="316583"/>
                  </a:lnTo>
                  <a:lnTo>
                    <a:pt x="450723" y="316583"/>
                  </a:lnTo>
                  <a:lnTo>
                    <a:pt x="467189" y="118741"/>
                  </a:lnTo>
                  <a:lnTo>
                    <a:pt x="406042" y="118741"/>
                  </a:lnTo>
                  <a:cubicBezTo>
                    <a:pt x="397943" y="141760"/>
                    <a:pt x="375870" y="158291"/>
                    <a:pt x="350058" y="158291"/>
                  </a:cubicBezTo>
                  <a:lnTo>
                    <a:pt x="231146" y="158291"/>
                  </a:lnTo>
                  <a:cubicBezTo>
                    <a:pt x="198660" y="158291"/>
                    <a:pt x="171691" y="132072"/>
                    <a:pt x="171691" y="98921"/>
                  </a:cubicBezTo>
                  <a:cubicBezTo>
                    <a:pt x="171691" y="66214"/>
                    <a:pt x="198393" y="39550"/>
                    <a:pt x="231146" y="39550"/>
                  </a:cubicBezTo>
                  <a:lnTo>
                    <a:pt x="293984" y="39550"/>
                  </a:lnTo>
                  <a:cubicBezTo>
                    <a:pt x="302173" y="16531"/>
                    <a:pt x="324246" y="0"/>
                    <a:pt x="350058" y="0"/>
                  </a:cubicBezTo>
                  <a:close/>
                </a:path>
              </a:pathLst>
            </a:custGeom>
            <a:grpFill/>
            <a:ln>
              <a:noFill/>
            </a:ln>
          </p:spPr>
        </p:sp>
        <p:sp>
          <p:nvSpPr>
            <p:cNvPr id="105" name="3d-ship_62913"/>
            <p:cNvSpPr>
              <a:spLocks noChangeAspect="1"/>
            </p:cNvSpPr>
            <p:nvPr/>
          </p:nvSpPr>
          <p:spPr bwMode="auto">
            <a:xfrm>
              <a:off x="1632113" y="5934475"/>
              <a:ext cx="609685" cy="475450"/>
            </a:xfrm>
            <a:custGeom>
              <a:avLst/>
              <a:gdLst>
                <a:gd name="connsiteX0" fmla="*/ 60518 w 609619"/>
                <a:gd name="connsiteY0" fmla="*/ 127957 h 475399"/>
                <a:gd name="connsiteX1" fmla="*/ 29630 w 609619"/>
                <a:gd name="connsiteY1" fmla="*/ 131041 h 475399"/>
                <a:gd name="connsiteX2" fmla="*/ 34109 w 609619"/>
                <a:gd name="connsiteY2" fmla="*/ 174921 h 475399"/>
                <a:gd name="connsiteX3" fmla="*/ 311732 w 609619"/>
                <a:gd name="connsiteY3" fmla="*/ 211665 h 475399"/>
                <a:gd name="connsiteX4" fmla="*/ 277709 w 609619"/>
                <a:gd name="connsiteY4" fmla="*/ 157987 h 475399"/>
                <a:gd name="connsiteX5" fmla="*/ 60518 w 609619"/>
                <a:gd name="connsiteY5" fmla="*/ 127957 h 475399"/>
                <a:gd name="connsiteX6" fmla="*/ 80398 w 609619"/>
                <a:gd name="connsiteY6" fmla="*/ 98943 h 475399"/>
                <a:gd name="connsiteX7" fmla="*/ 290614 w 609619"/>
                <a:gd name="connsiteY7" fmla="*/ 132106 h 475399"/>
                <a:gd name="connsiteX8" fmla="*/ 298827 w 609619"/>
                <a:gd name="connsiteY8" fmla="*/ 138177 h 475399"/>
                <a:gd name="connsiteX9" fmla="*/ 358980 w 609619"/>
                <a:gd name="connsiteY9" fmla="*/ 233073 h 475399"/>
                <a:gd name="connsiteX10" fmla="*/ 579649 w 609619"/>
                <a:gd name="connsiteY10" fmla="*/ 374831 h 475399"/>
                <a:gd name="connsiteX11" fmla="*/ 591168 w 609619"/>
                <a:gd name="connsiteY11" fmla="*/ 367269 h 475399"/>
                <a:gd name="connsiteX12" fmla="*/ 609619 w 609619"/>
                <a:gd name="connsiteY12" fmla="*/ 374831 h 475399"/>
                <a:gd name="connsiteX13" fmla="*/ 526429 w 609619"/>
                <a:gd name="connsiteY13" fmla="*/ 475372 h 475399"/>
                <a:gd name="connsiteX14" fmla="*/ 140124 w 609619"/>
                <a:gd name="connsiteY14" fmla="*/ 475372 h 475399"/>
                <a:gd name="connsiteX15" fmla="*/ 117407 w 609619"/>
                <a:gd name="connsiteY15" fmla="*/ 419457 h 475399"/>
                <a:gd name="connsiteX16" fmla="*/ 2220 w 609619"/>
                <a:gd name="connsiteY16" fmla="*/ 209855 h 475399"/>
                <a:gd name="connsiteX17" fmla="*/ 6806 w 609619"/>
                <a:gd name="connsiteY17" fmla="*/ 186850 h 475399"/>
                <a:gd name="connsiteX18" fmla="*/ 86 w 609619"/>
                <a:gd name="connsiteY18" fmla="*/ 121136 h 475399"/>
                <a:gd name="connsiteX19" fmla="*/ 10005 w 609619"/>
                <a:gd name="connsiteY19" fmla="*/ 106119 h 475399"/>
                <a:gd name="connsiteX20" fmla="*/ 80398 w 609619"/>
                <a:gd name="connsiteY20" fmla="*/ 98943 h 475399"/>
                <a:gd name="connsiteX21" fmla="*/ 457868 w 609619"/>
                <a:gd name="connsiteY21" fmla="*/ 0 h 475399"/>
                <a:gd name="connsiteX22" fmla="*/ 477707 w 609619"/>
                <a:gd name="connsiteY22" fmla="*/ 0 h 475399"/>
                <a:gd name="connsiteX23" fmla="*/ 481334 w 609619"/>
                <a:gd name="connsiteY23" fmla="*/ 3408 h 475399"/>
                <a:gd name="connsiteX24" fmla="*/ 481974 w 609619"/>
                <a:gd name="connsiteY24" fmla="*/ 24815 h 475399"/>
                <a:gd name="connsiteX25" fmla="*/ 509387 w 609619"/>
                <a:gd name="connsiteY25" fmla="*/ 24815 h 475399"/>
                <a:gd name="connsiteX26" fmla="*/ 516533 w 609619"/>
                <a:gd name="connsiteY26" fmla="*/ 31951 h 475399"/>
                <a:gd name="connsiteX27" fmla="*/ 509387 w 609619"/>
                <a:gd name="connsiteY27" fmla="*/ 38980 h 475399"/>
                <a:gd name="connsiteX28" fmla="*/ 482507 w 609619"/>
                <a:gd name="connsiteY28" fmla="*/ 38980 h 475399"/>
                <a:gd name="connsiteX29" fmla="*/ 485814 w 609619"/>
                <a:gd name="connsiteY29" fmla="*/ 142502 h 475399"/>
                <a:gd name="connsiteX30" fmla="*/ 540747 w 609619"/>
                <a:gd name="connsiteY30" fmla="*/ 142502 h 475399"/>
                <a:gd name="connsiteX31" fmla="*/ 550773 w 609619"/>
                <a:gd name="connsiteY31" fmla="*/ 146655 h 475399"/>
                <a:gd name="connsiteX32" fmla="*/ 578186 w 609619"/>
                <a:gd name="connsiteY32" fmla="*/ 174027 h 475399"/>
                <a:gd name="connsiteX33" fmla="*/ 582346 w 609619"/>
                <a:gd name="connsiteY33" fmla="*/ 184038 h 475399"/>
                <a:gd name="connsiteX34" fmla="*/ 582346 w 609619"/>
                <a:gd name="connsiteY34" fmla="*/ 353911 h 475399"/>
                <a:gd name="connsiteX35" fmla="*/ 578293 w 609619"/>
                <a:gd name="connsiteY35" fmla="*/ 354976 h 475399"/>
                <a:gd name="connsiteX36" fmla="*/ 376268 w 609619"/>
                <a:gd name="connsiteY36" fmla="*/ 222593 h 475399"/>
                <a:gd name="connsiteX37" fmla="*/ 376268 w 609619"/>
                <a:gd name="connsiteY37" fmla="*/ 185529 h 475399"/>
                <a:gd name="connsiteX38" fmla="*/ 357389 w 609619"/>
                <a:gd name="connsiteY38" fmla="*/ 166785 h 475399"/>
                <a:gd name="connsiteX39" fmla="*/ 354295 w 609619"/>
                <a:gd name="connsiteY39" fmla="*/ 151342 h 475399"/>
                <a:gd name="connsiteX40" fmla="*/ 367415 w 609619"/>
                <a:gd name="connsiteY40" fmla="*/ 142502 h 475399"/>
                <a:gd name="connsiteX41" fmla="*/ 449761 w 609619"/>
                <a:gd name="connsiteY41" fmla="*/ 142502 h 475399"/>
                <a:gd name="connsiteX42" fmla="*/ 453068 w 609619"/>
                <a:gd name="connsiteY42" fmla="*/ 38980 h 475399"/>
                <a:gd name="connsiteX43" fmla="*/ 426188 w 609619"/>
                <a:gd name="connsiteY43" fmla="*/ 38980 h 475399"/>
                <a:gd name="connsiteX44" fmla="*/ 419041 w 609619"/>
                <a:gd name="connsiteY44" fmla="*/ 31951 h 475399"/>
                <a:gd name="connsiteX45" fmla="*/ 426188 w 609619"/>
                <a:gd name="connsiteY45" fmla="*/ 24815 h 475399"/>
                <a:gd name="connsiteX46" fmla="*/ 453601 w 609619"/>
                <a:gd name="connsiteY46" fmla="*/ 24815 h 475399"/>
                <a:gd name="connsiteX47" fmla="*/ 454241 w 609619"/>
                <a:gd name="connsiteY47" fmla="*/ 3408 h 475399"/>
                <a:gd name="connsiteX48" fmla="*/ 457868 w 609619"/>
                <a:gd name="connsiteY48" fmla="*/ 0 h 475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09619" h="475399">
                  <a:moveTo>
                    <a:pt x="60518" y="127957"/>
                  </a:moveTo>
                  <a:cubicBezTo>
                    <a:pt x="46875" y="128625"/>
                    <a:pt x="36616" y="129896"/>
                    <a:pt x="29630" y="131041"/>
                  </a:cubicBezTo>
                  <a:lnTo>
                    <a:pt x="34109" y="174921"/>
                  </a:lnTo>
                  <a:cubicBezTo>
                    <a:pt x="86584" y="163845"/>
                    <a:pt x="293814" y="201015"/>
                    <a:pt x="311732" y="211665"/>
                  </a:cubicBezTo>
                  <a:lnTo>
                    <a:pt x="277709" y="157987"/>
                  </a:lnTo>
                  <a:cubicBezTo>
                    <a:pt x="172841" y="129390"/>
                    <a:pt x="101449" y="125955"/>
                    <a:pt x="60518" y="127957"/>
                  </a:cubicBezTo>
                  <a:close/>
                  <a:moveTo>
                    <a:pt x="80398" y="98943"/>
                  </a:moveTo>
                  <a:cubicBezTo>
                    <a:pt x="126339" y="98983"/>
                    <a:pt x="195585" y="105746"/>
                    <a:pt x="290614" y="132106"/>
                  </a:cubicBezTo>
                  <a:cubicBezTo>
                    <a:pt x="293921" y="133065"/>
                    <a:pt x="296907" y="135195"/>
                    <a:pt x="298827" y="138177"/>
                  </a:cubicBezTo>
                  <a:lnTo>
                    <a:pt x="358980" y="233073"/>
                  </a:lnTo>
                  <a:cubicBezTo>
                    <a:pt x="466382" y="286006"/>
                    <a:pt x="561411" y="361198"/>
                    <a:pt x="579649" y="374831"/>
                  </a:cubicBezTo>
                  <a:cubicBezTo>
                    <a:pt x="582956" y="377174"/>
                    <a:pt x="591168" y="367269"/>
                    <a:pt x="591168" y="367269"/>
                  </a:cubicBezTo>
                  <a:cubicBezTo>
                    <a:pt x="591168" y="367269"/>
                    <a:pt x="609726" y="366417"/>
                    <a:pt x="609619" y="374831"/>
                  </a:cubicBezTo>
                  <a:cubicBezTo>
                    <a:pt x="609299" y="479845"/>
                    <a:pt x="540827" y="475372"/>
                    <a:pt x="526429" y="475372"/>
                  </a:cubicBezTo>
                  <a:lnTo>
                    <a:pt x="140124" y="475372"/>
                  </a:lnTo>
                  <a:cubicBezTo>
                    <a:pt x="71865" y="475372"/>
                    <a:pt x="81997" y="419457"/>
                    <a:pt x="117407" y="419457"/>
                  </a:cubicBezTo>
                  <a:cubicBezTo>
                    <a:pt x="73572" y="356406"/>
                    <a:pt x="38482" y="310502"/>
                    <a:pt x="2220" y="209855"/>
                  </a:cubicBezTo>
                  <a:cubicBezTo>
                    <a:pt x="-1300" y="200376"/>
                    <a:pt x="620" y="192707"/>
                    <a:pt x="6806" y="186850"/>
                  </a:cubicBezTo>
                  <a:lnTo>
                    <a:pt x="86" y="121136"/>
                  </a:lnTo>
                  <a:cubicBezTo>
                    <a:pt x="-660" y="114426"/>
                    <a:pt x="3499" y="108142"/>
                    <a:pt x="10005" y="106119"/>
                  </a:cubicBezTo>
                  <a:cubicBezTo>
                    <a:pt x="11819" y="105586"/>
                    <a:pt x="34456" y="98903"/>
                    <a:pt x="80398" y="98943"/>
                  </a:cubicBezTo>
                  <a:close/>
                  <a:moveTo>
                    <a:pt x="457868" y="0"/>
                  </a:moveTo>
                  <a:lnTo>
                    <a:pt x="477707" y="0"/>
                  </a:lnTo>
                  <a:cubicBezTo>
                    <a:pt x="479627" y="0"/>
                    <a:pt x="481227" y="1491"/>
                    <a:pt x="481334" y="3408"/>
                  </a:cubicBezTo>
                  <a:lnTo>
                    <a:pt x="481974" y="24815"/>
                  </a:lnTo>
                  <a:lnTo>
                    <a:pt x="509387" y="24815"/>
                  </a:lnTo>
                  <a:cubicBezTo>
                    <a:pt x="513334" y="24815"/>
                    <a:pt x="516533" y="28010"/>
                    <a:pt x="516533" y="31951"/>
                  </a:cubicBezTo>
                  <a:cubicBezTo>
                    <a:pt x="516533" y="35785"/>
                    <a:pt x="513334" y="38980"/>
                    <a:pt x="509387" y="38980"/>
                  </a:cubicBezTo>
                  <a:lnTo>
                    <a:pt x="482507" y="38980"/>
                  </a:lnTo>
                  <a:lnTo>
                    <a:pt x="485814" y="142502"/>
                  </a:lnTo>
                  <a:lnTo>
                    <a:pt x="540747" y="142502"/>
                  </a:lnTo>
                  <a:cubicBezTo>
                    <a:pt x="544480" y="142502"/>
                    <a:pt x="548106" y="143993"/>
                    <a:pt x="550773" y="146655"/>
                  </a:cubicBezTo>
                  <a:lnTo>
                    <a:pt x="578186" y="174027"/>
                  </a:lnTo>
                  <a:cubicBezTo>
                    <a:pt x="580853" y="176689"/>
                    <a:pt x="582346" y="180311"/>
                    <a:pt x="582346" y="184038"/>
                  </a:cubicBezTo>
                  <a:lnTo>
                    <a:pt x="582346" y="353911"/>
                  </a:lnTo>
                  <a:cubicBezTo>
                    <a:pt x="580746" y="354976"/>
                    <a:pt x="579146" y="355509"/>
                    <a:pt x="578293" y="354976"/>
                  </a:cubicBezTo>
                  <a:cubicBezTo>
                    <a:pt x="561013" y="342090"/>
                    <a:pt x="475787" y="274673"/>
                    <a:pt x="376268" y="222593"/>
                  </a:cubicBezTo>
                  <a:lnTo>
                    <a:pt x="376268" y="185529"/>
                  </a:lnTo>
                  <a:lnTo>
                    <a:pt x="357389" y="166785"/>
                  </a:lnTo>
                  <a:cubicBezTo>
                    <a:pt x="353335" y="162738"/>
                    <a:pt x="352162" y="156560"/>
                    <a:pt x="354295" y="151342"/>
                  </a:cubicBezTo>
                  <a:cubicBezTo>
                    <a:pt x="356535" y="146016"/>
                    <a:pt x="361655" y="142502"/>
                    <a:pt x="367415" y="142502"/>
                  </a:cubicBezTo>
                  <a:lnTo>
                    <a:pt x="449761" y="142502"/>
                  </a:lnTo>
                  <a:lnTo>
                    <a:pt x="453068" y="38980"/>
                  </a:lnTo>
                  <a:lnTo>
                    <a:pt x="426188" y="38980"/>
                  </a:lnTo>
                  <a:cubicBezTo>
                    <a:pt x="422241" y="38980"/>
                    <a:pt x="419041" y="35785"/>
                    <a:pt x="419041" y="31951"/>
                  </a:cubicBezTo>
                  <a:cubicBezTo>
                    <a:pt x="419041" y="28010"/>
                    <a:pt x="422241" y="24815"/>
                    <a:pt x="426188" y="24815"/>
                  </a:cubicBezTo>
                  <a:lnTo>
                    <a:pt x="453601" y="24815"/>
                  </a:lnTo>
                  <a:lnTo>
                    <a:pt x="454241" y="3408"/>
                  </a:lnTo>
                  <a:cubicBezTo>
                    <a:pt x="454348" y="1491"/>
                    <a:pt x="455948" y="0"/>
                    <a:pt x="457868" y="0"/>
                  </a:cubicBezTo>
                  <a:close/>
                </a:path>
              </a:pathLst>
            </a:custGeom>
            <a:grpFill/>
            <a:ln>
              <a:noFill/>
            </a:ln>
          </p:spPr>
        </p:sp>
        <p:sp>
          <p:nvSpPr>
            <p:cNvPr id="106" name="all-terrain-vehicle_3476"/>
            <p:cNvSpPr>
              <a:spLocks noChangeAspect="1"/>
            </p:cNvSpPr>
            <p:nvPr/>
          </p:nvSpPr>
          <p:spPr bwMode="auto">
            <a:xfrm>
              <a:off x="732461" y="5985893"/>
              <a:ext cx="609685" cy="431608"/>
            </a:xfrm>
            <a:custGeom>
              <a:avLst/>
              <a:gdLst>
                <a:gd name="connsiteX0" fmla="*/ 487038 w 596814"/>
                <a:gd name="connsiteY0" fmla="*/ 304584 h 422497"/>
                <a:gd name="connsiteX1" fmla="*/ 551542 w 596814"/>
                <a:gd name="connsiteY1" fmla="*/ 304584 h 422497"/>
                <a:gd name="connsiteX2" fmla="*/ 551542 w 596814"/>
                <a:gd name="connsiteY2" fmla="*/ 422497 h 422497"/>
                <a:gd name="connsiteX3" fmla="*/ 487038 w 596814"/>
                <a:gd name="connsiteY3" fmla="*/ 422497 h 422497"/>
                <a:gd name="connsiteX4" fmla="*/ 37874 w 596814"/>
                <a:gd name="connsiteY4" fmla="*/ 301921 h 422497"/>
                <a:gd name="connsiteX5" fmla="*/ 102378 w 596814"/>
                <a:gd name="connsiteY5" fmla="*/ 301921 h 422497"/>
                <a:gd name="connsiteX6" fmla="*/ 102378 w 596814"/>
                <a:gd name="connsiteY6" fmla="*/ 419686 h 422497"/>
                <a:gd name="connsiteX7" fmla="*/ 37874 w 596814"/>
                <a:gd name="connsiteY7" fmla="*/ 419686 h 422497"/>
                <a:gd name="connsiteX8" fmla="*/ 398491 w 596814"/>
                <a:gd name="connsiteY8" fmla="*/ 231865 h 422497"/>
                <a:gd name="connsiteX9" fmla="*/ 398491 w 596814"/>
                <a:gd name="connsiteY9" fmla="*/ 276970 h 422497"/>
                <a:gd name="connsiteX10" fmla="*/ 497191 w 596814"/>
                <a:gd name="connsiteY10" fmla="*/ 276970 h 422497"/>
                <a:gd name="connsiteX11" fmla="*/ 497191 w 596814"/>
                <a:gd name="connsiteY11" fmla="*/ 231865 h 422497"/>
                <a:gd name="connsiteX12" fmla="*/ 94088 w 596814"/>
                <a:gd name="connsiteY12" fmla="*/ 231865 h 422497"/>
                <a:gd name="connsiteX13" fmla="*/ 94088 w 596814"/>
                <a:gd name="connsiteY13" fmla="*/ 276970 h 422497"/>
                <a:gd name="connsiteX14" fmla="*/ 192788 w 596814"/>
                <a:gd name="connsiteY14" fmla="*/ 276970 h 422497"/>
                <a:gd name="connsiteX15" fmla="*/ 192788 w 596814"/>
                <a:gd name="connsiteY15" fmla="*/ 231865 h 422497"/>
                <a:gd name="connsiteX16" fmla="*/ 324696 w 596814"/>
                <a:gd name="connsiteY16" fmla="*/ 222660 h 422497"/>
                <a:gd name="connsiteX17" fmla="*/ 324696 w 596814"/>
                <a:gd name="connsiteY17" fmla="*/ 288936 h 422497"/>
                <a:gd name="connsiteX18" fmla="*/ 352369 w 596814"/>
                <a:gd name="connsiteY18" fmla="*/ 288936 h 422497"/>
                <a:gd name="connsiteX19" fmla="*/ 352369 w 596814"/>
                <a:gd name="connsiteY19" fmla="*/ 222660 h 422497"/>
                <a:gd name="connsiteX20" fmla="*/ 282264 w 596814"/>
                <a:gd name="connsiteY20" fmla="*/ 222660 h 422497"/>
                <a:gd name="connsiteX21" fmla="*/ 282264 w 596814"/>
                <a:gd name="connsiteY21" fmla="*/ 288936 h 422497"/>
                <a:gd name="connsiteX22" fmla="*/ 309937 w 596814"/>
                <a:gd name="connsiteY22" fmla="*/ 288936 h 422497"/>
                <a:gd name="connsiteX23" fmla="*/ 309937 w 596814"/>
                <a:gd name="connsiteY23" fmla="*/ 222660 h 422497"/>
                <a:gd name="connsiteX24" fmla="*/ 237988 w 596814"/>
                <a:gd name="connsiteY24" fmla="*/ 222660 h 422497"/>
                <a:gd name="connsiteX25" fmla="*/ 237988 w 596814"/>
                <a:gd name="connsiteY25" fmla="*/ 288936 h 422497"/>
                <a:gd name="connsiteX26" fmla="*/ 265661 w 596814"/>
                <a:gd name="connsiteY26" fmla="*/ 288936 h 422497"/>
                <a:gd name="connsiteX27" fmla="*/ 265661 w 596814"/>
                <a:gd name="connsiteY27" fmla="*/ 222660 h 422497"/>
                <a:gd name="connsiteX28" fmla="*/ 251804 w 596814"/>
                <a:gd name="connsiteY28" fmla="*/ 53224 h 422497"/>
                <a:gd name="connsiteX29" fmla="*/ 333026 w 596814"/>
                <a:gd name="connsiteY29" fmla="*/ 53224 h 422497"/>
                <a:gd name="connsiteX30" fmla="*/ 333026 w 596814"/>
                <a:gd name="connsiteY30" fmla="*/ 69794 h 422497"/>
                <a:gd name="connsiteX31" fmla="*/ 251804 w 596814"/>
                <a:gd name="connsiteY31" fmla="*/ 69794 h 422497"/>
                <a:gd name="connsiteX32" fmla="*/ 145744 w 596814"/>
                <a:gd name="connsiteY32" fmla="*/ 41320 h 422497"/>
                <a:gd name="connsiteX33" fmla="*/ 127296 w 596814"/>
                <a:gd name="connsiteY33" fmla="*/ 177555 h 422497"/>
                <a:gd name="connsiteX34" fmla="*/ 463984 w 596814"/>
                <a:gd name="connsiteY34" fmla="*/ 177555 h 422497"/>
                <a:gd name="connsiteX35" fmla="*/ 445535 w 596814"/>
                <a:gd name="connsiteY35" fmla="*/ 41320 h 422497"/>
                <a:gd name="connsiteX36" fmla="*/ 256092 w 596814"/>
                <a:gd name="connsiteY36" fmla="*/ 133 h 422497"/>
                <a:gd name="connsiteX37" fmla="*/ 482432 w 596814"/>
                <a:gd name="connsiteY37" fmla="*/ 11864 h 422497"/>
                <a:gd name="connsiteX38" fmla="*/ 503648 w 596814"/>
                <a:gd name="connsiteY38" fmla="*/ 173873 h 422497"/>
                <a:gd name="connsiteX39" fmla="*/ 526709 w 596814"/>
                <a:gd name="connsiteY39" fmla="*/ 173873 h 422497"/>
                <a:gd name="connsiteX40" fmla="*/ 526709 w 596814"/>
                <a:gd name="connsiteY40" fmla="*/ 172032 h 422497"/>
                <a:gd name="connsiteX41" fmla="*/ 526709 w 596814"/>
                <a:gd name="connsiteY41" fmla="*/ 137973 h 422497"/>
                <a:gd name="connsiteX42" fmla="*/ 596814 w 596814"/>
                <a:gd name="connsiteY42" fmla="*/ 137973 h 422497"/>
                <a:gd name="connsiteX43" fmla="*/ 596814 w 596814"/>
                <a:gd name="connsiteY43" fmla="*/ 176634 h 422497"/>
                <a:gd name="connsiteX44" fmla="*/ 528554 w 596814"/>
                <a:gd name="connsiteY44" fmla="*/ 176634 h 422497"/>
                <a:gd name="connsiteX45" fmla="*/ 526709 w 596814"/>
                <a:gd name="connsiteY45" fmla="*/ 176634 h 422497"/>
                <a:gd name="connsiteX46" fmla="*/ 526709 w 596814"/>
                <a:gd name="connsiteY46" fmla="*/ 178475 h 422497"/>
                <a:gd name="connsiteX47" fmla="*/ 528554 w 596814"/>
                <a:gd name="connsiteY47" fmla="*/ 178475 h 422497"/>
                <a:gd name="connsiteX48" fmla="*/ 528554 w 596814"/>
                <a:gd name="connsiteY48" fmla="*/ 194124 h 422497"/>
                <a:gd name="connsiteX49" fmla="*/ 572831 w 596814"/>
                <a:gd name="connsiteY49" fmla="*/ 194124 h 422497"/>
                <a:gd name="connsiteX50" fmla="*/ 572831 w 596814"/>
                <a:gd name="connsiteY50" fmla="*/ 231865 h 422497"/>
                <a:gd name="connsiteX51" fmla="*/ 528554 w 596814"/>
                <a:gd name="connsiteY51" fmla="*/ 231865 h 422497"/>
                <a:gd name="connsiteX52" fmla="*/ 528554 w 596814"/>
                <a:gd name="connsiteY52" fmla="*/ 289857 h 422497"/>
                <a:gd name="connsiteX53" fmla="*/ 483355 w 596814"/>
                <a:gd name="connsiteY53" fmla="*/ 289857 h 422497"/>
                <a:gd name="connsiteX54" fmla="*/ 483355 w 596814"/>
                <a:gd name="connsiteY54" fmla="*/ 321154 h 422497"/>
                <a:gd name="connsiteX55" fmla="*/ 154046 w 596814"/>
                <a:gd name="connsiteY55" fmla="*/ 321154 h 422497"/>
                <a:gd name="connsiteX56" fmla="*/ 114382 w 596814"/>
                <a:gd name="connsiteY56" fmla="*/ 321154 h 422497"/>
                <a:gd name="connsiteX57" fmla="*/ 114382 w 596814"/>
                <a:gd name="connsiteY57" fmla="*/ 289857 h 422497"/>
                <a:gd name="connsiteX58" fmla="*/ 55346 w 596814"/>
                <a:gd name="connsiteY58" fmla="*/ 289857 h 422497"/>
                <a:gd name="connsiteX59" fmla="*/ 55346 w 596814"/>
                <a:gd name="connsiteY59" fmla="*/ 230944 h 422497"/>
                <a:gd name="connsiteX60" fmla="*/ 37820 w 596814"/>
                <a:gd name="connsiteY60" fmla="*/ 230944 h 422497"/>
                <a:gd name="connsiteX61" fmla="*/ 37820 w 596814"/>
                <a:gd name="connsiteY61" fmla="*/ 195965 h 422497"/>
                <a:gd name="connsiteX62" fmla="*/ 55346 w 596814"/>
                <a:gd name="connsiteY62" fmla="*/ 195965 h 422497"/>
                <a:gd name="connsiteX63" fmla="*/ 55346 w 596814"/>
                <a:gd name="connsiteY63" fmla="*/ 178475 h 422497"/>
                <a:gd name="connsiteX64" fmla="*/ 70105 w 596814"/>
                <a:gd name="connsiteY64" fmla="*/ 178475 h 422497"/>
                <a:gd name="connsiteX65" fmla="*/ 70105 w 596814"/>
                <a:gd name="connsiteY65" fmla="*/ 176634 h 422497"/>
                <a:gd name="connsiteX66" fmla="*/ 55346 w 596814"/>
                <a:gd name="connsiteY66" fmla="*/ 176634 h 422497"/>
                <a:gd name="connsiteX67" fmla="*/ 0 w 596814"/>
                <a:gd name="connsiteY67" fmla="*/ 176634 h 422497"/>
                <a:gd name="connsiteX68" fmla="*/ 0 w 596814"/>
                <a:gd name="connsiteY68" fmla="*/ 137973 h 422497"/>
                <a:gd name="connsiteX69" fmla="*/ 70105 w 596814"/>
                <a:gd name="connsiteY69" fmla="*/ 137973 h 422497"/>
                <a:gd name="connsiteX70" fmla="*/ 70105 w 596814"/>
                <a:gd name="connsiteY70" fmla="*/ 172032 h 422497"/>
                <a:gd name="connsiteX71" fmla="*/ 70105 w 596814"/>
                <a:gd name="connsiteY71" fmla="*/ 173873 h 422497"/>
                <a:gd name="connsiteX72" fmla="*/ 81174 w 596814"/>
                <a:gd name="connsiteY72" fmla="*/ 173873 h 422497"/>
                <a:gd name="connsiteX73" fmla="*/ 101468 w 596814"/>
                <a:gd name="connsiteY73" fmla="*/ 11864 h 422497"/>
                <a:gd name="connsiteX74" fmla="*/ 256092 w 596814"/>
                <a:gd name="connsiteY74" fmla="*/ 133 h 422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596814" h="422497">
                  <a:moveTo>
                    <a:pt x="487038" y="304584"/>
                  </a:moveTo>
                  <a:lnTo>
                    <a:pt x="551542" y="304584"/>
                  </a:lnTo>
                  <a:lnTo>
                    <a:pt x="551542" y="422497"/>
                  </a:lnTo>
                  <a:lnTo>
                    <a:pt x="487038" y="422497"/>
                  </a:lnTo>
                  <a:close/>
                  <a:moveTo>
                    <a:pt x="37874" y="301921"/>
                  </a:moveTo>
                  <a:lnTo>
                    <a:pt x="102378" y="301921"/>
                  </a:lnTo>
                  <a:lnTo>
                    <a:pt x="102378" y="419686"/>
                  </a:lnTo>
                  <a:lnTo>
                    <a:pt x="37874" y="419686"/>
                  </a:lnTo>
                  <a:close/>
                  <a:moveTo>
                    <a:pt x="398491" y="231865"/>
                  </a:moveTo>
                  <a:lnTo>
                    <a:pt x="398491" y="276970"/>
                  </a:lnTo>
                  <a:lnTo>
                    <a:pt x="497191" y="276970"/>
                  </a:lnTo>
                  <a:lnTo>
                    <a:pt x="497191" y="231865"/>
                  </a:lnTo>
                  <a:close/>
                  <a:moveTo>
                    <a:pt x="94088" y="231865"/>
                  </a:moveTo>
                  <a:lnTo>
                    <a:pt x="94088" y="276970"/>
                  </a:lnTo>
                  <a:lnTo>
                    <a:pt x="192788" y="276970"/>
                  </a:lnTo>
                  <a:lnTo>
                    <a:pt x="192788" y="231865"/>
                  </a:lnTo>
                  <a:close/>
                  <a:moveTo>
                    <a:pt x="324696" y="222660"/>
                  </a:moveTo>
                  <a:lnTo>
                    <a:pt x="324696" y="288936"/>
                  </a:lnTo>
                  <a:lnTo>
                    <a:pt x="352369" y="288936"/>
                  </a:lnTo>
                  <a:lnTo>
                    <a:pt x="352369" y="222660"/>
                  </a:lnTo>
                  <a:close/>
                  <a:moveTo>
                    <a:pt x="282264" y="222660"/>
                  </a:moveTo>
                  <a:lnTo>
                    <a:pt x="282264" y="288936"/>
                  </a:lnTo>
                  <a:lnTo>
                    <a:pt x="309937" y="288936"/>
                  </a:lnTo>
                  <a:lnTo>
                    <a:pt x="309937" y="222660"/>
                  </a:lnTo>
                  <a:close/>
                  <a:moveTo>
                    <a:pt x="237988" y="222660"/>
                  </a:moveTo>
                  <a:lnTo>
                    <a:pt x="237988" y="288936"/>
                  </a:lnTo>
                  <a:lnTo>
                    <a:pt x="265661" y="288936"/>
                  </a:lnTo>
                  <a:lnTo>
                    <a:pt x="265661" y="222660"/>
                  </a:lnTo>
                  <a:close/>
                  <a:moveTo>
                    <a:pt x="251804" y="53224"/>
                  </a:moveTo>
                  <a:lnTo>
                    <a:pt x="333026" y="53224"/>
                  </a:lnTo>
                  <a:lnTo>
                    <a:pt x="333026" y="69794"/>
                  </a:lnTo>
                  <a:lnTo>
                    <a:pt x="251804" y="69794"/>
                  </a:lnTo>
                  <a:close/>
                  <a:moveTo>
                    <a:pt x="145744" y="41320"/>
                  </a:moveTo>
                  <a:lnTo>
                    <a:pt x="127296" y="177555"/>
                  </a:lnTo>
                  <a:lnTo>
                    <a:pt x="463984" y="177555"/>
                  </a:lnTo>
                  <a:lnTo>
                    <a:pt x="445535" y="41320"/>
                  </a:lnTo>
                  <a:close/>
                  <a:moveTo>
                    <a:pt x="256092" y="133"/>
                  </a:moveTo>
                  <a:cubicBezTo>
                    <a:pt x="316005" y="-649"/>
                    <a:pt x="392149" y="1853"/>
                    <a:pt x="482432" y="11864"/>
                  </a:cubicBezTo>
                  <a:lnTo>
                    <a:pt x="503648" y="173873"/>
                  </a:lnTo>
                  <a:lnTo>
                    <a:pt x="526709" y="173873"/>
                  </a:lnTo>
                  <a:lnTo>
                    <a:pt x="526709" y="172032"/>
                  </a:lnTo>
                  <a:lnTo>
                    <a:pt x="526709" y="137973"/>
                  </a:lnTo>
                  <a:lnTo>
                    <a:pt x="596814" y="137973"/>
                  </a:lnTo>
                  <a:lnTo>
                    <a:pt x="596814" y="176634"/>
                  </a:lnTo>
                  <a:lnTo>
                    <a:pt x="528554" y="176634"/>
                  </a:lnTo>
                  <a:lnTo>
                    <a:pt x="526709" y="176634"/>
                  </a:lnTo>
                  <a:lnTo>
                    <a:pt x="526709" y="178475"/>
                  </a:lnTo>
                  <a:lnTo>
                    <a:pt x="528554" y="178475"/>
                  </a:lnTo>
                  <a:lnTo>
                    <a:pt x="528554" y="194124"/>
                  </a:lnTo>
                  <a:lnTo>
                    <a:pt x="572831" y="194124"/>
                  </a:lnTo>
                  <a:lnTo>
                    <a:pt x="572831" y="231865"/>
                  </a:lnTo>
                  <a:lnTo>
                    <a:pt x="528554" y="231865"/>
                  </a:lnTo>
                  <a:lnTo>
                    <a:pt x="528554" y="289857"/>
                  </a:lnTo>
                  <a:lnTo>
                    <a:pt x="483355" y="289857"/>
                  </a:lnTo>
                  <a:lnTo>
                    <a:pt x="483355" y="321154"/>
                  </a:lnTo>
                  <a:lnTo>
                    <a:pt x="154046" y="321154"/>
                  </a:lnTo>
                  <a:lnTo>
                    <a:pt x="114382" y="321154"/>
                  </a:lnTo>
                  <a:lnTo>
                    <a:pt x="114382" y="289857"/>
                  </a:lnTo>
                  <a:lnTo>
                    <a:pt x="55346" y="289857"/>
                  </a:lnTo>
                  <a:lnTo>
                    <a:pt x="55346" y="230944"/>
                  </a:lnTo>
                  <a:lnTo>
                    <a:pt x="37820" y="230944"/>
                  </a:lnTo>
                  <a:lnTo>
                    <a:pt x="37820" y="195965"/>
                  </a:lnTo>
                  <a:lnTo>
                    <a:pt x="55346" y="195965"/>
                  </a:lnTo>
                  <a:lnTo>
                    <a:pt x="55346" y="178475"/>
                  </a:lnTo>
                  <a:lnTo>
                    <a:pt x="70105" y="178475"/>
                  </a:lnTo>
                  <a:lnTo>
                    <a:pt x="70105" y="176634"/>
                  </a:lnTo>
                  <a:lnTo>
                    <a:pt x="55346" y="176634"/>
                  </a:lnTo>
                  <a:lnTo>
                    <a:pt x="0" y="176634"/>
                  </a:lnTo>
                  <a:lnTo>
                    <a:pt x="0" y="137973"/>
                  </a:lnTo>
                  <a:lnTo>
                    <a:pt x="70105" y="137973"/>
                  </a:lnTo>
                  <a:lnTo>
                    <a:pt x="70105" y="172032"/>
                  </a:lnTo>
                  <a:lnTo>
                    <a:pt x="70105" y="173873"/>
                  </a:lnTo>
                  <a:lnTo>
                    <a:pt x="81174" y="173873"/>
                  </a:lnTo>
                  <a:lnTo>
                    <a:pt x="101468" y="11864"/>
                  </a:lnTo>
                  <a:cubicBezTo>
                    <a:pt x="101468" y="11864"/>
                    <a:pt x="156237" y="1436"/>
                    <a:pt x="256092" y="133"/>
                  </a:cubicBezTo>
                  <a:close/>
                </a:path>
              </a:pathLst>
            </a:custGeom>
            <a:grpFill/>
            <a:ln>
              <a:noFill/>
            </a:ln>
          </p:spPr>
        </p:sp>
        <p:sp>
          <p:nvSpPr>
            <p:cNvPr id="107" name="ellipsis_64560"/>
            <p:cNvSpPr>
              <a:spLocks noChangeAspect="1"/>
            </p:cNvSpPr>
            <p:nvPr/>
          </p:nvSpPr>
          <p:spPr bwMode="auto">
            <a:xfrm>
              <a:off x="2487519" y="6150038"/>
              <a:ext cx="609685" cy="162313"/>
            </a:xfrm>
            <a:custGeom>
              <a:avLst/>
              <a:gdLst>
                <a:gd name="connsiteX0" fmla="*/ 520884 w 601565"/>
                <a:gd name="connsiteY0" fmla="*/ 0 h 160152"/>
                <a:gd name="connsiteX1" fmla="*/ 601565 w 601565"/>
                <a:gd name="connsiteY1" fmla="*/ 80076 h 160152"/>
                <a:gd name="connsiteX2" fmla="*/ 520884 w 601565"/>
                <a:gd name="connsiteY2" fmla="*/ 160152 h 160152"/>
                <a:gd name="connsiteX3" fmla="*/ 440203 w 601565"/>
                <a:gd name="connsiteY3" fmla="*/ 80076 h 160152"/>
                <a:gd name="connsiteX4" fmla="*/ 520884 w 601565"/>
                <a:gd name="connsiteY4" fmla="*/ 0 h 160152"/>
                <a:gd name="connsiteX5" fmla="*/ 300783 w 601565"/>
                <a:gd name="connsiteY5" fmla="*/ 0 h 160152"/>
                <a:gd name="connsiteX6" fmla="*/ 380946 w 601565"/>
                <a:gd name="connsiteY6" fmla="*/ 80076 h 160152"/>
                <a:gd name="connsiteX7" fmla="*/ 300783 w 601565"/>
                <a:gd name="connsiteY7" fmla="*/ 160152 h 160152"/>
                <a:gd name="connsiteX8" fmla="*/ 220620 w 601565"/>
                <a:gd name="connsiteY8" fmla="*/ 80076 h 160152"/>
                <a:gd name="connsiteX9" fmla="*/ 300783 w 601565"/>
                <a:gd name="connsiteY9" fmla="*/ 0 h 160152"/>
                <a:gd name="connsiteX10" fmla="*/ 80681 w 601565"/>
                <a:gd name="connsiteY10" fmla="*/ 0 h 160152"/>
                <a:gd name="connsiteX11" fmla="*/ 161362 w 601565"/>
                <a:gd name="connsiteY11" fmla="*/ 80076 h 160152"/>
                <a:gd name="connsiteX12" fmla="*/ 80681 w 601565"/>
                <a:gd name="connsiteY12" fmla="*/ 160152 h 160152"/>
                <a:gd name="connsiteX13" fmla="*/ 0 w 601565"/>
                <a:gd name="connsiteY13" fmla="*/ 80076 h 160152"/>
                <a:gd name="connsiteX14" fmla="*/ 80681 w 601565"/>
                <a:gd name="connsiteY14" fmla="*/ 0 h 16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1565" h="160152">
                  <a:moveTo>
                    <a:pt x="520884" y="0"/>
                  </a:moveTo>
                  <a:cubicBezTo>
                    <a:pt x="565443" y="0"/>
                    <a:pt x="601565" y="35851"/>
                    <a:pt x="601565" y="80076"/>
                  </a:cubicBezTo>
                  <a:cubicBezTo>
                    <a:pt x="601565" y="124301"/>
                    <a:pt x="565443" y="160152"/>
                    <a:pt x="520884" y="160152"/>
                  </a:cubicBezTo>
                  <a:cubicBezTo>
                    <a:pt x="476325" y="160152"/>
                    <a:pt x="440203" y="124301"/>
                    <a:pt x="440203" y="80076"/>
                  </a:cubicBezTo>
                  <a:cubicBezTo>
                    <a:pt x="440203" y="35851"/>
                    <a:pt x="476325" y="0"/>
                    <a:pt x="520884" y="0"/>
                  </a:cubicBezTo>
                  <a:close/>
                  <a:moveTo>
                    <a:pt x="300783" y="0"/>
                  </a:moveTo>
                  <a:cubicBezTo>
                    <a:pt x="345056" y="0"/>
                    <a:pt x="380946" y="35851"/>
                    <a:pt x="380946" y="80076"/>
                  </a:cubicBezTo>
                  <a:cubicBezTo>
                    <a:pt x="380946" y="124301"/>
                    <a:pt x="345056" y="160152"/>
                    <a:pt x="300783" y="160152"/>
                  </a:cubicBezTo>
                  <a:cubicBezTo>
                    <a:pt x="256510" y="160152"/>
                    <a:pt x="220620" y="124301"/>
                    <a:pt x="220620" y="80076"/>
                  </a:cubicBezTo>
                  <a:cubicBezTo>
                    <a:pt x="220620" y="35851"/>
                    <a:pt x="256510" y="0"/>
                    <a:pt x="300783" y="0"/>
                  </a:cubicBezTo>
                  <a:close/>
                  <a:moveTo>
                    <a:pt x="80681" y="0"/>
                  </a:moveTo>
                  <a:cubicBezTo>
                    <a:pt x="125240" y="0"/>
                    <a:pt x="161362" y="35851"/>
                    <a:pt x="161362" y="80076"/>
                  </a:cubicBezTo>
                  <a:cubicBezTo>
                    <a:pt x="161362" y="124301"/>
                    <a:pt x="125240" y="160152"/>
                    <a:pt x="80681" y="160152"/>
                  </a:cubicBezTo>
                  <a:cubicBezTo>
                    <a:pt x="36122" y="160152"/>
                    <a:pt x="0" y="124301"/>
                    <a:pt x="0" y="80076"/>
                  </a:cubicBezTo>
                  <a:cubicBezTo>
                    <a:pt x="0" y="35851"/>
                    <a:pt x="36122" y="0"/>
                    <a:pt x="80681" y="0"/>
                  </a:cubicBezTo>
                  <a:close/>
                </a:path>
              </a:pathLst>
            </a:custGeom>
            <a:grpFill/>
            <a:ln>
              <a:noFill/>
            </a:ln>
          </p:spPr>
        </p:sp>
        <p:cxnSp>
          <p:nvCxnSpPr>
            <p:cNvPr id="109" name="直接箭头连接符 108"/>
            <p:cNvCxnSpPr>
              <a:stCxn id="103" idx="29"/>
              <a:endCxn id="106" idx="36"/>
            </p:cNvCxnSpPr>
            <p:nvPr/>
          </p:nvCxnSpPr>
          <p:spPr>
            <a:xfrm flipH="1">
              <a:off x="994076" y="5377898"/>
              <a:ext cx="822712" cy="608131"/>
            </a:xfrm>
            <a:prstGeom prst="straightConnector1">
              <a:avLst/>
            </a:prstGeom>
            <a:grpFill/>
            <a:ln>
              <a:tailEnd type="triangle"/>
            </a:ln>
          </p:spPr>
          <p:style>
            <a:lnRef idx="1">
              <a:schemeClr val="accent1"/>
            </a:lnRef>
            <a:fillRef idx="0">
              <a:schemeClr val="accent1"/>
            </a:fillRef>
            <a:effectRef idx="0">
              <a:schemeClr val="accent1"/>
            </a:effectRef>
            <a:fontRef idx="minor">
              <a:schemeClr val="tx1"/>
            </a:fontRef>
          </p:style>
        </p:cxnSp>
        <p:cxnSp>
          <p:nvCxnSpPr>
            <p:cNvPr id="111" name="直接箭头连接符 110"/>
            <p:cNvCxnSpPr>
              <a:stCxn id="103" idx="29"/>
              <a:endCxn id="105" idx="45"/>
            </p:cNvCxnSpPr>
            <p:nvPr/>
          </p:nvCxnSpPr>
          <p:spPr>
            <a:xfrm>
              <a:off x="1816788" y="5377898"/>
              <a:ext cx="241559" cy="581395"/>
            </a:xfrm>
            <a:prstGeom prst="straightConnector1">
              <a:avLst/>
            </a:prstGeom>
            <a:grpFill/>
            <a:ln>
              <a:tailEnd type="triangle"/>
            </a:ln>
          </p:spPr>
          <p:style>
            <a:lnRef idx="1">
              <a:schemeClr val="accent1"/>
            </a:lnRef>
            <a:fillRef idx="0">
              <a:schemeClr val="accent1"/>
            </a:fillRef>
            <a:effectRef idx="0">
              <a:schemeClr val="accent1"/>
            </a:effectRef>
            <a:fontRef idx="minor">
              <a:schemeClr val="tx1"/>
            </a:fontRef>
          </p:style>
        </p:cxnSp>
        <p:cxnSp>
          <p:nvCxnSpPr>
            <p:cNvPr id="113" name="直接箭头连接符 112"/>
            <p:cNvCxnSpPr>
              <a:stCxn id="103" idx="28"/>
              <a:endCxn id="107" idx="5"/>
            </p:cNvCxnSpPr>
            <p:nvPr/>
          </p:nvCxnSpPr>
          <p:spPr>
            <a:xfrm>
              <a:off x="1836697" y="5358008"/>
              <a:ext cx="955665" cy="792030"/>
            </a:xfrm>
            <a:prstGeom prst="straightConnector1">
              <a:avLst/>
            </a:prstGeom>
            <a:grpFill/>
            <a:ln>
              <a:tailEnd type="triangle"/>
            </a:ln>
          </p:spPr>
          <p:style>
            <a:lnRef idx="1">
              <a:schemeClr val="accent1"/>
            </a:lnRef>
            <a:fillRef idx="0">
              <a:schemeClr val="accent1"/>
            </a:fillRef>
            <a:effectRef idx="0">
              <a:schemeClr val="accent1"/>
            </a:effectRef>
            <a:fontRef idx="minor">
              <a:schemeClr val="tx1"/>
            </a:fontRef>
          </p:style>
        </p:cxnSp>
      </p:grpSp>
      <p:sp>
        <p:nvSpPr>
          <p:cNvPr id="116" name="下箭头 115"/>
          <p:cNvSpPr/>
          <p:nvPr/>
        </p:nvSpPr>
        <p:spPr>
          <a:xfrm>
            <a:off x="5707626" y="4439265"/>
            <a:ext cx="442451" cy="648929"/>
          </a:xfrm>
          <a:prstGeom prst="downArrow">
            <a:avLst/>
          </a:prstGeom>
          <a:solidFill>
            <a:srgbClr val="6974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7" name="下箭头 116"/>
          <p:cNvSpPr/>
          <p:nvPr/>
        </p:nvSpPr>
        <p:spPr>
          <a:xfrm>
            <a:off x="1725561" y="3583858"/>
            <a:ext cx="471949" cy="997667"/>
          </a:xfrm>
          <a:prstGeom prst="downArrow">
            <a:avLst/>
          </a:prstGeom>
          <a:solidFill>
            <a:srgbClr val="008C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标题 1"/>
          <p:cNvSpPr>
            <a:spLocks noGrp="1"/>
          </p:cNvSpPr>
          <p:nvPr>
            <p:ph type="title"/>
          </p:nvPr>
        </p:nvSpPr>
        <p:spPr>
          <a:xfrm>
            <a:off x="1137925" y="205921"/>
            <a:ext cx="10401280" cy="695186"/>
          </a:xfrm>
        </p:spPr>
        <p:txBody>
          <a:bodyPr/>
          <a:lstStyle/>
          <a:p>
            <a:r>
              <a:rPr lang="zh-CN" altLang="en-US" sz="3200" b="0" dirty="0" smtClean="0">
                <a:latin typeface="Arial"/>
                <a:ea typeface="Microsoft YaHei"/>
                <a:cs typeface="+mn-ea"/>
                <a:sym typeface="Arial"/>
              </a:rPr>
              <a:t>工厂</a:t>
            </a:r>
            <a:r>
              <a:rPr lang="en-US" altLang="zh-CN" sz="3200" b="0" dirty="0" smtClean="0">
                <a:latin typeface="Arial"/>
                <a:ea typeface="Microsoft YaHei"/>
                <a:cs typeface="+mn-ea"/>
                <a:sym typeface="Arial"/>
              </a:rPr>
              <a:t>/</a:t>
            </a:r>
            <a:r>
              <a:rPr lang="zh-CN" altLang="en-US" sz="3200" b="0" dirty="0" smtClean="0">
                <a:latin typeface="Arial"/>
                <a:ea typeface="Microsoft YaHei"/>
                <a:cs typeface="+mn-ea"/>
                <a:sym typeface="Arial"/>
              </a:rPr>
              <a:t>抽象工厂模式</a:t>
            </a:r>
            <a:endParaRPr lang="zh-CN" altLang="en-US" sz="3200" b="0" dirty="0">
              <a:latin typeface="Arial"/>
              <a:ea typeface="Microsoft YaHei"/>
              <a:cs typeface="+mn-ea"/>
              <a:sym typeface="Arial"/>
            </a:endParaRPr>
          </a:p>
        </p:txBody>
      </p:sp>
      <p:grpSp>
        <p:nvGrpSpPr>
          <p:cNvPr id="44" name="组合 43">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45" name="椭圆 44">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46" name="椭圆 45">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
        <p:nvSpPr>
          <p:cNvPr id="47" name="î$ḷîḓê">
            <a:extLst>
              <a:ext uri="{FF2B5EF4-FFF2-40B4-BE49-F238E27FC236}">
                <a16:creationId xmlns:a16="http://schemas.microsoft.com/office/drawing/2014/main" id="{0120662D-08EC-45F4-BE9C-84021ADB4C9A}"/>
              </a:ext>
            </a:extLst>
          </p:cNvPr>
          <p:cNvSpPr/>
          <p:nvPr/>
        </p:nvSpPr>
        <p:spPr bwMode="gray">
          <a:xfrm>
            <a:off x="7211000" y="198392"/>
            <a:ext cx="1506790" cy="480145"/>
          </a:xfrm>
          <a:prstGeom prst="rect">
            <a:avLst/>
          </a:prstGeom>
          <a:solidFill>
            <a:schemeClr val="accent1"/>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创建型模式</a:t>
            </a:r>
            <a:endParaRPr lang="en-US" altLang="zh-CN" sz="2400" dirty="0">
              <a:solidFill>
                <a:schemeClr val="bg1"/>
              </a:solidFill>
            </a:endParaRPr>
          </a:p>
        </p:txBody>
      </p:sp>
      <p:sp>
        <p:nvSpPr>
          <p:cNvPr id="48" name="î$ḷîḓê">
            <a:extLst>
              <a:ext uri="{FF2B5EF4-FFF2-40B4-BE49-F238E27FC236}">
                <a16:creationId xmlns:a16="http://schemas.microsoft.com/office/drawing/2014/main" id="{0120662D-08EC-45F4-BE9C-84021ADB4C9A}"/>
              </a:ext>
            </a:extLst>
          </p:cNvPr>
          <p:cNvSpPr/>
          <p:nvPr/>
        </p:nvSpPr>
        <p:spPr bwMode="gray">
          <a:xfrm>
            <a:off x="8749874" y="199746"/>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结构型模式</a:t>
            </a:r>
            <a:endParaRPr lang="en-US" altLang="zh-CN" sz="2400" dirty="0">
              <a:solidFill>
                <a:schemeClr val="bg1"/>
              </a:solidFill>
            </a:endParaRPr>
          </a:p>
        </p:txBody>
      </p:sp>
      <p:sp>
        <p:nvSpPr>
          <p:cNvPr id="49" name="î$ḷîḓê">
            <a:extLst>
              <a:ext uri="{FF2B5EF4-FFF2-40B4-BE49-F238E27FC236}">
                <a16:creationId xmlns:a16="http://schemas.microsoft.com/office/drawing/2014/main" id="{0120662D-08EC-45F4-BE9C-84021ADB4C9A}"/>
              </a:ext>
            </a:extLst>
          </p:cNvPr>
          <p:cNvSpPr/>
          <p:nvPr/>
        </p:nvSpPr>
        <p:spPr bwMode="gray">
          <a:xfrm>
            <a:off x="10282004" y="189695"/>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行为型模式</a:t>
            </a:r>
            <a:endParaRPr lang="en-US" altLang="zh-CN" sz="2400" dirty="0">
              <a:solidFill>
                <a:schemeClr val="bg1"/>
              </a:solidFill>
            </a:endParaRPr>
          </a:p>
        </p:txBody>
      </p:sp>
      <p:sp>
        <p:nvSpPr>
          <p:cNvPr id="50" name="nuclear-plant_99736"/>
          <p:cNvSpPr>
            <a:spLocks noChangeAspect="1"/>
          </p:cNvSpPr>
          <p:nvPr/>
        </p:nvSpPr>
        <p:spPr bwMode="auto">
          <a:xfrm>
            <a:off x="9345401" y="5405632"/>
            <a:ext cx="665478" cy="552662"/>
          </a:xfrm>
          <a:custGeom>
            <a:avLst/>
            <a:gdLst>
              <a:gd name="T0" fmla="*/ 278945 h 440259"/>
              <a:gd name="T1" fmla="*/ 278945 h 440259"/>
              <a:gd name="T2" fmla="*/ 278945 h 440259"/>
              <a:gd name="T3" fmla="*/ 278945 h 440259"/>
              <a:gd name="T4" fmla="*/ 278945 h 440259"/>
              <a:gd name="T5" fmla="*/ 278945 h 440259"/>
              <a:gd name="T6" fmla="*/ 278945 h 440259"/>
              <a:gd name="T7" fmla="*/ 278945 h 440259"/>
              <a:gd name="T8" fmla="*/ 278945 h 440259"/>
              <a:gd name="T9" fmla="*/ 278945 h 440259"/>
              <a:gd name="T10" fmla="*/ 278945 h 440259"/>
              <a:gd name="T11" fmla="*/ 278945 h 440259"/>
              <a:gd name="T12" fmla="*/ 278945 h 440259"/>
              <a:gd name="T13" fmla="*/ 278945 h 440259"/>
              <a:gd name="T14" fmla="*/ 278945 h 440259"/>
              <a:gd name="T15" fmla="*/ 278945 h 440259"/>
              <a:gd name="T16" fmla="*/ 278945 h 440259"/>
              <a:gd name="T17" fmla="*/ 278945 h 440259"/>
              <a:gd name="T18" fmla="*/ 278945 h 440259"/>
              <a:gd name="T19" fmla="*/ 278945 h 440259"/>
              <a:gd name="T20" fmla="*/ 278945 h 440259"/>
              <a:gd name="T21" fmla="*/ 278945 h 440259"/>
              <a:gd name="T22" fmla="*/ 278945 h 440259"/>
              <a:gd name="T23" fmla="*/ 278945 h 440259"/>
              <a:gd name="T24" fmla="*/ 278945 h 440259"/>
              <a:gd name="T25" fmla="*/ 278945 h 440259"/>
              <a:gd name="T26" fmla="*/ 278945 h 440259"/>
              <a:gd name="T27" fmla="*/ 278945 h 440259"/>
              <a:gd name="T28" fmla="*/ 278945 h 440259"/>
              <a:gd name="T29" fmla="*/ 278945 h 440259"/>
              <a:gd name="T30" fmla="*/ 278945 h 440259"/>
              <a:gd name="T31" fmla="*/ 278945 h 440259"/>
              <a:gd name="T32" fmla="*/ 278945 h 440259"/>
              <a:gd name="T33" fmla="*/ 278945 h 440259"/>
              <a:gd name="T34" fmla="*/ 278945 h 440259"/>
              <a:gd name="T35" fmla="*/ 278945 h 440259"/>
              <a:gd name="T36" fmla="*/ 278945 h 440259"/>
              <a:gd name="T37" fmla="*/ 278945 h 440259"/>
              <a:gd name="T38" fmla="*/ 278945 h 440259"/>
              <a:gd name="T39" fmla="*/ 278945 h 440259"/>
              <a:gd name="T40" fmla="*/ 278945 h 440259"/>
              <a:gd name="T41" fmla="*/ 278945 h 440259"/>
              <a:gd name="T42" fmla="*/ 88862 h 440259"/>
              <a:gd name="T43" fmla="*/ 88862 h 440259"/>
              <a:gd name="T44" fmla="*/ 278945 h 440259"/>
              <a:gd name="T45" fmla="*/ 278945 h 440259"/>
              <a:gd name="T46" fmla="*/ 278945 h 440259"/>
              <a:gd name="T47" fmla="*/ 278945 h 440259"/>
              <a:gd name="T48" fmla="*/ 278945 h 440259"/>
              <a:gd name="T49" fmla="*/ 278945 h 440259"/>
              <a:gd name="T50" fmla="*/ 278945 h 440259"/>
              <a:gd name="T51" fmla="*/ 278945 h 440259"/>
              <a:gd name="T52" fmla="*/ 278945 h 440259"/>
              <a:gd name="T53" fmla="*/ 278945 h 440259"/>
              <a:gd name="T54" fmla="*/ 278945 h 440259"/>
              <a:gd name="T55" fmla="*/ 278945 h 440259"/>
              <a:gd name="T56" fmla="*/ 278945 h 440259"/>
              <a:gd name="T57" fmla="*/ 278945 h 440259"/>
              <a:gd name="T58" fmla="*/ 278945 h 440259"/>
              <a:gd name="T59" fmla="*/ 278945 h 440259"/>
              <a:gd name="T60" fmla="*/ 88862 h 440259"/>
              <a:gd name="T61" fmla="*/ 88862 h 440259"/>
              <a:gd name="T62" fmla="*/ 278945 h 440259"/>
              <a:gd name="T63" fmla="*/ 278945 h 440259"/>
              <a:gd name="T64" fmla="*/ 278945 h 440259"/>
              <a:gd name="T65" fmla="*/ 278945 h 440259"/>
              <a:gd name="T66" fmla="*/ 278945 h 440259"/>
              <a:gd name="T67" fmla="*/ 278945 h 440259"/>
              <a:gd name="T68" fmla="*/ 278945 h 440259"/>
              <a:gd name="T69" fmla="*/ 278945 h 440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61" h="3294">
                <a:moveTo>
                  <a:pt x="3898" y="1320"/>
                </a:moveTo>
                <a:cubicBezTo>
                  <a:pt x="3859" y="1303"/>
                  <a:pt x="3812" y="1311"/>
                  <a:pt x="3781" y="1341"/>
                </a:cubicBezTo>
                <a:lnTo>
                  <a:pt x="2894" y="2194"/>
                </a:lnTo>
                <a:lnTo>
                  <a:pt x="2894" y="1418"/>
                </a:lnTo>
                <a:cubicBezTo>
                  <a:pt x="2894" y="1375"/>
                  <a:pt x="2871" y="1336"/>
                  <a:pt x="2832" y="1319"/>
                </a:cubicBezTo>
                <a:cubicBezTo>
                  <a:pt x="2792" y="1303"/>
                  <a:pt x="2745" y="1311"/>
                  <a:pt x="2715" y="1341"/>
                </a:cubicBezTo>
                <a:lnTo>
                  <a:pt x="1841" y="2186"/>
                </a:lnTo>
                <a:lnTo>
                  <a:pt x="1841" y="1418"/>
                </a:lnTo>
                <a:cubicBezTo>
                  <a:pt x="1841" y="1375"/>
                  <a:pt x="1818" y="1336"/>
                  <a:pt x="1778" y="1320"/>
                </a:cubicBezTo>
                <a:cubicBezTo>
                  <a:pt x="1739" y="1303"/>
                  <a:pt x="1694" y="1311"/>
                  <a:pt x="1664" y="1341"/>
                </a:cubicBezTo>
                <a:lnTo>
                  <a:pt x="783" y="2192"/>
                </a:lnTo>
                <a:lnTo>
                  <a:pt x="713" y="675"/>
                </a:lnTo>
                <a:cubicBezTo>
                  <a:pt x="711" y="618"/>
                  <a:pt x="664" y="574"/>
                  <a:pt x="607" y="574"/>
                </a:cubicBezTo>
                <a:lnTo>
                  <a:pt x="527" y="574"/>
                </a:lnTo>
                <a:cubicBezTo>
                  <a:pt x="669" y="546"/>
                  <a:pt x="759" y="478"/>
                  <a:pt x="835" y="421"/>
                </a:cubicBezTo>
                <a:cubicBezTo>
                  <a:pt x="915" y="360"/>
                  <a:pt x="968" y="320"/>
                  <a:pt x="1091" y="320"/>
                </a:cubicBezTo>
                <a:cubicBezTo>
                  <a:pt x="1214" y="320"/>
                  <a:pt x="1268" y="361"/>
                  <a:pt x="1348" y="421"/>
                </a:cubicBezTo>
                <a:cubicBezTo>
                  <a:pt x="1446" y="495"/>
                  <a:pt x="1568" y="587"/>
                  <a:pt x="1798" y="587"/>
                </a:cubicBezTo>
                <a:cubicBezTo>
                  <a:pt x="2028" y="587"/>
                  <a:pt x="2150" y="495"/>
                  <a:pt x="2248" y="421"/>
                </a:cubicBezTo>
                <a:cubicBezTo>
                  <a:pt x="2328" y="360"/>
                  <a:pt x="2381" y="320"/>
                  <a:pt x="2504" y="320"/>
                </a:cubicBezTo>
                <a:cubicBezTo>
                  <a:pt x="2627" y="320"/>
                  <a:pt x="2681" y="361"/>
                  <a:pt x="2761" y="421"/>
                </a:cubicBezTo>
                <a:cubicBezTo>
                  <a:pt x="2859" y="495"/>
                  <a:pt x="2981" y="587"/>
                  <a:pt x="3211" y="587"/>
                </a:cubicBezTo>
                <a:cubicBezTo>
                  <a:pt x="3299" y="587"/>
                  <a:pt x="3371" y="515"/>
                  <a:pt x="3371" y="427"/>
                </a:cubicBezTo>
                <a:cubicBezTo>
                  <a:pt x="3371" y="339"/>
                  <a:pt x="3299" y="267"/>
                  <a:pt x="3211" y="267"/>
                </a:cubicBezTo>
                <a:cubicBezTo>
                  <a:pt x="3088" y="267"/>
                  <a:pt x="3035" y="227"/>
                  <a:pt x="2954" y="166"/>
                </a:cubicBezTo>
                <a:cubicBezTo>
                  <a:pt x="2856" y="92"/>
                  <a:pt x="2735" y="0"/>
                  <a:pt x="2504" y="0"/>
                </a:cubicBezTo>
                <a:cubicBezTo>
                  <a:pt x="2274" y="0"/>
                  <a:pt x="2152" y="92"/>
                  <a:pt x="2055" y="166"/>
                </a:cubicBezTo>
                <a:cubicBezTo>
                  <a:pt x="1974" y="227"/>
                  <a:pt x="1921" y="267"/>
                  <a:pt x="1798" y="267"/>
                </a:cubicBezTo>
                <a:cubicBezTo>
                  <a:pt x="1675" y="267"/>
                  <a:pt x="1622" y="227"/>
                  <a:pt x="1541" y="166"/>
                </a:cubicBezTo>
                <a:cubicBezTo>
                  <a:pt x="1443" y="92"/>
                  <a:pt x="1322" y="0"/>
                  <a:pt x="1091" y="0"/>
                </a:cubicBezTo>
                <a:cubicBezTo>
                  <a:pt x="861" y="0"/>
                  <a:pt x="740" y="92"/>
                  <a:pt x="642" y="166"/>
                </a:cubicBezTo>
                <a:cubicBezTo>
                  <a:pt x="561" y="227"/>
                  <a:pt x="508" y="267"/>
                  <a:pt x="385" y="267"/>
                </a:cubicBezTo>
                <a:cubicBezTo>
                  <a:pt x="297" y="267"/>
                  <a:pt x="225" y="339"/>
                  <a:pt x="225" y="427"/>
                </a:cubicBezTo>
                <a:cubicBezTo>
                  <a:pt x="225" y="493"/>
                  <a:pt x="265" y="549"/>
                  <a:pt x="321" y="574"/>
                </a:cubicBezTo>
                <a:lnTo>
                  <a:pt x="224" y="574"/>
                </a:lnTo>
                <a:cubicBezTo>
                  <a:pt x="167" y="574"/>
                  <a:pt x="120" y="618"/>
                  <a:pt x="117" y="675"/>
                </a:cubicBezTo>
                <a:lnTo>
                  <a:pt x="1" y="3182"/>
                </a:lnTo>
                <a:cubicBezTo>
                  <a:pt x="0" y="3211"/>
                  <a:pt x="10" y="3240"/>
                  <a:pt x="31" y="3261"/>
                </a:cubicBezTo>
                <a:cubicBezTo>
                  <a:pt x="51" y="3282"/>
                  <a:pt x="79" y="3294"/>
                  <a:pt x="108" y="3294"/>
                </a:cubicBezTo>
                <a:lnTo>
                  <a:pt x="3859" y="3294"/>
                </a:lnTo>
                <a:cubicBezTo>
                  <a:pt x="3918" y="3294"/>
                  <a:pt x="3961" y="3246"/>
                  <a:pt x="3961" y="3187"/>
                </a:cubicBezTo>
                <a:lnTo>
                  <a:pt x="3961" y="1418"/>
                </a:lnTo>
                <a:cubicBezTo>
                  <a:pt x="3961" y="1375"/>
                  <a:pt x="3938" y="1336"/>
                  <a:pt x="3898" y="1320"/>
                </a:cubicBezTo>
                <a:close/>
                <a:moveTo>
                  <a:pt x="3668" y="2747"/>
                </a:moveTo>
                <a:cubicBezTo>
                  <a:pt x="3668" y="2806"/>
                  <a:pt x="3620" y="2854"/>
                  <a:pt x="3561" y="2854"/>
                </a:cubicBezTo>
                <a:lnTo>
                  <a:pt x="3281" y="2854"/>
                </a:lnTo>
                <a:cubicBezTo>
                  <a:pt x="3222" y="2854"/>
                  <a:pt x="3174" y="2806"/>
                  <a:pt x="3174" y="2747"/>
                </a:cubicBezTo>
                <a:lnTo>
                  <a:pt x="3174" y="2494"/>
                </a:lnTo>
                <a:cubicBezTo>
                  <a:pt x="3174" y="2435"/>
                  <a:pt x="3222" y="2387"/>
                  <a:pt x="3281" y="2387"/>
                </a:cubicBezTo>
                <a:lnTo>
                  <a:pt x="3561" y="2387"/>
                </a:lnTo>
                <a:cubicBezTo>
                  <a:pt x="3620" y="2387"/>
                  <a:pt x="3668" y="2435"/>
                  <a:pt x="3668" y="2494"/>
                </a:cubicBezTo>
                <a:lnTo>
                  <a:pt x="3668" y="2747"/>
                </a:lnTo>
                <a:close/>
                <a:moveTo>
                  <a:pt x="2601" y="2747"/>
                </a:moveTo>
                <a:cubicBezTo>
                  <a:pt x="2601" y="2806"/>
                  <a:pt x="2553" y="2854"/>
                  <a:pt x="2494" y="2854"/>
                </a:cubicBezTo>
                <a:lnTo>
                  <a:pt x="2228" y="2854"/>
                </a:lnTo>
                <a:cubicBezTo>
                  <a:pt x="2169" y="2854"/>
                  <a:pt x="2121" y="2806"/>
                  <a:pt x="2121" y="2747"/>
                </a:cubicBezTo>
                <a:lnTo>
                  <a:pt x="2121" y="2494"/>
                </a:lnTo>
                <a:cubicBezTo>
                  <a:pt x="2121" y="2435"/>
                  <a:pt x="2169" y="2387"/>
                  <a:pt x="2228" y="2387"/>
                </a:cubicBezTo>
                <a:lnTo>
                  <a:pt x="2494" y="2387"/>
                </a:lnTo>
                <a:cubicBezTo>
                  <a:pt x="2553" y="2387"/>
                  <a:pt x="2601" y="2435"/>
                  <a:pt x="2601" y="2494"/>
                </a:cubicBezTo>
                <a:lnTo>
                  <a:pt x="2601" y="2747"/>
                </a:lnTo>
                <a:close/>
                <a:moveTo>
                  <a:pt x="1548" y="2747"/>
                </a:moveTo>
                <a:cubicBezTo>
                  <a:pt x="1548" y="2806"/>
                  <a:pt x="1500" y="2854"/>
                  <a:pt x="1441" y="2854"/>
                </a:cubicBezTo>
                <a:lnTo>
                  <a:pt x="1174" y="2854"/>
                </a:lnTo>
                <a:cubicBezTo>
                  <a:pt x="1115" y="2854"/>
                  <a:pt x="1068" y="2806"/>
                  <a:pt x="1068" y="2747"/>
                </a:cubicBezTo>
                <a:lnTo>
                  <a:pt x="1068" y="2494"/>
                </a:lnTo>
                <a:cubicBezTo>
                  <a:pt x="1068" y="2435"/>
                  <a:pt x="1115" y="2387"/>
                  <a:pt x="1174" y="2387"/>
                </a:cubicBezTo>
                <a:lnTo>
                  <a:pt x="1441" y="2387"/>
                </a:lnTo>
                <a:cubicBezTo>
                  <a:pt x="1500" y="2387"/>
                  <a:pt x="1548" y="2435"/>
                  <a:pt x="1548" y="2494"/>
                </a:cubicBezTo>
                <a:lnTo>
                  <a:pt x="1548" y="2747"/>
                </a:lnTo>
                <a:close/>
              </a:path>
            </a:pathLst>
          </a:custGeom>
          <a:solidFill>
            <a:srgbClr val="1A1B23"/>
          </a:solidFill>
          <a:ln>
            <a:noFill/>
          </a:ln>
        </p:spPr>
        <p:txBody>
          <a:bodyPr/>
          <a:lstStyle/>
          <a:p>
            <a:endParaRPr lang="zh-CN" altLang="en-US"/>
          </a:p>
        </p:txBody>
      </p:sp>
      <p:sp>
        <p:nvSpPr>
          <p:cNvPr id="51" name="all-terrain-vehicle_3476"/>
          <p:cNvSpPr>
            <a:spLocks noChangeAspect="1"/>
          </p:cNvSpPr>
          <p:nvPr/>
        </p:nvSpPr>
        <p:spPr bwMode="auto">
          <a:xfrm>
            <a:off x="8801739" y="6162519"/>
            <a:ext cx="609685" cy="431608"/>
          </a:xfrm>
          <a:custGeom>
            <a:avLst/>
            <a:gdLst>
              <a:gd name="connsiteX0" fmla="*/ 487038 w 596814"/>
              <a:gd name="connsiteY0" fmla="*/ 304584 h 422497"/>
              <a:gd name="connsiteX1" fmla="*/ 551542 w 596814"/>
              <a:gd name="connsiteY1" fmla="*/ 304584 h 422497"/>
              <a:gd name="connsiteX2" fmla="*/ 551542 w 596814"/>
              <a:gd name="connsiteY2" fmla="*/ 422497 h 422497"/>
              <a:gd name="connsiteX3" fmla="*/ 487038 w 596814"/>
              <a:gd name="connsiteY3" fmla="*/ 422497 h 422497"/>
              <a:gd name="connsiteX4" fmla="*/ 37874 w 596814"/>
              <a:gd name="connsiteY4" fmla="*/ 301921 h 422497"/>
              <a:gd name="connsiteX5" fmla="*/ 102378 w 596814"/>
              <a:gd name="connsiteY5" fmla="*/ 301921 h 422497"/>
              <a:gd name="connsiteX6" fmla="*/ 102378 w 596814"/>
              <a:gd name="connsiteY6" fmla="*/ 419686 h 422497"/>
              <a:gd name="connsiteX7" fmla="*/ 37874 w 596814"/>
              <a:gd name="connsiteY7" fmla="*/ 419686 h 422497"/>
              <a:gd name="connsiteX8" fmla="*/ 398491 w 596814"/>
              <a:gd name="connsiteY8" fmla="*/ 231865 h 422497"/>
              <a:gd name="connsiteX9" fmla="*/ 398491 w 596814"/>
              <a:gd name="connsiteY9" fmla="*/ 276970 h 422497"/>
              <a:gd name="connsiteX10" fmla="*/ 497191 w 596814"/>
              <a:gd name="connsiteY10" fmla="*/ 276970 h 422497"/>
              <a:gd name="connsiteX11" fmla="*/ 497191 w 596814"/>
              <a:gd name="connsiteY11" fmla="*/ 231865 h 422497"/>
              <a:gd name="connsiteX12" fmla="*/ 94088 w 596814"/>
              <a:gd name="connsiteY12" fmla="*/ 231865 h 422497"/>
              <a:gd name="connsiteX13" fmla="*/ 94088 w 596814"/>
              <a:gd name="connsiteY13" fmla="*/ 276970 h 422497"/>
              <a:gd name="connsiteX14" fmla="*/ 192788 w 596814"/>
              <a:gd name="connsiteY14" fmla="*/ 276970 h 422497"/>
              <a:gd name="connsiteX15" fmla="*/ 192788 w 596814"/>
              <a:gd name="connsiteY15" fmla="*/ 231865 h 422497"/>
              <a:gd name="connsiteX16" fmla="*/ 324696 w 596814"/>
              <a:gd name="connsiteY16" fmla="*/ 222660 h 422497"/>
              <a:gd name="connsiteX17" fmla="*/ 324696 w 596814"/>
              <a:gd name="connsiteY17" fmla="*/ 288936 h 422497"/>
              <a:gd name="connsiteX18" fmla="*/ 352369 w 596814"/>
              <a:gd name="connsiteY18" fmla="*/ 288936 h 422497"/>
              <a:gd name="connsiteX19" fmla="*/ 352369 w 596814"/>
              <a:gd name="connsiteY19" fmla="*/ 222660 h 422497"/>
              <a:gd name="connsiteX20" fmla="*/ 282264 w 596814"/>
              <a:gd name="connsiteY20" fmla="*/ 222660 h 422497"/>
              <a:gd name="connsiteX21" fmla="*/ 282264 w 596814"/>
              <a:gd name="connsiteY21" fmla="*/ 288936 h 422497"/>
              <a:gd name="connsiteX22" fmla="*/ 309937 w 596814"/>
              <a:gd name="connsiteY22" fmla="*/ 288936 h 422497"/>
              <a:gd name="connsiteX23" fmla="*/ 309937 w 596814"/>
              <a:gd name="connsiteY23" fmla="*/ 222660 h 422497"/>
              <a:gd name="connsiteX24" fmla="*/ 237988 w 596814"/>
              <a:gd name="connsiteY24" fmla="*/ 222660 h 422497"/>
              <a:gd name="connsiteX25" fmla="*/ 237988 w 596814"/>
              <a:gd name="connsiteY25" fmla="*/ 288936 h 422497"/>
              <a:gd name="connsiteX26" fmla="*/ 265661 w 596814"/>
              <a:gd name="connsiteY26" fmla="*/ 288936 h 422497"/>
              <a:gd name="connsiteX27" fmla="*/ 265661 w 596814"/>
              <a:gd name="connsiteY27" fmla="*/ 222660 h 422497"/>
              <a:gd name="connsiteX28" fmla="*/ 251804 w 596814"/>
              <a:gd name="connsiteY28" fmla="*/ 53224 h 422497"/>
              <a:gd name="connsiteX29" fmla="*/ 333026 w 596814"/>
              <a:gd name="connsiteY29" fmla="*/ 53224 h 422497"/>
              <a:gd name="connsiteX30" fmla="*/ 333026 w 596814"/>
              <a:gd name="connsiteY30" fmla="*/ 69794 h 422497"/>
              <a:gd name="connsiteX31" fmla="*/ 251804 w 596814"/>
              <a:gd name="connsiteY31" fmla="*/ 69794 h 422497"/>
              <a:gd name="connsiteX32" fmla="*/ 145744 w 596814"/>
              <a:gd name="connsiteY32" fmla="*/ 41320 h 422497"/>
              <a:gd name="connsiteX33" fmla="*/ 127296 w 596814"/>
              <a:gd name="connsiteY33" fmla="*/ 177555 h 422497"/>
              <a:gd name="connsiteX34" fmla="*/ 463984 w 596814"/>
              <a:gd name="connsiteY34" fmla="*/ 177555 h 422497"/>
              <a:gd name="connsiteX35" fmla="*/ 445535 w 596814"/>
              <a:gd name="connsiteY35" fmla="*/ 41320 h 422497"/>
              <a:gd name="connsiteX36" fmla="*/ 256092 w 596814"/>
              <a:gd name="connsiteY36" fmla="*/ 133 h 422497"/>
              <a:gd name="connsiteX37" fmla="*/ 482432 w 596814"/>
              <a:gd name="connsiteY37" fmla="*/ 11864 h 422497"/>
              <a:gd name="connsiteX38" fmla="*/ 503648 w 596814"/>
              <a:gd name="connsiteY38" fmla="*/ 173873 h 422497"/>
              <a:gd name="connsiteX39" fmla="*/ 526709 w 596814"/>
              <a:gd name="connsiteY39" fmla="*/ 173873 h 422497"/>
              <a:gd name="connsiteX40" fmla="*/ 526709 w 596814"/>
              <a:gd name="connsiteY40" fmla="*/ 172032 h 422497"/>
              <a:gd name="connsiteX41" fmla="*/ 526709 w 596814"/>
              <a:gd name="connsiteY41" fmla="*/ 137973 h 422497"/>
              <a:gd name="connsiteX42" fmla="*/ 596814 w 596814"/>
              <a:gd name="connsiteY42" fmla="*/ 137973 h 422497"/>
              <a:gd name="connsiteX43" fmla="*/ 596814 w 596814"/>
              <a:gd name="connsiteY43" fmla="*/ 176634 h 422497"/>
              <a:gd name="connsiteX44" fmla="*/ 528554 w 596814"/>
              <a:gd name="connsiteY44" fmla="*/ 176634 h 422497"/>
              <a:gd name="connsiteX45" fmla="*/ 526709 w 596814"/>
              <a:gd name="connsiteY45" fmla="*/ 176634 h 422497"/>
              <a:gd name="connsiteX46" fmla="*/ 526709 w 596814"/>
              <a:gd name="connsiteY46" fmla="*/ 178475 h 422497"/>
              <a:gd name="connsiteX47" fmla="*/ 528554 w 596814"/>
              <a:gd name="connsiteY47" fmla="*/ 178475 h 422497"/>
              <a:gd name="connsiteX48" fmla="*/ 528554 w 596814"/>
              <a:gd name="connsiteY48" fmla="*/ 194124 h 422497"/>
              <a:gd name="connsiteX49" fmla="*/ 572831 w 596814"/>
              <a:gd name="connsiteY49" fmla="*/ 194124 h 422497"/>
              <a:gd name="connsiteX50" fmla="*/ 572831 w 596814"/>
              <a:gd name="connsiteY50" fmla="*/ 231865 h 422497"/>
              <a:gd name="connsiteX51" fmla="*/ 528554 w 596814"/>
              <a:gd name="connsiteY51" fmla="*/ 231865 h 422497"/>
              <a:gd name="connsiteX52" fmla="*/ 528554 w 596814"/>
              <a:gd name="connsiteY52" fmla="*/ 289857 h 422497"/>
              <a:gd name="connsiteX53" fmla="*/ 483355 w 596814"/>
              <a:gd name="connsiteY53" fmla="*/ 289857 h 422497"/>
              <a:gd name="connsiteX54" fmla="*/ 483355 w 596814"/>
              <a:gd name="connsiteY54" fmla="*/ 321154 h 422497"/>
              <a:gd name="connsiteX55" fmla="*/ 154046 w 596814"/>
              <a:gd name="connsiteY55" fmla="*/ 321154 h 422497"/>
              <a:gd name="connsiteX56" fmla="*/ 114382 w 596814"/>
              <a:gd name="connsiteY56" fmla="*/ 321154 h 422497"/>
              <a:gd name="connsiteX57" fmla="*/ 114382 w 596814"/>
              <a:gd name="connsiteY57" fmla="*/ 289857 h 422497"/>
              <a:gd name="connsiteX58" fmla="*/ 55346 w 596814"/>
              <a:gd name="connsiteY58" fmla="*/ 289857 h 422497"/>
              <a:gd name="connsiteX59" fmla="*/ 55346 w 596814"/>
              <a:gd name="connsiteY59" fmla="*/ 230944 h 422497"/>
              <a:gd name="connsiteX60" fmla="*/ 37820 w 596814"/>
              <a:gd name="connsiteY60" fmla="*/ 230944 h 422497"/>
              <a:gd name="connsiteX61" fmla="*/ 37820 w 596814"/>
              <a:gd name="connsiteY61" fmla="*/ 195965 h 422497"/>
              <a:gd name="connsiteX62" fmla="*/ 55346 w 596814"/>
              <a:gd name="connsiteY62" fmla="*/ 195965 h 422497"/>
              <a:gd name="connsiteX63" fmla="*/ 55346 w 596814"/>
              <a:gd name="connsiteY63" fmla="*/ 178475 h 422497"/>
              <a:gd name="connsiteX64" fmla="*/ 70105 w 596814"/>
              <a:gd name="connsiteY64" fmla="*/ 178475 h 422497"/>
              <a:gd name="connsiteX65" fmla="*/ 70105 w 596814"/>
              <a:gd name="connsiteY65" fmla="*/ 176634 h 422497"/>
              <a:gd name="connsiteX66" fmla="*/ 55346 w 596814"/>
              <a:gd name="connsiteY66" fmla="*/ 176634 h 422497"/>
              <a:gd name="connsiteX67" fmla="*/ 0 w 596814"/>
              <a:gd name="connsiteY67" fmla="*/ 176634 h 422497"/>
              <a:gd name="connsiteX68" fmla="*/ 0 w 596814"/>
              <a:gd name="connsiteY68" fmla="*/ 137973 h 422497"/>
              <a:gd name="connsiteX69" fmla="*/ 70105 w 596814"/>
              <a:gd name="connsiteY69" fmla="*/ 137973 h 422497"/>
              <a:gd name="connsiteX70" fmla="*/ 70105 w 596814"/>
              <a:gd name="connsiteY70" fmla="*/ 172032 h 422497"/>
              <a:gd name="connsiteX71" fmla="*/ 70105 w 596814"/>
              <a:gd name="connsiteY71" fmla="*/ 173873 h 422497"/>
              <a:gd name="connsiteX72" fmla="*/ 81174 w 596814"/>
              <a:gd name="connsiteY72" fmla="*/ 173873 h 422497"/>
              <a:gd name="connsiteX73" fmla="*/ 101468 w 596814"/>
              <a:gd name="connsiteY73" fmla="*/ 11864 h 422497"/>
              <a:gd name="connsiteX74" fmla="*/ 256092 w 596814"/>
              <a:gd name="connsiteY74" fmla="*/ 133 h 422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596814" h="422497">
                <a:moveTo>
                  <a:pt x="487038" y="304584"/>
                </a:moveTo>
                <a:lnTo>
                  <a:pt x="551542" y="304584"/>
                </a:lnTo>
                <a:lnTo>
                  <a:pt x="551542" y="422497"/>
                </a:lnTo>
                <a:lnTo>
                  <a:pt x="487038" y="422497"/>
                </a:lnTo>
                <a:close/>
                <a:moveTo>
                  <a:pt x="37874" y="301921"/>
                </a:moveTo>
                <a:lnTo>
                  <a:pt x="102378" y="301921"/>
                </a:lnTo>
                <a:lnTo>
                  <a:pt x="102378" y="419686"/>
                </a:lnTo>
                <a:lnTo>
                  <a:pt x="37874" y="419686"/>
                </a:lnTo>
                <a:close/>
                <a:moveTo>
                  <a:pt x="398491" y="231865"/>
                </a:moveTo>
                <a:lnTo>
                  <a:pt x="398491" y="276970"/>
                </a:lnTo>
                <a:lnTo>
                  <a:pt x="497191" y="276970"/>
                </a:lnTo>
                <a:lnTo>
                  <a:pt x="497191" y="231865"/>
                </a:lnTo>
                <a:close/>
                <a:moveTo>
                  <a:pt x="94088" y="231865"/>
                </a:moveTo>
                <a:lnTo>
                  <a:pt x="94088" y="276970"/>
                </a:lnTo>
                <a:lnTo>
                  <a:pt x="192788" y="276970"/>
                </a:lnTo>
                <a:lnTo>
                  <a:pt x="192788" y="231865"/>
                </a:lnTo>
                <a:close/>
                <a:moveTo>
                  <a:pt x="324696" y="222660"/>
                </a:moveTo>
                <a:lnTo>
                  <a:pt x="324696" y="288936"/>
                </a:lnTo>
                <a:lnTo>
                  <a:pt x="352369" y="288936"/>
                </a:lnTo>
                <a:lnTo>
                  <a:pt x="352369" y="222660"/>
                </a:lnTo>
                <a:close/>
                <a:moveTo>
                  <a:pt x="282264" y="222660"/>
                </a:moveTo>
                <a:lnTo>
                  <a:pt x="282264" y="288936"/>
                </a:lnTo>
                <a:lnTo>
                  <a:pt x="309937" y="288936"/>
                </a:lnTo>
                <a:lnTo>
                  <a:pt x="309937" y="222660"/>
                </a:lnTo>
                <a:close/>
                <a:moveTo>
                  <a:pt x="237988" y="222660"/>
                </a:moveTo>
                <a:lnTo>
                  <a:pt x="237988" y="288936"/>
                </a:lnTo>
                <a:lnTo>
                  <a:pt x="265661" y="288936"/>
                </a:lnTo>
                <a:lnTo>
                  <a:pt x="265661" y="222660"/>
                </a:lnTo>
                <a:close/>
                <a:moveTo>
                  <a:pt x="251804" y="53224"/>
                </a:moveTo>
                <a:lnTo>
                  <a:pt x="333026" y="53224"/>
                </a:lnTo>
                <a:lnTo>
                  <a:pt x="333026" y="69794"/>
                </a:lnTo>
                <a:lnTo>
                  <a:pt x="251804" y="69794"/>
                </a:lnTo>
                <a:close/>
                <a:moveTo>
                  <a:pt x="145744" y="41320"/>
                </a:moveTo>
                <a:lnTo>
                  <a:pt x="127296" y="177555"/>
                </a:lnTo>
                <a:lnTo>
                  <a:pt x="463984" y="177555"/>
                </a:lnTo>
                <a:lnTo>
                  <a:pt x="445535" y="41320"/>
                </a:lnTo>
                <a:close/>
                <a:moveTo>
                  <a:pt x="256092" y="133"/>
                </a:moveTo>
                <a:cubicBezTo>
                  <a:pt x="316005" y="-649"/>
                  <a:pt x="392149" y="1853"/>
                  <a:pt x="482432" y="11864"/>
                </a:cubicBezTo>
                <a:lnTo>
                  <a:pt x="503648" y="173873"/>
                </a:lnTo>
                <a:lnTo>
                  <a:pt x="526709" y="173873"/>
                </a:lnTo>
                <a:lnTo>
                  <a:pt x="526709" y="172032"/>
                </a:lnTo>
                <a:lnTo>
                  <a:pt x="526709" y="137973"/>
                </a:lnTo>
                <a:lnTo>
                  <a:pt x="596814" y="137973"/>
                </a:lnTo>
                <a:lnTo>
                  <a:pt x="596814" y="176634"/>
                </a:lnTo>
                <a:lnTo>
                  <a:pt x="528554" y="176634"/>
                </a:lnTo>
                <a:lnTo>
                  <a:pt x="526709" y="176634"/>
                </a:lnTo>
                <a:lnTo>
                  <a:pt x="526709" y="178475"/>
                </a:lnTo>
                <a:lnTo>
                  <a:pt x="528554" y="178475"/>
                </a:lnTo>
                <a:lnTo>
                  <a:pt x="528554" y="194124"/>
                </a:lnTo>
                <a:lnTo>
                  <a:pt x="572831" y="194124"/>
                </a:lnTo>
                <a:lnTo>
                  <a:pt x="572831" y="231865"/>
                </a:lnTo>
                <a:lnTo>
                  <a:pt x="528554" y="231865"/>
                </a:lnTo>
                <a:lnTo>
                  <a:pt x="528554" y="289857"/>
                </a:lnTo>
                <a:lnTo>
                  <a:pt x="483355" y="289857"/>
                </a:lnTo>
                <a:lnTo>
                  <a:pt x="483355" y="321154"/>
                </a:lnTo>
                <a:lnTo>
                  <a:pt x="154046" y="321154"/>
                </a:lnTo>
                <a:lnTo>
                  <a:pt x="114382" y="321154"/>
                </a:lnTo>
                <a:lnTo>
                  <a:pt x="114382" y="289857"/>
                </a:lnTo>
                <a:lnTo>
                  <a:pt x="55346" y="289857"/>
                </a:lnTo>
                <a:lnTo>
                  <a:pt x="55346" y="230944"/>
                </a:lnTo>
                <a:lnTo>
                  <a:pt x="37820" y="230944"/>
                </a:lnTo>
                <a:lnTo>
                  <a:pt x="37820" y="195965"/>
                </a:lnTo>
                <a:lnTo>
                  <a:pt x="55346" y="195965"/>
                </a:lnTo>
                <a:lnTo>
                  <a:pt x="55346" y="178475"/>
                </a:lnTo>
                <a:lnTo>
                  <a:pt x="70105" y="178475"/>
                </a:lnTo>
                <a:lnTo>
                  <a:pt x="70105" y="176634"/>
                </a:lnTo>
                <a:lnTo>
                  <a:pt x="55346" y="176634"/>
                </a:lnTo>
                <a:lnTo>
                  <a:pt x="0" y="176634"/>
                </a:lnTo>
                <a:lnTo>
                  <a:pt x="0" y="137973"/>
                </a:lnTo>
                <a:lnTo>
                  <a:pt x="70105" y="137973"/>
                </a:lnTo>
                <a:lnTo>
                  <a:pt x="70105" y="172032"/>
                </a:lnTo>
                <a:lnTo>
                  <a:pt x="70105" y="173873"/>
                </a:lnTo>
                <a:lnTo>
                  <a:pt x="81174" y="173873"/>
                </a:lnTo>
                <a:lnTo>
                  <a:pt x="101468" y="11864"/>
                </a:lnTo>
                <a:cubicBezTo>
                  <a:pt x="101468" y="11864"/>
                  <a:pt x="156237" y="1436"/>
                  <a:pt x="256092" y="133"/>
                </a:cubicBezTo>
                <a:close/>
              </a:path>
            </a:pathLst>
          </a:custGeom>
          <a:solidFill>
            <a:srgbClr val="1A1B23"/>
          </a:solidFill>
          <a:ln>
            <a:noFill/>
          </a:ln>
        </p:spPr>
      </p:sp>
      <p:sp>
        <p:nvSpPr>
          <p:cNvPr id="52" name="all-terrain-vehicle_3476"/>
          <p:cNvSpPr>
            <a:spLocks noChangeAspect="1"/>
          </p:cNvSpPr>
          <p:nvPr/>
        </p:nvSpPr>
        <p:spPr bwMode="auto">
          <a:xfrm>
            <a:off x="9651769" y="6151729"/>
            <a:ext cx="609685" cy="431608"/>
          </a:xfrm>
          <a:custGeom>
            <a:avLst/>
            <a:gdLst>
              <a:gd name="connsiteX0" fmla="*/ 487038 w 596814"/>
              <a:gd name="connsiteY0" fmla="*/ 304584 h 422497"/>
              <a:gd name="connsiteX1" fmla="*/ 551542 w 596814"/>
              <a:gd name="connsiteY1" fmla="*/ 304584 h 422497"/>
              <a:gd name="connsiteX2" fmla="*/ 551542 w 596814"/>
              <a:gd name="connsiteY2" fmla="*/ 422497 h 422497"/>
              <a:gd name="connsiteX3" fmla="*/ 487038 w 596814"/>
              <a:gd name="connsiteY3" fmla="*/ 422497 h 422497"/>
              <a:gd name="connsiteX4" fmla="*/ 37874 w 596814"/>
              <a:gd name="connsiteY4" fmla="*/ 301921 h 422497"/>
              <a:gd name="connsiteX5" fmla="*/ 102378 w 596814"/>
              <a:gd name="connsiteY5" fmla="*/ 301921 h 422497"/>
              <a:gd name="connsiteX6" fmla="*/ 102378 w 596814"/>
              <a:gd name="connsiteY6" fmla="*/ 419686 h 422497"/>
              <a:gd name="connsiteX7" fmla="*/ 37874 w 596814"/>
              <a:gd name="connsiteY7" fmla="*/ 419686 h 422497"/>
              <a:gd name="connsiteX8" fmla="*/ 398491 w 596814"/>
              <a:gd name="connsiteY8" fmla="*/ 231865 h 422497"/>
              <a:gd name="connsiteX9" fmla="*/ 398491 w 596814"/>
              <a:gd name="connsiteY9" fmla="*/ 276970 h 422497"/>
              <a:gd name="connsiteX10" fmla="*/ 497191 w 596814"/>
              <a:gd name="connsiteY10" fmla="*/ 276970 h 422497"/>
              <a:gd name="connsiteX11" fmla="*/ 497191 w 596814"/>
              <a:gd name="connsiteY11" fmla="*/ 231865 h 422497"/>
              <a:gd name="connsiteX12" fmla="*/ 94088 w 596814"/>
              <a:gd name="connsiteY12" fmla="*/ 231865 h 422497"/>
              <a:gd name="connsiteX13" fmla="*/ 94088 w 596814"/>
              <a:gd name="connsiteY13" fmla="*/ 276970 h 422497"/>
              <a:gd name="connsiteX14" fmla="*/ 192788 w 596814"/>
              <a:gd name="connsiteY14" fmla="*/ 276970 h 422497"/>
              <a:gd name="connsiteX15" fmla="*/ 192788 w 596814"/>
              <a:gd name="connsiteY15" fmla="*/ 231865 h 422497"/>
              <a:gd name="connsiteX16" fmla="*/ 324696 w 596814"/>
              <a:gd name="connsiteY16" fmla="*/ 222660 h 422497"/>
              <a:gd name="connsiteX17" fmla="*/ 324696 w 596814"/>
              <a:gd name="connsiteY17" fmla="*/ 288936 h 422497"/>
              <a:gd name="connsiteX18" fmla="*/ 352369 w 596814"/>
              <a:gd name="connsiteY18" fmla="*/ 288936 h 422497"/>
              <a:gd name="connsiteX19" fmla="*/ 352369 w 596814"/>
              <a:gd name="connsiteY19" fmla="*/ 222660 h 422497"/>
              <a:gd name="connsiteX20" fmla="*/ 282264 w 596814"/>
              <a:gd name="connsiteY20" fmla="*/ 222660 h 422497"/>
              <a:gd name="connsiteX21" fmla="*/ 282264 w 596814"/>
              <a:gd name="connsiteY21" fmla="*/ 288936 h 422497"/>
              <a:gd name="connsiteX22" fmla="*/ 309937 w 596814"/>
              <a:gd name="connsiteY22" fmla="*/ 288936 h 422497"/>
              <a:gd name="connsiteX23" fmla="*/ 309937 w 596814"/>
              <a:gd name="connsiteY23" fmla="*/ 222660 h 422497"/>
              <a:gd name="connsiteX24" fmla="*/ 237988 w 596814"/>
              <a:gd name="connsiteY24" fmla="*/ 222660 h 422497"/>
              <a:gd name="connsiteX25" fmla="*/ 237988 w 596814"/>
              <a:gd name="connsiteY25" fmla="*/ 288936 h 422497"/>
              <a:gd name="connsiteX26" fmla="*/ 265661 w 596814"/>
              <a:gd name="connsiteY26" fmla="*/ 288936 h 422497"/>
              <a:gd name="connsiteX27" fmla="*/ 265661 w 596814"/>
              <a:gd name="connsiteY27" fmla="*/ 222660 h 422497"/>
              <a:gd name="connsiteX28" fmla="*/ 251804 w 596814"/>
              <a:gd name="connsiteY28" fmla="*/ 53224 h 422497"/>
              <a:gd name="connsiteX29" fmla="*/ 333026 w 596814"/>
              <a:gd name="connsiteY29" fmla="*/ 53224 h 422497"/>
              <a:gd name="connsiteX30" fmla="*/ 333026 w 596814"/>
              <a:gd name="connsiteY30" fmla="*/ 69794 h 422497"/>
              <a:gd name="connsiteX31" fmla="*/ 251804 w 596814"/>
              <a:gd name="connsiteY31" fmla="*/ 69794 h 422497"/>
              <a:gd name="connsiteX32" fmla="*/ 145744 w 596814"/>
              <a:gd name="connsiteY32" fmla="*/ 41320 h 422497"/>
              <a:gd name="connsiteX33" fmla="*/ 127296 w 596814"/>
              <a:gd name="connsiteY33" fmla="*/ 177555 h 422497"/>
              <a:gd name="connsiteX34" fmla="*/ 463984 w 596814"/>
              <a:gd name="connsiteY34" fmla="*/ 177555 h 422497"/>
              <a:gd name="connsiteX35" fmla="*/ 445535 w 596814"/>
              <a:gd name="connsiteY35" fmla="*/ 41320 h 422497"/>
              <a:gd name="connsiteX36" fmla="*/ 256092 w 596814"/>
              <a:gd name="connsiteY36" fmla="*/ 133 h 422497"/>
              <a:gd name="connsiteX37" fmla="*/ 482432 w 596814"/>
              <a:gd name="connsiteY37" fmla="*/ 11864 h 422497"/>
              <a:gd name="connsiteX38" fmla="*/ 503648 w 596814"/>
              <a:gd name="connsiteY38" fmla="*/ 173873 h 422497"/>
              <a:gd name="connsiteX39" fmla="*/ 526709 w 596814"/>
              <a:gd name="connsiteY39" fmla="*/ 173873 h 422497"/>
              <a:gd name="connsiteX40" fmla="*/ 526709 w 596814"/>
              <a:gd name="connsiteY40" fmla="*/ 172032 h 422497"/>
              <a:gd name="connsiteX41" fmla="*/ 526709 w 596814"/>
              <a:gd name="connsiteY41" fmla="*/ 137973 h 422497"/>
              <a:gd name="connsiteX42" fmla="*/ 596814 w 596814"/>
              <a:gd name="connsiteY42" fmla="*/ 137973 h 422497"/>
              <a:gd name="connsiteX43" fmla="*/ 596814 w 596814"/>
              <a:gd name="connsiteY43" fmla="*/ 176634 h 422497"/>
              <a:gd name="connsiteX44" fmla="*/ 528554 w 596814"/>
              <a:gd name="connsiteY44" fmla="*/ 176634 h 422497"/>
              <a:gd name="connsiteX45" fmla="*/ 526709 w 596814"/>
              <a:gd name="connsiteY45" fmla="*/ 176634 h 422497"/>
              <a:gd name="connsiteX46" fmla="*/ 526709 w 596814"/>
              <a:gd name="connsiteY46" fmla="*/ 178475 h 422497"/>
              <a:gd name="connsiteX47" fmla="*/ 528554 w 596814"/>
              <a:gd name="connsiteY47" fmla="*/ 178475 h 422497"/>
              <a:gd name="connsiteX48" fmla="*/ 528554 w 596814"/>
              <a:gd name="connsiteY48" fmla="*/ 194124 h 422497"/>
              <a:gd name="connsiteX49" fmla="*/ 572831 w 596814"/>
              <a:gd name="connsiteY49" fmla="*/ 194124 h 422497"/>
              <a:gd name="connsiteX50" fmla="*/ 572831 w 596814"/>
              <a:gd name="connsiteY50" fmla="*/ 231865 h 422497"/>
              <a:gd name="connsiteX51" fmla="*/ 528554 w 596814"/>
              <a:gd name="connsiteY51" fmla="*/ 231865 h 422497"/>
              <a:gd name="connsiteX52" fmla="*/ 528554 w 596814"/>
              <a:gd name="connsiteY52" fmla="*/ 289857 h 422497"/>
              <a:gd name="connsiteX53" fmla="*/ 483355 w 596814"/>
              <a:gd name="connsiteY53" fmla="*/ 289857 h 422497"/>
              <a:gd name="connsiteX54" fmla="*/ 483355 w 596814"/>
              <a:gd name="connsiteY54" fmla="*/ 321154 h 422497"/>
              <a:gd name="connsiteX55" fmla="*/ 154046 w 596814"/>
              <a:gd name="connsiteY55" fmla="*/ 321154 h 422497"/>
              <a:gd name="connsiteX56" fmla="*/ 114382 w 596814"/>
              <a:gd name="connsiteY56" fmla="*/ 321154 h 422497"/>
              <a:gd name="connsiteX57" fmla="*/ 114382 w 596814"/>
              <a:gd name="connsiteY57" fmla="*/ 289857 h 422497"/>
              <a:gd name="connsiteX58" fmla="*/ 55346 w 596814"/>
              <a:gd name="connsiteY58" fmla="*/ 289857 h 422497"/>
              <a:gd name="connsiteX59" fmla="*/ 55346 w 596814"/>
              <a:gd name="connsiteY59" fmla="*/ 230944 h 422497"/>
              <a:gd name="connsiteX60" fmla="*/ 37820 w 596814"/>
              <a:gd name="connsiteY60" fmla="*/ 230944 h 422497"/>
              <a:gd name="connsiteX61" fmla="*/ 37820 w 596814"/>
              <a:gd name="connsiteY61" fmla="*/ 195965 h 422497"/>
              <a:gd name="connsiteX62" fmla="*/ 55346 w 596814"/>
              <a:gd name="connsiteY62" fmla="*/ 195965 h 422497"/>
              <a:gd name="connsiteX63" fmla="*/ 55346 w 596814"/>
              <a:gd name="connsiteY63" fmla="*/ 178475 h 422497"/>
              <a:gd name="connsiteX64" fmla="*/ 70105 w 596814"/>
              <a:gd name="connsiteY64" fmla="*/ 178475 h 422497"/>
              <a:gd name="connsiteX65" fmla="*/ 70105 w 596814"/>
              <a:gd name="connsiteY65" fmla="*/ 176634 h 422497"/>
              <a:gd name="connsiteX66" fmla="*/ 55346 w 596814"/>
              <a:gd name="connsiteY66" fmla="*/ 176634 h 422497"/>
              <a:gd name="connsiteX67" fmla="*/ 0 w 596814"/>
              <a:gd name="connsiteY67" fmla="*/ 176634 h 422497"/>
              <a:gd name="connsiteX68" fmla="*/ 0 w 596814"/>
              <a:gd name="connsiteY68" fmla="*/ 137973 h 422497"/>
              <a:gd name="connsiteX69" fmla="*/ 70105 w 596814"/>
              <a:gd name="connsiteY69" fmla="*/ 137973 h 422497"/>
              <a:gd name="connsiteX70" fmla="*/ 70105 w 596814"/>
              <a:gd name="connsiteY70" fmla="*/ 172032 h 422497"/>
              <a:gd name="connsiteX71" fmla="*/ 70105 w 596814"/>
              <a:gd name="connsiteY71" fmla="*/ 173873 h 422497"/>
              <a:gd name="connsiteX72" fmla="*/ 81174 w 596814"/>
              <a:gd name="connsiteY72" fmla="*/ 173873 h 422497"/>
              <a:gd name="connsiteX73" fmla="*/ 101468 w 596814"/>
              <a:gd name="connsiteY73" fmla="*/ 11864 h 422497"/>
              <a:gd name="connsiteX74" fmla="*/ 256092 w 596814"/>
              <a:gd name="connsiteY74" fmla="*/ 133 h 422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596814" h="422497">
                <a:moveTo>
                  <a:pt x="487038" y="304584"/>
                </a:moveTo>
                <a:lnTo>
                  <a:pt x="551542" y="304584"/>
                </a:lnTo>
                <a:lnTo>
                  <a:pt x="551542" y="422497"/>
                </a:lnTo>
                <a:lnTo>
                  <a:pt x="487038" y="422497"/>
                </a:lnTo>
                <a:close/>
                <a:moveTo>
                  <a:pt x="37874" y="301921"/>
                </a:moveTo>
                <a:lnTo>
                  <a:pt x="102378" y="301921"/>
                </a:lnTo>
                <a:lnTo>
                  <a:pt x="102378" y="419686"/>
                </a:lnTo>
                <a:lnTo>
                  <a:pt x="37874" y="419686"/>
                </a:lnTo>
                <a:close/>
                <a:moveTo>
                  <a:pt x="398491" y="231865"/>
                </a:moveTo>
                <a:lnTo>
                  <a:pt x="398491" y="276970"/>
                </a:lnTo>
                <a:lnTo>
                  <a:pt x="497191" y="276970"/>
                </a:lnTo>
                <a:lnTo>
                  <a:pt x="497191" y="231865"/>
                </a:lnTo>
                <a:close/>
                <a:moveTo>
                  <a:pt x="94088" y="231865"/>
                </a:moveTo>
                <a:lnTo>
                  <a:pt x="94088" y="276970"/>
                </a:lnTo>
                <a:lnTo>
                  <a:pt x="192788" y="276970"/>
                </a:lnTo>
                <a:lnTo>
                  <a:pt x="192788" y="231865"/>
                </a:lnTo>
                <a:close/>
                <a:moveTo>
                  <a:pt x="324696" y="222660"/>
                </a:moveTo>
                <a:lnTo>
                  <a:pt x="324696" y="288936"/>
                </a:lnTo>
                <a:lnTo>
                  <a:pt x="352369" y="288936"/>
                </a:lnTo>
                <a:lnTo>
                  <a:pt x="352369" y="222660"/>
                </a:lnTo>
                <a:close/>
                <a:moveTo>
                  <a:pt x="282264" y="222660"/>
                </a:moveTo>
                <a:lnTo>
                  <a:pt x="282264" y="288936"/>
                </a:lnTo>
                <a:lnTo>
                  <a:pt x="309937" y="288936"/>
                </a:lnTo>
                <a:lnTo>
                  <a:pt x="309937" y="222660"/>
                </a:lnTo>
                <a:close/>
                <a:moveTo>
                  <a:pt x="237988" y="222660"/>
                </a:moveTo>
                <a:lnTo>
                  <a:pt x="237988" y="288936"/>
                </a:lnTo>
                <a:lnTo>
                  <a:pt x="265661" y="288936"/>
                </a:lnTo>
                <a:lnTo>
                  <a:pt x="265661" y="222660"/>
                </a:lnTo>
                <a:close/>
                <a:moveTo>
                  <a:pt x="251804" y="53224"/>
                </a:moveTo>
                <a:lnTo>
                  <a:pt x="333026" y="53224"/>
                </a:lnTo>
                <a:lnTo>
                  <a:pt x="333026" y="69794"/>
                </a:lnTo>
                <a:lnTo>
                  <a:pt x="251804" y="69794"/>
                </a:lnTo>
                <a:close/>
                <a:moveTo>
                  <a:pt x="145744" y="41320"/>
                </a:moveTo>
                <a:lnTo>
                  <a:pt x="127296" y="177555"/>
                </a:lnTo>
                <a:lnTo>
                  <a:pt x="463984" y="177555"/>
                </a:lnTo>
                <a:lnTo>
                  <a:pt x="445535" y="41320"/>
                </a:lnTo>
                <a:close/>
                <a:moveTo>
                  <a:pt x="256092" y="133"/>
                </a:moveTo>
                <a:cubicBezTo>
                  <a:pt x="316005" y="-649"/>
                  <a:pt x="392149" y="1853"/>
                  <a:pt x="482432" y="11864"/>
                </a:cubicBezTo>
                <a:lnTo>
                  <a:pt x="503648" y="173873"/>
                </a:lnTo>
                <a:lnTo>
                  <a:pt x="526709" y="173873"/>
                </a:lnTo>
                <a:lnTo>
                  <a:pt x="526709" y="172032"/>
                </a:lnTo>
                <a:lnTo>
                  <a:pt x="526709" y="137973"/>
                </a:lnTo>
                <a:lnTo>
                  <a:pt x="596814" y="137973"/>
                </a:lnTo>
                <a:lnTo>
                  <a:pt x="596814" y="176634"/>
                </a:lnTo>
                <a:lnTo>
                  <a:pt x="528554" y="176634"/>
                </a:lnTo>
                <a:lnTo>
                  <a:pt x="526709" y="176634"/>
                </a:lnTo>
                <a:lnTo>
                  <a:pt x="526709" y="178475"/>
                </a:lnTo>
                <a:lnTo>
                  <a:pt x="528554" y="178475"/>
                </a:lnTo>
                <a:lnTo>
                  <a:pt x="528554" y="194124"/>
                </a:lnTo>
                <a:lnTo>
                  <a:pt x="572831" y="194124"/>
                </a:lnTo>
                <a:lnTo>
                  <a:pt x="572831" y="231865"/>
                </a:lnTo>
                <a:lnTo>
                  <a:pt x="528554" y="231865"/>
                </a:lnTo>
                <a:lnTo>
                  <a:pt x="528554" y="289857"/>
                </a:lnTo>
                <a:lnTo>
                  <a:pt x="483355" y="289857"/>
                </a:lnTo>
                <a:lnTo>
                  <a:pt x="483355" y="321154"/>
                </a:lnTo>
                <a:lnTo>
                  <a:pt x="154046" y="321154"/>
                </a:lnTo>
                <a:lnTo>
                  <a:pt x="114382" y="321154"/>
                </a:lnTo>
                <a:lnTo>
                  <a:pt x="114382" y="289857"/>
                </a:lnTo>
                <a:lnTo>
                  <a:pt x="55346" y="289857"/>
                </a:lnTo>
                <a:lnTo>
                  <a:pt x="55346" y="230944"/>
                </a:lnTo>
                <a:lnTo>
                  <a:pt x="37820" y="230944"/>
                </a:lnTo>
                <a:lnTo>
                  <a:pt x="37820" y="195965"/>
                </a:lnTo>
                <a:lnTo>
                  <a:pt x="55346" y="195965"/>
                </a:lnTo>
                <a:lnTo>
                  <a:pt x="55346" y="178475"/>
                </a:lnTo>
                <a:lnTo>
                  <a:pt x="70105" y="178475"/>
                </a:lnTo>
                <a:lnTo>
                  <a:pt x="70105" y="176634"/>
                </a:lnTo>
                <a:lnTo>
                  <a:pt x="55346" y="176634"/>
                </a:lnTo>
                <a:lnTo>
                  <a:pt x="0" y="176634"/>
                </a:lnTo>
                <a:lnTo>
                  <a:pt x="0" y="137973"/>
                </a:lnTo>
                <a:lnTo>
                  <a:pt x="70105" y="137973"/>
                </a:lnTo>
                <a:lnTo>
                  <a:pt x="70105" y="172032"/>
                </a:lnTo>
                <a:lnTo>
                  <a:pt x="70105" y="173873"/>
                </a:lnTo>
                <a:lnTo>
                  <a:pt x="81174" y="173873"/>
                </a:lnTo>
                <a:lnTo>
                  <a:pt x="101468" y="11864"/>
                </a:lnTo>
                <a:cubicBezTo>
                  <a:pt x="101468" y="11864"/>
                  <a:pt x="156237" y="1436"/>
                  <a:pt x="256092" y="133"/>
                </a:cubicBezTo>
                <a:close/>
              </a:path>
            </a:pathLst>
          </a:custGeom>
          <a:solidFill>
            <a:srgbClr val="1A1B23"/>
          </a:solidFill>
          <a:ln>
            <a:noFill/>
          </a:ln>
        </p:spPr>
      </p:sp>
      <p:sp>
        <p:nvSpPr>
          <p:cNvPr id="54" name="ellipsis_64560"/>
          <p:cNvSpPr>
            <a:spLocks noChangeAspect="1"/>
          </p:cNvSpPr>
          <p:nvPr/>
        </p:nvSpPr>
        <p:spPr bwMode="auto">
          <a:xfrm>
            <a:off x="10392838" y="6297166"/>
            <a:ext cx="609685" cy="162313"/>
          </a:xfrm>
          <a:custGeom>
            <a:avLst/>
            <a:gdLst>
              <a:gd name="connsiteX0" fmla="*/ 520884 w 601565"/>
              <a:gd name="connsiteY0" fmla="*/ 0 h 160152"/>
              <a:gd name="connsiteX1" fmla="*/ 601565 w 601565"/>
              <a:gd name="connsiteY1" fmla="*/ 80076 h 160152"/>
              <a:gd name="connsiteX2" fmla="*/ 520884 w 601565"/>
              <a:gd name="connsiteY2" fmla="*/ 160152 h 160152"/>
              <a:gd name="connsiteX3" fmla="*/ 440203 w 601565"/>
              <a:gd name="connsiteY3" fmla="*/ 80076 h 160152"/>
              <a:gd name="connsiteX4" fmla="*/ 520884 w 601565"/>
              <a:gd name="connsiteY4" fmla="*/ 0 h 160152"/>
              <a:gd name="connsiteX5" fmla="*/ 300783 w 601565"/>
              <a:gd name="connsiteY5" fmla="*/ 0 h 160152"/>
              <a:gd name="connsiteX6" fmla="*/ 380946 w 601565"/>
              <a:gd name="connsiteY6" fmla="*/ 80076 h 160152"/>
              <a:gd name="connsiteX7" fmla="*/ 300783 w 601565"/>
              <a:gd name="connsiteY7" fmla="*/ 160152 h 160152"/>
              <a:gd name="connsiteX8" fmla="*/ 220620 w 601565"/>
              <a:gd name="connsiteY8" fmla="*/ 80076 h 160152"/>
              <a:gd name="connsiteX9" fmla="*/ 300783 w 601565"/>
              <a:gd name="connsiteY9" fmla="*/ 0 h 160152"/>
              <a:gd name="connsiteX10" fmla="*/ 80681 w 601565"/>
              <a:gd name="connsiteY10" fmla="*/ 0 h 160152"/>
              <a:gd name="connsiteX11" fmla="*/ 161362 w 601565"/>
              <a:gd name="connsiteY11" fmla="*/ 80076 h 160152"/>
              <a:gd name="connsiteX12" fmla="*/ 80681 w 601565"/>
              <a:gd name="connsiteY12" fmla="*/ 160152 h 160152"/>
              <a:gd name="connsiteX13" fmla="*/ 0 w 601565"/>
              <a:gd name="connsiteY13" fmla="*/ 80076 h 160152"/>
              <a:gd name="connsiteX14" fmla="*/ 80681 w 601565"/>
              <a:gd name="connsiteY14" fmla="*/ 0 h 16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1565" h="160152">
                <a:moveTo>
                  <a:pt x="520884" y="0"/>
                </a:moveTo>
                <a:cubicBezTo>
                  <a:pt x="565443" y="0"/>
                  <a:pt x="601565" y="35851"/>
                  <a:pt x="601565" y="80076"/>
                </a:cubicBezTo>
                <a:cubicBezTo>
                  <a:pt x="601565" y="124301"/>
                  <a:pt x="565443" y="160152"/>
                  <a:pt x="520884" y="160152"/>
                </a:cubicBezTo>
                <a:cubicBezTo>
                  <a:pt x="476325" y="160152"/>
                  <a:pt x="440203" y="124301"/>
                  <a:pt x="440203" y="80076"/>
                </a:cubicBezTo>
                <a:cubicBezTo>
                  <a:pt x="440203" y="35851"/>
                  <a:pt x="476325" y="0"/>
                  <a:pt x="520884" y="0"/>
                </a:cubicBezTo>
                <a:close/>
                <a:moveTo>
                  <a:pt x="300783" y="0"/>
                </a:moveTo>
                <a:cubicBezTo>
                  <a:pt x="345056" y="0"/>
                  <a:pt x="380946" y="35851"/>
                  <a:pt x="380946" y="80076"/>
                </a:cubicBezTo>
                <a:cubicBezTo>
                  <a:pt x="380946" y="124301"/>
                  <a:pt x="345056" y="160152"/>
                  <a:pt x="300783" y="160152"/>
                </a:cubicBezTo>
                <a:cubicBezTo>
                  <a:pt x="256510" y="160152"/>
                  <a:pt x="220620" y="124301"/>
                  <a:pt x="220620" y="80076"/>
                </a:cubicBezTo>
                <a:cubicBezTo>
                  <a:pt x="220620" y="35851"/>
                  <a:pt x="256510" y="0"/>
                  <a:pt x="300783" y="0"/>
                </a:cubicBezTo>
                <a:close/>
                <a:moveTo>
                  <a:pt x="80681" y="0"/>
                </a:moveTo>
                <a:cubicBezTo>
                  <a:pt x="125240" y="0"/>
                  <a:pt x="161362" y="35851"/>
                  <a:pt x="161362" y="80076"/>
                </a:cubicBezTo>
                <a:cubicBezTo>
                  <a:pt x="161362" y="124301"/>
                  <a:pt x="125240" y="160152"/>
                  <a:pt x="80681" y="160152"/>
                </a:cubicBezTo>
                <a:cubicBezTo>
                  <a:pt x="36122" y="160152"/>
                  <a:pt x="0" y="124301"/>
                  <a:pt x="0" y="80076"/>
                </a:cubicBezTo>
                <a:cubicBezTo>
                  <a:pt x="0" y="35851"/>
                  <a:pt x="36122" y="0"/>
                  <a:pt x="80681" y="0"/>
                </a:cubicBezTo>
                <a:close/>
              </a:path>
            </a:pathLst>
          </a:custGeom>
          <a:solidFill>
            <a:srgbClr val="1A1B23"/>
          </a:solidFill>
          <a:ln>
            <a:noFill/>
          </a:ln>
        </p:spPr>
      </p:sp>
      <p:sp>
        <p:nvSpPr>
          <p:cNvPr id="2" name="文本框 1"/>
          <p:cNvSpPr txBox="1"/>
          <p:nvPr/>
        </p:nvSpPr>
        <p:spPr>
          <a:xfrm>
            <a:off x="8648763" y="6509097"/>
            <a:ext cx="915635" cy="307777"/>
          </a:xfrm>
          <a:prstGeom prst="rect">
            <a:avLst/>
          </a:prstGeom>
          <a:noFill/>
        </p:spPr>
        <p:txBody>
          <a:bodyPr wrap="square" rtlCol="0">
            <a:spAutoFit/>
          </a:bodyPr>
          <a:lstStyle/>
          <a:p>
            <a:r>
              <a:rPr lang="en-US" altLang="zh-CN" sz="1400" dirty="0" smtClean="0"/>
              <a:t>BMW320</a:t>
            </a:r>
            <a:endParaRPr lang="zh-CN" altLang="en-US" sz="1400" dirty="0"/>
          </a:p>
        </p:txBody>
      </p:sp>
      <p:sp>
        <p:nvSpPr>
          <p:cNvPr id="55" name="文本框 54"/>
          <p:cNvSpPr txBox="1"/>
          <p:nvPr/>
        </p:nvSpPr>
        <p:spPr>
          <a:xfrm>
            <a:off x="9498793" y="6509096"/>
            <a:ext cx="915635" cy="307777"/>
          </a:xfrm>
          <a:prstGeom prst="rect">
            <a:avLst/>
          </a:prstGeom>
          <a:noFill/>
        </p:spPr>
        <p:txBody>
          <a:bodyPr wrap="square" rtlCol="0">
            <a:spAutoFit/>
          </a:bodyPr>
          <a:lstStyle/>
          <a:p>
            <a:r>
              <a:rPr lang="en-US" altLang="zh-CN" sz="1400" dirty="0" smtClean="0"/>
              <a:t>BMW532</a:t>
            </a:r>
            <a:endParaRPr lang="zh-CN" altLang="en-US" sz="1400" dirty="0"/>
          </a:p>
        </p:txBody>
      </p:sp>
    </p:spTree>
    <p:extLst>
      <p:ext uri="{BB962C8B-B14F-4D97-AF65-F5344CB8AC3E}">
        <p14:creationId xmlns:p14="http://schemas.microsoft.com/office/powerpoint/2010/main" val="42428566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8"/>
          <p:cNvSpPr/>
          <p:nvPr/>
        </p:nvSpPr>
        <p:spPr>
          <a:xfrm>
            <a:off x="4148872" y="1320800"/>
            <a:ext cx="4068762" cy="3048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altLang="zh-CN" dirty="0" smtClean="0">
                <a:solidFill>
                  <a:srgbClr val="BFBFBF"/>
                </a:solidFill>
              </a:rPr>
              <a:t>1.</a:t>
            </a:r>
            <a:r>
              <a:rPr lang="zh-CN" altLang="en-US" dirty="0" smtClean="0">
                <a:solidFill>
                  <a:srgbClr val="BFBFBF"/>
                </a:solidFill>
              </a:rPr>
              <a:t>适配器模式（</a:t>
            </a:r>
            <a:r>
              <a:rPr lang="en-US" altLang="zh-CN" dirty="0" smtClean="0">
                <a:solidFill>
                  <a:srgbClr val="BFBFBF"/>
                </a:solidFill>
              </a:rPr>
              <a:t>Adapter</a:t>
            </a:r>
            <a:r>
              <a:rPr lang="zh-CN" altLang="en-US" dirty="0" smtClean="0">
                <a:solidFill>
                  <a:srgbClr val="BFBFBF"/>
                </a:solidFill>
              </a:rPr>
              <a:t>）</a:t>
            </a:r>
            <a:endParaRPr lang="zh-CN" altLang="en-US" dirty="0">
              <a:solidFill>
                <a:srgbClr val="BFBFBF"/>
              </a:solidFill>
            </a:endParaRPr>
          </a:p>
        </p:txBody>
      </p:sp>
      <p:sp>
        <p:nvSpPr>
          <p:cNvPr id="4" name="矩形 3"/>
          <p:cNvSpPr/>
          <p:nvPr/>
        </p:nvSpPr>
        <p:spPr>
          <a:xfrm>
            <a:off x="4485319" y="1867108"/>
            <a:ext cx="3354944" cy="5805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dirty="0" smtClean="0">
                <a:solidFill>
                  <a:srgbClr val="008CD7"/>
                </a:solidFill>
              </a:rPr>
              <a:t>类的适配器模式</a:t>
            </a:r>
            <a:endParaRPr lang="zh-CN" altLang="en-US" dirty="0">
              <a:solidFill>
                <a:srgbClr val="008CD7"/>
              </a:solidFill>
            </a:endParaRPr>
          </a:p>
        </p:txBody>
      </p:sp>
      <p:sp>
        <p:nvSpPr>
          <p:cNvPr id="7" name="矩形 6"/>
          <p:cNvSpPr/>
          <p:nvPr/>
        </p:nvSpPr>
        <p:spPr>
          <a:xfrm>
            <a:off x="4492101" y="2793999"/>
            <a:ext cx="3354944" cy="580571"/>
          </a:xfrm>
          <a:prstGeom prst="rect">
            <a:avLst/>
          </a:prstGeom>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dirty="0">
                <a:solidFill>
                  <a:srgbClr val="008CD7"/>
                </a:solidFill>
              </a:rPr>
              <a:t>对象</a:t>
            </a:r>
            <a:r>
              <a:rPr lang="zh-CN" altLang="en-US" dirty="0" smtClean="0">
                <a:solidFill>
                  <a:srgbClr val="008CD7"/>
                </a:solidFill>
              </a:rPr>
              <a:t>的适配器模式</a:t>
            </a:r>
            <a:endParaRPr lang="zh-CN" altLang="en-US" dirty="0">
              <a:solidFill>
                <a:srgbClr val="008CD7"/>
              </a:solidFill>
            </a:endParaRPr>
          </a:p>
        </p:txBody>
      </p:sp>
      <p:sp>
        <p:nvSpPr>
          <p:cNvPr id="8" name="矩形 7"/>
          <p:cNvSpPr/>
          <p:nvPr/>
        </p:nvSpPr>
        <p:spPr>
          <a:xfrm>
            <a:off x="4484842" y="3704950"/>
            <a:ext cx="3354944" cy="5805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dirty="0">
                <a:solidFill>
                  <a:srgbClr val="008CD7"/>
                </a:solidFill>
              </a:rPr>
              <a:t>接口</a:t>
            </a:r>
            <a:r>
              <a:rPr lang="zh-CN" altLang="en-US" dirty="0" smtClean="0">
                <a:solidFill>
                  <a:srgbClr val="008CD7"/>
                </a:solidFill>
              </a:rPr>
              <a:t>的适配器模式</a:t>
            </a:r>
            <a:endParaRPr lang="zh-CN" altLang="en-US" dirty="0">
              <a:solidFill>
                <a:srgbClr val="008CD7"/>
              </a:solidFill>
            </a:endParaRPr>
          </a:p>
        </p:txBody>
      </p:sp>
      <p:sp>
        <p:nvSpPr>
          <p:cNvPr id="10" name="矩形 9"/>
          <p:cNvSpPr/>
          <p:nvPr/>
        </p:nvSpPr>
        <p:spPr>
          <a:xfrm>
            <a:off x="568063" y="2681574"/>
            <a:ext cx="2772229" cy="812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dirty="0" smtClean="0">
                <a:solidFill>
                  <a:srgbClr val="008CD7"/>
                </a:solidFill>
              </a:rPr>
              <a:t>2.</a:t>
            </a:r>
            <a:r>
              <a:rPr lang="zh-CN" altLang="en-US" dirty="0" smtClean="0">
                <a:solidFill>
                  <a:srgbClr val="008CD7"/>
                </a:solidFill>
              </a:rPr>
              <a:t>装饰器模式</a:t>
            </a:r>
            <a:r>
              <a:rPr lang="en-US" altLang="zh-CN" dirty="0">
                <a:solidFill>
                  <a:srgbClr val="008CD7"/>
                </a:solidFill>
              </a:rPr>
              <a:t>(</a:t>
            </a:r>
            <a:r>
              <a:rPr lang="en-US" altLang="zh-CN" dirty="0" smtClean="0">
                <a:solidFill>
                  <a:srgbClr val="008CD7"/>
                </a:solidFill>
              </a:rPr>
              <a:t>Decorator)</a:t>
            </a:r>
            <a:endParaRPr lang="zh-CN" altLang="en-US" dirty="0">
              <a:solidFill>
                <a:srgbClr val="008CD7"/>
              </a:solidFill>
            </a:endParaRPr>
          </a:p>
        </p:txBody>
      </p:sp>
      <p:sp>
        <p:nvSpPr>
          <p:cNvPr id="11" name="矩形 10"/>
          <p:cNvSpPr/>
          <p:nvPr/>
        </p:nvSpPr>
        <p:spPr>
          <a:xfrm>
            <a:off x="568539" y="4171073"/>
            <a:ext cx="2786743" cy="69668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dirty="0" smtClean="0">
                <a:solidFill>
                  <a:srgbClr val="008CD7"/>
                </a:solidFill>
              </a:rPr>
              <a:t>3.</a:t>
            </a:r>
            <a:r>
              <a:rPr lang="zh-CN" altLang="en-US" dirty="0" smtClean="0">
                <a:solidFill>
                  <a:srgbClr val="008CD7"/>
                </a:solidFill>
              </a:rPr>
              <a:t>代理模式</a:t>
            </a:r>
            <a:r>
              <a:rPr lang="en-US" altLang="zh-CN" dirty="0" smtClean="0">
                <a:solidFill>
                  <a:srgbClr val="008CD7"/>
                </a:solidFill>
              </a:rPr>
              <a:t>(Proxy</a:t>
            </a:r>
            <a:r>
              <a:rPr lang="en-US" altLang="zh-CN" dirty="0">
                <a:solidFill>
                  <a:srgbClr val="008CD7"/>
                </a:solidFill>
              </a:rPr>
              <a:t>)</a:t>
            </a:r>
            <a:endParaRPr lang="zh-CN" altLang="en-US" dirty="0">
              <a:solidFill>
                <a:srgbClr val="008CD7"/>
              </a:solidFill>
            </a:endParaRPr>
          </a:p>
        </p:txBody>
      </p:sp>
      <p:sp>
        <p:nvSpPr>
          <p:cNvPr id="12" name="矩形 11"/>
          <p:cNvSpPr/>
          <p:nvPr/>
        </p:nvSpPr>
        <p:spPr>
          <a:xfrm>
            <a:off x="553548" y="5586573"/>
            <a:ext cx="2801257" cy="653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dirty="0" smtClean="0">
                <a:solidFill>
                  <a:srgbClr val="008CD7"/>
                </a:solidFill>
              </a:rPr>
              <a:t>4.</a:t>
            </a:r>
            <a:r>
              <a:rPr lang="zh-CN" altLang="en-US" dirty="0" smtClean="0">
                <a:solidFill>
                  <a:srgbClr val="008CD7"/>
                </a:solidFill>
              </a:rPr>
              <a:t>外观模式</a:t>
            </a:r>
            <a:r>
              <a:rPr lang="en-US" altLang="zh-CN" dirty="0" smtClean="0">
                <a:solidFill>
                  <a:srgbClr val="008CD7"/>
                </a:solidFill>
              </a:rPr>
              <a:t>(Façade)</a:t>
            </a:r>
            <a:endParaRPr lang="zh-CN" altLang="en-US" dirty="0">
              <a:solidFill>
                <a:srgbClr val="008CD7"/>
              </a:solidFill>
            </a:endParaRPr>
          </a:p>
        </p:txBody>
      </p:sp>
      <p:sp>
        <p:nvSpPr>
          <p:cNvPr id="13" name="矩形 12"/>
          <p:cNvSpPr/>
          <p:nvPr/>
        </p:nvSpPr>
        <p:spPr>
          <a:xfrm>
            <a:off x="8539261" y="2685381"/>
            <a:ext cx="3018972" cy="79828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dirty="0" smtClean="0">
                <a:solidFill>
                  <a:srgbClr val="008CD7"/>
                </a:solidFill>
              </a:rPr>
              <a:t>5.</a:t>
            </a:r>
            <a:r>
              <a:rPr lang="zh-CN" altLang="en-US" dirty="0" smtClean="0">
                <a:solidFill>
                  <a:srgbClr val="008CD7"/>
                </a:solidFill>
              </a:rPr>
              <a:t>桥接模式</a:t>
            </a:r>
            <a:r>
              <a:rPr lang="en-US" altLang="zh-CN" dirty="0" smtClean="0">
                <a:solidFill>
                  <a:srgbClr val="008CD7"/>
                </a:solidFill>
              </a:rPr>
              <a:t>(Bridge)</a:t>
            </a:r>
            <a:endParaRPr lang="zh-CN" altLang="en-US" dirty="0">
              <a:solidFill>
                <a:srgbClr val="008CD7"/>
              </a:solidFill>
            </a:endParaRPr>
          </a:p>
        </p:txBody>
      </p:sp>
      <p:sp>
        <p:nvSpPr>
          <p:cNvPr id="14" name="矩形 13"/>
          <p:cNvSpPr/>
          <p:nvPr/>
        </p:nvSpPr>
        <p:spPr>
          <a:xfrm>
            <a:off x="8525223" y="4104212"/>
            <a:ext cx="3048000" cy="7402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dirty="0" smtClean="0">
                <a:solidFill>
                  <a:srgbClr val="008CD7"/>
                </a:solidFill>
              </a:rPr>
              <a:t>6.</a:t>
            </a:r>
            <a:r>
              <a:rPr lang="zh-CN" altLang="en-US" dirty="0" smtClean="0">
                <a:solidFill>
                  <a:srgbClr val="008CD7"/>
                </a:solidFill>
              </a:rPr>
              <a:t>组合模式</a:t>
            </a:r>
            <a:endParaRPr lang="zh-CN" altLang="en-US" dirty="0">
              <a:solidFill>
                <a:srgbClr val="008CD7"/>
              </a:solidFill>
            </a:endParaRPr>
          </a:p>
        </p:txBody>
      </p:sp>
      <p:sp>
        <p:nvSpPr>
          <p:cNvPr id="15" name="矩形 14"/>
          <p:cNvSpPr/>
          <p:nvPr/>
        </p:nvSpPr>
        <p:spPr>
          <a:xfrm>
            <a:off x="8538786" y="5327694"/>
            <a:ext cx="3004457" cy="769257"/>
          </a:xfrm>
          <a:prstGeom prst="rect">
            <a:avLst/>
          </a:prstGeom>
          <a:solidFill>
            <a:schemeClr val="accent1">
              <a:lumMod val="50000"/>
            </a:schemeClr>
          </a:solidFill>
          <a:ln w="63500">
            <a:solidFill>
              <a:srgbClr val="E1691F"/>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2400" dirty="0" smtClean="0"/>
              <a:t>7.</a:t>
            </a:r>
            <a:r>
              <a:rPr lang="zh-CN" altLang="en-US" sz="2400" dirty="0" smtClean="0"/>
              <a:t>享元模式</a:t>
            </a:r>
            <a:r>
              <a:rPr lang="en-US" altLang="zh-CN" sz="2400" dirty="0" smtClean="0"/>
              <a:t>(Flyweight</a:t>
            </a:r>
            <a:r>
              <a:rPr lang="zh-CN" altLang="en-US" sz="2400" dirty="0" smtClean="0"/>
              <a:t>）</a:t>
            </a:r>
            <a:endParaRPr lang="zh-CN" altLang="en-US" sz="2400" dirty="0"/>
          </a:p>
        </p:txBody>
      </p:sp>
      <p:cxnSp>
        <p:nvCxnSpPr>
          <p:cNvPr id="17" name="直接箭头连接符 16"/>
          <p:cNvCxnSpPr>
            <a:stCxn id="7" idx="1"/>
            <a:endCxn id="10" idx="3"/>
          </p:cNvCxnSpPr>
          <p:nvPr/>
        </p:nvCxnSpPr>
        <p:spPr>
          <a:xfrm flipH="1">
            <a:off x="3340292" y="3084285"/>
            <a:ext cx="1151809" cy="3689"/>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0" name="直接箭头连接符 19"/>
          <p:cNvCxnSpPr>
            <a:stCxn id="7" idx="3"/>
            <a:endCxn id="13" idx="1"/>
          </p:cNvCxnSpPr>
          <p:nvPr/>
        </p:nvCxnSpPr>
        <p:spPr>
          <a:xfrm>
            <a:off x="7847045" y="3084285"/>
            <a:ext cx="692216" cy="239"/>
          </a:xfrm>
          <a:prstGeom prst="straightConnector1">
            <a:avLst/>
          </a:prstGeom>
          <a:ln w="38100">
            <a:tailEnd type="triangle"/>
          </a:ln>
        </p:spPr>
        <p:style>
          <a:lnRef idx="3">
            <a:schemeClr val="accent1"/>
          </a:lnRef>
          <a:fillRef idx="0">
            <a:schemeClr val="accent1"/>
          </a:fillRef>
          <a:effectRef idx="2">
            <a:schemeClr val="accent1"/>
          </a:effectRef>
          <a:fontRef idx="minor">
            <a:schemeClr val="tx1"/>
          </a:fontRef>
        </p:style>
      </p:cxnSp>
      <p:cxnSp>
        <p:nvCxnSpPr>
          <p:cNvPr id="24" name="直接箭头连接符 23"/>
          <p:cNvCxnSpPr>
            <a:stCxn id="10" idx="2"/>
            <a:endCxn id="11" idx="0"/>
          </p:cNvCxnSpPr>
          <p:nvPr/>
        </p:nvCxnSpPr>
        <p:spPr>
          <a:xfrm>
            <a:off x="1954178" y="3494374"/>
            <a:ext cx="7733" cy="676699"/>
          </a:xfrm>
          <a:prstGeom prst="straightConnector1">
            <a:avLst/>
          </a:prstGeom>
          <a:ln w="38100">
            <a:tailEnd type="triangle"/>
          </a:ln>
        </p:spPr>
        <p:style>
          <a:lnRef idx="3">
            <a:schemeClr val="accent1"/>
          </a:lnRef>
          <a:fillRef idx="0">
            <a:schemeClr val="accent1"/>
          </a:fillRef>
          <a:effectRef idx="2">
            <a:schemeClr val="accent1"/>
          </a:effectRef>
          <a:fontRef idx="minor">
            <a:schemeClr val="tx1"/>
          </a:fontRef>
        </p:style>
      </p:cxnSp>
      <p:cxnSp>
        <p:nvCxnSpPr>
          <p:cNvPr id="27" name="直接箭头连接符 26"/>
          <p:cNvCxnSpPr>
            <a:stCxn id="11" idx="2"/>
            <a:endCxn id="12" idx="0"/>
          </p:cNvCxnSpPr>
          <p:nvPr/>
        </p:nvCxnSpPr>
        <p:spPr>
          <a:xfrm flipH="1">
            <a:off x="1954177" y="4867758"/>
            <a:ext cx="7734" cy="718815"/>
          </a:xfrm>
          <a:prstGeom prst="straightConnector1">
            <a:avLst/>
          </a:prstGeom>
          <a:ln w="38100">
            <a:tailEnd type="triangle"/>
          </a:ln>
        </p:spPr>
        <p:style>
          <a:lnRef idx="3">
            <a:schemeClr val="accent1"/>
          </a:lnRef>
          <a:fillRef idx="0">
            <a:schemeClr val="accent1"/>
          </a:fillRef>
          <a:effectRef idx="2">
            <a:schemeClr val="accent1"/>
          </a:effectRef>
          <a:fontRef idx="minor">
            <a:schemeClr val="tx1"/>
          </a:fontRef>
        </p:style>
      </p:cxnSp>
      <p:cxnSp>
        <p:nvCxnSpPr>
          <p:cNvPr id="30" name="直接箭头连接符 29"/>
          <p:cNvCxnSpPr>
            <a:stCxn id="13" idx="2"/>
            <a:endCxn id="14" idx="0"/>
          </p:cNvCxnSpPr>
          <p:nvPr/>
        </p:nvCxnSpPr>
        <p:spPr>
          <a:xfrm>
            <a:off x="10048747" y="3483666"/>
            <a:ext cx="476" cy="620546"/>
          </a:xfrm>
          <a:prstGeom prst="straightConnector1">
            <a:avLst/>
          </a:prstGeom>
          <a:ln w="38100">
            <a:tailEnd type="triangle"/>
          </a:ln>
        </p:spPr>
        <p:style>
          <a:lnRef idx="3">
            <a:schemeClr val="accent1"/>
          </a:lnRef>
          <a:fillRef idx="0">
            <a:schemeClr val="accent1"/>
          </a:fillRef>
          <a:effectRef idx="2">
            <a:schemeClr val="accent1"/>
          </a:effectRef>
          <a:fontRef idx="minor">
            <a:schemeClr val="tx1"/>
          </a:fontRef>
        </p:style>
      </p:cxnSp>
      <p:cxnSp>
        <p:nvCxnSpPr>
          <p:cNvPr id="33" name="直接箭头连接符 32"/>
          <p:cNvCxnSpPr>
            <a:stCxn id="14" idx="2"/>
            <a:endCxn id="15" idx="0"/>
          </p:cNvCxnSpPr>
          <p:nvPr/>
        </p:nvCxnSpPr>
        <p:spPr>
          <a:xfrm flipH="1">
            <a:off x="10041015" y="4844440"/>
            <a:ext cx="8208" cy="483254"/>
          </a:xfrm>
          <a:prstGeom prst="straightConnector1">
            <a:avLst/>
          </a:prstGeom>
          <a:ln w="38100">
            <a:tailEnd type="triangle"/>
          </a:ln>
        </p:spPr>
        <p:style>
          <a:lnRef idx="3">
            <a:schemeClr val="accent1"/>
          </a:lnRef>
          <a:fillRef idx="0">
            <a:schemeClr val="accent1"/>
          </a:fillRef>
          <a:effectRef idx="2">
            <a:schemeClr val="accent1"/>
          </a:effectRef>
          <a:fontRef idx="minor">
            <a:schemeClr val="tx1"/>
          </a:fontRef>
        </p:style>
      </p:cxnSp>
      <p:cxnSp>
        <p:nvCxnSpPr>
          <p:cNvPr id="36" name="直接箭头连接符 35"/>
          <p:cNvCxnSpPr>
            <a:stCxn id="4" idx="2"/>
            <a:endCxn id="7" idx="0"/>
          </p:cNvCxnSpPr>
          <p:nvPr/>
        </p:nvCxnSpPr>
        <p:spPr>
          <a:xfrm>
            <a:off x="6162791" y="2447679"/>
            <a:ext cx="6782" cy="346320"/>
          </a:xfrm>
          <a:prstGeom prst="straightConnector1">
            <a:avLst/>
          </a:prstGeom>
          <a:ln w="38100">
            <a:tailEnd type="triangle"/>
          </a:ln>
        </p:spPr>
        <p:style>
          <a:lnRef idx="3">
            <a:schemeClr val="accent1"/>
          </a:lnRef>
          <a:fillRef idx="0">
            <a:schemeClr val="accent1"/>
          </a:fillRef>
          <a:effectRef idx="2">
            <a:schemeClr val="accent1"/>
          </a:effectRef>
          <a:fontRef idx="minor">
            <a:schemeClr val="tx1"/>
          </a:fontRef>
        </p:style>
      </p:cxnSp>
      <p:cxnSp>
        <p:nvCxnSpPr>
          <p:cNvPr id="41" name="直接箭头连接符 40"/>
          <p:cNvCxnSpPr>
            <a:stCxn id="7" idx="2"/>
            <a:endCxn id="8" idx="0"/>
          </p:cNvCxnSpPr>
          <p:nvPr/>
        </p:nvCxnSpPr>
        <p:spPr>
          <a:xfrm flipH="1">
            <a:off x="6162314" y="3374570"/>
            <a:ext cx="7259" cy="330380"/>
          </a:xfrm>
          <a:prstGeom prst="straightConnector1">
            <a:avLst/>
          </a:prstGeom>
          <a:ln w="38100">
            <a:tailEnd type="triangle"/>
          </a:ln>
        </p:spPr>
        <p:style>
          <a:lnRef idx="3">
            <a:schemeClr val="accent1"/>
          </a:lnRef>
          <a:fillRef idx="0">
            <a:schemeClr val="accent1"/>
          </a:fillRef>
          <a:effectRef idx="2">
            <a:schemeClr val="accent1"/>
          </a:effectRef>
          <a:fontRef idx="minor">
            <a:schemeClr val="tx1"/>
          </a:fontRef>
        </p:style>
      </p:cxnSp>
      <p:sp>
        <p:nvSpPr>
          <p:cNvPr id="22" name="标题 1"/>
          <p:cNvSpPr>
            <a:spLocks noGrp="1"/>
          </p:cNvSpPr>
          <p:nvPr>
            <p:ph type="title"/>
          </p:nvPr>
        </p:nvSpPr>
        <p:spPr>
          <a:xfrm>
            <a:off x="1137925" y="205921"/>
            <a:ext cx="10401280" cy="695186"/>
          </a:xfrm>
        </p:spPr>
        <p:txBody>
          <a:bodyPr/>
          <a:lstStyle/>
          <a:p>
            <a:r>
              <a:rPr lang="zh-CN" altLang="en-US" sz="3200" b="0" dirty="0" smtClean="0">
                <a:latin typeface="Arial"/>
                <a:ea typeface="Microsoft YaHei"/>
                <a:cs typeface="+mn-ea"/>
                <a:sym typeface="Arial"/>
              </a:rPr>
              <a:t>结构型模式</a:t>
            </a:r>
            <a:endParaRPr lang="zh-CN" altLang="en-US" sz="3200" b="0" dirty="0">
              <a:latin typeface="Arial"/>
              <a:ea typeface="Microsoft YaHei"/>
              <a:cs typeface="+mn-ea"/>
              <a:sym typeface="Arial"/>
            </a:endParaRPr>
          </a:p>
        </p:txBody>
      </p:sp>
      <p:grpSp>
        <p:nvGrpSpPr>
          <p:cNvPr id="23" name="组合 22">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25" name="椭圆 24">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26" name="椭圆 25">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
        <p:nvSpPr>
          <p:cNvPr id="28" name="î$ḷîḓê">
            <a:extLst>
              <a:ext uri="{FF2B5EF4-FFF2-40B4-BE49-F238E27FC236}">
                <a16:creationId xmlns:a16="http://schemas.microsoft.com/office/drawing/2014/main" id="{0120662D-08EC-45F4-BE9C-84021ADB4C9A}"/>
              </a:ext>
            </a:extLst>
          </p:cNvPr>
          <p:cNvSpPr/>
          <p:nvPr/>
        </p:nvSpPr>
        <p:spPr bwMode="gray">
          <a:xfrm>
            <a:off x="7211000" y="198392"/>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创建型模式</a:t>
            </a:r>
            <a:endParaRPr lang="en-US" altLang="zh-CN" sz="2400" dirty="0">
              <a:solidFill>
                <a:schemeClr val="bg1"/>
              </a:solidFill>
            </a:endParaRPr>
          </a:p>
        </p:txBody>
      </p:sp>
      <p:sp>
        <p:nvSpPr>
          <p:cNvPr id="29" name="î$ḷîḓê">
            <a:extLst>
              <a:ext uri="{FF2B5EF4-FFF2-40B4-BE49-F238E27FC236}">
                <a16:creationId xmlns:a16="http://schemas.microsoft.com/office/drawing/2014/main" id="{0120662D-08EC-45F4-BE9C-84021ADB4C9A}"/>
              </a:ext>
            </a:extLst>
          </p:cNvPr>
          <p:cNvSpPr/>
          <p:nvPr/>
        </p:nvSpPr>
        <p:spPr bwMode="gray">
          <a:xfrm>
            <a:off x="8749874" y="199746"/>
            <a:ext cx="1506790" cy="480145"/>
          </a:xfrm>
          <a:prstGeom prst="rect">
            <a:avLst/>
          </a:prstGeom>
          <a:solidFill>
            <a:schemeClr val="accent1"/>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结构型模式</a:t>
            </a:r>
            <a:endParaRPr lang="en-US" altLang="zh-CN" sz="2400" dirty="0">
              <a:solidFill>
                <a:schemeClr val="bg1"/>
              </a:solidFill>
            </a:endParaRPr>
          </a:p>
        </p:txBody>
      </p:sp>
      <p:sp>
        <p:nvSpPr>
          <p:cNvPr id="31" name="î$ḷîḓê">
            <a:extLst>
              <a:ext uri="{FF2B5EF4-FFF2-40B4-BE49-F238E27FC236}">
                <a16:creationId xmlns:a16="http://schemas.microsoft.com/office/drawing/2014/main" id="{0120662D-08EC-45F4-BE9C-84021ADB4C9A}"/>
              </a:ext>
            </a:extLst>
          </p:cNvPr>
          <p:cNvSpPr/>
          <p:nvPr/>
        </p:nvSpPr>
        <p:spPr bwMode="gray">
          <a:xfrm>
            <a:off x="10282004" y="189695"/>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行为型模式</a:t>
            </a:r>
            <a:endParaRPr lang="en-US" altLang="zh-CN" sz="2400" dirty="0">
              <a:solidFill>
                <a:schemeClr val="bg1"/>
              </a:solidFill>
            </a:endParaRPr>
          </a:p>
        </p:txBody>
      </p:sp>
      <p:sp>
        <p:nvSpPr>
          <p:cNvPr id="2" name="文本框 1"/>
          <p:cNvSpPr txBox="1"/>
          <p:nvPr/>
        </p:nvSpPr>
        <p:spPr>
          <a:xfrm rot="20237261">
            <a:off x="8614331" y="671126"/>
            <a:ext cx="3180862" cy="1569660"/>
          </a:xfrm>
          <a:prstGeom prst="rect">
            <a:avLst/>
          </a:prstGeom>
          <a:noFill/>
        </p:spPr>
        <p:txBody>
          <a:bodyPr wrap="square" rtlCol="0">
            <a:spAutoFit/>
          </a:bodyPr>
          <a:lstStyle/>
          <a:p>
            <a:r>
              <a:rPr lang="en-US" altLang="zh-CN" sz="9600" dirty="0" smtClean="0">
                <a:latin typeface="华文行楷" panose="02010800040101010101" pitchFamily="2" charset="-122"/>
                <a:ea typeface="华文行楷" panose="02010800040101010101" pitchFamily="2" charset="-122"/>
              </a:rPr>
              <a:t>9</a:t>
            </a:r>
            <a:r>
              <a:rPr lang="zh-CN" altLang="en-US" sz="9600" dirty="0">
                <a:latin typeface="华文行楷" panose="02010800040101010101" pitchFamily="2" charset="-122"/>
                <a:ea typeface="华文行楷" panose="02010800040101010101" pitchFamily="2" charset="-122"/>
              </a:rPr>
              <a:t>种</a:t>
            </a:r>
          </a:p>
        </p:txBody>
      </p:sp>
    </p:spTree>
    <p:extLst>
      <p:ext uri="{BB962C8B-B14F-4D97-AF65-F5344CB8AC3E}">
        <p14:creationId xmlns:p14="http://schemas.microsoft.com/office/powerpoint/2010/main" val="280690816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id="{0853A8D8-448C-4E50-AD38-219140CD6184}"/>
              </a:ext>
            </a:extLst>
          </p:cNvPr>
          <p:cNvGrpSpPr/>
          <p:nvPr/>
        </p:nvGrpSpPr>
        <p:grpSpPr>
          <a:xfrm>
            <a:off x="669925" y="210537"/>
            <a:ext cx="468000" cy="468000"/>
            <a:chOff x="669925" y="48611"/>
            <a:chExt cx="468000" cy="468000"/>
          </a:xfrm>
        </p:grpSpPr>
        <p:sp>
          <p:nvSpPr>
            <p:cNvPr id="3" name="椭圆 2">
              <a:extLst>
                <a:ext uri="{FF2B5EF4-FFF2-40B4-BE49-F238E27FC236}">
                  <a16:creationId xmlns:a16="http://schemas.microsoft.com/office/drawing/2014/main" id="{18765B3C-06BD-445D-B72B-512E55DEF34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4" name="椭圆 3">
              <a:extLst>
                <a:ext uri="{FF2B5EF4-FFF2-40B4-BE49-F238E27FC236}">
                  <a16:creationId xmlns:a16="http://schemas.microsoft.com/office/drawing/2014/main" id="{A6AA7771-0E3D-4241-9DE3-825324394A29}"/>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grpSp>
      <p:sp>
        <p:nvSpPr>
          <p:cNvPr id="5" name="标题 1">
            <a:extLst>
              <a:ext uri="{FF2B5EF4-FFF2-40B4-BE49-F238E27FC236}">
                <a16:creationId xmlns:a16="http://schemas.microsoft.com/office/drawing/2014/main" id="{62930304-3D14-4FEB-B45D-709CE5948953}"/>
              </a:ext>
            </a:extLst>
          </p:cNvPr>
          <p:cNvSpPr txBox="1">
            <a:spLocks/>
          </p:cNvSpPr>
          <p:nvPr/>
        </p:nvSpPr>
        <p:spPr>
          <a:xfrm>
            <a:off x="1149783" y="198392"/>
            <a:ext cx="4092068" cy="57784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3200" b="0" dirty="0" smtClean="0">
                <a:latin typeface="Arial" panose="020B0604020202020204" pitchFamily="34" charset="0"/>
                <a:ea typeface="Microsoft YaHei" panose="020B0503020204020204" pitchFamily="34" charset="-122"/>
                <a:cs typeface="+mn-ea"/>
                <a:sym typeface="Arial" panose="020B0604020202020204" pitchFamily="34" charset="0"/>
              </a:rPr>
              <a:t>需求</a:t>
            </a:r>
            <a:endParaRPr lang="zh-CN" altLang="en-US" sz="3200" b="0" dirty="0">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6" name="矩形 5"/>
          <p:cNvSpPr/>
          <p:nvPr/>
        </p:nvSpPr>
        <p:spPr>
          <a:xfrm>
            <a:off x="6441627" y="1282700"/>
            <a:ext cx="4339651" cy="923330"/>
          </a:xfrm>
          <a:prstGeom prst="rect">
            <a:avLst/>
          </a:prstGeom>
          <a:noFill/>
        </p:spPr>
        <p:txBody>
          <a:bodyPr wrap="none" lIns="91440" tIns="45720" rIns="91440" bIns="45720">
            <a:spAutoFit/>
          </a:bodyPr>
          <a:lstStyle/>
          <a:p>
            <a:pPr algn="ctr"/>
            <a:r>
              <a:rPr lang="zh-CN" altLang="en-US" sz="5400" b="0" cap="none" spc="0" dirty="0" smtClean="0">
                <a:ln w="0"/>
                <a:solidFill>
                  <a:schemeClr val="accent1"/>
                </a:solidFill>
                <a:effectLst>
                  <a:outerShdw blurRad="38100" dist="25400" dir="5400000" algn="ctr" rotWithShape="0">
                    <a:srgbClr val="6E747A">
                      <a:alpha val="43000"/>
                    </a:srgbClr>
                  </a:outerShdw>
                </a:effectLst>
              </a:rPr>
              <a:t>非功能性需求</a:t>
            </a:r>
            <a:endParaRPr lang="zh-CN" altLang="en-US" sz="5400" b="0" cap="none" spc="0" dirty="0">
              <a:ln w="0"/>
              <a:solidFill>
                <a:schemeClr val="accent1"/>
              </a:solidFill>
              <a:effectLst>
                <a:outerShdw blurRad="38100" dist="25400" dir="5400000" algn="ctr" rotWithShape="0">
                  <a:srgbClr val="6E747A">
                    <a:alpha val="43000"/>
                  </a:srgbClr>
                </a:outerShdw>
              </a:effectLst>
            </a:endParaRPr>
          </a:p>
        </p:txBody>
      </p:sp>
      <p:sp>
        <p:nvSpPr>
          <p:cNvPr id="8" name="矩形 7"/>
          <p:cNvSpPr/>
          <p:nvPr/>
        </p:nvSpPr>
        <p:spPr>
          <a:xfrm>
            <a:off x="1290325" y="1282700"/>
            <a:ext cx="3647153" cy="923330"/>
          </a:xfrm>
          <a:prstGeom prst="rect">
            <a:avLst/>
          </a:prstGeom>
          <a:noFill/>
        </p:spPr>
        <p:txBody>
          <a:bodyPr wrap="none" lIns="91440" tIns="45720" rIns="91440" bIns="45720">
            <a:spAutoFit/>
          </a:bodyPr>
          <a:lstStyle/>
          <a:p>
            <a:pPr algn="ctr"/>
            <a:r>
              <a:rPr lang="zh-CN" altLang="en-US" sz="5400" b="0" cap="none" spc="0" dirty="0" smtClean="0">
                <a:ln w="0"/>
                <a:solidFill>
                  <a:schemeClr val="accent1"/>
                </a:solidFill>
                <a:effectLst>
                  <a:outerShdw blurRad="38100" dist="25400" dir="5400000" algn="ctr" rotWithShape="0">
                    <a:srgbClr val="6E747A">
                      <a:alpha val="43000"/>
                    </a:srgbClr>
                  </a:outerShdw>
                </a:effectLst>
              </a:rPr>
              <a:t>功能性需求</a:t>
            </a:r>
            <a:endParaRPr lang="zh-CN" altLang="en-US" sz="5400" b="0" cap="none" spc="0" dirty="0">
              <a:ln w="0"/>
              <a:solidFill>
                <a:schemeClr val="accent1"/>
              </a:solidFill>
              <a:effectLst>
                <a:outerShdw blurRad="38100" dist="25400" dir="5400000" algn="ctr" rotWithShape="0">
                  <a:srgbClr val="6E747A">
                    <a:alpha val="43000"/>
                  </a:srgbClr>
                </a:outerShdw>
              </a:effectLst>
            </a:endParaRPr>
          </a:p>
        </p:txBody>
      </p:sp>
      <p:grpSp>
        <p:nvGrpSpPr>
          <p:cNvPr id="41" name="组合 40"/>
          <p:cNvGrpSpPr/>
          <p:nvPr/>
        </p:nvGrpSpPr>
        <p:grpSpPr>
          <a:xfrm>
            <a:off x="813925" y="2750634"/>
            <a:ext cx="4335123" cy="3033132"/>
            <a:chOff x="813925" y="2750634"/>
            <a:chExt cx="4335123" cy="3033132"/>
          </a:xfrm>
        </p:grpSpPr>
        <p:grpSp>
          <p:nvGrpSpPr>
            <p:cNvPr id="15" name="组合 14"/>
            <p:cNvGrpSpPr/>
            <p:nvPr/>
          </p:nvGrpSpPr>
          <p:grpSpPr>
            <a:xfrm>
              <a:off x="890990" y="2750634"/>
              <a:ext cx="1558208" cy="1454718"/>
              <a:chOff x="890990" y="2750634"/>
              <a:chExt cx="1558208" cy="1454718"/>
            </a:xfrm>
          </p:grpSpPr>
          <p:sp>
            <p:nvSpPr>
              <p:cNvPr id="9" name="文本框 8"/>
              <p:cNvSpPr txBox="1"/>
              <p:nvPr/>
            </p:nvSpPr>
            <p:spPr>
              <a:xfrm>
                <a:off x="890990" y="2750634"/>
                <a:ext cx="798670" cy="369332"/>
              </a:xfrm>
              <a:prstGeom prst="rect">
                <a:avLst/>
              </a:prstGeom>
              <a:noFill/>
            </p:spPr>
            <p:txBody>
              <a:bodyPr wrap="square" rtlCol="0">
                <a:spAutoFit/>
              </a:bodyPr>
              <a:lstStyle/>
              <a:p>
                <a:r>
                  <a:rPr lang="zh-CN" altLang="en-US" b="1" dirty="0" smtClean="0">
                    <a:solidFill>
                      <a:srgbClr val="7030A0"/>
                    </a:solidFill>
                  </a:rPr>
                  <a:t>产品</a:t>
                </a:r>
                <a:endParaRPr lang="zh-CN" altLang="en-US" b="1" dirty="0">
                  <a:solidFill>
                    <a:srgbClr val="7030A0"/>
                  </a:solidFill>
                </a:endParaRPr>
              </a:p>
            </p:txBody>
          </p:sp>
          <p:sp>
            <p:nvSpPr>
              <p:cNvPr id="11" name="文本框 10"/>
              <p:cNvSpPr txBox="1"/>
              <p:nvPr/>
            </p:nvSpPr>
            <p:spPr>
              <a:xfrm>
                <a:off x="930122" y="3836020"/>
                <a:ext cx="1519076" cy="369332"/>
              </a:xfrm>
              <a:prstGeom prst="rect">
                <a:avLst/>
              </a:prstGeom>
              <a:noFill/>
            </p:spPr>
            <p:txBody>
              <a:bodyPr wrap="square" rtlCol="0">
                <a:spAutoFit/>
              </a:bodyPr>
              <a:lstStyle/>
              <a:p>
                <a:r>
                  <a:rPr lang="zh-CN" altLang="en-US" dirty="0" smtClean="0"/>
                  <a:t>实现</a:t>
                </a:r>
                <a:r>
                  <a:rPr lang="en-US" altLang="zh-CN" dirty="0" smtClean="0"/>
                  <a:t>…</a:t>
                </a:r>
                <a:r>
                  <a:rPr lang="zh-CN" altLang="en-US" dirty="0"/>
                  <a:t>功能</a:t>
                </a:r>
              </a:p>
            </p:txBody>
          </p:sp>
        </p:grpSp>
        <p:grpSp>
          <p:nvGrpSpPr>
            <p:cNvPr id="16" name="组合 15"/>
            <p:cNvGrpSpPr/>
            <p:nvPr/>
          </p:nvGrpSpPr>
          <p:grpSpPr>
            <a:xfrm>
              <a:off x="3629972" y="2750634"/>
              <a:ext cx="1519076" cy="2193382"/>
              <a:chOff x="3629972" y="2750634"/>
              <a:chExt cx="1519076" cy="2193382"/>
            </a:xfrm>
          </p:grpSpPr>
          <p:sp>
            <p:nvSpPr>
              <p:cNvPr id="10" name="文本框 9"/>
              <p:cNvSpPr txBox="1"/>
              <p:nvPr/>
            </p:nvSpPr>
            <p:spPr>
              <a:xfrm>
                <a:off x="3629972" y="2750634"/>
                <a:ext cx="798670" cy="369332"/>
              </a:xfrm>
              <a:prstGeom prst="rect">
                <a:avLst/>
              </a:prstGeom>
              <a:noFill/>
            </p:spPr>
            <p:txBody>
              <a:bodyPr wrap="square" rtlCol="0">
                <a:spAutoFit/>
              </a:bodyPr>
              <a:lstStyle/>
              <a:p>
                <a:r>
                  <a:rPr lang="zh-CN" altLang="en-US" b="1" dirty="0" smtClean="0">
                    <a:solidFill>
                      <a:srgbClr val="7030A0"/>
                    </a:solidFill>
                  </a:rPr>
                  <a:t>用户</a:t>
                </a:r>
                <a:endParaRPr lang="zh-CN" altLang="en-US" b="1" dirty="0">
                  <a:solidFill>
                    <a:srgbClr val="7030A0"/>
                  </a:solidFill>
                </a:endParaRPr>
              </a:p>
            </p:txBody>
          </p:sp>
          <p:sp>
            <p:nvSpPr>
              <p:cNvPr id="12" name="文本框 11"/>
              <p:cNvSpPr txBox="1"/>
              <p:nvPr/>
            </p:nvSpPr>
            <p:spPr>
              <a:xfrm>
                <a:off x="3629972" y="3466688"/>
                <a:ext cx="1519076" cy="1477328"/>
              </a:xfrm>
              <a:prstGeom prst="rect">
                <a:avLst/>
              </a:prstGeom>
              <a:noFill/>
            </p:spPr>
            <p:txBody>
              <a:bodyPr wrap="square" rtlCol="0">
                <a:spAutoFit/>
              </a:bodyPr>
              <a:lstStyle/>
              <a:p>
                <a:r>
                  <a:rPr lang="zh-CN" altLang="en-US" dirty="0" smtClean="0"/>
                  <a:t>我想</a:t>
                </a:r>
                <a:r>
                  <a:rPr lang="en-US" altLang="zh-CN" dirty="0" smtClean="0"/>
                  <a:t>…</a:t>
                </a:r>
              </a:p>
              <a:p>
                <a:endParaRPr lang="en-US" altLang="zh-CN" dirty="0" smtClean="0"/>
              </a:p>
              <a:p>
                <a:r>
                  <a:rPr lang="en-US" altLang="zh-CN" dirty="0" smtClean="0"/>
                  <a:t>…</a:t>
                </a:r>
                <a:r>
                  <a:rPr lang="zh-CN" altLang="en-US" dirty="0"/>
                  <a:t>太难</a:t>
                </a:r>
                <a:r>
                  <a:rPr lang="zh-CN" altLang="en-US" dirty="0" smtClean="0"/>
                  <a:t>用用，功能能关闭就好了。</a:t>
                </a:r>
                <a:endParaRPr lang="en-US" altLang="zh-CN" dirty="0" smtClean="0"/>
              </a:p>
            </p:txBody>
          </p:sp>
        </p:grpSp>
        <p:cxnSp>
          <p:nvCxnSpPr>
            <p:cNvPr id="19" name="直接连接符 18"/>
            <p:cNvCxnSpPr/>
            <p:nvPr/>
          </p:nvCxnSpPr>
          <p:spPr>
            <a:xfrm>
              <a:off x="813925" y="2750634"/>
              <a:ext cx="0" cy="3033132"/>
            </a:xfrm>
            <a:prstGeom prst="line">
              <a:avLst/>
            </a:prstGeom>
            <a:ln w="63500" cap="flat">
              <a:solidFill>
                <a:srgbClr val="008CD7"/>
              </a:solidFill>
              <a:prstDash val="solid"/>
              <a:round/>
              <a:tailEnd type="none"/>
            </a:ln>
            <a:effectLst>
              <a:outerShdw blurRad="40000" dist="23000" dir="5400000" rotWithShape="0">
                <a:srgbClr val="000000">
                  <a:alpha val="35000"/>
                </a:srgbClr>
              </a:outerShdw>
              <a:softEdge rad="0"/>
            </a:effectLst>
          </p:spPr>
          <p:style>
            <a:lnRef idx="3">
              <a:schemeClr val="accent1"/>
            </a:lnRef>
            <a:fillRef idx="0">
              <a:schemeClr val="accent1"/>
            </a:fillRef>
            <a:effectRef idx="2">
              <a:schemeClr val="accent1"/>
            </a:effectRef>
            <a:fontRef idx="minor">
              <a:schemeClr val="tx1"/>
            </a:fontRef>
          </p:style>
        </p:cxnSp>
        <p:cxnSp>
          <p:nvCxnSpPr>
            <p:cNvPr id="20" name="直接连接符 19"/>
            <p:cNvCxnSpPr/>
            <p:nvPr/>
          </p:nvCxnSpPr>
          <p:spPr>
            <a:xfrm>
              <a:off x="3573703" y="2750634"/>
              <a:ext cx="0" cy="2921620"/>
            </a:xfrm>
            <a:prstGeom prst="line">
              <a:avLst/>
            </a:prstGeom>
            <a:ln w="63500" cap="flat">
              <a:solidFill>
                <a:srgbClr val="008CD7"/>
              </a:solidFill>
              <a:prstDash val="solid"/>
              <a:round/>
              <a:tailEnd type="none"/>
            </a:ln>
            <a:effectLst>
              <a:outerShdw blurRad="40000" dist="23000" dir="5400000" rotWithShape="0">
                <a:srgbClr val="000000">
                  <a:alpha val="35000"/>
                </a:srgbClr>
              </a:outerShdw>
              <a:softEdge rad="0"/>
            </a:effectLst>
          </p:spPr>
          <p:style>
            <a:lnRef idx="3">
              <a:schemeClr val="accent1"/>
            </a:lnRef>
            <a:fillRef idx="0">
              <a:schemeClr val="accent1"/>
            </a:fillRef>
            <a:effectRef idx="2">
              <a:schemeClr val="accent1"/>
            </a:effectRef>
            <a:fontRef idx="minor">
              <a:schemeClr val="tx1"/>
            </a:fontRef>
          </p:style>
        </p:cxnSp>
        <p:cxnSp>
          <p:nvCxnSpPr>
            <p:cNvPr id="21" name="直接连接符 20"/>
            <p:cNvCxnSpPr/>
            <p:nvPr/>
          </p:nvCxnSpPr>
          <p:spPr>
            <a:xfrm>
              <a:off x="813925" y="3176911"/>
              <a:ext cx="1401397" cy="0"/>
            </a:xfrm>
            <a:prstGeom prst="line">
              <a:avLst/>
            </a:prstGeom>
            <a:ln w="63500" cap="flat">
              <a:solidFill>
                <a:schemeClr val="accent1"/>
              </a:solidFill>
              <a:prstDash val="solid"/>
              <a:round/>
              <a:tailEnd type="none"/>
            </a:ln>
            <a:effectLst>
              <a:outerShdw blurRad="40000" dist="23000" dir="5400000" rotWithShape="0">
                <a:srgbClr val="000000">
                  <a:alpha val="35000"/>
                </a:srgbClr>
              </a:outerShdw>
              <a:softEdge rad="0"/>
            </a:effectLst>
          </p:spPr>
          <p:style>
            <a:lnRef idx="3">
              <a:schemeClr val="accent1"/>
            </a:lnRef>
            <a:fillRef idx="0">
              <a:schemeClr val="accent1"/>
            </a:fillRef>
            <a:effectRef idx="2">
              <a:schemeClr val="accent1"/>
            </a:effectRef>
            <a:fontRef idx="minor">
              <a:schemeClr val="tx1"/>
            </a:fontRef>
          </p:style>
        </p:cxnSp>
        <p:cxnSp>
          <p:nvCxnSpPr>
            <p:cNvPr id="22" name="直接连接符 21"/>
            <p:cNvCxnSpPr/>
            <p:nvPr/>
          </p:nvCxnSpPr>
          <p:spPr>
            <a:xfrm>
              <a:off x="3573703" y="3176911"/>
              <a:ext cx="1401397" cy="0"/>
            </a:xfrm>
            <a:prstGeom prst="line">
              <a:avLst/>
            </a:prstGeom>
            <a:ln w="63500" cap="flat">
              <a:solidFill>
                <a:schemeClr val="accent1"/>
              </a:solidFill>
              <a:prstDash val="solid"/>
              <a:round/>
              <a:tailEnd type="none"/>
            </a:ln>
            <a:effectLst>
              <a:outerShdw blurRad="40000" dist="23000" dir="5400000" rotWithShape="0">
                <a:srgbClr val="000000">
                  <a:alpha val="35000"/>
                </a:srgbClr>
              </a:outerShdw>
              <a:softEdge rad="0"/>
            </a:effectLst>
          </p:spPr>
          <p:style>
            <a:lnRef idx="3">
              <a:schemeClr val="accent1"/>
            </a:lnRef>
            <a:fillRef idx="0">
              <a:schemeClr val="accent1"/>
            </a:fillRef>
            <a:effectRef idx="2">
              <a:schemeClr val="accent1"/>
            </a:effectRef>
            <a:fontRef idx="minor">
              <a:schemeClr val="tx1"/>
            </a:fontRef>
          </p:style>
        </p:cxnSp>
      </p:grpSp>
      <p:grpSp>
        <p:nvGrpSpPr>
          <p:cNvPr id="42" name="组合 41"/>
          <p:cNvGrpSpPr/>
          <p:nvPr/>
        </p:nvGrpSpPr>
        <p:grpSpPr>
          <a:xfrm>
            <a:off x="6378498" y="2750634"/>
            <a:ext cx="4623075" cy="3033132"/>
            <a:chOff x="6378498" y="2750634"/>
            <a:chExt cx="4623075" cy="3033132"/>
          </a:xfrm>
        </p:grpSpPr>
        <p:cxnSp>
          <p:nvCxnSpPr>
            <p:cNvPr id="14" name="直接连接符 13"/>
            <p:cNvCxnSpPr/>
            <p:nvPr/>
          </p:nvCxnSpPr>
          <p:spPr>
            <a:xfrm>
              <a:off x="6441627" y="3158325"/>
              <a:ext cx="1401397" cy="0"/>
            </a:xfrm>
            <a:prstGeom prst="line">
              <a:avLst/>
            </a:prstGeom>
            <a:ln w="63500" cap="flat">
              <a:solidFill>
                <a:schemeClr val="accent1"/>
              </a:solidFill>
              <a:prstDash val="solid"/>
              <a:round/>
              <a:tailEnd type="none"/>
            </a:ln>
            <a:effectLst>
              <a:outerShdw blurRad="40000" dist="23000" dir="5400000" rotWithShape="0">
                <a:srgbClr val="000000">
                  <a:alpha val="35000"/>
                </a:srgbClr>
              </a:outerShdw>
              <a:softEdge rad="0"/>
            </a:effectLst>
          </p:spPr>
          <p:style>
            <a:lnRef idx="3">
              <a:schemeClr val="accent1"/>
            </a:lnRef>
            <a:fillRef idx="0">
              <a:schemeClr val="accent1"/>
            </a:fillRef>
            <a:effectRef idx="2">
              <a:schemeClr val="accent1"/>
            </a:effectRef>
            <a:fontRef idx="minor">
              <a:schemeClr val="tx1"/>
            </a:fontRef>
          </p:style>
        </p:cxnSp>
        <p:sp>
          <p:nvSpPr>
            <p:cNvPr id="17" name="文本框 16"/>
            <p:cNvSpPr txBox="1"/>
            <p:nvPr/>
          </p:nvSpPr>
          <p:spPr>
            <a:xfrm>
              <a:off x="6378498" y="2750634"/>
              <a:ext cx="1665248" cy="369332"/>
            </a:xfrm>
            <a:prstGeom prst="rect">
              <a:avLst/>
            </a:prstGeom>
            <a:noFill/>
          </p:spPr>
          <p:txBody>
            <a:bodyPr wrap="square" rtlCol="0">
              <a:spAutoFit/>
            </a:bodyPr>
            <a:lstStyle/>
            <a:p>
              <a:r>
                <a:rPr lang="zh-CN" altLang="en-US" b="1" dirty="0">
                  <a:solidFill>
                    <a:srgbClr val="7030A0"/>
                  </a:solidFill>
                </a:rPr>
                <a:t>运行</a:t>
              </a:r>
              <a:r>
                <a:rPr lang="zh-CN" altLang="en-US" b="1" dirty="0" smtClean="0">
                  <a:solidFill>
                    <a:srgbClr val="7030A0"/>
                  </a:solidFill>
                </a:rPr>
                <a:t>质量属性</a:t>
              </a:r>
              <a:endParaRPr lang="zh-CN" altLang="en-US" b="1" dirty="0">
                <a:solidFill>
                  <a:srgbClr val="7030A0"/>
                </a:solidFill>
              </a:endParaRPr>
            </a:p>
          </p:txBody>
        </p:sp>
        <p:cxnSp>
          <p:nvCxnSpPr>
            <p:cNvPr id="23" name="直接连接符 22"/>
            <p:cNvCxnSpPr/>
            <p:nvPr/>
          </p:nvCxnSpPr>
          <p:spPr>
            <a:xfrm>
              <a:off x="6441627" y="2804015"/>
              <a:ext cx="0" cy="2868239"/>
            </a:xfrm>
            <a:prstGeom prst="line">
              <a:avLst/>
            </a:prstGeom>
            <a:ln w="63500" cap="flat">
              <a:solidFill>
                <a:srgbClr val="008CD7"/>
              </a:solidFill>
              <a:prstDash val="solid"/>
              <a:round/>
              <a:tailEnd type="none"/>
            </a:ln>
            <a:effectLst>
              <a:outerShdw blurRad="40000" dist="23000" dir="5400000" rotWithShape="0">
                <a:srgbClr val="000000">
                  <a:alpha val="35000"/>
                </a:srgbClr>
              </a:outerShdw>
              <a:softEdge rad="0"/>
            </a:effectLst>
          </p:spPr>
          <p:style>
            <a:lnRef idx="3">
              <a:schemeClr val="accent1"/>
            </a:lnRef>
            <a:fillRef idx="0">
              <a:schemeClr val="accent1"/>
            </a:fillRef>
            <a:effectRef idx="2">
              <a:schemeClr val="accent1"/>
            </a:effectRef>
            <a:fontRef idx="minor">
              <a:schemeClr val="tx1"/>
            </a:fontRef>
          </p:style>
        </p:cxnSp>
        <p:cxnSp>
          <p:nvCxnSpPr>
            <p:cNvPr id="24" name="直接连接符 23"/>
            <p:cNvCxnSpPr/>
            <p:nvPr/>
          </p:nvCxnSpPr>
          <p:spPr>
            <a:xfrm>
              <a:off x="9399454" y="3158325"/>
              <a:ext cx="1401397" cy="0"/>
            </a:xfrm>
            <a:prstGeom prst="line">
              <a:avLst/>
            </a:prstGeom>
            <a:ln w="63500" cap="flat">
              <a:solidFill>
                <a:schemeClr val="accent1"/>
              </a:solidFill>
              <a:prstDash val="solid"/>
              <a:round/>
              <a:tailEnd type="none"/>
            </a:ln>
            <a:effectLst>
              <a:outerShdw blurRad="40000" dist="23000" dir="5400000" rotWithShape="0">
                <a:srgbClr val="000000">
                  <a:alpha val="35000"/>
                </a:srgbClr>
              </a:outerShdw>
              <a:softEdge rad="0"/>
            </a:effectLst>
          </p:spPr>
          <p:style>
            <a:lnRef idx="3">
              <a:schemeClr val="accent1"/>
            </a:lnRef>
            <a:fillRef idx="0">
              <a:schemeClr val="accent1"/>
            </a:fillRef>
            <a:effectRef idx="2">
              <a:schemeClr val="accent1"/>
            </a:effectRef>
            <a:fontRef idx="minor">
              <a:schemeClr val="tx1"/>
            </a:fontRef>
          </p:style>
        </p:cxnSp>
        <p:sp>
          <p:nvSpPr>
            <p:cNvPr id="25" name="文本框 24"/>
            <p:cNvSpPr txBox="1"/>
            <p:nvPr/>
          </p:nvSpPr>
          <p:spPr>
            <a:xfrm>
              <a:off x="9336325" y="2750634"/>
              <a:ext cx="1665248" cy="369332"/>
            </a:xfrm>
            <a:prstGeom prst="rect">
              <a:avLst/>
            </a:prstGeom>
            <a:noFill/>
          </p:spPr>
          <p:txBody>
            <a:bodyPr wrap="square" rtlCol="0">
              <a:spAutoFit/>
            </a:bodyPr>
            <a:lstStyle/>
            <a:p>
              <a:r>
                <a:rPr lang="zh-CN" altLang="en-US" b="1" dirty="0">
                  <a:solidFill>
                    <a:srgbClr val="7030A0"/>
                  </a:solidFill>
                </a:rPr>
                <a:t>开发</a:t>
              </a:r>
              <a:r>
                <a:rPr lang="zh-CN" altLang="en-US" b="1" dirty="0" smtClean="0">
                  <a:solidFill>
                    <a:srgbClr val="7030A0"/>
                  </a:solidFill>
                </a:rPr>
                <a:t>质量属性</a:t>
              </a:r>
              <a:endParaRPr lang="zh-CN" altLang="en-US" b="1" dirty="0">
                <a:solidFill>
                  <a:srgbClr val="7030A0"/>
                </a:solidFill>
              </a:endParaRPr>
            </a:p>
          </p:txBody>
        </p:sp>
        <p:cxnSp>
          <p:nvCxnSpPr>
            <p:cNvPr id="26" name="直接连接符 25"/>
            <p:cNvCxnSpPr/>
            <p:nvPr/>
          </p:nvCxnSpPr>
          <p:spPr>
            <a:xfrm>
              <a:off x="9399454" y="2804015"/>
              <a:ext cx="0" cy="2979751"/>
            </a:xfrm>
            <a:prstGeom prst="line">
              <a:avLst/>
            </a:prstGeom>
            <a:ln w="63500" cap="flat">
              <a:solidFill>
                <a:srgbClr val="008CD7"/>
              </a:solidFill>
              <a:prstDash val="solid"/>
              <a:round/>
              <a:tailEnd type="none"/>
            </a:ln>
            <a:effectLst>
              <a:outerShdw blurRad="40000" dist="23000" dir="5400000" rotWithShape="0">
                <a:srgbClr val="000000">
                  <a:alpha val="35000"/>
                </a:srgbClr>
              </a:outerShdw>
              <a:softEdge rad="0"/>
            </a:effectLst>
          </p:spPr>
          <p:style>
            <a:lnRef idx="3">
              <a:schemeClr val="accent1"/>
            </a:lnRef>
            <a:fillRef idx="0">
              <a:schemeClr val="accent1"/>
            </a:fillRef>
            <a:effectRef idx="2">
              <a:schemeClr val="accent1"/>
            </a:effectRef>
            <a:fontRef idx="minor">
              <a:schemeClr val="tx1"/>
            </a:fontRef>
          </p:style>
        </p:cxnSp>
        <p:sp>
          <p:nvSpPr>
            <p:cNvPr id="27" name="文本框 26"/>
            <p:cNvSpPr txBox="1"/>
            <p:nvPr/>
          </p:nvSpPr>
          <p:spPr>
            <a:xfrm>
              <a:off x="6534615" y="3382537"/>
              <a:ext cx="936702" cy="369332"/>
            </a:xfrm>
            <a:prstGeom prst="rect">
              <a:avLst/>
            </a:prstGeom>
            <a:noFill/>
          </p:spPr>
          <p:txBody>
            <a:bodyPr wrap="square" rtlCol="0">
              <a:spAutoFit/>
            </a:bodyPr>
            <a:lstStyle/>
            <a:p>
              <a:r>
                <a:rPr lang="zh-CN" altLang="en-US" dirty="0" smtClean="0"/>
                <a:t>鲁棒性</a:t>
              </a:r>
              <a:endParaRPr lang="zh-CN" altLang="en-US" dirty="0"/>
            </a:p>
          </p:txBody>
        </p:sp>
        <p:sp>
          <p:nvSpPr>
            <p:cNvPr id="28" name="文本框 27"/>
            <p:cNvSpPr txBox="1"/>
            <p:nvPr/>
          </p:nvSpPr>
          <p:spPr>
            <a:xfrm>
              <a:off x="6534615" y="3836020"/>
              <a:ext cx="936702" cy="369332"/>
            </a:xfrm>
            <a:prstGeom prst="rect">
              <a:avLst/>
            </a:prstGeom>
            <a:noFill/>
          </p:spPr>
          <p:txBody>
            <a:bodyPr wrap="square" rtlCol="0">
              <a:spAutoFit/>
            </a:bodyPr>
            <a:lstStyle/>
            <a:p>
              <a:r>
                <a:rPr lang="zh-CN" altLang="en-US" dirty="0" smtClean="0"/>
                <a:t>可靠性</a:t>
              </a:r>
              <a:endParaRPr lang="zh-CN" altLang="en-US" dirty="0"/>
            </a:p>
          </p:txBody>
        </p:sp>
        <p:sp>
          <p:nvSpPr>
            <p:cNvPr id="29" name="文本框 28"/>
            <p:cNvSpPr txBox="1"/>
            <p:nvPr/>
          </p:nvSpPr>
          <p:spPr>
            <a:xfrm>
              <a:off x="6531530" y="4289503"/>
              <a:ext cx="936702" cy="369332"/>
            </a:xfrm>
            <a:prstGeom prst="rect">
              <a:avLst/>
            </a:prstGeom>
            <a:noFill/>
          </p:spPr>
          <p:txBody>
            <a:bodyPr wrap="square" rtlCol="0">
              <a:spAutoFit/>
            </a:bodyPr>
            <a:lstStyle/>
            <a:p>
              <a:r>
                <a:rPr lang="zh-CN" altLang="en-US" dirty="0" smtClean="0"/>
                <a:t>易用性</a:t>
              </a:r>
              <a:endParaRPr lang="zh-CN" altLang="en-US" dirty="0"/>
            </a:p>
          </p:txBody>
        </p:sp>
        <p:sp>
          <p:nvSpPr>
            <p:cNvPr id="30" name="文本框 29"/>
            <p:cNvSpPr txBox="1"/>
            <p:nvPr/>
          </p:nvSpPr>
          <p:spPr>
            <a:xfrm>
              <a:off x="6538361" y="4742986"/>
              <a:ext cx="936702" cy="369332"/>
            </a:xfrm>
            <a:prstGeom prst="rect">
              <a:avLst/>
            </a:prstGeom>
            <a:noFill/>
          </p:spPr>
          <p:txBody>
            <a:bodyPr wrap="square" rtlCol="0">
              <a:spAutoFit/>
            </a:bodyPr>
            <a:lstStyle/>
            <a:p>
              <a:r>
                <a:rPr lang="zh-CN" altLang="en-US" dirty="0"/>
                <a:t>安全</a:t>
              </a:r>
              <a:r>
                <a:rPr lang="zh-CN" altLang="en-US" dirty="0" smtClean="0"/>
                <a:t>性</a:t>
              </a:r>
              <a:endParaRPr lang="zh-CN" altLang="en-US" dirty="0"/>
            </a:p>
          </p:txBody>
        </p:sp>
        <p:sp>
          <p:nvSpPr>
            <p:cNvPr id="31" name="文本框 30"/>
            <p:cNvSpPr txBox="1"/>
            <p:nvPr/>
          </p:nvSpPr>
          <p:spPr>
            <a:xfrm>
              <a:off x="6527271" y="5196469"/>
              <a:ext cx="936702" cy="369332"/>
            </a:xfrm>
            <a:prstGeom prst="rect">
              <a:avLst/>
            </a:prstGeom>
            <a:noFill/>
          </p:spPr>
          <p:txBody>
            <a:bodyPr wrap="square" rtlCol="0">
              <a:spAutoFit/>
            </a:bodyPr>
            <a:lstStyle/>
            <a:p>
              <a:r>
                <a:rPr lang="zh-CN" altLang="en-US" dirty="0" smtClean="0"/>
                <a:t>性能</a:t>
              </a:r>
              <a:endParaRPr lang="zh-CN" altLang="en-US" dirty="0"/>
            </a:p>
          </p:txBody>
        </p:sp>
        <p:sp>
          <p:nvSpPr>
            <p:cNvPr id="36" name="文本框 35"/>
            <p:cNvSpPr txBox="1"/>
            <p:nvPr/>
          </p:nvSpPr>
          <p:spPr>
            <a:xfrm>
              <a:off x="9492441" y="3310571"/>
              <a:ext cx="1116086" cy="369332"/>
            </a:xfrm>
            <a:prstGeom prst="rect">
              <a:avLst/>
            </a:prstGeom>
            <a:noFill/>
          </p:spPr>
          <p:txBody>
            <a:bodyPr wrap="square" rtlCol="0">
              <a:spAutoFit/>
            </a:bodyPr>
            <a:lstStyle/>
            <a:p>
              <a:r>
                <a:rPr lang="zh-CN" altLang="en-US" dirty="0"/>
                <a:t>可扩展</a:t>
              </a:r>
              <a:r>
                <a:rPr lang="zh-CN" altLang="en-US" dirty="0" smtClean="0"/>
                <a:t>性</a:t>
              </a:r>
              <a:endParaRPr lang="zh-CN" altLang="en-US" dirty="0"/>
            </a:p>
          </p:txBody>
        </p:sp>
        <p:sp>
          <p:nvSpPr>
            <p:cNvPr id="37" name="文本框 36"/>
            <p:cNvSpPr txBox="1"/>
            <p:nvPr/>
          </p:nvSpPr>
          <p:spPr>
            <a:xfrm>
              <a:off x="9492441" y="3764054"/>
              <a:ext cx="1116086" cy="369332"/>
            </a:xfrm>
            <a:prstGeom prst="rect">
              <a:avLst/>
            </a:prstGeom>
            <a:noFill/>
          </p:spPr>
          <p:txBody>
            <a:bodyPr wrap="square" rtlCol="0">
              <a:spAutoFit/>
            </a:bodyPr>
            <a:lstStyle/>
            <a:p>
              <a:r>
                <a:rPr lang="zh-CN" altLang="en-US" dirty="0"/>
                <a:t>可重用</a:t>
              </a:r>
              <a:r>
                <a:rPr lang="zh-CN" altLang="en-US" dirty="0" smtClean="0"/>
                <a:t>性</a:t>
              </a:r>
              <a:endParaRPr lang="zh-CN" altLang="en-US" dirty="0"/>
            </a:p>
          </p:txBody>
        </p:sp>
        <p:sp>
          <p:nvSpPr>
            <p:cNvPr id="38" name="文本框 37"/>
            <p:cNvSpPr txBox="1"/>
            <p:nvPr/>
          </p:nvSpPr>
          <p:spPr>
            <a:xfrm>
              <a:off x="9489355" y="4217537"/>
              <a:ext cx="1119171" cy="369332"/>
            </a:xfrm>
            <a:prstGeom prst="rect">
              <a:avLst/>
            </a:prstGeom>
            <a:noFill/>
          </p:spPr>
          <p:txBody>
            <a:bodyPr wrap="square" rtlCol="0">
              <a:spAutoFit/>
            </a:bodyPr>
            <a:lstStyle/>
            <a:p>
              <a:r>
                <a:rPr lang="zh-CN" altLang="en-US" dirty="0"/>
                <a:t>可测试</a:t>
              </a:r>
              <a:r>
                <a:rPr lang="zh-CN" altLang="en-US" dirty="0" smtClean="0"/>
                <a:t>性</a:t>
              </a:r>
              <a:endParaRPr lang="zh-CN" altLang="en-US" dirty="0"/>
            </a:p>
          </p:txBody>
        </p:sp>
        <p:sp>
          <p:nvSpPr>
            <p:cNvPr id="39" name="文本框 38"/>
            <p:cNvSpPr txBox="1"/>
            <p:nvPr/>
          </p:nvSpPr>
          <p:spPr>
            <a:xfrm>
              <a:off x="9496186" y="4671020"/>
              <a:ext cx="1112339" cy="369332"/>
            </a:xfrm>
            <a:prstGeom prst="rect">
              <a:avLst/>
            </a:prstGeom>
            <a:noFill/>
          </p:spPr>
          <p:txBody>
            <a:bodyPr wrap="square" rtlCol="0">
              <a:spAutoFit/>
            </a:bodyPr>
            <a:lstStyle/>
            <a:p>
              <a:r>
                <a:rPr lang="zh-CN" altLang="en-US" dirty="0"/>
                <a:t>可维护</a:t>
              </a:r>
              <a:r>
                <a:rPr lang="zh-CN" altLang="en-US" dirty="0" smtClean="0"/>
                <a:t>性</a:t>
              </a:r>
              <a:endParaRPr lang="zh-CN" altLang="en-US" dirty="0"/>
            </a:p>
          </p:txBody>
        </p:sp>
        <p:sp>
          <p:nvSpPr>
            <p:cNvPr id="40" name="文本框 39"/>
            <p:cNvSpPr txBox="1"/>
            <p:nvPr/>
          </p:nvSpPr>
          <p:spPr>
            <a:xfrm>
              <a:off x="9485097" y="5124503"/>
              <a:ext cx="1123428" cy="369332"/>
            </a:xfrm>
            <a:prstGeom prst="rect">
              <a:avLst/>
            </a:prstGeom>
            <a:noFill/>
          </p:spPr>
          <p:txBody>
            <a:bodyPr wrap="square" rtlCol="0">
              <a:spAutoFit/>
            </a:bodyPr>
            <a:lstStyle/>
            <a:p>
              <a:r>
                <a:rPr lang="zh-CN" altLang="en-US" dirty="0" smtClean="0"/>
                <a:t>可移植能</a:t>
              </a:r>
              <a:endParaRPr lang="zh-CN" altLang="en-US" dirty="0"/>
            </a:p>
          </p:txBody>
        </p:sp>
      </p:grpSp>
    </p:spTree>
    <p:extLst>
      <p:ext uri="{BB962C8B-B14F-4D97-AF65-F5344CB8AC3E}">
        <p14:creationId xmlns:p14="http://schemas.microsoft.com/office/powerpoint/2010/main" val="42911564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标题 1"/>
          <p:cNvSpPr>
            <a:spLocks noGrp="1"/>
          </p:cNvSpPr>
          <p:nvPr>
            <p:ph type="title"/>
          </p:nvPr>
        </p:nvSpPr>
        <p:spPr>
          <a:xfrm>
            <a:off x="1137925" y="205921"/>
            <a:ext cx="10401280" cy="695186"/>
          </a:xfrm>
        </p:spPr>
        <p:txBody>
          <a:bodyPr/>
          <a:lstStyle/>
          <a:p>
            <a:r>
              <a:rPr lang="zh-CN" altLang="en-US" sz="3200" b="0" dirty="0" smtClean="0">
                <a:latin typeface="Arial"/>
                <a:ea typeface="Microsoft YaHei"/>
                <a:cs typeface="+mn-ea"/>
                <a:sym typeface="Arial"/>
              </a:rPr>
              <a:t>结构型模式之享元模式</a:t>
            </a:r>
            <a:endParaRPr lang="zh-CN" altLang="en-US" sz="3200" b="0" dirty="0">
              <a:latin typeface="Arial"/>
              <a:ea typeface="Microsoft YaHei"/>
              <a:cs typeface="+mn-ea"/>
              <a:sym typeface="Arial"/>
            </a:endParaRPr>
          </a:p>
        </p:txBody>
      </p:sp>
      <p:grpSp>
        <p:nvGrpSpPr>
          <p:cNvPr id="23" name="组合 22">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25" name="椭圆 24">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26" name="椭圆 25">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
        <p:nvSpPr>
          <p:cNvPr id="28" name="î$ḷîḓê">
            <a:extLst>
              <a:ext uri="{FF2B5EF4-FFF2-40B4-BE49-F238E27FC236}">
                <a16:creationId xmlns:a16="http://schemas.microsoft.com/office/drawing/2014/main" id="{0120662D-08EC-45F4-BE9C-84021ADB4C9A}"/>
              </a:ext>
            </a:extLst>
          </p:cNvPr>
          <p:cNvSpPr/>
          <p:nvPr/>
        </p:nvSpPr>
        <p:spPr bwMode="gray">
          <a:xfrm>
            <a:off x="7211000" y="198392"/>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创建型模式</a:t>
            </a:r>
            <a:endParaRPr lang="en-US" altLang="zh-CN" sz="2400" dirty="0">
              <a:solidFill>
                <a:schemeClr val="bg1"/>
              </a:solidFill>
            </a:endParaRPr>
          </a:p>
        </p:txBody>
      </p:sp>
      <p:sp>
        <p:nvSpPr>
          <p:cNvPr id="29" name="î$ḷîḓê">
            <a:extLst>
              <a:ext uri="{FF2B5EF4-FFF2-40B4-BE49-F238E27FC236}">
                <a16:creationId xmlns:a16="http://schemas.microsoft.com/office/drawing/2014/main" id="{0120662D-08EC-45F4-BE9C-84021ADB4C9A}"/>
              </a:ext>
            </a:extLst>
          </p:cNvPr>
          <p:cNvSpPr/>
          <p:nvPr/>
        </p:nvSpPr>
        <p:spPr bwMode="gray">
          <a:xfrm>
            <a:off x="8749874" y="199746"/>
            <a:ext cx="1506790" cy="480145"/>
          </a:xfrm>
          <a:prstGeom prst="rect">
            <a:avLst/>
          </a:prstGeom>
          <a:solidFill>
            <a:schemeClr val="accent1"/>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结构型模式</a:t>
            </a:r>
            <a:endParaRPr lang="en-US" altLang="zh-CN" sz="2400" dirty="0">
              <a:solidFill>
                <a:schemeClr val="bg1"/>
              </a:solidFill>
            </a:endParaRPr>
          </a:p>
        </p:txBody>
      </p:sp>
      <p:sp>
        <p:nvSpPr>
          <p:cNvPr id="31" name="î$ḷîḓê">
            <a:extLst>
              <a:ext uri="{FF2B5EF4-FFF2-40B4-BE49-F238E27FC236}">
                <a16:creationId xmlns:a16="http://schemas.microsoft.com/office/drawing/2014/main" id="{0120662D-08EC-45F4-BE9C-84021ADB4C9A}"/>
              </a:ext>
            </a:extLst>
          </p:cNvPr>
          <p:cNvSpPr/>
          <p:nvPr/>
        </p:nvSpPr>
        <p:spPr bwMode="gray">
          <a:xfrm>
            <a:off x="10282004" y="189695"/>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行为型模式</a:t>
            </a:r>
            <a:endParaRPr lang="en-US" altLang="zh-CN" sz="2400" dirty="0">
              <a:solidFill>
                <a:schemeClr val="bg1"/>
              </a:solidFill>
            </a:endParaRPr>
          </a:p>
        </p:txBody>
      </p:sp>
      <p:pic>
        <p:nvPicPr>
          <p:cNvPr id="32" name="Picture 2" descr="../_images/Flyweight.jpg"/>
          <p:cNvPicPr>
            <a:picLocks noChangeAspect="1" noChangeArrowheads="1"/>
          </p:cNvPicPr>
          <p:nvPr/>
        </p:nvPicPr>
        <p:blipFill rotWithShape="1">
          <a:blip r:embed="rId3">
            <a:extLst>
              <a:ext uri="{28A0092B-C50C-407E-A947-70E740481C1C}">
                <a14:useLocalDpi xmlns:a14="http://schemas.microsoft.com/office/drawing/2010/main" val="0"/>
              </a:ext>
            </a:extLst>
          </a:blip>
          <a:srcRect l="721" t="1167" r="498" b="1282"/>
          <a:stretch/>
        </p:blipFill>
        <p:spPr bwMode="auto">
          <a:xfrm>
            <a:off x="2400300" y="1188719"/>
            <a:ext cx="7894320" cy="4884421"/>
          </a:xfrm>
          <a:prstGeom prst="rect">
            <a:avLst/>
          </a:prstGeom>
          <a:noFill/>
          <a:extLst>
            <a:ext uri="{909E8E84-426E-40DD-AFC4-6F175D3DCCD1}">
              <a14:hiddenFill xmlns:a14="http://schemas.microsoft.com/office/drawing/2010/main">
                <a:solidFill>
                  <a:srgbClr val="FFFFFF"/>
                </a:solidFill>
              </a14:hiddenFill>
            </a:ext>
          </a:extLst>
        </p:spPr>
      </p:pic>
      <p:sp>
        <p:nvSpPr>
          <p:cNvPr id="34" name="圆角矩形 33"/>
          <p:cNvSpPr/>
          <p:nvPr/>
        </p:nvSpPr>
        <p:spPr>
          <a:xfrm>
            <a:off x="3975100" y="1828800"/>
            <a:ext cx="2097454" cy="330200"/>
          </a:xfrm>
          <a:prstGeom prst="roundRect">
            <a:avLst/>
          </a:prstGeom>
          <a:no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矩形 34"/>
          <p:cNvSpPr/>
          <p:nvPr/>
        </p:nvSpPr>
        <p:spPr>
          <a:xfrm>
            <a:off x="6482565" y="567035"/>
            <a:ext cx="1184940" cy="923330"/>
          </a:xfrm>
          <a:prstGeom prst="rect">
            <a:avLst/>
          </a:prstGeom>
          <a:noFill/>
        </p:spPr>
        <p:txBody>
          <a:bodyPr wrap="none" lIns="91440" tIns="45720" rIns="91440" bIns="45720">
            <a:spAutoFit/>
          </a:bodyPr>
          <a:lstStyle/>
          <a:p>
            <a:pPr algn="ctr"/>
            <a:r>
              <a:rPr lang="zh-CN" altLang="en-US" sz="5400" dirty="0" smtClean="0">
                <a:ln w="0"/>
                <a:solidFill>
                  <a:srgbClr val="008CD7"/>
                </a:solidFill>
                <a:effectLst>
                  <a:outerShdw blurRad="38100" dist="25400" dir="5400000" algn="ctr" rotWithShape="0">
                    <a:srgbClr val="6E747A">
                      <a:alpha val="43000"/>
                    </a:srgbClr>
                  </a:outerShdw>
                </a:effectLst>
                <a:latin typeface="华文行楷" panose="02010800040101010101" pitchFamily="2" charset="-122"/>
                <a:ea typeface="华文行楷" panose="02010800040101010101" pitchFamily="2" charset="-122"/>
              </a:rPr>
              <a:t>享</a:t>
            </a:r>
            <a:r>
              <a:rPr lang="zh-CN" altLang="en-US" sz="2400" dirty="0" smtClean="0">
                <a:ln w="0"/>
                <a:solidFill>
                  <a:schemeClr val="accent1"/>
                </a:solidFill>
                <a:effectLst>
                  <a:outerShdw blurRad="38100" dist="25400" dir="5400000" algn="ctr" rotWithShape="0">
                    <a:srgbClr val="6E747A">
                      <a:alpha val="43000"/>
                    </a:srgbClr>
                  </a:outerShdw>
                </a:effectLst>
              </a:rPr>
              <a:t>元</a:t>
            </a:r>
            <a:endParaRPr lang="zh-CN" altLang="en-US" sz="2400" b="0" cap="none" spc="0" dirty="0">
              <a:ln w="0"/>
              <a:solidFill>
                <a:schemeClr val="accent1"/>
              </a:solidFill>
              <a:effectLst>
                <a:outerShdw blurRad="38100" dist="25400" dir="5400000" algn="ctr" rotWithShape="0">
                  <a:srgbClr val="6E747A">
                    <a:alpha val="43000"/>
                  </a:srgbClr>
                </a:outerShdw>
              </a:effectLst>
            </a:endParaRPr>
          </a:p>
        </p:txBody>
      </p:sp>
      <p:cxnSp>
        <p:nvCxnSpPr>
          <p:cNvPr id="37" name="直接箭头连接符 36"/>
          <p:cNvCxnSpPr>
            <a:stCxn id="34" idx="0"/>
            <a:endCxn id="35" idx="1"/>
          </p:cNvCxnSpPr>
          <p:nvPr/>
        </p:nvCxnSpPr>
        <p:spPr>
          <a:xfrm flipV="1">
            <a:off x="5023827" y="1028700"/>
            <a:ext cx="1458738" cy="800100"/>
          </a:xfrm>
          <a:prstGeom prst="straightConnector1">
            <a:avLst/>
          </a:prstGeom>
          <a:ln w="635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5" name="coding_151359"/>
          <p:cNvSpPr>
            <a:spLocks noChangeAspect="1"/>
          </p:cNvSpPr>
          <p:nvPr/>
        </p:nvSpPr>
        <p:spPr bwMode="auto">
          <a:xfrm>
            <a:off x="6613115" y="211853"/>
            <a:ext cx="467336" cy="466684"/>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06439" h="605593">
                <a:moveTo>
                  <a:pt x="264222" y="458757"/>
                </a:moveTo>
                <a:lnTo>
                  <a:pt x="220421" y="579819"/>
                </a:lnTo>
                <a:lnTo>
                  <a:pt x="386019" y="579819"/>
                </a:lnTo>
                <a:lnTo>
                  <a:pt x="342217" y="458757"/>
                </a:lnTo>
                <a:close/>
                <a:moveTo>
                  <a:pt x="420977" y="157263"/>
                </a:moveTo>
                <a:lnTo>
                  <a:pt x="489088" y="231020"/>
                </a:lnTo>
                <a:lnTo>
                  <a:pt x="424086" y="301483"/>
                </a:lnTo>
                <a:lnTo>
                  <a:pt x="405150" y="283985"/>
                </a:lnTo>
                <a:lnTo>
                  <a:pt x="453949" y="231020"/>
                </a:lnTo>
                <a:lnTo>
                  <a:pt x="402042" y="174761"/>
                </a:lnTo>
                <a:close/>
                <a:moveTo>
                  <a:pt x="185461" y="157263"/>
                </a:moveTo>
                <a:lnTo>
                  <a:pt x="204397" y="174761"/>
                </a:lnTo>
                <a:lnTo>
                  <a:pt x="152489" y="231020"/>
                </a:lnTo>
                <a:lnTo>
                  <a:pt x="201288" y="283985"/>
                </a:lnTo>
                <a:lnTo>
                  <a:pt x="182352" y="301483"/>
                </a:lnTo>
                <a:lnTo>
                  <a:pt x="117350" y="231020"/>
                </a:lnTo>
                <a:close/>
                <a:moveTo>
                  <a:pt x="309343" y="122078"/>
                </a:moveTo>
                <a:lnTo>
                  <a:pt x="334401" y="128193"/>
                </a:lnTo>
                <a:lnTo>
                  <a:pt x="283718" y="336668"/>
                </a:lnTo>
                <a:lnTo>
                  <a:pt x="258565" y="330553"/>
                </a:lnTo>
                <a:close/>
                <a:moveTo>
                  <a:pt x="25810" y="25774"/>
                </a:moveTo>
                <a:lnTo>
                  <a:pt x="25810" y="432983"/>
                </a:lnTo>
                <a:lnTo>
                  <a:pt x="580629" y="432983"/>
                </a:lnTo>
                <a:lnTo>
                  <a:pt x="580629" y="25774"/>
                </a:lnTo>
                <a:close/>
                <a:moveTo>
                  <a:pt x="0" y="0"/>
                </a:moveTo>
                <a:lnTo>
                  <a:pt x="606439" y="0"/>
                </a:lnTo>
                <a:lnTo>
                  <a:pt x="606439" y="458757"/>
                </a:lnTo>
                <a:lnTo>
                  <a:pt x="369628" y="458757"/>
                </a:lnTo>
                <a:lnTo>
                  <a:pt x="413430" y="579819"/>
                </a:lnTo>
                <a:lnTo>
                  <a:pt x="459492" y="579819"/>
                </a:lnTo>
                <a:lnTo>
                  <a:pt x="459492" y="605593"/>
                </a:lnTo>
                <a:lnTo>
                  <a:pt x="146947" y="605593"/>
                </a:lnTo>
                <a:lnTo>
                  <a:pt x="146947" y="579819"/>
                </a:lnTo>
                <a:lnTo>
                  <a:pt x="192915" y="579819"/>
                </a:lnTo>
                <a:lnTo>
                  <a:pt x="236717" y="458757"/>
                </a:lnTo>
                <a:lnTo>
                  <a:pt x="0" y="458757"/>
                </a:lnTo>
                <a:close/>
              </a:path>
            </a:pathLst>
          </a:custGeom>
          <a:solidFill>
            <a:schemeClr val="accent1"/>
          </a:solidFill>
          <a:ln>
            <a:noFill/>
          </a:ln>
        </p:spPr>
        <p:txBody>
          <a:bodyPr/>
          <a:lstStyle/>
          <a:p>
            <a:endParaRPr lang="zh-CN" altLang="en-US"/>
          </a:p>
        </p:txBody>
      </p:sp>
    </p:spTree>
    <p:extLst>
      <p:ext uri="{BB962C8B-B14F-4D97-AF65-F5344CB8AC3E}">
        <p14:creationId xmlns:p14="http://schemas.microsoft.com/office/powerpoint/2010/main" val="968765314"/>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8"/>
          <p:cNvSpPr/>
          <p:nvPr/>
        </p:nvSpPr>
        <p:spPr>
          <a:xfrm>
            <a:off x="4148872" y="1320800"/>
            <a:ext cx="4068762" cy="3048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altLang="zh-CN" dirty="0" smtClean="0"/>
              <a:t>1.</a:t>
            </a:r>
            <a:r>
              <a:rPr lang="zh-CN" altLang="en-US" dirty="0" smtClean="0"/>
              <a:t>适配器模式（</a:t>
            </a:r>
            <a:r>
              <a:rPr lang="en-US" altLang="zh-CN" dirty="0" smtClean="0"/>
              <a:t>Adapter</a:t>
            </a:r>
            <a:r>
              <a:rPr lang="zh-CN" altLang="en-US" dirty="0" smtClean="0"/>
              <a:t>）</a:t>
            </a:r>
            <a:endParaRPr lang="zh-CN" altLang="en-US" dirty="0"/>
          </a:p>
        </p:txBody>
      </p:sp>
      <p:sp>
        <p:nvSpPr>
          <p:cNvPr id="4" name="矩形 3"/>
          <p:cNvSpPr/>
          <p:nvPr/>
        </p:nvSpPr>
        <p:spPr>
          <a:xfrm>
            <a:off x="4485319" y="1867108"/>
            <a:ext cx="3354944" cy="5805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dirty="0" smtClean="0"/>
              <a:t>类的适配器模式</a:t>
            </a:r>
            <a:endParaRPr lang="zh-CN" altLang="en-US" dirty="0"/>
          </a:p>
        </p:txBody>
      </p:sp>
      <p:sp>
        <p:nvSpPr>
          <p:cNvPr id="7" name="矩形 6"/>
          <p:cNvSpPr/>
          <p:nvPr/>
        </p:nvSpPr>
        <p:spPr>
          <a:xfrm>
            <a:off x="4492101" y="2793999"/>
            <a:ext cx="3354944" cy="580571"/>
          </a:xfrm>
          <a:prstGeom prst="rect">
            <a:avLst/>
          </a:prstGeom>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dirty="0"/>
              <a:t>对象</a:t>
            </a:r>
            <a:r>
              <a:rPr lang="zh-CN" altLang="en-US" dirty="0" smtClean="0"/>
              <a:t>的适配器模式</a:t>
            </a:r>
            <a:endParaRPr lang="zh-CN" altLang="en-US" dirty="0"/>
          </a:p>
        </p:txBody>
      </p:sp>
      <p:sp>
        <p:nvSpPr>
          <p:cNvPr id="8" name="矩形 7"/>
          <p:cNvSpPr/>
          <p:nvPr/>
        </p:nvSpPr>
        <p:spPr>
          <a:xfrm>
            <a:off x="4484842" y="3704950"/>
            <a:ext cx="3354944" cy="5805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dirty="0"/>
              <a:t>接口</a:t>
            </a:r>
            <a:r>
              <a:rPr lang="zh-CN" altLang="en-US" dirty="0" smtClean="0"/>
              <a:t>的适配器模式</a:t>
            </a:r>
            <a:endParaRPr lang="zh-CN" altLang="en-US" dirty="0"/>
          </a:p>
        </p:txBody>
      </p:sp>
      <p:sp>
        <p:nvSpPr>
          <p:cNvPr id="10" name="矩形 9"/>
          <p:cNvSpPr/>
          <p:nvPr/>
        </p:nvSpPr>
        <p:spPr>
          <a:xfrm>
            <a:off x="568063" y="2681574"/>
            <a:ext cx="2772229" cy="812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dirty="0" smtClean="0"/>
              <a:t>2.</a:t>
            </a:r>
            <a:r>
              <a:rPr lang="zh-CN" altLang="en-US" dirty="0" smtClean="0"/>
              <a:t>装饰器模式</a:t>
            </a:r>
            <a:r>
              <a:rPr lang="en-US" altLang="zh-CN" dirty="0"/>
              <a:t>(</a:t>
            </a:r>
            <a:r>
              <a:rPr lang="en-US" altLang="zh-CN" dirty="0" smtClean="0"/>
              <a:t>Decorator)</a:t>
            </a:r>
            <a:endParaRPr lang="zh-CN" altLang="en-US" dirty="0"/>
          </a:p>
        </p:txBody>
      </p:sp>
      <p:sp>
        <p:nvSpPr>
          <p:cNvPr id="11" name="矩形 10"/>
          <p:cNvSpPr/>
          <p:nvPr/>
        </p:nvSpPr>
        <p:spPr>
          <a:xfrm>
            <a:off x="568539" y="4171073"/>
            <a:ext cx="2786743" cy="69668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dirty="0" smtClean="0"/>
              <a:t>3.</a:t>
            </a:r>
            <a:r>
              <a:rPr lang="zh-CN" altLang="en-US" dirty="0" smtClean="0"/>
              <a:t>代理模式</a:t>
            </a:r>
            <a:r>
              <a:rPr lang="en-US" altLang="zh-CN" dirty="0" smtClean="0"/>
              <a:t>(Proxy</a:t>
            </a:r>
            <a:r>
              <a:rPr lang="en-US" altLang="zh-CN" dirty="0"/>
              <a:t>)</a:t>
            </a:r>
            <a:endParaRPr lang="zh-CN" altLang="en-US" dirty="0"/>
          </a:p>
        </p:txBody>
      </p:sp>
      <p:sp>
        <p:nvSpPr>
          <p:cNvPr id="12" name="矩形 11"/>
          <p:cNvSpPr/>
          <p:nvPr/>
        </p:nvSpPr>
        <p:spPr>
          <a:xfrm>
            <a:off x="553548" y="5586573"/>
            <a:ext cx="2801257" cy="653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dirty="0" smtClean="0"/>
              <a:t>4.</a:t>
            </a:r>
            <a:r>
              <a:rPr lang="zh-CN" altLang="en-US" dirty="0" smtClean="0"/>
              <a:t>外观模式</a:t>
            </a:r>
            <a:r>
              <a:rPr lang="en-US" altLang="zh-CN" dirty="0" smtClean="0"/>
              <a:t>(Façade)</a:t>
            </a:r>
            <a:endParaRPr lang="zh-CN" altLang="en-US" dirty="0"/>
          </a:p>
        </p:txBody>
      </p:sp>
      <p:sp>
        <p:nvSpPr>
          <p:cNvPr id="13" name="矩形 12"/>
          <p:cNvSpPr/>
          <p:nvPr/>
        </p:nvSpPr>
        <p:spPr>
          <a:xfrm>
            <a:off x="8539261" y="2685381"/>
            <a:ext cx="3018972" cy="79828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dirty="0" smtClean="0"/>
              <a:t>5.</a:t>
            </a:r>
            <a:r>
              <a:rPr lang="zh-CN" altLang="en-US" dirty="0" smtClean="0"/>
              <a:t>桥接模式</a:t>
            </a:r>
            <a:r>
              <a:rPr lang="en-US" altLang="zh-CN" dirty="0" smtClean="0"/>
              <a:t>(Bridge)</a:t>
            </a:r>
            <a:endParaRPr lang="zh-CN" altLang="en-US" dirty="0"/>
          </a:p>
        </p:txBody>
      </p:sp>
      <p:sp>
        <p:nvSpPr>
          <p:cNvPr id="14" name="矩形 13"/>
          <p:cNvSpPr/>
          <p:nvPr/>
        </p:nvSpPr>
        <p:spPr>
          <a:xfrm>
            <a:off x="8525223" y="4104212"/>
            <a:ext cx="3048000" cy="7402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dirty="0" smtClean="0"/>
              <a:t>6.</a:t>
            </a:r>
            <a:r>
              <a:rPr lang="zh-CN" altLang="en-US" dirty="0" smtClean="0"/>
              <a:t>组合模式</a:t>
            </a:r>
            <a:endParaRPr lang="zh-CN" altLang="en-US" dirty="0"/>
          </a:p>
        </p:txBody>
      </p:sp>
      <p:sp>
        <p:nvSpPr>
          <p:cNvPr id="15" name="矩形 14"/>
          <p:cNvSpPr/>
          <p:nvPr/>
        </p:nvSpPr>
        <p:spPr>
          <a:xfrm>
            <a:off x="8538786" y="5327694"/>
            <a:ext cx="3004457" cy="76925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dirty="0" smtClean="0"/>
              <a:t>7.</a:t>
            </a:r>
            <a:r>
              <a:rPr lang="zh-CN" altLang="en-US" dirty="0" smtClean="0"/>
              <a:t>享元模式</a:t>
            </a:r>
            <a:r>
              <a:rPr lang="en-US" altLang="zh-CN" dirty="0" smtClean="0"/>
              <a:t>(Flyweight</a:t>
            </a:r>
            <a:r>
              <a:rPr lang="zh-CN" altLang="en-US" dirty="0" smtClean="0"/>
              <a:t>）</a:t>
            </a:r>
            <a:endParaRPr lang="zh-CN" altLang="en-US" dirty="0"/>
          </a:p>
        </p:txBody>
      </p:sp>
      <p:cxnSp>
        <p:nvCxnSpPr>
          <p:cNvPr id="17" name="直接箭头连接符 16"/>
          <p:cNvCxnSpPr>
            <a:stCxn id="7" idx="1"/>
            <a:endCxn id="10" idx="3"/>
          </p:cNvCxnSpPr>
          <p:nvPr/>
        </p:nvCxnSpPr>
        <p:spPr>
          <a:xfrm flipH="1">
            <a:off x="3340292" y="3084285"/>
            <a:ext cx="1151809" cy="3689"/>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0" name="直接箭头连接符 19"/>
          <p:cNvCxnSpPr>
            <a:stCxn id="7" idx="3"/>
            <a:endCxn id="13" idx="1"/>
          </p:cNvCxnSpPr>
          <p:nvPr/>
        </p:nvCxnSpPr>
        <p:spPr>
          <a:xfrm>
            <a:off x="7847045" y="3084285"/>
            <a:ext cx="692216" cy="239"/>
          </a:xfrm>
          <a:prstGeom prst="straightConnector1">
            <a:avLst/>
          </a:prstGeom>
          <a:ln w="38100">
            <a:tailEnd type="triangle"/>
          </a:ln>
        </p:spPr>
        <p:style>
          <a:lnRef idx="3">
            <a:schemeClr val="accent1"/>
          </a:lnRef>
          <a:fillRef idx="0">
            <a:schemeClr val="accent1"/>
          </a:fillRef>
          <a:effectRef idx="2">
            <a:schemeClr val="accent1"/>
          </a:effectRef>
          <a:fontRef idx="minor">
            <a:schemeClr val="tx1"/>
          </a:fontRef>
        </p:style>
      </p:cxnSp>
      <p:cxnSp>
        <p:nvCxnSpPr>
          <p:cNvPr id="24" name="直接箭头连接符 23"/>
          <p:cNvCxnSpPr>
            <a:stCxn id="10" idx="2"/>
            <a:endCxn id="11" idx="0"/>
          </p:cNvCxnSpPr>
          <p:nvPr/>
        </p:nvCxnSpPr>
        <p:spPr>
          <a:xfrm>
            <a:off x="1954178" y="3494374"/>
            <a:ext cx="7733" cy="676699"/>
          </a:xfrm>
          <a:prstGeom prst="straightConnector1">
            <a:avLst/>
          </a:prstGeom>
          <a:ln w="38100">
            <a:tailEnd type="triangle"/>
          </a:ln>
        </p:spPr>
        <p:style>
          <a:lnRef idx="3">
            <a:schemeClr val="accent1"/>
          </a:lnRef>
          <a:fillRef idx="0">
            <a:schemeClr val="accent1"/>
          </a:fillRef>
          <a:effectRef idx="2">
            <a:schemeClr val="accent1"/>
          </a:effectRef>
          <a:fontRef idx="minor">
            <a:schemeClr val="tx1"/>
          </a:fontRef>
        </p:style>
      </p:cxnSp>
      <p:cxnSp>
        <p:nvCxnSpPr>
          <p:cNvPr id="27" name="直接箭头连接符 26"/>
          <p:cNvCxnSpPr>
            <a:stCxn id="11" idx="2"/>
            <a:endCxn id="12" idx="0"/>
          </p:cNvCxnSpPr>
          <p:nvPr/>
        </p:nvCxnSpPr>
        <p:spPr>
          <a:xfrm flipH="1">
            <a:off x="1954177" y="4867758"/>
            <a:ext cx="7734" cy="718815"/>
          </a:xfrm>
          <a:prstGeom prst="straightConnector1">
            <a:avLst/>
          </a:prstGeom>
          <a:ln w="38100">
            <a:tailEnd type="triangle"/>
          </a:ln>
        </p:spPr>
        <p:style>
          <a:lnRef idx="3">
            <a:schemeClr val="accent1"/>
          </a:lnRef>
          <a:fillRef idx="0">
            <a:schemeClr val="accent1"/>
          </a:fillRef>
          <a:effectRef idx="2">
            <a:schemeClr val="accent1"/>
          </a:effectRef>
          <a:fontRef idx="minor">
            <a:schemeClr val="tx1"/>
          </a:fontRef>
        </p:style>
      </p:cxnSp>
      <p:cxnSp>
        <p:nvCxnSpPr>
          <p:cNvPr id="30" name="直接箭头连接符 29"/>
          <p:cNvCxnSpPr>
            <a:stCxn id="13" idx="2"/>
            <a:endCxn id="14" idx="0"/>
          </p:cNvCxnSpPr>
          <p:nvPr/>
        </p:nvCxnSpPr>
        <p:spPr>
          <a:xfrm>
            <a:off x="10048747" y="3483666"/>
            <a:ext cx="476" cy="620546"/>
          </a:xfrm>
          <a:prstGeom prst="straightConnector1">
            <a:avLst/>
          </a:prstGeom>
          <a:ln w="38100">
            <a:tailEnd type="triangle"/>
          </a:ln>
        </p:spPr>
        <p:style>
          <a:lnRef idx="3">
            <a:schemeClr val="accent1"/>
          </a:lnRef>
          <a:fillRef idx="0">
            <a:schemeClr val="accent1"/>
          </a:fillRef>
          <a:effectRef idx="2">
            <a:schemeClr val="accent1"/>
          </a:effectRef>
          <a:fontRef idx="minor">
            <a:schemeClr val="tx1"/>
          </a:fontRef>
        </p:style>
      </p:cxnSp>
      <p:cxnSp>
        <p:nvCxnSpPr>
          <p:cNvPr id="33" name="直接箭头连接符 32"/>
          <p:cNvCxnSpPr>
            <a:stCxn id="14" idx="2"/>
            <a:endCxn id="15" idx="0"/>
          </p:cNvCxnSpPr>
          <p:nvPr/>
        </p:nvCxnSpPr>
        <p:spPr>
          <a:xfrm flipH="1">
            <a:off x="10041015" y="4844440"/>
            <a:ext cx="8208" cy="483254"/>
          </a:xfrm>
          <a:prstGeom prst="straightConnector1">
            <a:avLst/>
          </a:prstGeom>
          <a:ln w="38100">
            <a:tailEnd type="triangle"/>
          </a:ln>
        </p:spPr>
        <p:style>
          <a:lnRef idx="3">
            <a:schemeClr val="accent1"/>
          </a:lnRef>
          <a:fillRef idx="0">
            <a:schemeClr val="accent1"/>
          </a:fillRef>
          <a:effectRef idx="2">
            <a:schemeClr val="accent1"/>
          </a:effectRef>
          <a:fontRef idx="minor">
            <a:schemeClr val="tx1"/>
          </a:fontRef>
        </p:style>
      </p:cxnSp>
      <p:cxnSp>
        <p:nvCxnSpPr>
          <p:cNvPr id="36" name="直接箭头连接符 35"/>
          <p:cNvCxnSpPr>
            <a:stCxn id="4" idx="2"/>
            <a:endCxn id="7" idx="0"/>
          </p:cNvCxnSpPr>
          <p:nvPr/>
        </p:nvCxnSpPr>
        <p:spPr>
          <a:xfrm>
            <a:off x="6162791" y="2447679"/>
            <a:ext cx="6782" cy="346320"/>
          </a:xfrm>
          <a:prstGeom prst="straightConnector1">
            <a:avLst/>
          </a:prstGeom>
          <a:ln w="38100">
            <a:tailEnd type="triangle"/>
          </a:ln>
        </p:spPr>
        <p:style>
          <a:lnRef idx="3">
            <a:schemeClr val="accent1"/>
          </a:lnRef>
          <a:fillRef idx="0">
            <a:schemeClr val="accent1"/>
          </a:fillRef>
          <a:effectRef idx="2">
            <a:schemeClr val="accent1"/>
          </a:effectRef>
          <a:fontRef idx="minor">
            <a:schemeClr val="tx1"/>
          </a:fontRef>
        </p:style>
      </p:cxnSp>
      <p:cxnSp>
        <p:nvCxnSpPr>
          <p:cNvPr id="41" name="直接箭头连接符 40"/>
          <p:cNvCxnSpPr>
            <a:stCxn id="7" idx="2"/>
            <a:endCxn id="8" idx="0"/>
          </p:cNvCxnSpPr>
          <p:nvPr/>
        </p:nvCxnSpPr>
        <p:spPr>
          <a:xfrm flipH="1">
            <a:off x="6162314" y="3374570"/>
            <a:ext cx="7259" cy="330380"/>
          </a:xfrm>
          <a:prstGeom prst="straightConnector1">
            <a:avLst/>
          </a:prstGeom>
          <a:ln w="38100">
            <a:tailEnd type="triangle"/>
          </a:ln>
        </p:spPr>
        <p:style>
          <a:lnRef idx="3">
            <a:schemeClr val="accent1"/>
          </a:lnRef>
          <a:fillRef idx="0">
            <a:schemeClr val="accent1"/>
          </a:fillRef>
          <a:effectRef idx="2">
            <a:schemeClr val="accent1"/>
          </a:effectRef>
          <a:fontRef idx="minor">
            <a:schemeClr val="tx1"/>
          </a:fontRef>
        </p:style>
      </p:cxnSp>
      <p:sp>
        <p:nvSpPr>
          <p:cNvPr id="22" name="标题 1"/>
          <p:cNvSpPr>
            <a:spLocks noGrp="1"/>
          </p:cNvSpPr>
          <p:nvPr>
            <p:ph type="title"/>
          </p:nvPr>
        </p:nvSpPr>
        <p:spPr>
          <a:xfrm>
            <a:off x="1137925" y="205921"/>
            <a:ext cx="10401280" cy="695186"/>
          </a:xfrm>
        </p:spPr>
        <p:txBody>
          <a:bodyPr/>
          <a:lstStyle/>
          <a:p>
            <a:r>
              <a:rPr lang="zh-CN" altLang="en-US" sz="3200" b="0" dirty="0" smtClean="0">
                <a:latin typeface="Arial"/>
                <a:ea typeface="Microsoft YaHei"/>
                <a:cs typeface="+mn-ea"/>
                <a:sym typeface="Arial"/>
              </a:rPr>
              <a:t>结构型模式</a:t>
            </a:r>
            <a:endParaRPr lang="zh-CN" altLang="en-US" sz="3200" b="0" dirty="0">
              <a:latin typeface="Arial"/>
              <a:ea typeface="Microsoft YaHei"/>
              <a:cs typeface="+mn-ea"/>
              <a:sym typeface="Arial"/>
            </a:endParaRPr>
          </a:p>
        </p:txBody>
      </p:sp>
      <p:grpSp>
        <p:nvGrpSpPr>
          <p:cNvPr id="23" name="组合 22">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25" name="椭圆 24">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26" name="椭圆 25">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
        <p:nvSpPr>
          <p:cNvPr id="28" name="î$ḷîḓê">
            <a:extLst>
              <a:ext uri="{FF2B5EF4-FFF2-40B4-BE49-F238E27FC236}">
                <a16:creationId xmlns:a16="http://schemas.microsoft.com/office/drawing/2014/main" id="{0120662D-08EC-45F4-BE9C-84021ADB4C9A}"/>
              </a:ext>
            </a:extLst>
          </p:cNvPr>
          <p:cNvSpPr/>
          <p:nvPr/>
        </p:nvSpPr>
        <p:spPr bwMode="gray">
          <a:xfrm>
            <a:off x="7211000" y="198392"/>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创建型模式</a:t>
            </a:r>
            <a:endParaRPr lang="en-US" altLang="zh-CN" sz="2400" dirty="0">
              <a:solidFill>
                <a:schemeClr val="bg1"/>
              </a:solidFill>
            </a:endParaRPr>
          </a:p>
        </p:txBody>
      </p:sp>
      <p:sp>
        <p:nvSpPr>
          <p:cNvPr id="29" name="î$ḷîḓê">
            <a:extLst>
              <a:ext uri="{FF2B5EF4-FFF2-40B4-BE49-F238E27FC236}">
                <a16:creationId xmlns:a16="http://schemas.microsoft.com/office/drawing/2014/main" id="{0120662D-08EC-45F4-BE9C-84021ADB4C9A}"/>
              </a:ext>
            </a:extLst>
          </p:cNvPr>
          <p:cNvSpPr/>
          <p:nvPr/>
        </p:nvSpPr>
        <p:spPr bwMode="gray">
          <a:xfrm>
            <a:off x="8749874" y="199746"/>
            <a:ext cx="1506790" cy="480145"/>
          </a:xfrm>
          <a:prstGeom prst="rect">
            <a:avLst/>
          </a:prstGeom>
          <a:solidFill>
            <a:schemeClr val="accent1"/>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结构型模式</a:t>
            </a:r>
            <a:endParaRPr lang="en-US" altLang="zh-CN" sz="2400" dirty="0">
              <a:solidFill>
                <a:schemeClr val="bg1"/>
              </a:solidFill>
            </a:endParaRPr>
          </a:p>
        </p:txBody>
      </p:sp>
      <p:sp>
        <p:nvSpPr>
          <p:cNvPr id="31" name="î$ḷîḓê">
            <a:extLst>
              <a:ext uri="{FF2B5EF4-FFF2-40B4-BE49-F238E27FC236}">
                <a16:creationId xmlns:a16="http://schemas.microsoft.com/office/drawing/2014/main" id="{0120662D-08EC-45F4-BE9C-84021ADB4C9A}"/>
              </a:ext>
            </a:extLst>
          </p:cNvPr>
          <p:cNvSpPr/>
          <p:nvPr/>
        </p:nvSpPr>
        <p:spPr bwMode="gray">
          <a:xfrm>
            <a:off x="10282004" y="189695"/>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行为型模式</a:t>
            </a:r>
            <a:endParaRPr lang="en-US" altLang="zh-CN" sz="2400" dirty="0">
              <a:solidFill>
                <a:schemeClr val="bg1"/>
              </a:solidFill>
            </a:endParaRPr>
          </a:p>
        </p:txBody>
      </p:sp>
    </p:spTree>
    <p:extLst>
      <p:ext uri="{BB962C8B-B14F-4D97-AF65-F5344CB8AC3E}">
        <p14:creationId xmlns:p14="http://schemas.microsoft.com/office/powerpoint/2010/main" val="1211028947"/>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195079" y="1768279"/>
            <a:ext cx="4195831" cy="3231376"/>
            <a:chOff x="1120384" y="1946956"/>
            <a:chExt cx="5123543" cy="3945844"/>
          </a:xfrm>
        </p:grpSpPr>
        <p:sp>
          <p:nvSpPr>
            <p:cNvPr id="37" name="任意多边形 36"/>
            <p:cNvSpPr/>
            <p:nvPr/>
          </p:nvSpPr>
          <p:spPr>
            <a:xfrm>
              <a:off x="1120384" y="4731657"/>
              <a:ext cx="3164115" cy="1161143"/>
            </a:xfrm>
            <a:custGeom>
              <a:avLst/>
              <a:gdLst>
                <a:gd name="connsiteX0" fmla="*/ 0 w 3164115"/>
                <a:gd name="connsiteY0" fmla="*/ 0 h 1161143"/>
                <a:gd name="connsiteX1" fmla="*/ 924255 w 3164115"/>
                <a:gd name="connsiteY1" fmla="*/ 0 h 1161143"/>
                <a:gd name="connsiteX2" fmla="*/ 922792 w 3164115"/>
                <a:gd name="connsiteY2" fmla="*/ 14514 h 1161143"/>
                <a:gd name="connsiteX3" fmla="*/ 1583192 w 3164115"/>
                <a:gd name="connsiteY3" fmla="*/ 674914 h 1161143"/>
                <a:gd name="connsiteX4" fmla="*/ 2243592 w 3164115"/>
                <a:gd name="connsiteY4" fmla="*/ 14514 h 1161143"/>
                <a:gd name="connsiteX5" fmla="*/ 2242129 w 3164115"/>
                <a:gd name="connsiteY5" fmla="*/ 0 h 1161143"/>
                <a:gd name="connsiteX6" fmla="*/ 3164115 w 3164115"/>
                <a:gd name="connsiteY6" fmla="*/ 0 h 1161143"/>
                <a:gd name="connsiteX7" fmla="*/ 3164115 w 3164115"/>
                <a:gd name="connsiteY7" fmla="*/ 1161143 h 1161143"/>
                <a:gd name="connsiteX8" fmla="*/ 0 w 3164115"/>
                <a:gd name="connsiteY8" fmla="*/ 1161143 h 1161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4115" h="1161143">
                  <a:moveTo>
                    <a:pt x="0" y="0"/>
                  </a:moveTo>
                  <a:lnTo>
                    <a:pt x="924255" y="0"/>
                  </a:lnTo>
                  <a:lnTo>
                    <a:pt x="922792" y="14514"/>
                  </a:lnTo>
                  <a:cubicBezTo>
                    <a:pt x="922792" y="379243"/>
                    <a:pt x="1218463" y="674914"/>
                    <a:pt x="1583192" y="674914"/>
                  </a:cubicBezTo>
                  <a:cubicBezTo>
                    <a:pt x="1947921" y="674914"/>
                    <a:pt x="2243592" y="379243"/>
                    <a:pt x="2243592" y="14514"/>
                  </a:cubicBezTo>
                  <a:lnTo>
                    <a:pt x="2242129" y="0"/>
                  </a:lnTo>
                  <a:lnTo>
                    <a:pt x="3164115" y="0"/>
                  </a:lnTo>
                  <a:lnTo>
                    <a:pt x="3164115" y="1161143"/>
                  </a:lnTo>
                  <a:lnTo>
                    <a:pt x="0" y="1161143"/>
                  </a:lnTo>
                  <a:close/>
                </a:path>
              </a:pathLst>
            </a:custGeom>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51" name="任意多边形 50"/>
            <p:cNvSpPr/>
            <p:nvPr/>
          </p:nvSpPr>
          <p:spPr>
            <a:xfrm>
              <a:off x="2078329" y="1946956"/>
              <a:ext cx="1314677" cy="2394857"/>
            </a:xfrm>
            <a:custGeom>
              <a:avLst/>
              <a:gdLst>
                <a:gd name="connsiteX0" fmla="*/ 0 w 1314677"/>
                <a:gd name="connsiteY0" fmla="*/ 0 h 2394857"/>
                <a:gd name="connsiteX1" fmla="*/ 1314677 w 1314677"/>
                <a:gd name="connsiteY1" fmla="*/ 0 h 2394857"/>
                <a:gd name="connsiteX2" fmla="*/ 1314677 w 1314677"/>
                <a:gd name="connsiteY2" fmla="*/ 1676887 h 2394857"/>
                <a:gd name="connsiteX3" fmla="*/ 1306287 w 1314677"/>
                <a:gd name="connsiteY3" fmla="*/ 1667329 h 2394857"/>
                <a:gd name="connsiteX4" fmla="*/ 667659 w 1314677"/>
                <a:gd name="connsiteY4" fmla="*/ 2394857 h 2394857"/>
                <a:gd name="connsiteX5" fmla="*/ 653142 w 1314677"/>
                <a:gd name="connsiteY5" fmla="*/ 2394857 h 2394857"/>
                <a:gd name="connsiteX6" fmla="*/ 0 w 1314677"/>
                <a:gd name="connsiteY6" fmla="*/ 1660969 h 2394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4677" h="2394857">
                  <a:moveTo>
                    <a:pt x="0" y="0"/>
                  </a:moveTo>
                  <a:lnTo>
                    <a:pt x="1314677" y="0"/>
                  </a:lnTo>
                  <a:lnTo>
                    <a:pt x="1314677" y="1676887"/>
                  </a:lnTo>
                  <a:lnTo>
                    <a:pt x="1306287" y="1667329"/>
                  </a:lnTo>
                  <a:lnTo>
                    <a:pt x="667659" y="2394857"/>
                  </a:lnTo>
                  <a:lnTo>
                    <a:pt x="653142" y="2394857"/>
                  </a:lnTo>
                  <a:lnTo>
                    <a:pt x="0" y="1660969"/>
                  </a:lnTo>
                  <a:close/>
                </a:path>
              </a:pathLst>
            </a:custGeom>
            <a:ln>
              <a:noFill/>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cxnSp>
          <p:nvCxnSpPr>
            <p:cNvPr id="60" name="直接箭头连接符 59"/>
            <p:cNvCxnSpPr/>
            <p:nvPr/>
          </p:nvCxnSpPr>
          <p:spPr>
            <a:xfrm flipV="1">
              <a:off x="3137871" y="3004457"/>
              <a:ext cx="1233714" cy="148045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1" name="文本框 60"/>
            <p:cNvSpPr txBox="1"/>
            <p:nvPr/>
          </p:nvSpPr>
          <p:spPr>
            <a:xfrm>
              <a:off x="4342555" y="2743201"/>
              <a:ext cx="1901372" cy="646331"/>
            </a:xfrm>
            <a:prstGeom prst="rect">
              <a:avLst/>
            </a:prstGeom>
            <a:noFill/>
          </p:spPr>
          <p:txBody>
            <a:bodyPr wrap="square" rtlCol="0">
              <a:spAutoFit/>
            </a:bodyPr>
            <a:lstStyle/>
            <a:p>
              <a:r>
                <a:rPr lang="zh-CN" altLang="en-US" dirty="0" smtClean="0"/>
                <a:t>接口不兼容，如何设计？</a:t>
              </a:r>
              <a:endParaRPr lang="zh-CN" altLang="en-US" dirty="0"/>
            </a:p>
          </p:txBody>
        </p:sp>
      </p:grpSp>
      <p:grpSp>
        <p:nvGrpSpPr>
          <p:cNvPr id="3" name="组合 2"/>
          <p:cNvGrpSpPr/>
          <p:nvPr/>
        </p:nvGrpSpPr>
        <p:grpSpPr>
          <a:xfrm>
            <a:off x="6937018" y="4056586"/>
            <a:ext cx="1950583" cy="2170919"/>
            <a:chOff x="6895709" y="2362198"/>
            <a:chExt cx="3164115" cy="3521531"/>
          </a:xfrm>
        </p:grpSpPr>
        <p:sp>
          <p:nvSpPr>
            <p:cNvPr id="52" name="任意多边形 51"/>
            <p:cNvSpPr/>
            <p:nvPr/>
          </p:nvSpPr>
          <p:spPr>
            <a:xfrm>
              <a:off x="6895709" y="4722586"/>
              <a:ext cx="3164115" cy="1161143"/>
            </a:xfrm>
            <a:custGeom>
              <a:avLst/>
              <a:gdLst>
                <a:gd name="connsiteX0" fmla="*/ 0 w 3164115"/>
                <a:gd name="connsiteY0" fmla="*/ 0 h 1161143"/>
                <a:gd name="connsiteX1" fmla="*/ 924255 w 3164115"/>
                <a:gd name="connsiteY1" fmla="*/ 0 h 1161143"/>
                <a:gd name="connsiteX2" fmla="*/ 922792 w 3164115"/>
                <a:gd name="connsiteY2" fmla="*/ 14514 h 1161143"/>
                <a:gd name="connsiteX3" fmla="*/ 1583192 w 3164115"/>
                <a:gd name="connsiteY3" fmla="*/ 674914 h 1161143"/>
                <a:gd name="connsiteX4" fmla="*/ 2243592 w 3164115"/>
                <a:gd name="connsiteY4" fmla="*/ 14514 h 1161143"/>
                <a:gd name="connsiteX5" fmla="*/ 2242129 w 3164115"/>
                <a:gd name="connsiteY5" fmla="*/ 0 h 1161143"/>
                <a:gd name="connsiteX6" fmla="*/ 3164115 w 3164115"/>
                <a:gd name="connsiteY6" fmla="*/ 0 h 1161143"/>
                <a:gd name="connsiteX7" fmla="*/ 3164115 w 3164115"/>
                <a:gd name="connsiteY7" fmla="*/ 1161143 h 1161143"/>
                <a:gd name="connsiteX8" fmla="*/ 0 w 3164115"/>
                <a:gd name="connsiteY8" fmla="*/ 1161143 h 1161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4115" h="1161143">
                  <a:moveTo>
                    <a:pt x="0" y="0"/>
                  </a:moveTo>
                  <a:lnTo>
                    <a:pt x="924255" y="0"/>
                  </a:lnTo>
                  <a:lnTo>
                    <a:pt x="922792" y="14514"/>
                  </a:lnTo>
                  <a:cubicBezTo>
                    <a:pt x="922792" y="379243"/>
                    <a:pt x="1218463" y="674914"/>
                    <a:pt x="1583192" y="674914"/>
                  </a:cubicBezTo>
                  <a:cubicBezTo>
                    <a:pt x="1947921" y="674914"/>
                    <a:pt x="2243592" y="379243"/>
                    <a:pt x="2243592" y="14514"/>
                  </a:cubicBezTo>
                  <a:lnTo>
                    <a:pt x="2242129" y="0"/>
                  </a:lnTo>
                  <a:lnTo>
                    <a:pt x="3164115" y="0"/>
                  </a:lnTo>
                  <a:lnTo>
                    <a:pt x="3164115" y="1161143"/>
                  </a:lnTo>
                  <a:lnTo>
                    <a:pt x="0" y="1161143"/>
                  </a:lnTo>
                  <a:close/>
                </a:path>
              </a:pathLst>
            </a:custGeom>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57" name="任意多边形 56"/>
            <p:cNvSpPr/>
            <p:nvPr/>
          </p:nvSpPr>
          <p:spPr>
            <a:xfrm>
              <a:off x="7804212" y="4095740"/>
              <a:ext cx="1320800" cy="1285431"/>
            </a:xfrm>
            <a:custGeom>
              <a:avLst/>
              <a:gdLst>
                <a:gd name="connsiteX0" fmla="*/ 0 w 1320800"/>
                <a:gd name="connsiteY0" fmla="*/ 0 h 1285431"/>
                <a:gd name="connsiteX1" fmla="*/ 653142 w 1320800"/>
                <a:gd name="connsiteY1" fmla="*/ 733888 h 1285431"/>
                <a:gd name="connsiteX2" fmla="*/ 667659 w 1320800"/>
                <a:gd name="connsiteY2" fmla="*/ 733888 h 1285431"/>
                <a:gd name="connsiteX3" fmla="*/ 1306287 w 1320800"/>
                <a:gd name="connsiteY3" fmla="*/ 6360 h 1285431"/>
                <a:gd name="connsiteX4" fmla="*/ 1314677 w 1320800"/>
                <a:gd name="connsiteY4" fmla="*/ 15918 h 1285431"/>
                <a:gd name="connsiteX5" fmla="*/ 1314677 w 1320800"/>
                <a:gd name="connsiteY5" fmla="*/ 564292 h 1285431"/>
                <a:gd name="connsiteX6" fmla="*/ 1320800 w 1320800"/>
                <a:gd name="connsiteY6" fmla="*/ 625031 h 1285431"/>
                <a:gd name="connsiteX7" fmla="*/ 793494 w 1320800"/>
                <a:gd name="connsiteY7" fmla="*/ 1272014 h 1285431"/>
                <a:gd name="connsiteX8" fmla="*/ 668364 w 1320800"/>
                <a:gd name="connsiteY8" fmla="*/ 1284628 h 1285431"/>
                <a:gd name="connsiteX9" fmla="*/ 667659 w 1320800"/>
                <a:gd name="connsiteY9" fmla="*/ 1285431 h 1285431"/>
                <a:gd name="connsiteX10" fmla="*/ 660400 w 1320800"/>
                <a:gd name="connsiteY10" fmla="*/ 1285431 h 1285431"/>
                <a:gd name="connsiteX11" fmla="*/ 653142 w 1320800"/>
                <a:gd name="connsiteY11" fmla="*/ 1285431 h 1285431"/>
                <a:gd name="connsiteX12" fmla="*/ 652427 w 1320800"/>
                <a:gd name="connsiteY12" fmla="*/ 1284627 h 1285431"/>
                <a:gd name="connsiteX13" fmla="*/ 527306 w 1320800"/>
                <a:gd name="connsiteY13" fmla="*/ 1272014 h 1285431"/>
                <a:gd name="connsiteX14" fmla="*/ 0 w 1320800"/>
                <a:gd name="connsiteY14" fmla="*/ 625031 h 1285431"/>
                <a:gd name="connsiteX15" fmla="*/ 6654 w 1320800"/>
                <a:gd name="connsiteY15" fmla="*/ 559020 h 1285431"/>
                <a:gd name="connsiteX16" fmla="*/ 0 w 1320800"/>
                <a:gd name="connsiteY16" fmla="*/ 551543 h 1285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20800" h="1285431">
                  <a:moveTo>
                    <a:pt x="0" y="0"/>
                  </a:moveTo>
                  <a:lnTo>
                    <a:pt x="653142" y="733888"/>
                  </a:lnTo>
                  <a:lnTo>
                    <a:pt x="667659" y="733888"/>
                  </a:lnTo>
                  <a:lnTo>
                    <a:pt x="1306287" y="6360"/>
                  </a:lnTo>
                  <a:lnTo>
                    <a:pt x="1314677" y="15918"/>
                  </a:lnTo>
                  <a:lnTo>
                    <a:pt x="1314677" y="564292"/>
                  </a:lnTo>
                  <a:lnTo>
                    <a:pt x="1320800" y="625031"/>
                  </a:lnTo>
                  <a:cubicBezTo>
                    <a:pt x="1320800" y="944169"/>
                    <a:pt x="1094427" y="1210434"/>
                    <a:pt x="793494" y="1272014"/>
                  </a:cubicBezTo>
                  <a:lnTo>
                    <a:pt x="668364" y="1284628"/>
                  </a:lnTo>
                  <a:lnTo>
                    <a:pt x="667659" y="1285431"/>
                  </a:lnTo>
                  <a:lnTo>
                    <a:pt x="660400" y="1285431"/>
                  </a:lnTo>
                  <a:lnTo>
                    <a:pt x="653142" y="1285431"/>
                  </a:lnTo>
                  <a:lnTo>
                    <a:pt x="652427" y="1284627"/>
                  </a:lnTo>
                  <a:lnTo>
                    <a:pt x="527306" y="1272014"/>
                  </a:lnTo>
                  <a:cubicBezTo>
                    <a:pt x="226373" y="1210434"/>
                    <a:pt x="0" y="944169"/>
                    <a:pt x="0" y="625031"/>
                  </a:cubicBezTo>
                  <a:lnTo>
                    <a:pt x="6654" y="559020"/>
                  </a:lnTo>
                  <a:lnTo>
                    <a:pt x="0" y="551543"/>
                  </a:lnTo>
                  <a:close/>
                </a:path>
              </a:pathLst>
            </a:custGeom>
            <a:solidFill>
              <a:srgbClr val="E1691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58" name="任意多边形 57"/>
            <p:cNvSpPr/>
            <p:nvPr/>
          </p:nvSpPr>
          <p:spPr>
            <a:xfrm>
              <a:off x="7804213" y="2362198"/>
              <a:ext cx="1314677" cy="2394857"/>
            </a:xfrm>
            <a:custGeom>
              <a:avLst/>
              <a:gdLst>
                <a:gd name="connsiteX0" fmla="*/ 0 w 1314677"/>
                <a:gd name="connsiteY0" fmla="*/ 0 h 2394857"/>
                <a:gd name="connsiteX1" fmla="*/ 1314677 w 1314677"/>
                <a:gd name="connsiteY1" fmla="*/ 0 h 2394857"/>
                <a:gd name="connsiteX2" fmla="*/ 1314677 w 1314677"/>
                <a:gd name="connsiteY2" fmla="*/ 1676887 h 2394857"/>
                <a:gd name="connsiteX3" fmla="*/ 1306287 w 1314677"/>
                <a:gd name="connsiteY3" fmla="*/ 1667329 h 2394857"/>
                <a:gd name="connsiteX4" fmla="*/ 667659 w 1314677"/>
                <a:gd name="connsiteY4" fmla="*/ 2394857 h 2394857"/>
                <a:gd name="connsiteX5" fmla="*/ 653142 w 1314677"/>
                <a:gd name="connsiteY5" fmla="*/ 2394857 h 2394857"/>
                <a:gd name="connsiteX6" fmla="*/ 0 w 1314677"/>
                <a:gd name="connsiteY6" fmla="*/ 1660969 h 2394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4677" h="2394857">
                  <a:moveTo>
                    <a:pt x="0" y="0"/>
                  </a:moveTo>
                  <a:lnTo>
                    <a:pt x="1314677" y="0"/>
                  </a:lnTo>
                  <a:lnTo>
                    <a:pt x="1314677" y="1676887"/>
                  </a:lnTo>
                  <a:lnTo>
                    <a:pt x="1306287" y="1667329"/>
                  </a:lnTo>
                  <a:lnTo>
                    <a:pt x="667659" y="2394857"/>
                  </a:lnTo>
                  <a:lnTo>
                    <a:pt x="653142" y="2394857"/>
                  </a:lnTo>
                  <a:lnTo>
                    <a:pt x="0" y="1660969"/>
                  </a:lnTo>
                  <a:close/>
                </a:path>
              </a:pathLst>
            </a:custGeom>
            <a:ln>
              <a:noFill/>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grpSp>
      <p:sp>
        <p:nvSpPr>
          <p:cNvPr id="14" name="标题 1"/>
          <p:cNvSpPr>
            <a:spLocks noGrp="1"/>
          </p:cNvSpPr>
          <p:nvPr>
            <p:ph type="title"/>
          </p:nvPr>
        </p:nvSpPr>
        <p:spPr>
          <a:xfrm>
            <a:off x="1137925" y="205921"/>
            <a:ext cx="10401280" cy="695186"/>
          </a:xfrm>
        </p:spPr>
        <p:txBody>
          <a:bodyPr/>
          <a:lstStyle/>
          <a:p>
            <a:r>
              <a:rPr lang="zh-CN" altLang="en-US" sz="3200" b="0" dirty="0" smtClean="0">
                <a:latin typeface="Arial"/>
                <a:ea typeface="Microsoft YaHei"/>
                <a:cs typeface="+mn-ea"/>
                <a:sym typeface="Arial"/>
              </a:rPr>
              <a:t>适配器模式</a:t>
            </a:r>
            <a:endParaRPr lang="zh-CN" altLang="en-US" sz="3200" b="0" dirty="0">
              <a:latin typeface="Arial"/>
              <a:ea typeface="Microsoft YaHei"/>
              <a:cs typeface="+mn-ea"/>
              <a:sym typeface="Arial"/>
            </a:endParaRPr>
          </a:p>
        </p:txBody>
      </p:sp>
      <p:grpSp>
        <p:nvGrpSpPr>
          <p:cNvPr id="15" name="组合 14">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16" name="椭圆 15">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17" name="椭圆 16">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
        <p:nvSpPr>
          <p:cNvPr id="21" name="î$ḷîḓê">
            <a:extLst>
              <a:ext uri="{FF2B5EF4-FFF2-40B4-BE49-F238E27FC236}">
                <a16:creationId xmlns:a16="http://schemas.microsoft.com/office/drawing/2014/main" id="{0120662D-08EC-45F4-BE9C-84021ADB4C9A}"/>
              </a:ext>
            </a:extLst>
          </p:cNvPr>
          <p:cNvSpPr/>
          <p:nvPr/>
        </p:nvSpPr>
        <p:spPr bwMode="gray">
          <a:xfrm>
            <a:off x="7211000" y="198392"/>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创建型模式</a:t>
            </a:r>
            <a:endParaRPr lang="en-US" altLang="zh-CN" sz="2400" dirty="0">
              <a:solidFill>
                <a:schemeClr val="bg1"/>
              </a:solidFill>
            </a:endParaRPr>
          </a:p>
        </p:txBody>
      </p:sp>
      <p:sp>
        <p:nvSpPr>
          <p:cNvPr id="22" name="î$ḷîḓê">
            <a:extLst>
              <a:ext uri="{FF2B5EF4-FFF2-40B4-BE49-F238E27FC236}">
                <a16:creationId xmlns:a16="http://schemas.microsoft.com/office/drawing/2014/main" id="{0120662D-08EC-45F4-BE9C-84021ADB4C9A}"/>
              </a:ext>
            </a:extLst>
          </p:cNvPr>
          <p:cNvSpPr/>
          <p:nvPr/>
        </p:nvSpPr>
        <p:spPr bwMode="gray">
          <a:xfrm>
            <a:off x="8749874" y="199746"/>
            <a:ext cx="1506790" cy="480145"/>
          </a:xfrm>
          <a:prstGeom prst="rect">
            <a:avLst/>
          </a:prstGeom>
          <a:solidFill>
            <a:schemeClr val="accent1"/>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结构型模式</a:t>
            </a:r>
            <a:endParaRPr lang="en-US" altLang="zh-CN" sz="2400" dirty="0">
              <a:solidFill>
                <a:schemeClr val="bg1"/>
              </a:solidFill>
            </a:endParaRPr>
          </a:p>
        </p:txBody>
      </p:sp>
      <p:sp>
        <p:nvSpPr>
          <p:cNvPr id="23" name="î$ḷîḓê">
            <a:extLst>
              <a:ext uri="{FF2B5EF4-FFF2-40B4-BE49-F238E27FC236}">
                <a16:creationId xmlns:a16="http://schemas.microsoft.com/office/drawing/2014/main" id="{0120662D-08EC-45F4-BE9C-84021ADB4C9A}"/>
              </a:ext>
            </a:extLst>
          </p:cNvPr>
          <p:cNvSpPr/>
          <p:nvPr/>
        </p:nvSpPr>
        <p:spPr bwMode="gray">
          <a:xfrm>
            <a:off x="10282004" y="189695"/>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行为型模式</a:t>
            </a:r>
            <a:endParaRPr lang="en-US" altLang="zh-CN" sz="2400" dirty="0">
              <a:solidFill>
                <a:schemeClr val="bg1"/>
              </a:solidFill>
            </a:endParaRPr>
          </a:p>
        </p:txBody>
      </p:sp>
      <p:sp>
        <p:nvSpPr>
          <p:cNvPr id="24" name="任意多边形 23"/>
          <p:cNvSpPr/>
          <p:nvPr/>
        </p:nvSpPr>
        <p:spPr>
          <a:xfrm>
            <a:off x="6937017" y="2375928"/>
            <a:ext cx="1950583" cy="715810"/>
          </a:xfrm>
          <a:custGeom>
            <a:avLst/>
            <a:gdLst>
              <a:gd name="connsiteX0" fmla="*/ 0 w 3164115"/>
              <a:gd name="connsiteY0" fmla="*/ 0 h 1161143"/>
              <a:gd name="connsiteX1" fmla="*/ 924255 w 3164115"/>
              <a:gd name="connsiteY1" fmla="*/ 0 h 1161143"/>
              <a:gd name="connsiteX2" fmla="*/ 922792 w 3164115"/>
              <a:gd name="connsiteY2" fmla="*/ 14514 h 1161143"/>
              <a:gd name="connsiteX3" fmla="*/ 1583192 w 3164115"/>
              <a:gd name="connsiteY3" fmla="*/ 674914 h 1161143"/>
              <a:gd name="connsiteX4" fmla="*/ 2243592 w 3164115"/>
              <a:gd name="connsiteY4" fmla="*/ 14514 h 1161143"/>
              <a:gd name="connsiteX5" fmla="*/ 2242129 w 3164115"/>
              <a:gd name="connsiteY5" fmla="*/ 0 h 1161143"/>
              <a:gd name="connsiteX6" fmla="*/ 3164115 w 3164115"/>
              <a:gd name="connsiteY6" fmla="*/ 0 h 1161143"/>
              <a:gd name="connsiteX7" fmla="*/ 3164115 w 3164115"/>
              <a:gd name="connsiteY7" fmla="*/ 1161143 h 1161143"/>
              <a:gd name="connsiteX8" fmla="*/ 0 w 3164115"/>
              <a:gd name="connsiteY8" fmla="*/ 1161143 h 1161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4115" h="1161143">
                <a:moveTo>
                  <a:pt x="0" y="0"/>
                </a:moveTo>
                <a:lnTo>
                  <a:pt x="924255" y="0"/>
                </a:lnTo>
                <a:lnTo>
                  <a:pt x="922792" y="14514"/>
                </a:lnTo>
                <a:cubicBezTo>
                  <a:pt x="922792" y="379243"/>
                  <a:pt x="1218463" y="674914"/>
                  <a:pt x="1583192" y="674914"/>
                </a:cubicBezTo>
                <a:cubicBezTo>
                  <a:pt x="1947921" y="674914"/>
                  <a:pt x="2243592" y="379243"/>
                  <a:pt x="2243592" y="14514"/>
                </a:cubicBezTo>
                <a:lnTo>
                  <a:pt x="2242129" y="0"/>
                </a:lnTo>
                <a:lnTo>
                  <a:pt x="3164115" y="0"/>
                </a:lnTo>
                <a:lnTo>
                  <a:pt x="3164115" y="1161143"/>
                </a:lnTo>
                <a:lnTo>
                  <a:pt x="0" y="1161143"/>
                </a:lnTo>
                <a:close/>
              </a:path>
            </a:pathLst>
          </a:custGeom>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grpSp>
        <p:nvGrpSpPr>
          <p:cNvPr id="4" name="组合 3"/>
          <p:cNvGrpSpPr/>
          <p:nvPr/>
        </p:nvGrpSpPr>
        <p:grpSpPr>
          <a:xfrm>
            <a:off x="7497083" y="1159615"/>
            <a:ext cx="814234" cy="1273170"/>
            <a:chOff x="8887268" y="1048743"/>
            <a:chExt cx="814234" cy="1511966"/>
          </a:xfrm>
        </p:grpSpPr>
        <p:sp>
          <p:nvSpPr>
            <p:cNvPr id="25" name="任意多边形 24"/>
            <p:cNvSpPr/>
            <p:nvPr/>
          </p:nvSpPr>
          <p:spPr>
            <a:xfrm>
              <a:off x="8887268" y="1768279"/>
              <a:ext cx="814234" cy="792430"/>
            </a:xfrm>
            <a:custGeom>
              <a:avLst/>
              <a:gdLst>
                <a:gd name="connsiteX0" fmla="*/ 0 w 1320800"/>
                <a:gd name="connsiteY0" fmla="*/ 0 h 1285431"/>
                <a:gd name="connsiteX1" fmla="*/ 653142 w 1320800"/>
                <a:gd name="connsiteY1" fmla="*/ 733888 h 1285431"/>
                <a:gd name="connsiteX2" fmla="*/ 667659 w 1320800"/>
                <a:gd name="connsiteY2" fmla="*/ 733888 h 1285431"/>
                <a:gd name="connsiteX3" fmla="*/ 1306287 w 1320800"/>
                <a:gd name="connsiteY3" fmla="*/ 6360 h 1285431"/>
                <a:gd name="connsiteX4" fmla="*/ 1314677 w 1320800"/>
                <a:gd name="connsiteY4" fmla="*/ 15918 h 1285431"/>
                <a:gd name="connsiteX5" fmla="*/ 1314677 w 1320800"/>
                <a:gd name="connsiteY5" fmla="*/ 564292 h 1285431"/>
                <a:gd name="connsiteX6" fmla="*/ 1320800 w 1320800"/>
                <a:gd name="connsiteY6" fmla="*/ 625031 h 1285431"/>
                <a:gd name="connsiteX7" fmla="*/ 793494 w 1320800"/>
                <a:gd name="connsiteY7" fmla="*/ 1272014 h 1285431"/>
                <a:gd name="connsiteX8" fmla="*/ 668364 w 1320800"/>
                <a:gd name="connsiteY8" fmla="*/ 1284628 h 1285431"/>
                <a:gd name="connsiteX9" fmla="*/ 667659 w 1320800"/>
                <a:gd name="connsiteY9" fmla="*/ 1285431 h 1285431"/>
                <a:gd name="connsiteX10" fmla="*/ 660400 w 1320800"/>
                <a:gd name="connsiteY10" fmla="*/ 1285431 h 1285431"/>
                <a:gd name="connsiteX11" fmla="*/ 653142 w 1320800"/>
                <a:gd name="connsiteY11" fmla="*/ 1285431 h 1285431"/>
                <a:gd name="connsiteX12" fmla="*/ 652427 w 1320800"/>
                <a:gd name="connsiteY12" fmla="*/ 1284627 h 1285431"/>
                <a:gd name="connsiteX13" fmla="*/ 527306 w 1320800"/>
                <a:gd name="connsiteY13" fmla="*/ 1272014 h 1285431"/>
                <a:gd name="connsiteX14" fmla="*/ 0 w 1320800"/>
                <a:gd name="connsiteY14" fmla="*/ 625031 h 1285431"/>
                <a:gd name="connsiteX15" fmla="*/ 6654 w 1320800"/>
                <a:gd name="connsiteY15" fmla="*/ 559020 h 1285431"/>
                <a:gd name="connsiteX16" fmla="*/ 0 w 1320800"/>
                <a:gd name="connsiteY16" fmla="*/ 551543 h 1285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20800" h="1285431">
                  <a:moveTo>
                    <a:pt x="0" y="0"/>
                  </a:moveTo>
                  <a:lnTo>
                    <a:pt x="653142" y="733888"/>
                  </a:lnTo>
                  <a:lnTo>
                    <a:pt x="667659" y="733888"/>
                  </a:lnTo>
                  <a:lnTo>
                    <a:pt x="1306287" y="6360"/>
                  </a:lnTo>
                  <a:lnTo>
                    <a:pt x="1314677" y="15918"/>
                  </a:lnTo>
                  <a:lnTo>
                    <a:pt x="1314677" y="564292"/>
                  </a:lnTo>
                  <a:lnTo>
                    <a:pt x="1320800" y="625031"/>
                  </a:lnTo>
                  <a:cubicBezTo>
                    <a:pt x="1320800" y="944169"/>
                    <a:pt x="1094427" y="1210434"/>
                    <a:pt x="793494" y="1272014"/>
                  </a:cubicBezTo>
                  <a:lnTo>
                    <a:pt x="668364" y="1284628"/>
                  </a:lnTo>
                  <a:lnTo>
                    <a:pt x="667659" y="1285431"/>
                  </a:lnTo>
                  <a:lnTo>
                    <a:pt x="660400" y="1285431"/>
                  </a:lnTo>
                  <a:lnTo>
                    <a:pt x="653142" y="1285431"/>
                  </a:lnTo>
                  <a:lnTo>
                    <a:pt x="652427" y="1284627"/>
                  </a:lnTo>
                  <a:lnTo>
                    <a:pt x="527306" y="1272014"/>
                  </a:lnTo>
                  <a:cubicBezTo>
                    <a:pt x="226373" y="1210434"/>
                    <a:pt x="0" y="944169"/>
                    <a:pt x="0" y="625031"/>
                  </a:cubicBezTo>
                  <a:lnTo>
                    <a:pt x="6654" y="559020"/>
                  </a:lnTo>
                  <a:lnTo>
                    <a:pt x="0" y="551543"/>
                  </a:lnTo>
                  <a:close/>
                </a:path>
              </a:pathLst>
            </a:custGeom>
            <a:ln>
              <a:noFill/>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26" name="任意多边形 25"/>
            <p:cNvSpPr/>
            <p:nvPr/>
          </p:nvSpPr>
          <p:spPr>
            <a:xfrm>
              <a:off x="8887268" y="1048743"/>
              <a:ext cx="810459" cy="1476358"/>
            </a:xfrm>
            <a:custGeom>
              <a:avLst/>
              <a:gdLst>
                <a:gd name="connsiteX0" fmla="*/ 0 w 1314677"/>
                <a:gd name="connsiteY0" fmla="*/ 0 h 2394857"/>
                <a:gd name="connsiteX1" fmla="*/ 1314677 w 1314677"/>
                <a:gd name="connsiteY1" fmla="*/ 0 h 2394857"/>
                <a:gd name="connsiteX2" fmla="*/ 1314677 w 1314677"/>
                <a:gd name="connsiteY2" fmla="*/ 1676887 h 2394857"/>
                <a:gd name="connsiteX3" fmla="*/ 1306287 w 1314677"/>
                <a:gd name="connsiteY3" fmla="*/ 1667329 h 2394857"/>
                <a:gd name="connsiteX4" fmla="*/ 667659 w 1314677"/>
                <a:gd name="connsiteY4" fmla="*/ 2394857 h 2394857"/>
                <a:gd name="connsiteX5" fmla="*/ 653142 w 1314677"/>
                <a:gd name="connsiteY5" fmla="*/ 2394857 h 2394857"/>
                <a:gd name="connsiteX6" fmla="*/ 0 w 1314677"/>
                <a:gd name="connsiteY6" fmla="*/ 1660969 h 2394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4677" h="2394857">
                  <a:moveTo>
                    <a:pt x="0" y="0"/>
                  </a:moveTo>
                  <a:lnTo>
                    <a:pt x="1314677" y="0"/>
                  </a:lnTo>
                  <a:lnTo>
                    <a:pt x="1314677" y="1676887"/>
                  </a:lnTo>
                  <a:lnTo>
                    <a:pt x="1306287" y="1667329"/>
                  </a:lnTo>
                  <a:lnTo>
                    <a:pt x="667659" y="2394857"/>
                  </a:lnTo>
                  <a:lnTo>
                    <a:pt x="653142" y="2394857"/>
                  </a:lnTo>
                  <a:lnTo>
                    <a:pt x="0" y="1660969"/>
                  </a:lnTo>
                  <a:close/>
                </a:path>
              </a:pathLst>
            </a:custGeom>
            <a:ln>
              <a:noFill/>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grpSp>
      <p:sp>
        <p:nvSpPr>
          <p:cNvPr id="5" name="文本框 4"/>
          <p:cNvSpPr txBox="1"/>
          <p:nvPr/>
        </p:nvSpPr>
        <p:spPr>
          <a:xfrm>
            <a:off x="9248078" y="1391043"/>
            <a:ext cx="2272410" cy="984885"/>
          </a:xfrm>
          <a:prstGeom prst="rect">
            <a:avLst/>
          </a:prstGeom>
          <a:noFill/>
        </p:spPr>
        <p:txBody>
          <a:bodyPr wrap="square" rtlCol="0">
            <a:spAutoFit/>
          </a:bodyPr>
          <a:lstStyle/>
          <a:p>
            <a:r>
              <a:rPr lang="zh-CN" altLang="en-US" sz="4000" dirty="0" smtClean="0">
                <a:latin typeface="华文行楷" panose="02010800040101010101" pitchFamily="2" charset="-122"/>
                <a:ea typeface="华文行楷" panose="02010800040101010101" pitchFamily="2" charset="-122"/>
              </a:rPr>
              <a:t>继承</a:t>
            </a:r>
            <a:r>
              <a:rPr lang="zh-CN" altLang="en-US" dirty="0" smtClean="0"/>
              <a:t>的方式实现适配器模式</a:t>
            </a:r>
            <a:endParaRPr lang="zh-CN" altLang="en-US" dirty="0"/>
          </a:p>
        </p:txBody>
      </p:sp>
      <p:sp>
        <p:nvSpPr>
          <p:cNvPr id="27" name="文本框 26"/>
          <p:cNvSpPr txBox="1"/>
          <p:nvPr/>
        </p:nvSpPr>
        <p:spPr>
          <a:xfrm>
            <a:off x="9248078" y="4869587"/>
            <a:ext cx="2272410" cy="984885"/>
          </a:xfrm>
          <a:prstGeom prst="rect">
            <a:avLst/>
          </a:prstGeom>
          <a:noFill/>
        </p:spPr>
        <p:txBody>
          <a:bodyPr wrap="square" rtlCol="0">
            <a:spAutoFit/>
          </a:bodyPr>
          <a:lstStyle/>
          <a:p>
            <a:r>
              <a:rPr lang="zh-CN" altLang="en-US" sz="4000" dirty="0">
                <a:latin typeface="华文行楷" panose="02010800040101010101" pitchFamily="2" charset="-122"/>
                <a:ea typeface="华文行楷" panose="02010800040101010101" pitchFamily="2" charset="-122"/>
              </a:rPr>
              <a:t>组合</a:t>
            </a:r>
            <a:r>
              <a:rPr lang="zh-CN" altLang="en-US" dirty="0" smtClean="0"/>
              <a:t>的方式实现适配器模式</a:t>
            </a:r>
            <a:endParaRPr lang="zh-CN" altLang="en-US" dirty="0"/>
          </a:p>
        </p:txBody>
      </p:sp>
    </p:spTree>
    <p:extLst>
      <p:ext uri="{BB962C8B-B14F-4D97-AF65-F5344CB8AC3E}">
        <p14:creationId xmlns:p14="http://schemas.microsoft.com/office/powerpoint/2010/main" val="1372442805"/>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993952" y="2805103"/>
            <a:ext cx="9879628" cy="923330"/>
          </a:xfrm>
          <a:prstGeom prst="rect">
            <a:avLst/>
          </a:prstGeom>
          <a:noFill/>
        </p:spPr>
        <p:txBody>
          <a:bodyPr wrap="none" lIns="91440" tIns="45720" rIns="91440" bIns="45720">
            <a:spAutoFit/>
          </a:bodyPr>
          <a:lstStyle/>
          <a:p>
            <a:pPr algn="ctr"/>
            <a:r>
              <a:rPr lang="zh-CN" altLang="en-US" sz="5400" b="0" cap="none" spc="0" dirty="0" smtClean="0">
                <a:ln w="0"/>
                <a:solidFill>
                  <a:schemeClr val="accent1"/>
                </a:solidFill>
                <a:effectLst>
                  <a:outerShdw blurRad="38100" dist="25400" dir="5400000" algn="ctr" rotWithShape="0">
                    <a:srgbClr val="6E747A">
                      <a:alpha val="43000"/>
                    </a:srgbClr>
                  </a:outerShdw>
                </a:effectLst>
              </a:rPr>
              <a:t>如何选择使用哪种适配器模式？</a:t>
            </a:r>
            <a:endParaRPr lang="zh-CN" altLang="en-US" sz="5400" b="0" cap="none" spc="0" dirty="0">
              <a:ln w="0"/>
              <a:solidFill>
                <a:schemeClr val="accent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3814003181"/>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195023"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569645" y="1563329"/>
            <a:ext cx="11078028" cy="4452612"/>
            <a:chOff x="1661025" y="2200593"/>
            <a:chExt cx="9859463" cy="3962832"/>
          </a:xfrm>
        </p:grpSpPr>
        <p:grpSp>
          <p:nvGrpSpPr>
            <p:cNvPr id="5" name="ïṣḻiḍe">
              <a:extLst>
                <a:ext uri="{FF2B5EF4-FFF2-40B4-BE49-F238E27FC236}">
                  <a16:creationId xmlns:a16="http://schemas.microsoft.com/office/drawing/2014/main" id="{69AB6F1C-9557-45B9-9FE3-B8E23F72B134}"/>
                </a:ext>
              </a:extLst>
            </p:cNvPr>
            <p:cNvGrpSpPr/>
            <p:nvPr/>
          </p:nvGrpSpPr>
          <p:grpSpPr>
            <a:xfrm>
              <a:off x="3105150" y="2200593"/>
              <a:ext cx="1428600" cy="1428600"/>
              <a:chOff x="1866000" y="4678425"/>
              <a:chExt cx="1485000" cy="1485000"/>
            </a:xfrm>
          </p:grpSpPr>
          <p:sp>
            <p:nvSpPr>
              <p:cNvPr id="20" name="îSḻíďè">
                <a:extLst>
                  <a:ext uri="{FF2B5EF4-FFF2-40B4-BE49-F238E27FC236}">
                    <a16:creationId xmlns:a16="http://schemas.microsoft.com/office/drawing/2014/main" id="{E44A461A-FD3C-4F51-8F11-78A482510E2D}"/>
                  </a:ext>
                </a:extLst>
              </p:cNvPr>
              <p:cNvSpPr/>
              <p:nvPr/>
            </p:nvSpPr>
            <p:spPr bwMode="auto">
              <a:xfrm>
                <a:off x="1866000" y="4678425"/>
                <a:ext cx="1485000" cy="1485000"/>
              </a:xfrm>
              <a:prstGeom prst="ellipse">
                <a:avLst/>
              </a:prstGeom>
              <a:gradFill>
                <a:gsLst>
                  <a:gs pos="0">
                    <a:schemeClr val="accent3"/>
                  </a:gs>
                  <a:gs pos="100000">
                    <a:schemeClr val="lt1">
                      <a:lumMod val="95000"/>
                    </a:schemeClr>
                  </a:gs>
                  <a:gs pos="47000">
                    <a:schemeClr val="accent3"/>
                  </a:gs>
                  <a:gs pos="49000">
                    <a:schemeClr val="lt1">
                      <a:lumMod val="95000"/>
                    </a:schemeClr>
                  </a:gs>
                </a:gsLst>
                <a:lin ang="16200000" scaled="0"/>
              </a:gradFill>
              <a:ln w="38100">
                <a:noFill/>
              </a:ln>
              <a:extLst/>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dirty="0">
                  <a:solidFill>
                    <a:schemeClr val="dk1"/>
                  </a:solidFill>
                </a:endParaRPr>
              </a:p>
            </p:txBody>
          </p:sp>
          <p:sp>
            <p:nvSpPr>
              <p:cNvPr id="21" name="išľîḍe">
                <a:extLst>
                  <a:ext uri="{FF2B5EF4-FFF2-40B4-BE49-F238E27FC236}">
                    <a16:creationId xmlns:a16="http://schemas.microsoft.com/office/drawing/2014/main" id="{8BFFE4A3-9ED5-4025-9989-311EBB1330DD}"/>
                  </a:ext>
                </a:extLst>
              </p:cNvPr>
              <p:cNvSpPr txBox="1"/>
              <p:nvPr/>
            </p:nvSpPr>
            <p:spPr bwMode="auto">
              <a:xfrm>
                <a:off x="1866000" y="4914462"/>
                <a:ext cx="1485000" cy="427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normAutofit/>
              </a:bodyPr>
              <a:lstStyle>
                <a:defPPr>
                  <a:defRPr lang="zh-CN"/>
                </a:defPPr>
                <a:lvl1pPr>
                  <a:lnSpc>
                    <a:spcPct val="100000"/>
                  </a:lnSpc>
                  <a:spcBef>
                    <a:spcPct val="0"/>
                  </a:spcBef>
                  <a:buFontTx/>
                  <a:buNone/>
                  <a:defRPr b="1">
                    <a:solidFill>
                      <a:schemeClr val="accent2"/>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r>
                  <a:rPr lang="zh-CN" altLang="en-US" dirty="0" smtClean="0">
                    <a:solidFill>
                      <a:srgbClr val="007BC0"/>
                    </a:solidFill>
                  </a:rPr>
                  <a:t>类的适配器模式</a:t>
                </a:r>
                <a:endParaRPr lang="en-US" altLang="zh-CN" dirty="0">
                  <a:solidFill>
                    <a:srgbClr val="007BC0"/>
                  </a:solidFill>
                </a:endParaRPr>
              </a:p>
            </p:txBody>
          </p:sp>
        </p:grpSp>
        <p:grpSp>
          <p:nvGrpSpPr>
            <p:cNvPr id="6" name="íşlïďé">
              <a:extLst>
                <a:ext uri="{FF2B5EF4-FFF2-40B4-BE49-F238E27FC236}">
                  <a16:creationId xmlns:a16="http://schemas.microsoft.com/office/drawing/2014/main" id="{F4CF6C93-47E7-467D-B45A-60FA785AA469}"/>
                </a:ext>
              </a:extLst>
            </p:cNvPr>
            <p:cNvGrpSpPr/>
            <p:nvPr/>
          </p:nvGrpSpPr>
          <p:grpSpPr>
            <a:xfrm>
              <a:off x="2438250" y="3299475"/>
              <a:ext cx="1494000" cy="1494000"/>
              <a:chOff x="1866000" y="4678425"/>
              <a:chExt cx="1485000" cy="1485000"/>
            </a:xfrm>
          </p:grpSpPr>
          <p:sp>
            <p:nvSpPr>
              <p:cNvPr id="18" name="iṥḷïdé">
                <a:extLst>
                  <a:ext uri="{FF2B5EF4-FFF2-40B4-BE49-F238E27FC236}">
                    <a16:creationId xmlns:a16="http://schemas.microsoft.com/office/drawing/2014/main" id="{56FD801A-1FBB-4499-A24E-2853EBA3FF2F}"/>
                  </a:ext>
                </a:extLst>
              </p:cNvPr>
              <p:cNvSpPr/>
              <p:nvPr/>
            </p:nvSpPr>
            <p:spPr bwMode="auto">
              <a:xfrm>
                <a:off x="1866000" y="4678425"/>
                <a:ext cx="1485000" cy="1485000"/>
              </a:xfrm>
              <a:prstGeom prst="ellipse">
                <a:avLst/>
              </a:prstGeom>
              <a:gradFill>
                <a:gsLst>
                  <a:gs pos="0">
                    <a:schemeClr val="accent3"/>
                  </a:gs>
                  <a:gs pos="100000">
                    <a:schemeClr val="lt1">
                      <a:lumMod val="95000"/>
                    </a:schemeClr>
                  </a:gs>
                  <a:gs pos="37000">
                    <a:schemeClr val="accent3"/>
                  </a:gs>
                  <a:gs pos="37000">
                    <a:schemeClr val="lt1">
                      <a:lumMod val="95000"/>
                    </a:schemeClr>
                  </a:gs>
                </a:gsLst>
                <a:lin ang="16200000" scaled="0"/>
              </a:gradFill>
              <a:ln w="38100">
                <a:noFill/>
              </a:ln>
              <a:extLst/>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dirty="0">
                  <a:solidFill>
                    <a:schemeClr val="dk1"/>
                  </a:solidFill>
                </a:endParaRPr>
              </a:p>
            </p:txBody>
          </p:sp>
          <p:sp>
            <p:nvSpPr>
              <p:cNvPr id="19" name="íSlîḑé">
                <a:extLst>
                  <a:ext uri="{FF2B5EF4-FFF2-40B4-BE49-F238E27FC236}">
                    <a16:creationId xmlns:a16="http://schemas.microsoft.com/office/drawing/2014/main" id="{5D755108-ABF4-439C-ABE0-FE96C7640602}"/>
                  </a:ext>
                </a:extLst>
              </p:cNvPr>
              <p:cNvSpPr txBox="1"/>
              <p:nvPr/>
            </p:nvSpPr>
            <p:spPr bwMode="auto">
              <a:xfrm>
                <a:off x="1866000" y="4998490"/>
                <a:ext cx="1485000" cy="427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normAutofit/>
              </a:bodyPr>
              <a:lstStyle>
                <a:defPPr>
                  <a:defRPr lang="zh-CN"/>
                </a:defPPr>
                <a:lvl1pPr>
                  <a:lnSpc>
                    <a:spcPct val="100000"/>
                  </a:lnSpc>
                  <a:spcBef>
                    <a:spcPct val="0"/>
                  </a:spcBef>
                  <a:buFontTx/>
                  <a:buNone/>
                  <a:defRPr b="1">
                    <a:solidFill>
                      <a:schemeClr val="accent2"/>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r>
                  <a:rPr lang="zh-CN" altLang="en-US" dirty="0" smtClean="0">
                    <a:solidFill>
                      <a:srgbClr val="007BC0"/>
                    </a:solidFill>
                  </a:rPr>
                  <a:t>对象的适配器模式</a:t>
                </a:r>
                <a:endParaRPr lang="en-US" altLang="zh-CN" dirty="0">
                  <a:solidFill>
                    <a:srgbClr val="007BC0"/>
                  </a:solidFill>
                </a:endParaRPr>
              </a:p>
            </p:txBody>
          </p:sp>
        </p:grpSp>
        <p:sp>
          <p:nvSpPr>
            <p:cNvPr id="7" name="iṩļíḋè">
              <a:extLst>
                <a:ext uri="{FF2B5EF4-FFF2-40B4-BE49-F238E27FC236}">
                  <a16:creationId xmlns:a16="http://schemas.microsoft.com/office/drawing/2014/main" id="{960A6535-8BD9-45D0-AD33-A7FC64F79D68}"/>
                </a:ext>
              </a:extLst>
            </p:cNvPr>
            <p:cNvSpPr/>
            <p:nvPr/>
          </p:nvSpPr>
          <p:spPr>
            <a:xfrm>
              <a:off x="7401000" y="5236200"/>
              <a:ext cx="4119488" cy="734625"/>
            </a:xfrm>
            <a:prstGeom prst="snip2SameRect">
              <a:avLst>
                <a:gd name="adj1" fmla="val 0"/>
                <a:gd name="adj2" fmla="val 0"/>
              </a:avLst>
            </a:prstGeom>
            <a:ln>
              <a:noFill/>
            </a:ln>
          </p:spPr>
          <p:txBody>
            <a:bodyPr wrap="square" lIns="91440" tIns="45720" rIns="91440" bIns="45720" anchor="t">
              <a:noAutofit/>
            </a:bodyPr>
            <a:lstStyle/>
            <a:p>
              <a:pPr marL="171450" indent="-171450">
                <a:lnSpc>
                  <a:spcPct val="150000"/>
                </a:lnSpc>
                <a:spcBef>
                  <a:spcPct val="0"/>
                </a:spcBef>
                <a:buFont typeface="Arial" panose="020B0604020202020204" pitchFamily="34" charset="0"/>
                <a:buChar char="•"/>
              </a:pPr>
              <a:r>
                <a:rPr lang="zh-CN" altLang="en-US" sz="1600" dirty="0" smtClean="0"/>
                <a:t>不希望实现一个接口中所有的方法</a:t>
              </a:r>
              <a:endParaRPr lang="en-US" altLang="zh-CN" sz="1600" dirty="0"/>
            </a:p>
          </p:txBody>
        </p:sp>
        <p:sp>
          <p:nvSpPr>
            <p:cNvPr id="8" name="i$ľíḑé">
              <a:extLst>
                <a:ext uri="{FF2B5EF4-FFF2-40B4-BE49-F238E27FC236}">
                  <a16:creationId xmlns:a16="http://schemas.microsoft.com/office/drawing/2014/main" id="{5926211F-D64E-4977-BECA-29241713CFB8}"/>
                </a:ext>
              </a:extLst>
            </p:cNvPr>
            <p:cNvSpPr/>
            <p:nvPr/>
          </p:nvSpPr>
          <p:spPr>
            <a:xfrm>
              <a:off x="7401000" y="3943800"/>
              <a:ext cx="4119488" cy="734625"/>
            </a:xfrm>
            <a:prstGeom prst="snip2SameRect">
              <a:avLst>
                <a:gd name="adj1" fmla="val 0"/>
                <a:gd name="adj2" fmla="val 0"/>
              </a:avLst>
            </a:prstGeom>
            <a:ln>
              <a:noFill/>
            </a:ln>
          </p:spPr>
          <p:txBody>
            <a:bodyPr wrap="square" lIns="91440" tIns="45720" rIns="91440" bIns="45720" anchor="t">
              <a:noAutofit/>
            </a:bodyPr>
            <a:lstStyle/>
            <a:p>
              <a:pPr marL="171450" indent="-171450">
                <a:lnSpc>
                  <a:spcPct val="150000"/>
                </a:lnSpc>
                <a:spcBef>
                  <a:spcPct val="0"/>
                </a:spcBef>
                <a:buFont typeface="Arial" panose="020B0604020202020204" pitchFamily="34" charset="0"/>
                <a:buChar char="•"/>
              </a:pPr>
              <a:r>
                <a:rPr lang="zh-CN" altLang="en-US" sz="1600" dirty="0" smtClean="0"/>
                <a:t>将一个对象转换成满足另一个新接口的对象</a:t>
              </a:r>
              <a:endParaRPr lang="en-US" altLang="zh-CN" sz="1600" dirty="0"/>
            </a:p>
          </p:txBody>
        </p:sp>
        <p:cxnSp>
          <p:nvCxnSpPr>
            <p:cNvPr id="10" name="直接连接符 9">
              <a:extLst>
                <a:ext uri="{FF2B5EF4-FFF2-40B4-BE49-F238E27FC236}">
                  <a16:creationId xmlns:a16="http://schemas.microsoft.com/office/drawing/2014/main" id="{AE8800C4-15AD-4460-82C0-64CB3331BA82}"/>
                </a:ext>
              </a:extLst>
            </p:cNvPr>
            <p:cNvCxnSpPr>
              <a:cxnSpLocks/>
            </p:cNvCxnSpPr>
            <p:nvPr/>
          </p:nvCxnSpPr>
          <p:spPr>
            <a:xfrm flipH="1">
              <a:off x="3351000" y="5558700"/>
              <a:ext cx="4050000" cy="0"/>
            </a:xfrm>
            <a:prstGeom prst="line">
              <a:avLst/>
            </a:prstGeom>
            <a:ln w="38100" cap="rnd">
              <a:solidFill>
                <a:srgbClr val="FFC000"/>
              </a:solidFill>
              <a:round/>
              <a:headEnd type="oval"/>
              <a:tailEnd type="none" w="med" len="med"/>
            </a:ln>
          </p:spPr>
          <p:style>
            <a:lnRef idx="1">
              <a:schemeClr val="accent1"/>
            </a:lnRef>
            <a:fillRef idx="0">
              <a:schemeClr val="accent1"/>
            </a:fillRef>
            <a:effectRef idx="0">
              <a:schemeClr val="accent1"/>
            </a:effectRef>
            <a:fontRef idx="minor">
              <a:schemeClr val="tx1"/>
            </a:fontRef>
          </p:style>
        </p:cxnSp>
        <p:grpSp>
          <p:nvGrpSpPr>
            <p:cNvPr id="11" name="îŝlïḍe">
              <a:extLst>
                <a:ext uri="{FF2B5EF4-FFF2-40B4-BE49-F238E27FC236}">
                  <a16:creationId xmlns:a16="http://schemas.microsoft.com/office/drawing/2014/main" id="{C4957B7A-CE08-4F2A-A21E-5EF03896D67A}"/>
                </a:ext>
              </a:extLst>
            </p:cNvPr>
            <p:cNvGrpSpPr/>
            <p:nvPr/>
          </p:nvGrpSpPr>
          <p:grpSpPr>
            <a:xfrm>
              <a:off x="1661025" y="4453425"/>
              <a:ext cx="1710000" cy="1710000"/>
              <a:chOff x="1866000" y="4678425"/>
              <a:chExt cx="1485000" cy="1485000"/>
            </a:xfrm>
          </p:grpSpPr>
          <p:sp>
            <p:nvSpPr>
              <p:cNvPr id="16" name="îşḻíḋé">
                <a:extLst>
                  <a:ext uri="{FF2B5EF4-FFF2-40B4-BE49-F238E27FC236}">
                    <a16:creationId xmlns:a16="http://schemas.microsoft.com/office/drawing/2014/main" id="{2F354354-E991-47D5-930C-3C3103FE4FCE}"/>
                  </a:ext>
                </a:extLst>
              </p:cNvPr>
              <p:cNvSpPr/>
              <p:nvPr/>
            </p:nvSpPr>
            <p:spPr bwMode="auto">
              <a:xfrm>
                <a:off x="1866000" y="4678425"/>
                <a:ext cx="1485000" cy="1485000"/>
              </a:xfrm>
              <a:prstGeom prst="ellipse">
                <a:avLst/>
              </a:prstGeom>
              <a:gradFill>
                <a:gsLst>
                  <a:gs pos="0">
                    <a:schemeClr val="accent3"/>
                  </a:gs>
                  <a:gs pos="100000">
                    <a:schemeClr val="lt1">
                      <a:lumMod val="95000"/>
                    </a:schemeClr>
                  </a:gs>
                  <a:gs pos="35000">
                    <a:schemeClr val="accent3"/>
                  </a:gs>
                  <a:gs pos="35000">
                    <a:schemeClr val="lt1">
                      <a:lumMod val="95000"/>
                    </a:schemeClr>
                  </a:gs>
                </a:gsLst>
                <a:lin ang="16200000" scaled="0"/>
              </a:gradFill>
              <a:ln w="38100">
                <a:noFill/>
              </a:ln>
              <a:extLst/>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dirty="0">
                  <a:solidFill>
                    <a:schemeClr val="dk1"/>
                  </a:solidFill>
                </a:endParaRPr>
              </a:p>
            </p:txBody>
          </p:sp>
          <p:sp>
            <p:nvSpPr>
              <p:cNvPr id="17" name="ï$ļiḓè">
                <a:extLst>
                  <a:ext uri="{FF2B5EF4-FFF2-40B4-BE49-F238E27FC236}">
                    <a16:creationId xmlns:a16="http://schemas.microsoft.com/office/drawing/2014/main" id="{3C13F116-A454-447A-B897-D6BD87185AF4}"/>
                  </a:ext>
                </a:extLst>
              </p:cNvPr>
              <p:cNvSpPr txBox="1"/>
              <p:nvPr/>
            </p:nvSpPr>
            <p:spPr bwMode="auto">
              <a:xfrm>
                <a:off x="1866000" y="5018084"/>
                <a:ext cx="1485000" cy="427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normAutofit/>
              </a:bodyPr>
              <a:lstStyle>
                <a:defPPr>
                  <a:defRPr lang="zh-CN"/>
                </a:defPPr>
                <a:lvl1pPr>
                  <a:lnSpc>
                    <a:spcPct val="100000"/>
                  </a:lnSpc>
                  <a:spcBef>
                    <a:spcPct val="0"/>
                  </a:spcBef>
                  <a:buFontTx/>
                  <a:buNone/>
                  <a:defRPr b="1">
                    <a:solidFill>
                      <a:schemeClr val="accent2"/>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r>
                  <a:rPr lang="zh-CN" altLang="en-US" dirty="0" smtClean="0">
                    <a:solidFill>
                      <a:srgbClr val="007BC0"/>
                    </a:solidFill>
                  </a:rPr>
                  <a:t>接口的适配器模式</a:t>
                </a:r>
                <a:endParaRPr lang="en-US" altLang="zh-CN" dirty="0">
                  <a:solidFill>
                    <a:srgbClr val="007BC0"/>
                  </a:solidFill>
                </a:endParaRPr>
              </a:p>
            </p:txBody>
          </p:sp>
        </p:grpSp>
        <p:cxnSp>
          <p:nvCxnSpPr>
            <p:cNvPr id="12" name="直接连接符 11">
              <a:extLst>
                <a:ext uri="{FF2B5EF4-FFF2-40B4-BE49-F238E27FC236}">
                  <a16:creationId xmlns:a16="http://schemas.microsoft.com/office/drawing/2014/main" id="{A12EC3C1-B8BA-4411-AB4C-77D570D4BBFD}"/>
                </a:ext>
              </a:extLst>
            </p:cNvPr>
            <p:cNvCxnSpPr>
              <a:cxnSpLocks/>
            </p:cNvCxnSpPr>
            <p:nvPr/>
          </p:nvCxnSpPr>
          <p:spPr>
            <a:xfrm flipH="1" flipV="1">
              <a:off x="3936000" y="4253775"/>
              <a:ext cx="3445875" cy="3900"/>
            </a:xfrm>
            <a:prstGeom prst="line">
              <a:avLst/>
            </a:prstGeom>
            <a:ln w="38100" cap="rnd">
              <a:solidFill>
                <a:srgbClr val="FFC000"/>
              </a:solidFill>
              <a:round/>
              <a:headEnd type="oval"/>
              <a:tailEnd type="none" w="med" len="med"/>
            </a:ln>
          </p:spPr>
          <p:style>
            <a:lnRef idx="1">
              <a:schemeClr val="accent1"/>
            </a:lnRef>
            <a:fillRef idx="0">
              <a:schemeClr val="accent1"/>
            </a:fillRef>
            <a:effectRef idx="0">
              <a:schemeClr val="accent1"/>
            </a:effectRef>
            <a:fontRef idx="minor">
              <a:schemeClr val="tx1"/>
            </a:fontRef>
          </p:style>
        </p:cxnSp>
        <p:cxnSp>
          <p:nvCxnSpPr>
            <p:cNvPr id="13" name="直接连接符 12">
              <a:extLst>
                <a:ext uri="{FF2B5EF4-FFF2-40B4-BE49-F238E27FC236}">
                  <a16:creationId xmlns:a16="http://schemas.microsoft.com/office/drawing/2014/main" id="{3D6D411F-C85C-4A6D-87CB-AB00B2BBE298}"/>
                </a:ext>
              </a:extLst>
            </p:cNvPr>
            <p:cNvCxnSpPr>
              <a:cxnSpLocks/>
            </p:cNvCxnSpPr>
            <p:nvPr/>
          </p:nvCxnSpPr>
          <p:spPr>
            <a:xfrm flipH="1" flipV="1">
              <a:off x="4533751" y="2938688"/>
              <a:ext cx="2838599" cy="4537"/>
            </a:xfrm>
            <a:prstGeom prst="line">
              <a:avLst/>
            </a:prstGeom>
            <a:ln w="38100" cap="rnd">
              <a:solidFill>
                <a:srgbClr val="FFC000"/>
              </a:solidFill>
              <a:round/>
              <a:headEnd type="oval"/>
              <a:tailEnd type="none" w="med" len="med"/>
            </a:ln>
          </p:spPr>
          <p:style>
            <a:lnRef idx="1">
              <a:schemeClr val="accent1"/>
            </a:lnRef>
            <a:fillRef idx="0">
              <a:schemeClr val="accent1"/>
            </a:fillRef>
            <a:effectRef idx="0">
              <a:schemeClr val="accent1"/>
            </a:effectRef>
            <a:fontRef idx="minor">
              <a:schemeClr val="tx1"/>
            </a:fontRef>
          </p:style>
        </p:cxnSp>
        <p:sp>
          <p:nvSpPr>
            <p:cNvPr id="14" name="isľíḋé">
              <a:extLst>
                <a:ext uri="{FF2B5EF4-FFF2-40B4-BE49-F238E27FC236}">
                  <a16:creationId xmlns:a16="http://schemas.microsoft.com/office/drawing/2014/main" id="{9DCE3D97-741D-4060-ADCC-8883A8A70412}"/>
                </a:ext>
              </a:extLst>
            </p:cNvPr>
            <p:cNvSpPr/>
            <p:nvPr/>
          </p:nvSpPr>
          <p:spPr>
            <a:xfrm>
              <a:off x="7401000" y="2651400"/>
              <a:ext cx="4119488" cy="734625"/>
            </a:xfrm>
            <a:prstGeom prst="snip2SameRect">
              <a:avLst>
                <a:gd name="adj1" fmla="val 0"/>
                <a:gd name="adj2" fmla="val 0"/>
              </a:avLst>
            </a:prstGeom>
            <a:ln>
              <a:noFill/>
            </a:ln>
          </p:spPr>
          <p:txBody>
            <a:bodyPr wrap="square" lIns="91440" tIns="45720" rIns="91440" bIns="45720" anchor="t">
              <a:noAutofit/>
            </a:bodyPr>
            <a:lstStyle/>
            <a:p>
              <a:pPr marL="171450" indent="-171450">
                <a:lnSpc>
                  <a:spcPct val="150000"/>
                </a:lnSpc>
                <a:spcBef>
                  <a:spcPct val="0"/>
                </a:spcBef>
                <a:buFont typeface="Arial" panose="020B0604020202020204" pitchFamily="34" charset="0"/>
                <a:buChar char="•"/>
              </a:pPr>
              <a:r>
                <a:rPr lang="zh-CN" altLang="en-US" sz="1600" dirty="0" smtClean="0"/>
                <a:t>将一个类转换成满足另一个新接口的类</a:t>
              </a:r>
              <a:r>
                <a:rPr lang="en-US" altLang="zh-CN" sz="1600" dirty="0" smtClean="0"/>
                <a:t>.</a:t>
              </a:r>
              <a:endParaRPr lang="en-US" altLang="zh-CN" sz="1600" dirty="0"/>
            </a:p>
          </p:txBody>
        </p:sp>
      </p:grpSp>
      <p:sp>
        <p:nvSpPr>
          <p:cNvPr id="22" name="标题 1"/>
          <p:cNvSpPr>
            <a:spLocks noGrp="1"/>
          </p:cNvSpPr>
          <p:nvPr>
            <p:ph type="title"/>
          </p:nvPr>
        </p:nvSpPr>
        <p:spPr>
          <a:xfrm>
            <a:off x="1137925" y="205921"/>
            <a:ext cx="10401280" cy="695186"/>
          </a:xfrm>
        </p:spPr>
        <p:txBody>
          <a:bodyPr/>
          <a:lstStyle/>
          <a:p>
            <a:r>
              <a:rPr lang="zh-CN" altLang="en-US" sz="3200" b="0" dirty="0" smtClean="0">
                <a:latin typeface="Arial"/>
                <a:ea typeface="Microsoft YaHei"/>
                <a:cs typeface="+mn-ea"/>
                <a:sym typeface="Arial"/>
              </a:rPr>
              <a:t>适配器模式的选择</a:t>
            </a:r>
            <a:endParaRPr lang="zh-CN" altLang="en-US" sz="3200" b="0" dirty="0">
              <a:latin typeface="Arial"/>
              <a:ea typeface="Microsoft YaHei"/>
              <a:cs typeface="+mn-ea"/>
              <a:sym typeface="Arial"/>
            </a:endParaRPr>
          </a:p>
        </p:txBody>
      </p:sp>
      <p:grpSp>
        <p:nvGrpSpPr>
          <p:cNvPr id="23" name="组合 22">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24" name="椭圆 23">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25" name="椭圆 24">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
        <p:nvSpPr>
          <p:cNvPr id="29" name="î$ḷîḓê">
            <a:extLst>
              <a:ext uri="{FF2B5EF4-FFF2-40B4-BE49-F238E27FC236}">
                <a16:creationId xmlns:a16="http://schemas.microsoft.com/office/drawing/2014/main" id="{0120662D-08EC-45F4-BE9C-84021ADB4C9A}"/>
              </a:ext>
            </a:extLst>
          </p:cNvPr>
          <p:cNvSpPr/>
          <p:nvPr/>
        </p:nvSpPr>
        <p:spPr bwMode="gray">
          <a:xfrm>
            <a:off x="7211000" y="198392"/>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创建型模式</a:t>
            </a:r>
            <a:endParaRPr lang="en-US" altLang="zh-CN" sz="2400" dirty="0">
              <a:solidFill>
                <a:schemeClr val="bg1"/>
              </a:solidFill>
            </a:endParaRPr>
          </a:p>
        </p:txBody>
      </p:sp>
      <p:sp>
        <p:nvSpPr>
          <p:cNvPr id="30" name="î$ḷîḓê">
            <a:extLst>
              <a:ext uri="{FF2B5EF4-FFF2-40B4-BE49-F238E27FC236}">
                <a16:creationId xmlns:a16="http://schemas.microsoft.com/office/drawing/2014/main" id="{0120662D-08EC-45F4-BE9C-84021ADB4C9A}"/>
              </a:ext>
            </a:extLst>
          </p:cNvPr>
          <p:cNvSpPr/>
          <p:nvPr/>
        </p:nvSpPr>
        <p:spPr bwMode="gray">
          <a:xfrm>
            <a:off x="8749874" y="199746"/>
            <a:ext cx="1506790" cy="480145"/>
          </a:xfrm>
          <a:prstGeom prst="rect">
            <a:avLst/>
          </a:prstGeom>
          <a:solidFill>
            <a:schemeClr val="accent1"/>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结构型模式</a:t>
            </a:r>
            <a:endParaRPr lang="en-US" altLang="zh-CN" sz="2400" dirty="0">
              <a:solidFill>
                <a:schemeClr val="bg1"/>
              </a:solidFill>
            </a:endParaRPr>
          </a:p>
        </p:txBody>
      </p:sp>
      <p:sp>
        <p:nvSpPr>
          <p:cNvPr id="31" name="î$ḷîḓê">
            <a:extLst>
              <a:ext uri="{FF2B5EF4-FFF2-40B4-BE49-F238E27FC236}">
                <a16:creationId xmlns:a16="http://schemas.microsoft.com/office/drawing/2014/main" id="{0120662D-08EC-45F4-BE9C-84021ADB4C9A}"/>
              </a:ext>
            </a:extLst>
          </p:cNvPr>
          <p:cNvSpPr/>
          <p:nvPr/>
        </p:nvSpPr>
        <p:spPr bwMode="gray">
          <a:xfrm>
            <a:off x="10282004" y="189695"/>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行为型模式</a:t>
            </a:r>
            <a:endParaRPr lang="en-US" altLang="zh-CN" sz="2400" dirty="0">
              <a:solidFill>
                <a:schemeClr val="bg1"/>
              </a:solidFill>
            </a:endParaRPr>
          </a:p>
        </p:txBody>
      </p:sp>
    </p:spTree>
    <p:extLst>
      <p:ext uri="{BB962C8B-B14F-4D97-AF65-F5344CB8AC3E}">
        <p14:creationId xmlns:p14="http://schemas.microsoft.com/office/powerpoint/2010/main" val="1866287337"/>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标题 1"/>
          <p:cNvSpPr>
            <a:spLocks noGrp="1"/>
          </p:cNvSpPr>
          <p:nvPr>
            <p:ph type="title"/>
          </p:nvPr>
        </p:nvSpPr>
        <p:spPr>
          <a:xfrm>
            <a:off x="1137925" y="205921"/>
            <a:ext cx="10401280" cy="695186"/>
          </a:xfrm>
        </p:spPr>
        <p:txBody>
          <a:bodyPr/>
          <a:lstStyle/>
          <a:p>
            <a:r>
              <a:rPr lang="zh-CN" altLang="en-US" sz="3200" b="0" dirty="0" smtClean="0">
                <a:latin typeface="Arial"/>
                <a:ea typeface="Microsoft YaHei"/>
                <a:cs typeface="+mn-ea"/>
                <a:sym typeface="Arial"/>
              </a:rPr>
              <a:t>代理模式</a:t>
            </a:r>
            <a:endParaRPr lang="zh-CN" altLang="en-US" sz="3200" b="0" dirty="0">
              <a:latin typeface="Arial"/>
              <a:ea typeface="Microsoft YaHei"/>
              <a:cs typeface="+mn-ea"/>
              <a:sym typeface="Arial"/>
            </a:endParaRPr>
          </a:p>
        </p:txBody>
      </p:sp>
      <p:grpSp>
        <p:nvGrpSpPr>
          <p:cNvPr id="23" name="组合 22">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24" name="椭圆 23">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25" name="椭圆 24">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
        <p:nvSpPr>
          <p:cNvPr id="29" name="î$ḷîḓê">
            <a:extLst>
              <a:ext uri="{FF2B5EF4-FFF2-40B4-BE49-F238E27FC236}">
                <a16:creationId xmlns:a16="http://schemas.microsoft.com/office/drawing/2014/main" id="{0120662D-08EC-45F4-BE9C-84021ADB4C9A}"/>
              </a:ext>
            </a:extLst>
          </p:cNvPr>
          <p:cNvSpPr/>
          <p:nvPr/>
        </p:nvSpPr>
        <p:spPr bwMode="gray">
          <a:xfrm>
            <a:off x="7211000" y="198392"/>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创建型模式</a:t>
            </a:r>
            <a:endParaRPr lang="en-US" altLang="zh-CN" sz="2400" dirty="0">
              <a:solidFill>
                <a:schemeClr val="bg1"/>
              </a:solidFill>
            </a:endParaRPr>
          </a:p>
        </p:txBody>
      </p:sp>
      <p:sp>
        <p:nvSpPr>
          <p:cNvPr id="30" name="î$ḷîḓê">
            <a:extLst>
              <a:ext uri="{FF2B5EF4-FFF2-40B4-BE49-F238E27FC236}">
                <a16:creationId xmlns:a16="http://schemas.microsoft.com/office/drawing/2014/main" id="{0120662D-08EC-45F4-BE9C-84021ADB4C9A}"/>
              </a:ext>
            </a:extLst>
          </p:cNvPr>
          <p:cNvSpPr/>
          <p:nvPr/>
        </p:nvSpPr>
        <p:spPr bwMode="gray">
          <a:xfrm>
            <a:off x="8749874" y="199746"/>
            <a:ext cx="1506790" cy="480145"/>
          </a:xfrm>
          <a:prstGeom prst="rect">
            <a:avLst/>
          </a:prstGeom>
          <a:solidFill>
            <a:schemeClr val="accent1"/>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结构型模式</a:t>
            </a:r>
            <a:endParaRPr lang="en-US" altLang="zh-CN" sz="2400" dirty="0">
              <a:solidFill>
                <a:schemeClr val="bg1"/>
              </a:solidFill>
            </a:endParaRPr>
          </a:p>
        </p:txBody>
      </p:sp>
      <p:sp>
        <p:nvSpPr>
          <p:cNvPr id="31" name="î$ḷîḓê">
            <a:extLst>
              <a:ext uri="{FF2B5EF4-FFF2-40B4-BE49-F238E27FC236}">
                <a16:creationId xmlns:a16="http://schemas.microsoft.com/office/drawing/2014/main" id="{0120662D-08EC-45F4-BE9C-84021ADB4C9A}"/>
              </a:ext>
            </a:extLst>
          </p:cNvPr>
          <p:cNvSpPr/>
          <p:nvPr/>
        </p:nvSpPr>
        <p:spPr bwMode="gray">
          <a:xfrm>
            <a:off x="10282004" y="189695"/>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行为型模式</a:t>
            </a:r>
            <a:endParaRPr lang="en-US" altLang="zh-CN" sz="2400" dirty="0">
              <a:solidFill>
                <a:schemeClr val="bg1"/>
              </a:solidFill>
            </a:endParaRPr>
          </a:p>
        </p:txBody>
      </p:sp>
      <p:pic>
        <p:nvPicPr>
          <p:cNvPr id="5122" name="Picture 2" descr="âç½ç»ä»£çâçå¾çæç´¢ç»æ"/>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06880" y="1230551"/>
            <a:ext cx="8888549" cy="5052308"/>
          </a:xfrm>
          <a:prstGeom prst="rect">
            <a:avLst/>
          </a:prstGeom>
          <a:noFill/>
          <a:extLst>
            <a:ext uri="{909E8E84-426E-40DD-AFC4-6F175D3DCCD1}">
              <a14:hiddenFill xmlns:a14="http://schemas.microsoft.com/office/drawing/2010/main">
                <a:solidFill>
                  <a:srgbClr val="FFFFFF"/>
                </a:solidFill>
              </a14:hiddenFill>
            </a:ext>
          </a:extLst>
        </p:spPr>
      </p:pic>
      <p:sp>
        <p:nvSpPr>
          <p:cNvPr id="2" name="文本框 1"/>
          <p:cNvSpPr txBox="1"/>
          <p:nvPr/>
        </p:nvSpPr>
        <p:spPr>
          <a:xfrm>
            <a:off x="968216" y="1828800"/>
            <a:ext cx="738664" cy="3886200"/>
          </a:xfrm>
          <a:prstGeom prst="rect">
            <a:avLst/>
          </a:prstGeom>
          <a:noFill/>
        </p:spPr>
        <p:txBody>
          <a:bodyPr vert="eaVert" wrap="square" rtlCol="0">
            <a:spAutoFit/>
          </a:bodyPr>
          <a:lstStyle/>
          <a:p>
            <a:r>
              <a:rPr lang="zh-CN" altLang="en-US" sz="3600" dirty="0" smtClean="0">
                <a:solidFill>
                  <a:schemeClr val="accent1"/>
                </a:solidFill>
              </a:rPr>
              <a:t>网络中的代理</a:t>
            </a:r>
            <a:endParaRPr lang="zh-CN" altLang="en-US" sz="3600" dirty="0">
              <a:solidFill>
                <a:schemeClr val="accent1"/>
              </a:solidFill>
            </a:endParaRPr>
          </a:p>
        </p:txBody>
      </p:sp>
      <p:sp>
        <p:nvSpPr>
          <p:cNvPr id="3" name="矩形 2"/>
          <p:cNvSpPr/>
          <p:nvPr/>
        </p:nvSpPr>
        <p:spPr>
          <a:xfrm>
            <a:off x="1866900" y="5841216"/>
            <a:ext cx="1005840" cy="4416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t>客户端</a:t>
            </a:r>
            <a:endParaRPr lang="zh-CN" altLang="en-US" dirty="0"/>
          </a:p>
        </p:txBody>
      </p:sp>
      <p:sp>
        <p:nvSpPr>
          <p:cNvPr id="4" name="矩形 3"/>
          <p:cNvSpPr/>
          <p:nvPr/>
        </p:nvSpPr>
        <p:spPr>
          <a:xfrm>
            <a:off x="5501640" y="5841216"/>
            <a:ext cx="1455420" cy="4416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t>代理服务器</a:t>
            </a:r>
            <a:endParaRPr lang="zh-CN" altLang="en-US" dirty="0"/>
          </a:p>
        </p:txBody>
      </p:sp>
      <p:sp>
        <p:nvSpPr>
          <p:cNvPr id="5" name="矩形 4"/>
          <p:cNvSpPr/>
          <p:nvPr/>
        </p:nvSpPr>
        <p:spPr>
          <a:xfrm>
            <a:off x="9395460" y="2522220"/>
            <a:ext cx="1394460" cy="4191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t>远端服务器</a:t>
            </a:r>
            <a:endParaRPr lang="zh-CN" altLang="en-US" dirty="0"/>
          </a:p>
        </p:txBody>
      </p:sp>
      <p:sp>
        <p:nvSpPr>
          <p:cNvPr id="6" name="矩形 5"/>
          <p:cNvSpPr/>
          <p:nvPr/>
        </p:nvSpPr>
        <p:spPr>
          <a:xfrm>
            <a:off x="5715000" y="1645920"/>
            <a:ext cx="1112520" cy="25908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rgbClr val="007BC0"/>
                </a:solidFill>
              </a:rPr>
              <a:t>代理进程</a:t>
            </a:r>
            <a:endParaRPr lang="zh-CN" altLang="en-US" dirty="0">
              <a:solidFill>
                <a:srgbClr val="007BC0"/>
              </a:solidFill>
            </a:endParaRPr>
          </a:p>
        </p:txBody>
      </p:sp>
      <p:sp>
        <p:nvSpPr>
          <p:cNvPr id="7" name="矩形 6"/>
          <p:cNvSpPr/>
          <p:nvPr/>
        </p:nvSpPr>
        <p:spPr>
          <a:xfrm>
            <a:off x="5654040" y="5326380"/>
            <a:ext cx="1097280" cy="28956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rgbClr val="007BC0"/>
                </a:solidFill>
              </a:rPr>
              <a:t>数据缓存</a:t>
            </a:r>
            <a:endParaRPr lang="zh-CN" altLang="en-US" dirty="0">
              <a:solidFill>
                <a:srgbClr val="007BC0"/>
              </a:solidFill>
            </a:endParaRPr>
          </a:p>
        </p:txBody>
      </p:sp>
      <p:grpSp>
        <p:nvGrpSpPr>
          <p:cNvPr id="26" name="组合 25"/>
          <p:cNvGrpSpPr/>
          <p:nvPr/>
        </p:nvGrpSpPr>
        <p:grpSpPr>
          <a:xfrm>
            <a:off x="2624402" y="901107"/>
            <a:ext cx="7445830" cy="5507508"/>
            <a:chOff x="2624402" y="901107"/>
            <a:chExt cx="7445830" cy="5507508"/>
          </a:xfrm>
        </p:grpSpPr>
        <p:sp>
          <p:nvSpPr>
            <p:cNvPr id="9" name="圆角矩形 8"/>
            <p:cNvSpPr/>
            <p:nvPr/>
          </p:nvSpPr>
          <p:spPr>
            <a:xfrm>
              <a:off x="2624402" y="4103078"/>
              <a:ext cx="961292" cy="547077"/>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p:cNvSpPr/>
            <p:nvPr/>
          </p:nvSpPr>
          <p:spPr>
            <a:xfrm>
              <a:off x="8882868" y="4306277"/>
              <a:ext cx="1187364" cy="140872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1" name="组合 20"/>
            <p:cNvGrpSpPr/>
            <p:nvPr/>
          </p:nvGrpSpPr>
          <p:grpSpPr>
            <a:xfrm>
              <a:off x="3016739" y="901107"/>
              <a:ext cx="6314829" cy="5507508"/>
              <a:chOff x="3016739" y="901107"/>
              <a:chExt cx="6314829" cy="5507508"/>
            </a:xfrm>
          </p:grpSpPr>
          <p:sp>
            <p:nvSpPr>
              <p:cNvPr id="8" name="矩形 7"/>
              <p:cNvSpPr/>
              <p:nvPr/>
            </p:nvSpPr>
            <p:spPr>
              <a:xfrm>
                <a:off x="3016739" y="901107"/>
                <a:ext cx="6314829" cy="550750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5" name="直接箭头连接符 14"/>
              <p:cNvCxnSpPr/>
              <p:nvPr/>
            </p:nvCxnSpPr>
            <p:spPr>
              <a:xfrm flipV="1">
                <a:off x="3016740" y="1961662"/>
                <a:ext cx="6283568" cy="2563446"/>
              </a:xfrm>
              <a:prstGeom prst="straightConnector1">
                <a:avLst/>
              </a:prstGeom>
              <a:ln w="63500" cap="flat">
                <a:solidFill>
                  <a:srgbClr val="C00000"/>
                </a:solidFill>
                <a:prstDash val="solid"/>
                <a:round/>
                <a:tailEnd type="triangle"/>
              </a:ln>
              <a:effectLst>
                <a:outerShdw blurRad="40000" dist="23000" dir="5400000" rotWithShape="0">
                  <a:srgbClr val="000000">
                    <a:alpha val="35000"/>
                  </a:srgbClr>
                </a:outerShdw>
                <a:softEdge rad="0"/>
              </a:effectLst>
            </p:spPr>
            <p:style>
              <a:lnRef idx="3">
                <a:schemeClr val="accent1"/>
              </a:lnRef>
              <a:fillRef idx="0">
                <a:schemeClr val="accent1"/>
              </a:fillRef>
              <a:effectRef idx="2">
                <a:schemeClr val="accent1"/>
              </a:effectRef>
              <a:fontRef idx="minor">
                <a:schemeClr val="tx1"/>
              </a:fontRef>
            </p:style>
          </p:cxnSp>
          <p:cxnSp>
            <p:nvCxnSpPr>
              <p:cNvPr id="17" name="直接箭头连接符 16"/>
              <p:cNvCxnSpPr/>
              <p:nvPr/>
            </p:nvCxnSpPr>
            <p:spPr>
              <a:xfrm flipH="1">
                <a:off x="3119512" y="2312988"/>
                <a:ext cx="6212056" cy="2495247"/>
              </a:xfrm>
              <a:prstGeom prst="straightConnector1">
                <a:avLst/>
              </a:prstGeom>
              <a:ln w="63500" cap="flat">
                <a:solidFill>
                  <a:schemeClr val="accent1"/>
                </a:solidFill>
                <a:prstDash val="sysDash"/>
                <a:round/>
                <a:tailEnd type="triangle"/>
              </a:ln>
              <a:effectLst>
                <a:outerShdw blurRad="40000" dist="23000" dir="5400000" rotWithShape="0">
                  <a:srgbClr val="000000">
                    <a:alpha val="35000"/>
                  </a:srgbClr>
                </a:outerShdw>
                <a:softEdge rad="0"/>
              </a:effectLst>
            </p:spPr>
            <p:style>
              <a:lnRef idx="3">
                <a:schemeClr val="accent1"/>
              </a:lnRef>
              <a:fillRef idx="0">
                <a:schemeClr val="accent1"/>
              </a:fillRef>
              <a:effectRef idx="2">
                <a:schemeClr val="accent1"/>
              </a:effectRef>
              <a:fontRef idx="minor">
                <a:schemeClr val="tx1"/>
              </a:fontRef>
            </p:style>
          </p:cxnSp>
          <p:sp>
            <p:nvSpPr>
              <p:cNvPr id="19" name="文本框 18"/>
              <p:cNvSpPr txBox="1"/>
              <p:nvPr/>
            </p:nvSpPr>
            <p:spPr>
              <a:xfrm rot="20223089">
                <a:off x="5455139" y="2802770"/>
                <a:ext cx="1183445" cy="369332"/>
              </a:xfrm>
              <a:prstGeom prst="rect">
                <a:avLst/>
              </a:prstGeom>
              <a:noFill/>
            </p:spPr>
            <p:txBody>
              <a:bodyPr wrap="square" rtlCol="0">
                <a:spAutoFit/>
              </a:bodyPr>
              <a:lstStyle/>
              <a:p>
                <a:r>
                  <a:rPr lang="zh-CN" altLang="en-US" dirty="0" smtClean="0"/>
                  <a:t>请求</a:t>
                </a:r>
                <a:endParaRPr lang="zh-CN" altLang="en-US" dirty="0"/>
              </a:p>
            </p:txBody>
          </p:sp>
          <p:sp>
            <p:nvSpPr>
              <p:cNvPr id="28" name="文本框 27"/>
              <p:cNvSpPr txBox="1"/>
              <p:nvPr/>
            </p:nvSpPr>
            <p:spPr>
              <a:xfrm rot="20223089">
                <a:off x="5866673" y="3601434"/>
                <a:ext cx="1183445" cy="369332"/>
              </a:xfrm>
              <a:prstGeom prst="rect">
                <a:avLst/>
              </a:prstGeom>
              <a:noFill/>
            </p:spPr>
            <p:txBody>
              <a:bodyPr wrap="square" rtlCol="0">
                <a:spAutoFit/>
              </a:bodyPr>
              <a:lstStyle/>
              <a:p>
                <a:r>
                  <a:rPr lang="zh-CN" altLang="en-US" dirty="0"/>
                  <a:t>响应</a:t>
                </a:r>
              </a:p>
            </p:txBody>
          </p:sp>
        </p:grpSp>
      </p:grpSp>
      <p:sp>
        <p:nvSpPr>
          <p:cNvPr id="20" name="文本框 19"/>
          <p:cNvSpPr txBox="1"/>
          <p:nvPr/>
        </p:nvSpPr>
        <p:spPr>
          <a:xfrm>
            <a:off x="6889294" y="3826174"/>
            <a:ext cx="2936754" cy="1384995"/>
          </a:xfrm>
          <a:prstGeom prst="rect">
            <a:avLst/>
          </a:prstGeom>
          <a:noFill/>
        </p:spPr>
        <p:txBody>
          <a:bodyPr wrap="square" rtlCol="0">
            <a:spAutoFit/>
          </a:bodyPr>
          <a:lstStyle/>
          <a:p>
            <a:r>
              <a:rPr lang="zh-CN" altLang="en-US" sz="2800" dirty="0" smtClean="0"/>
              <a:t>如果远端服务器做了处理，防止频繁请求怎么办？</a:t>
            </a:r>
            <a:endParaRPr lang="zh-CN" altLang="en-US" sz="2800" dirty="0"/>
          </a:p>
        </p:txBody>
      </p:sp>
    </p:spTree>
    <p:extLst>
      <p:ext uri="{BB962C8B-B14F-4D97-AF65-F5344CB8AC3E}">
        <p14:creationId xmlns:p14="http://schemas.microsoft.com/office/powerpoint/2010/main" val="28265799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20"/>
                                        </p:tgtEl>
                                        <p:attrNameLst>
                                          <p:attrName>style.visibility</p:attrName>
                                        </p:attrNameLst>
                                      </p:cBhvr>
                                      <p:to>
                                        <p:strVal val="hidden"/>
                                      </p:to>
                                    </p:set>
                                  </p:childTnLst>
                                </p:cTn>
                              </p:par>
                              <p:par>
                                <p:cTn id="11" presetID="1" presetClass="exit" presetSubtype="0" fill="hold" nodeType="withEffect">
                                  <p:stCondLst>
                                    <p:cond delay="0"/>
                                  </p:stCondLst>
                                  <p:childTnLst>
                                    <p:set>
                                      <p:cBhvr>
                                        <p:cTn id="12" dur="1" fill="hold">
                                          <p:stCondLst>
                                            <p:cond delay="0"/>
                                          </p:stCondLst>
                                        </p:cTn>
                                        <p:tgtEl>
                                          <p:spTgt spid="2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0" grpId="1"/>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标题 1"/>
          <p:cNvSpPr>
            <a:spLocks noGrp="1"/>
          </p:cNvSpPr>
          <p:nvPr>
            <p:ph type="title"/>
          </p:nvPr>
        </p:nvSpPr>
        <p:spPr>
          <a:xfrm>
            <a:off x="1137925" y="205921"/>
            <a:ext cx="10401280" cy="695186"/>
          </a:xfrm>
        </p:spPr>
        <p:txBody>
          <a:bodyPr/>
          <a:lstStyle/>
          <a:p>
            <a:r>
              <a:rPr lang="zh-CN" altLang="en-US" sz="3200" b="0" dirty="0" smtClean="0">
                <a:latin typeface="Arial"/>
                <a:ea typeface="Microsoft YaHei"/>
                <a:cs typeface="+mn-ea"/>
                <a:sym typeface="Arial"/>
              </a:rPr>
              <a:t>代理模式</a:t>
            </a:r>
            <a:endParaRPr lang="zh-CN" altLang="en-US" sz="3200" b="0" dirty="0">
              <a:latin typeface="Arial"/>
              <a:ea typeface="Microsoft YaHei"/>
              <a:cs typeface="+mn-ea"/>
              <a:sym typeface="Arial"/>
            </a:endParaRPr>
          </a:p>
        </p:txBody>
      </p:sp>
      <p:grpSp>
        <p:nvGrpSpPr>
          <p:cNvPr id="23" name="组合 22">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24" name="椭圆 23">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25" name="椭圆 24">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
        <p:nvSpPr>
          <p:cNvPr id="29" name="î$ḷîḓê">
            <a:extLst>
              <a:ext uri="{FF2B5EF4-FFF2-40B4-BE49-F238E27FC236}">
                <a16:creationId xmlns:a16="http://schemas.microsoft.com/office/drawing/2014/main" id="{0120662D-08EC-45F4-BE9C-84021ADB4C9A}"/>
              </a:ext>
            </a:extLst>
          </p:cNvPr>
          <p:cNvSpPr/>
          <p:nvPr/>
        </p:nvSpPr>
        <p:spPr bwMode="gray">
          <a:xfrm>
            <a:off x="7211000" y="198392"/>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创建型模式</a:t>
            </a:r>
            <a:endParaRPr lang="en-US" altLang="zh-CN" sz="2400" dirty="0">
              <a:solidFill>
                <a:schemeClr val="bg1"/>
              </a:solidFill>
            </a:endParaRPr>
          </a:p>
        </p:txBody>
      </p:sp>
      <p:sp>
        <p:nvSpPr>
          <p:cNvPr id="30" name="î$ḷîḓê">
            <a:extLst>
              <a:ext uri="{FF2B5EF4-FFF2-40B4-BE49-F238E27FC236}">
                <a16:creationId xmlns:a16="http://schemas.microsoft.com/office/drawing/2014/main" id="{0120662D-08EC-45F4-BE9C-84021ADB4C9A}"/>
              </a:ext>
            </a:extLst>
          </p:cNvPr>
          <p:cNvSpPr/>
          <p:nvPr/>
        </p:nvSpPr>
        <p:spPr bwMode="gray">
          <a:xfrm>
            <a:off x="8749874" y="199746"/>
            <a:ext cx="1506790" cy="480145"/>
          </a:xfrm>
          <a:prstGeom prst="rect">
            <a:avLst/>
          </a:prstGeom>
          <a:solidFill>
            <a:schemeClr val="accent1"/>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结构型模式</a:t>
            </a:r>
            <a:endParaRPr lang="en-US" altLang="zh-CN" sz="2400" dirty="0">
              <a:solidFill>
                <a:schemeClr val="bg1"/>
              </a:solidFill>
            </a:endParaRPr>
          </a:p>
        </p:txBody>
      </p:sp>
      <p:sp>
        <p:nvSpPr>
          <p:cNvPr id="31" name="î$ḷîḓê">
            <a:extLst>
              <a:ext uri="{FF2B5EF4-FFF2-40B4-BE49-F238E27FC236}">
                <a16:creationId xmlns:a16="http://schemas.microsoft.com/office/drawing/2014/main" id="{0120662D-08EC-45F4-BE9C-84021ADB4C9A}"/>
              </a:ext>
            </a:extLst>
          </p:cNvPr>
          <p:cNvSpPr/>
          <p:nvPr/>
        </p:nvSpPr>
        <p:spPr bwMode="gray">
          <a:xfrm>
            <a:off x="10282004" y="189695"/>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行为型模式</a:t>
            </a:r>
            <a:endParaRPr lang="en-US" altLang="zh-CN" sz="2400" dirty="0">
              <a:solidFill>
                <a:schemeClr val="bg1"/>
              </a:solidFill>
            </a:endParaRPr>
          </a:p>
        </p:txBody>
      </p:sp>
      <p:grpSp>
        <p:nvGrpSpPr>
          <p:cNvPr id="5" name="组合 4"/>
          <p:cNvGrpSpPr/>
          <p:nvPr/>
        </p:nvGrpSpPr>
        <p:grpSpPr>
          <a:xfrm>
            <a:off x="3279794" y="1130300"/>
            <a:ext cx="8509000" cy="5280185"/>
            <a:chOff x="2425700" y="1206499"/>
            <a:chExt cx="8509000" cy="5280185"/>
          </a:xfrm>
        </p:grpSpPr>
        <p:pic>
          <p:nvPicPr>
            <p:cNvPr id="9218" name="Picture 2" descr="../_images/Proxy.jpg"/>
            <p:cNvPicPr>
              <a:picLocks noChangeAspect="1" noChangeArrowheads="1"/>
            </p:cNvPicPr>
            <p:nvPr/>
          </p:nvPicPr>
          <p:blipFill rotWithShape="1">
            <a:blip r:embed="rId3">
              <a:extLst>
                <a:ext uri="{28A0092B-C50C-407E-A947-70E740481C1C}">
                  <a14:useLocalDpi xmlns:a14="http://schemas.microsoft.com/office/drawing/2010/main" val="0"/>
                </a:ext>
              </a:extLst>
            </a:blip>
            <a:srcRect l="744" t="1483" r="1384" b="1343"/>
            <a:stretch/>
          </p:blipFill>
          <p:spPr bwMode="auto">
            <a:xfrm>
              <a:off x="2425700" y="1206499"/>
              <a:ext cx="7569200" cy="4991101"/>
            </a:xfrm>
            <a:prstGeom prst="rect">
              <a:avLst/>
            </a:prstGeom>
            <a:noFill/>
            <a:extLst>
              <a:ext uri="{909E8E84-426E-40DD-AFC4-6F175D3DCCD1}">
                <a14:hiddenFill xmlns:a14="http://schemas.microsoft.com/office/drawing/2010/main">
                  <a:solidFill>
                    <a:srgbClr val="FFFFFF"/>
                  </a:solidFill>
                </a14:hiddenFill>
              </a:ext>
            </a:extLst>
          </p:spPr>
        </p:pic>
        <p:sp>
          <p:nvSpPr>
            <p:cNvPr id="3" name="圆角矩形 2"/>
            <p:cNvSpPr/>
            <p:nvPr/>
          </p:nvSpPr>
          <p:spPr>
            <a:xfrm>
              <a:off x="7010400" y="3505200"/>
              <a:ext cx="1422400" cy="673100"/>
            </a:xfrm>
            <a:prstGeom prst="round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3"/>
            <p:cNvSpPr/>
            <p:nvPr/>
          </p:nvSpPr>
          <p:spPr>
            <a:xfrm>
              <a:off x="7468039" y="5040134"/>
              <a:ext cx="3466661" cy="1446550"/>
            </a:xfrm>
            <a:prstGeom prst="rect">
              <a:avLst/>
            </a:prstGeom>
            <a:noFill/>
          </p:spPr>
          <p:txBody>
            <a:bodyPr wrap="square" lIns="91440" tIns="45720" rIns="91440" bIns="45720">
              <a:spAutoFit/>
            </a:bodyPr>
            <a:lstStyle/>
            <a:p>
              <a:pPr algn="ctr"/>
              <a:r>
                <a:rPr lang="zh-CN" altLang="en-US" sz="4000" b="0" cap="none" spc="0" dirty="0" smtClean="0">
                  <a:ln w="0"/>
                  <a:solidFill>
                    <a:srgbClr val="FF0000"/>
                  </a:solidFill>
                  <a:effectLst>
                    <a:outerShdw blurRad="38100" dist="25400" dir="5400000" algn="ctr" rotWithShape="0">
                      <a:srgbClr val="6E747A">
                        <a:alpha val="43000"/>
                      </a:srgbClr>
                    </a:outerShdw>
                  </a:effectLst>
                  <a:latin typeface="华文行楷" panose="02010800040101010101" pitchFamily="2" charset="-122"/>
                  <a:ea typeface="华文行楷" panose="02010800040101010101" pitchFamily="2" charset="-122"/>
                </a:rPr>
                <a:t>关联</a:t>
              </a:r>
              <a:r>
                <a:rPr lang="zh-CN" altLang="en-US" sz="2400" b="0" cap="none" spc="0" dirty="0" smtClean="0">
                  <a:ln w="0"/>
                  <a:solidFill>
                    <a:schemeClr val="accent1"/>
                  </a:solidFill>
                  <a:effectLst>
                    <a:outerShdw blurRad="38100" dist="25400" dir="5400000" algn="ctr" rotWithShape="0">
                      <a:srgbClr val="6E747A">
                        <a:alpha val="43000"/>
                      </a:srgbClr>
                    </a:outerShdw>
                  </a:effectLst>
                </a:rPr>
                <a:t>关系，代理才需要了解实现的方方面面、以及添加额外服务。</a:t>
              </a:r>
              <a:endParaRPr lang="zh-CN" altLang="en-US" sz="2400" b="0" cap="none" spc="0" dirty="0">
                <a:ln w="0"/>
                <a:solidFill>
                  <a:schemeClr val="accent1"/>
                </a:solidFill>
                <a:effectLst>
                  <a:outerShdw blurRad="38100" dist="25400" dir="5400000" algn="ctr" rotWithShape="0">
                    <a:srgbClr val="6E747A">
                      <a:alpha val="43000"/>
                    </a:srgbClr>
                  </a:outerShdw>
                </a:effectLst>
              </a:endParaRPr>
            </a:p>
          </p:txBody>
        </p:sp>
        <p:cxnSp>
          <p:nvCxnSpPr>
            <p:cNvPr id="6" name="直接箭头连接符 5"/>
            <p:cNvCxnSpPr>
              <a:stCxn id="3" idx="2"/>
            </p:cNvCxnSpPr>
            <p:nvPr/>
          </p:nvCxnSpPr>
          <p:spPr>
            <a:xfrm>
              <a:off x="7721600" y="4178300"/>
              <a:ext cx="1320800" cy="863600"/>
            </a:xfrm>
            <a:prstGeom prst="straightConnector1">
              <a:avLst/>
            </a:prstGeom>
            <a:ln w="6350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
        <p:nvSpPr>
          <p:cNvPr id="2" name="矩形 1"/>
          <p:cNvSpPr/>
          <p:nvPr/>
        </p:nvSpPr>
        <p:spPr>
          <a:xfrm>
            <a:off x="466725" y="2225577"/>
            <a:ext cx="2745398" cy="2308324"/>
          </a:xfrm>
          <a:prstGeom prst="rect">
            <a:avLst/>
          </a:prstGeom>
        </p:spPr>
        <p:txBody>
          <a:bodyPr wrap="square">
            <a:spAutoFit/>
          </a:bodyPr>
          <a:lstStyle/>
          <a:p>
            <a:r>
              <a:rPr lang="zh-CN" altLang="en-US" dirty="0" smtClean="0"/>
              <a:t>适配器所</a:t>
            </a:r>
            <a:r>
              <a:rPr lang="zh-CN" altLang="en-US" dirty="0"/>
              <a:t>要解决的问题是适配，它的目的在于接口的转换。</a:t>
            </a:r>
            <a:endParaRPr lang="en-US" altLang="zh-CN" dirty="0"/>
          </a:p>
          <a:p>
            <a:endParaRPr lang="en-US" altLang="zh-CN" dirty="0"/>
          </a:p>
          <a:p>
            <a:r>
              <a:rPr lang="zh-CN" altLang="en-US" dirty="0" smtClean="0"/>
              <a:t>而</a:t>
            </a:r>
            <a:r>
              <a:rPr lang="zh-CN" altLang="en-US" dirty="0"/>
              <a:t>代理</a:t>
            </a:r>
            <a:r>
              <a:rPr lang="zh-CN" altLang="en-US" dirty="0" smtClean="0"/>
              <a:t>恰恰相反</a:t>
            </a:r>
            <a:r>
              <a:rPr lang="zh-CN" altLang="en-US" dirty="0"/>
              <a:t>，它的目的在于保持接口不变，而改变接口定义的方法的行为。</a:t>
            </a:r>
          </a:p>
        </p:txBody>
      </p:sp>
    </p:spTree>
    <p:extLst>
      <p:ext uri="{BB962C8B-B14F-4D97-AF65-F5344CB8AC3E}">
        <p14:creationId xmlns:p14="http://schemas.microsoft.com/office/powerpoint/2010/main" val="3553392286"/>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标题 1"/>
          <p:cNvSpPr>
            <a:spLocks noGrp="1"/>
          </p:cNvSpPr>
          <p:nvPr>
            <p:ph type="title"/>
          </p:nvPr>
        </p:nvSpPr>
        <p:spPr>
          <a:xfrm>
            <a:off x="1137925" y="205921"/>
            <a:ext cx="10401280" cy="695186"/>
          </a:xfrm>
        </p:spPr>
        <p:txBody>
          <a:bodyPr/>
          <a:lstStyle/>
          <a:p>
            <a:r>
              <a:rPr lang="zh-CN" altLang="en-US" sz="3200" b="0" dirty="0">
                <a:latin typeface="Arial"/>
                <a:ea typeface="Microsoft YaHei"/>
                <a:cs typeface="+mn-ea"/>
                <a:sym typeface="Arial"/>
              </a:rPr>
              <a:t>装饰</a:t>
            </a:r>
            <a:r>
              <a:rPr lang="zh-CN" altLang="en-US" sz="3200" b="0" dirty="0" smtClean="0">
                <a:latin typeface="Arial"/>
                <a:ea typeface="Microsoft YaHei"/>
                <a:cs typeface="+mn-ea"/>
                <a:sym typeface="Arial"/>
              </a:rPr>
              <a:t>器模式</a:t>
            </a:r>
            <a:endParaRPr lang="zh-CN" altLang="en-US" sz="3200" b="0" dirty="0">
              <a:latin typeface="Arial"/>
              <a:ea typeface="Microsoft YaHei"/>
              <a:cs typeface="+mn-ea"/>
              <a:sym typeface="Arial"/>
            </a:endParaRPr>
          </a:p>
        </p:txBody>
      </p:sp>
      <p:grpSp>
        <p:nvGrpSpPr>
          <p:cNvPr id="23" name="组合 22">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24" name="椭圆 23">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25" name="椭圆 24">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
        <p:nvSpPr>
          <p:cNvPr id="29" name="î$ḷîḓê">
            <a:extLst>
              <a:ext uri="{FF2B5EF4-FFF2-40B4-BE49-F238E27FC236}">
                <a16:creationId xmlns:a16="http://schemas.microsoft.com/office/drawing/2014/main" id="{0120662D-08EC-45F4-BE9C-84021ADB4C9A}"/>
              </a:ext>
            </a:extLst>
          </p:cNvPr>
          <p:cNvSpPr/>
          <p:nvPr/>
        </p:nvSpPr>
        <p:spPr bwMode="gray">
          <a:xfrm>
            <a:off x="7211000" y="198392"/>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创建型模式</a:t>
            </a:r>
            <a:endParaRPr lang="en-US" altLang="zh-CN" sz="2400" dirty="0">
              <a:solidFill>
                <a:schemeClr val="bg1"/>
              </a:solidFill>
            </a:endParaRPr>
          </a:p>
        </p:txBody>
      </p:sp>
      <p:sp>
        <p:nvSpPr>
          <p:cNvPr id="30" name="î$ḷîḓê">
            <a:extLst>
              <a:ext uri="{FF2B5EF4-FFF2-40B4-BE49-F238E27FC236}">
                <a16:creationId xmlns:a16="http://schemas.microsoft.com/office/drawing/2014/main" id="{0120662D-08EC-45F4-BE9C-84021ADB4C9A}"/>
              </a:ext>
            </a:extLst>
          </p:cNvPr>
          <p:cNvSpPr/>
          <p:nvPr/>
        </p:nvSpPr>
        <p:spPr bwMode="gray">
          <a:xfrm>
            <a:off x="8749874" y="199746"/>
            <a:ext cx="1506790" cy="480145"/>
          </a:xfrm>
          <a:prstGeom prst="rect">
            <a:avLst/>
          </a:prstGeom>
          <a:solidFill>
            <a:schemeClr val="accent1"/>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结构型模式</a:t>
            </a:r>
            <a:endParaRPr lang="en-US" altLang="zh-CN" sz="2400" dirty="0">
              <a:solidFill>
                <a:schemeClr val="bg1"/>
              </a:solidFill>
            </a:endParaRPr>
          </a:p>
        </p:txBody>
      </p:sp>
      <p:sp>
        <p:nvSpPr>
          <p:cNvPr id="31" name="î$ḷîḓê">
            <a:extLst>
              <a:ext uri="{FF2B5EF4-FFF2-40B4-BE49-F238E27FC236}">
                <a16:creationId xmlns:a16="http://schemas.microsoft.com/office/drawing/2014/main" id="{0120662D-08EC-45F4-BE9C-84021ADB4C9A}"/>
              </a:ext>
            </a:extLst>
          </p:cNvPr>
          <p:cNvSpPr/>
          <p:nvPr/>
        </p:nvSpPr>
        <p:spPr bwMode="gray">
          <a:xfrm>
            <a:off x="10282004" y="189695"/>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行为型模式</a:t>
            </a:r>
            <a:endParaRPr lang="en-US" altLang="zh-CN" sz="2400" dirty="0">
              <a:solidFill>
                <a:schemeClr val="bg1"/>
              </a:solidFill>
            </a:endParaRPr>
          </a:p>
        </p:txBody>
      </p:sp>
      <p:sp>
        <p:nvSpPr>
          <p:cNvPr id="18" name="椭圆 17"/>
          <p:cNvSpPr/>
          <p:nvPr/>
        </p:nvSpPr>
        <p:spPr>
          <a:xfrm>
            <a:off x="2460702" y="1338146"/>
            <a:ext cx="1248937" cy="124893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矩形 18"/>
          <p:cNvSpPr/>
          <p:nvPr/>
        </p:nvSpPr>
        <p:spPr>
          <a:xfrm>
            <a:off x="2167053" y="3925229"/>
            <a:ext cx="1836234" cy="15834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圆角矩形 19"/>
          <p:cNvSpPr/>
          <p:nvPr/>
        </p:nvSpPr>
        <p:spPr>
          <a:xfrm>
            <a:off x="1241503" y="973873"/>
            <a:ext cx="3746810" cy="5163402"/>
          </a:xfrm>
          <a:prstGeom prst="roundRect">
            <a:avLst/>
          </a:prstGeom>
          <a:noFill/>
          <a:ln w="63500">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椭圆 31"/>
          <p:cNvSpPr/>
          <p:nvPr/>
        </p:nvSpPr>
        <p:spPr>
          <a:xfrm>
            <a:off x="8352263" y="1338146"/>
            <a:ext cx="1248937" cy="1248937"/>
          </a:xfrm>
          <a:prstGeom prst="ellipse">
            <a:avLst/>
          </a:prstGeom>
          <a:ln w="635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矩形 32"/>
          <p:cNvSpPr/>
          <p:nvPr/>
        </p:nvSpPr>
        <p:spPr>
          <a:xfrm>
            <a:off x="8058614" y="3925229"/>
            <a:ext cx="1836234" cy="1583473"/>
          </a:xfrm>
          <a:prstGeom prst="rect">
            <a:avLst/>
          </a:prstGeom>
          <a:ln w="635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圆角矩形 33"/>
          <p:cNvSpPr/>
          <p:nvPr/>
        </p:nvSpPr>
        <p:spPr>
          <a:xfrm>
            <a:off x="7084742" y="973873"/>
            <a:ext cx="3724508" cy="5163402"/>
          </a:xfrm>
          <a:prstGeom prst="roundRect">
            <a:avLst/>
          </a:prstGeom>
          <a:noFill/>
          <a:ln w="63500">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文本框 20"/>
          <p:cNvSpPr txBox="1"/>
          <p:nvPr/>
        </p:nvSpPr>
        <p:spPr>
          <a:xfrm>
            <a:off x="1524000" y="1338146"/>
            <a:ext cx="869795" cy="1200329"/>
          </a:xfrm>
          <a:prstGeom prst="rect">
            <a:avLst/>
          </a:prstGeom>
          <a:noFill/>
        </p:spPr>
        <p:txBody>
          <a:bodyPr wrap="square" rtlCol="0">
            <a:spAutoFit/>
          </a:bodyPr>
          <a:lstStyle/>
          <a:p>
            <a:r>
              <a:rPr lang="zh-CN" altLang="en-US" dirty="0" smtClean="0"/>
              <a:t>已经设计好的绘制图形框架。</a:t>
            </a:r>
            <a:endParaRPr lang="zh-CN" altLang="en-US" dirty="0"/>
          </a:p>
        </p:txBody>
      </p:sp>
      <p:sp>
        <p:nvSpPr>
          <p:cNvPr id="35" name="文本框 34"/>
          <p:cNvSpPr txBox="1"/>
          <p:nvPr/>
        </p:nvSpPr>
        <p:spPr>
          <a:xfrm>
            <a:off x="7285463" y="1338146"/>
            <a:ext cx="932985" cy="1754326"/>
          </a:xfrm>
          <a:prstGeom prst="rect">
            <a:avLst/>
          </a:prstGeom>
          <a:noFill/>
        </p:spPr>
        <p:txBody>
          <a:bodyPr wrap="square" rtlCol="0">
            <a:spAutoFit/>
          </a:bodyPr>
          <a:lstStyle/>
          <a:p>
            <a:r>
              <a:rPr lang="zh-CN" altLang="en-US" dirty="0" smtClean="0"/>
              <a:t>保持原有设计给图形添加绘制边框的功能。</a:t>
            </a:r>
            <a:endParaRPr lang="zh-CN" altLang="en-US" dirty="0"/>
          </a:p>
        </p:txBody>
      </p:sp>
      <p:sp>
        <p:nvSpPr>
          <p:cNvPr id="28" name="右箭头 27"/>
          <p:cNvSpPr/>
          <p:nvPr/>
        </p:nvSpPr>
        <p:spPr>
          <a:xfrm>
            <a:off x="5407683" y="3092472"/>
            <a:ext cx="1449659" cy="71805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矩形 35"/>
          <p:cNvSpPr/>
          <p:nvPr/>
        </p:nvSpPr>
        <p:spPr>
          <a:xfrm>
            <a:off x="5806068" y="2432076"/>
            <a:ext cx="877164" cy="923330"/>
          </a:xfrm>
          <a:prstGeom prst="rect">
            <a:avLst/>
          </a:prstGeom>
          <a:noFill/>
        </p:spPr>
        <p:txBody>
          <a:bodyPr wrap="none" lIns="91440" tIns="45720" rIns="91440" bIns="45720">
            <a:spAutoFit/>
          </a:bodyPr>
          <a:lstStyle/>
          <a:p>
            <a:pPr algn="ctr"/>
            <a:r>
              <a:rPr lang="zh-CN" altLang="en-US" sz="5400" b="0" cap="none" spc="0" dirty="0" smtClean="0">
                <a:ln w="0"/>
                <a:solidFill>
                  <a:schemeClr val="accent1"/>
                </a:solidFill>
                <a:effectLst>
                  <a:outerShdw blurRad="38100" dist="25400" dir="5400000" algn="ctr" rotWithShape="0">
                    <a:srgbClr val="6E747A">
                      <a:alpha val="43000"/>
                    </a:srgbClr>
                  </a:outerShdw>
                </a:effectLst>
              </a:rPr>
              <a:t>？</a:t>
            </a:r>
            <a:endParaRPr lang="zh-CN" altLang="en-US" sz="5400" b="0" cap="none" spc="0" dirty="0">
              <a:ln w="0"/>
              <a:solidFill>
                <a:schemeClr val="accent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2028559055"/>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标题 1"/>
          <p:cNvSpPr>
            <a:spLocks noGrp="1"/>
          </p:cNvSpPr>
          <p:nvPr>
            <p:ph type="title"/>
          </p:nvPr>
        </p:nvSpPr>
        <p:spPr>
          <a:xfrm>
            <a:off x="1137925" y="205921"/>
            <a:ext cx="10401280" cy="695186"/>
          </a:xfrm>
        </p:spPr>
        <p:txBody>
          <a:bodyPr/>
          <a:lstStyle/>
          <a:p>
            <a:r>
              <a:rPr lang="zh-CN" altLang="en-US" sz="3200" b="0" dirty="0">
                <a:latin typeface="Arial"/>
                <a:ea typeface="Microsoft YaHei"/>
                <a:cs typeface="+mn-ea"/>
                <a:sym typeface="Arial"/>
              </a:rPr>
              <a:t>装饰</a:t>
            </a:r>
            <a:r>
              <a:rPr lang="zh-CN" altLang="en-US" sz="3200" b="0" dirty="0" smtClean="0">
                <a:latin typeface="Arial"/>
                <a:ea typeface="Microsoft YaHei"/>
                <a:cs typeface="+mn-ea"/>
                <a:sym typeface="Arial"/>
              </a:rPr>
              <a:t>器模式</a:t>
            </a:r>
            <a:endParaRPr lang="zh-CN" altLang="en-US" sz="3200" b="0" dirty="0">
              <a:latin typeface="Arial"/>
              <a:ea typeface="Microsoft YaHei"/>
              <a:cs typeface="+mn-ea"/>
              <a:sym typeface="Arial"/>
            </a:endParaRPr>
          </a:p>
        </p:txBody>
      </p:sp>
      <p:grpSp>
        <p:nvGrpSpPr>
          <p:cNvPr id="23" name="组合 22">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24" name="椭圆 23">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25" name="椭圆 24">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
        <p:nvSpPr>
          <p:cNvPr id="29" name="î$ḷîḓê">
            <a:extLst>
              <a:ext uri="{FF2B5EF4-FFF2-40B4-BE49-F238E27FC236}">
                <a16:creationId xmlns:a16="http://schemas.microsoft.com/office/drawing/2014/main" id="{0120662D-08EC-45F4-BE9C-84021ADB4C9A}"/>
              </a:ext>
            </a:extLst>
          </p:cNvPr>
          <p:cNvSpPr/>
          <p:nvPr/>
        </p:nvSpPr>
        <p:spPr bwMode="gray">
          <a:xfrm>
            <a:off x="7211000" y="198392"/>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创建型模式</a:t>
            </a:r>
            <a:endParaRPr lang="en-US" altLang="zh-CN" sz="2400" dirty="0">
              <a:solidFill>
                <a:schemeClr val="bg1"/>
              </a:solidFill>
            </a:endParaRPr>
          </a:p>
        </p:txBody>
      </p:sp>
      <p:sp>
        <p:nvSpPr>
          <p:cNvPr id="30" name="î$ḷîḓê">
            <a:extLst>
              <a:ext uri="{FF2B5EF4-FFF2-40B4-BE49-F238E27FC236}">
                <a16:creationId xmlns:a16="http://schemas.microsoft.com/office/drawing/2014/main" id="{0120662D-08EC-45F4-BE9C-84021ADB4C9A}"/>
              </a:ext>
            </a:extLst>
          </p:cNvPr>
          <p:cNvSpPr/>
          <p:nvPr/>
        </p:nvSpPr>
        <p:spPr bwMode="gray">
          <a:xfrm>
            <a:off x="8749874" y="199746"/>
            <a:ext cx="1506790" cy="480145"/>
          </a:xfrm>
          <a:prstGeom prst="rect">
            <a:avLst/>
          </a:prstGeom>
          <a:solidFill>
            <a:schemeClr val="accent1"/>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结构型模式</a:t>
            </a:r>
            <a:endParaRPr lang="en-US" altLang="zh-CN" sz="2400" dirty="0">
              <a:solidFill>
                <a:schemeClr val="bg1"/>
              </a:solidFill>
            </a:endParaRPr>
          </a:p>
        </p:txBody>
      </p:sp>
      <p:sp>
        <p:nvSpPr>
          <p:cNvPr id="31" name="î$ḷîḓê">
            <a:extLst>
              <a:ext uri="{FF2B5EF4-FFF2-40B4-BE49-F238E27FC236}">
                <a16:creationId xmlns:a16="http://schemas.microsoft.com/office/drawing/2014/main" id="{0120662D-08EC-45F4-BE9C-84021ADB4C9A}"/>
              </a:ext>
            </a:extLst>
          </p:cNvPr>
          <p:cNvSpPr/>
          <p:nvPr/>
        </p:nvSpPr>
        <p:spPr bwMode="gray">
          <a:xfrm>
            <a:off x="10282004" y="189695"/>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行为型模式</a:t>
            </a:r>
            <a:endParaRPr lang="en-US" altLang="zh-CN" sz="2400" dirty="0">
              <a:solidFill>
                <a:schemeClr val="bg1"/>
              </a:solidFill>
            </a:endParaRPr>
          </a:p>
        </p:txBody>
      </p:sp>
      <p:pic>
        <p:nvPicPr>
          <p:cNvPr id="3" name="图片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07159" y="678537"/>
            <a:ext cx="5319191" cy="5740175"/>
          </a:xfrm>
          <a:prstGeom prst="rect">
            <a:avLst/>
          </a:prstGeom>
        </p:spPr>
      </p:pic>
      <p:sp>
        <p:nvSpPr>
          <p:cNvPr id="4" name="文本框 3"/>
          <p:cNvSpPr txBox="1"/>
          <p:nvPr/>
        </p:nvSpPr>
        <p:spPr>
          <a:xfrm>
            <a:off x="8935843" y="2603590"/>
            <a:ext cx="1789171" cy="523220"/>
          </a:xfrm>
          <a:prstGeom prst="rect">
            <a:avLst/>
          </a:prstGeom>
          <a:noFill/>
        </p:spPr>
        <p:txBody>
          <a:bodyPr wrap="square" rtlCol="0">
            <a:spAutoFit/>
          </a:bodyPr>
          <a:lstStyle/>
          <a:p>
            <a:r>
              <a:rPr lang="zh-CN" altLang="en-US" sz="2800" b="1" dirty="0"/>
              <a:t>继承</a:t>
            </a:r>
          </a:p>
        </p:txBody>
      </p:sp>
      <p:sp>
        <p:nvSpPr>
          <p:cNvPr id="5" name="文本框 4"/>
          <p:cNvSpPr txBox="1"/>
          <p:nvPr/>
        </p:nvSpPr>
        <p:spPr>
          <a:xfrm>
            <a:off x="8935843" y="3784046"/>
            <a:ext cx="1100253" cy="523220"/>
          </a:xfrm>
          <a:prstGeom prst="rect">
            <a:avLst/>
          </a:prstGeom>
          <a:noFill/>
        </p:spPr>
        <p:txBody>
          <a:bodyPr wrap="square" rtlCol="0">
            <a:spAutoFit/>
          </a:bodyPr>
          <a:lstStyle/>
          <a:p>
            <a:r>
              <a:rPr lang="zh-CN" altLang="en-US" sz="2800" b="1" dirty="0" smtClean="0"/>
              <a:t>聚合</a:t>
            </a:r>
            <a:endParaRPr lang="zh-CN" altLang="en-US" sz="2800" b="1" dirty="0"/>
          </a:p>
        </p:txBody>
      </p:sp>
      <p:cxnSp>
        <p:nvCxnSpPr>
          <p:cNvPr id="7" name="肘形连接符 6"/>
          <p:cNvCxnSpPr>
            <a:endCxn id="4" idx="1"/>
          </p:cNvCxnSpPr>
          <p:nvPr/>
        </p:nvCxnSpPr>
        <p:spPr>
          <a:xfrm flipV="1">
            <a:off x="6222379" y="2865200"/>
            <a:ext cx="2713464" cy="316680"/>
          </a:xfrm>
          <a:prstGeom prst="bentConnector3">
            <a:avLst/>
          </a:prstGeom>
          <a:ln w="63500" cap="flat">
            <a:solidFill>
              <a:srgbClr val="00659D">
                <a:alpha val="80000"/>
              </a:srgbClr>
            </a:solidFill>
            <a:prstDash val="sysDash"/>
            <a:round/>
            <a:tailEnd type="triangle"/>
          </a:ln>
          <a:effectLst>
            <a:outerShdw blurRad="40000" dist="23000" dir="5400000" rotWithShape="0">
              <a:srgbClr val="000000">
                <a:alpha val="35000"/>
              </a:srgbClr>
            </a:outerShdw>
            <a:softEdge rad="0"/>
          </a:effectLst>
        </p:spPr>
        <p:style>
          <a:lnRef idx="3">
            <a:schemeClr val="accent1"/>
          </a:lnRef>
          <a:fillRef idx="0">
            <a:schemeClr val="accent1"/>
          </a:fillRef>
          <a:effectRef idx="2">
            <a:schemeClr val="accent1"/>
          </a:effectRef>
          <a:fontRef idx="minor">
            <a:schemeClr val="tx1"/>
          </a:fontRef>
        </p:style>
      </p:cxnSp>
      <p:cxnSp>
        <p:nvCxnSpPr>
          <p:cNvPr id="9" name="肘形连接符 8"/>
          <p:cNvCxnSpPr>
            <a:endCxn id="5" idx="1"/>
          </p:cNvCxnSpPr>
          <p:nvPr/>
        </p:nvCxnSpPr>
        <p:spPr>
          <a:xfrm>
            <a:off x="6462750" y="3287864"/>
            <a:ext cx="2473093" cy="757792"/>
          </a:xfrm>
          <a:prstGeom prst="bentConnector3">
            <a:avLst>
              <a:gd name="adj1" fmla="val 44628"/>
            </a:avLst>
          </a:prstGeom>
          <a:ln w="63500" cap="flat">
            <a:solidFill>
              <a:srgbClr val="00659D">
                <a:alpha val="80000"/>
              </a:srgbClr>
            </a:solidFill>
            <a:prstDash val="sysDash"/>
            <a:round/>
            <a:tailEnd type="triangle"/>
          </a:ln>
          <a:effectLst>
            <a:outerShdw blurRad="40000" dist="23000" dir="5400000" rotWithShape="0">
              <a:srgbClr val="000000">
                <a:alpha val="35000"/>
              </a:srgbClr>
            </a:outerShdw>
            <a:softEdge rad="0"/>
          </a:effectLst>
        </p:spPr>
        <p:style>
          <a:lnRef idx="3">
            <a:schemeClr val="accent1"/>
          </a:lnRef>
          <a:fillRef idx="0">
            <a:schemeClr val="accent1"/>
          </a:fillRef>
          <a:effectRef idx="2">
            <a:schemeClr val="accent1"/>
          </a:effectRef>
          <a:fontRef idx="minor">
            <a:schemeClr val="tx1"/>
          </a:fontRef>
        </p:style>
      </p:cxnSp>
      <p:cxnSp>
        <p:nvCxnSpPr>
          <p:cNvPr id="6" name="直接连接符 5"/>
          <p:cNvCxnSpPr/>
          <p:nvPr/>
        </p:nvCxnSpPr>
        <p:spPr>
          <a:xfrm>
            <a:off x="5844592" y="2850843"/>
            <a:ext cx="977900" cy="0"/>
          </a:xfrm>
          <a:prstGeom prst="line">
            <a:avLst/>
          </a:prstGeom>
          <a:ln w="63500" cap="flat">
            <a:solidFill>
              <a:srgbClr val="00B050"/>
            </a:solidFill>
            <a:prstDash val="sysDash"/>
            <a:round/>
            <a:tailEnd type="none"/>
          </a:ln>
          <a:effectLst>
            <a:outerShdw blurRad="40000" dist="23000" dir="5400000" rotWithShape="0">
              <a:srgbClr val="000000">
                <a:alpha val="35000"/>
              </a:srgbClr>
            </a:outerShdw>
            <a:softEdge rad="0"/>
          </a:effectLst>
        </p:spPr>
        <p:style>
          <a:lnRef idx="3">
            <a:schemeClr val="accent1"/>
          </a:lnRef>
          <a:fillRef idx="0">
            <a:schemeClr val="accent1"/>
          </a:fillRef>
          <a:effectRef idx="2">
            <a:schemeClr val="accent1"/>
          </a:effectRef>
          <a:fontRef idx="minor">
            <a:schemeClr val="tx1"/>
          </a:fontRef>
        </p:style>
      </p:cxnSp>
      <p:cxnSp>
        <p:nvCxnSpPr>
          <p:cNvPr id="16" name="直接连接符 15"/>
          <p:cNvCxnSpPr/>
          <p:nvPr/>
        </p:nvCxnSpPr>
        <p:spPr>
          <a:xfrm>
            <a:off x="5733429" y="4407974"/>
            <a:ext cx="977900" cy="0"/>
          </a:xfrm>
          <a:prstGeom prst="line">
            <a:avLst/>
          </a:prstGeom>
          <a:ln w="63500" cap="flat">
            <a:solidFill>
              <a:srgbClr val="00B050"/>
            </a:solidFill>
            <a:prstDash val="sysDash"/>
            <a:round/>
            <a:tailEnd type="none"/>
          </a:ln>
          <a:effectLst>
            <a:outerShdw blurRad="40000" dist="23000" dir="5400000" rotWithShape="0">
              <a:srgbClr val="000000">
                <a:alpha val="35000"/>
              </a:srgbClr>
            </a:outerShdw>
            <a:softEdge rad="0"/>
          </a:effectLst>
        </p:spPr>
        <p:style>
          <a:lnRef idx="3">
            <a:schemeClr val="accent1"/>
          </a:lnRef>
          <a:fillRef idx="0">
            <a:schemeClr val="accent1"/>
          </a:fillRef>
          <a:effectRef idx="2">
            <a:schemeClr val="accent1"/>
          </a:effectRef>
          <a:fontRef idx="minor">
            <a:schemeClr val="tx1"/>
          </a:fontRef>
        </p:style>
      </p:cxnSp>
      <p:cxnSp>
        <p:nvCxnSpPr>
          <p:cNvPr id="17" name="直接连接符 16"/>
          <p:cNvCxnSpPr/>
          <p:nvPr/>
        </p:nvCxnSpPr>
        <p:spPr>
          <a:xfrm>
            <a:off x="2473395" y="4273757"/>
            <a:ext cx="977900" cy="0"/>
          </a:xfrm>
          <a:prstGeom prst="line">
            <a:avLst/>
          </a:prstGeom>
          <a:ln w="63500" cap="flat">
            <a:solidFill>
              <a:srgbClr val="00B050"/>
            </a:solidFill>
            <a:prstDash val="sysDash"/>
            <a:round/>
            <a:tailEnd type="none"/>
          </a:ln>
          <a:effectLst>
            <a:outerShdw blurRad="40000" dist="23000" dir="5400000" rotWithShape="0">
              <a:srgbClr val="000000">
                <a:alpha val="35000"/>
              </a:srgbClr>
            </a:outerShdw>
            <a:softEdge rad="0"/>
          </a:effectLst>
        </p:spPr>
        <p:style>
          <a:lnRef idx="3">
            <a:schemeClr val="accent1"/>
          </a:lnRef>
          <a:fillRef idx="0">
            <a:schemeClr val="accent1"/>
          </a:fillRef>
          <a:effectRef idx="2">
            <a:schemeClr val="accent1"/>
          </a:effectRef>
          <a:fontRef idx="minor">
            <a:schemeClr val="tx1"/>
          </a:fontRef>
        </p:style>
      </p:cxnSp>
      <p:sp>
        <p:nvSpPr>
          <p:cNvPr id="8" name="矩形 7"/>
          <p:cNvSpPr/>
          <p:nvPr/>
        </p:nvSpPr>
        <p:spPr>
          <a:xfrm>
            <a:off x="5086734" y="5793204"/>
            <a:ext cx="1245704" cy="417444"/>
          </a:xfrm>
          <a:prstGeom prst="rect">
            <a:avLst/>
          </a:prstGeom>
          <a:noFill/>
          <a:ln w="6350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p:cNvSpPr/>
          <p:nvPr/>
        </p:nvSpPr>
        <p:spPr>
          <a:xfrm>
            <a:off x="8683082" y="5078596"/>
            <a:ext cx="1633049" cy="1477328"/>
          </a:xfrm>
          <a:prstGeom prst="rect">
            <a:avLst/>
          </a:prstGeom>
        </p:spPr>
        <p:txBody>
          <a:bodyPr wrap="square">
            <a:spAutoFit/>
          </a:bodyPr>
          <a:lstStyle/>
          <a:p>
            <a:r>
              <a:rPr lang="zh-CN" altLang="en-US" dirty="0"/>
              <a:t>另一个对象来决定是否调用嵌入对象的行为以便扩展自己的行为</a:t>
            </a:r>
          </a:p>
        </p:txBody>
      </p:sp>
      <p:cxnSp>
        <p:nvCxnSpPr>
          <p:cNvPr id="12" name="直接箭头连接符 11"/>
          <p:cNvCxnSpPr>
            <a:stCxn id="8" idx="3"/>
            <a:endCxn id="10" idx="1"/>
          </p:cNvCxnSpPr>
          <p:nvPr/>
        </p:nvCxnSpPr>
        <p:spPr>
          <a:xfrm flipV="1">
            <a:off x="6332438" y="5817260"/>
            <a:ext cx="2350644" cy="184666"/>
          </a:xfrm>
          <a:prstGeom prst="straightConnector1">
            <a:avLst/>
          </a:prstGeom>
          <a:ln w="63500" cap="flat">
            <a:solidFill>
              <a:srgbClr val="00659D"/>
            </a:solidFill>
            <a:prstDash val="sysDash"/>
            <a:round/>
            <a:tailEnd type="triangle"/>
          </a:ln>
          <a:effectLst>
            <a:outerShdw blurRad="40000" dist="23000" dir="5400000" rotWithShape="0">
              <a:srgbClr val="000000">
                <a:alpha val="35000"/>
              </a:srgbClr>
            </a:outerShdw>
            <a:softEdge rad="0"/>
          </a:effectLst>
        </p:spPr>
        <p:style>
          <a:lnRef idx="3">
            <a:schemeClr val="accent1"/>
          </a:lnRef>
          <a:fillRef idx="0">
            <a:schemeClr val="accent1"/>
          </a:fillRef>
          <a:effectRef idx="2">
            <a:schemeClr val="accent1"/>
          </a:effectRef>
          <a:fontRef idx="minor">
            <a:schemeClr val="tx1"/>
          </a:fontRef>
        </p:style>
      </p:cxnSp>
      <p:sp>
        <p:nvSpPr>
          <p:cNvPr id="2" name="文本框 1"/>
          <p:cNvSpPr txBox="1"/>
          <p:nvPr/>
        </p:nvSpPr>
        <p:spPr>
          <a:xfrm>
            <a:off x="5861346" y="897600"/>
            <a:ext cx="942183" cy="369332"/>
          </a:xfrm>
          <a:prstGeom prst="rect">
            <a:avLst/>
          </a:prstGeom>
          <a:noFill/>
        </p:spPr>
        <p:txBody>
          <a:bodyPr wrap="square" rtlCol="0">
            <a:spAutoFit/>
          </a:bodyPr>
          <a:lstStyle/>
          <a:p>
            <a:r>
              <a:rPr lang="en-US" altLang="zh-CN" b="1" dirty="0">
                <a:solidFill>
                  <a:srgbClr val="7030A0"/>
                </a:solidFill>
              </a:rPr>
              <a:t>S</a:t>
            </a:r>
            <a:r>
              <a:rPr lang="en-US" altLang="zh-CN" b="1" dirty="0" smtClean="0">
                <a:solidFill>
                  <a:srgbClr val="7030A0"/>
                </a:solidFill>
              </a:rPr>
              <a:t>hape</a:t>
            </a:r>
            <a:endParaRPr lang="zh-CN" altLang="en-US" b="1" dirty="0">
              <a:solidFill>
                <a:srgbClr val="7030A0"/>
              </a:solidFill>
            </a:endParaRPr>
          </a:p>
        </p:txBody>
      </p:sp>
      <p:sp>
        <p:nvSpPr>
          <p:cNvPr id="21" name="文本框 20"/>
          <p:cNvSpPr txBox="1"/>
          <p:nvPr/>
        </p:nvSpPr>
        <p:spPr>
          <a:xfrm>
            <a:off x="2555111" y="1790823"/>
            <a:ext cx="1459327" cy="646331"/>
          </a:xfrm>
          <a:prstGeom prst="rect">
            <a:avLst/>
          </a:prstGeom>
          <a:noFill/>
        </p:spPr>
        <p:txBody>
          <a:bodyPr wrap="square" rtlCol="0">
            <a:spAutoFit/>
          </a:bodyPr>
          <a:lstStyle/>
          <a:p>
            <a:r>
              <a:rPr lang="en-US" altLang="zh-CN" b="1" dirty="0" smtClean="0">
                <a:solidFill>
                  <a:srgbClr val="7030A0"/>
                </a:solidFill>
              </a:rPr>
              <a:t>Circle</a:t>
            </a:r>
            <a:r>
              <a:rPr lang="zh-CN" altLang="en-US" b="1" dirty="0" smtClean="0">
                <a:solidFill>
                  <a:srgbClr val="7030A0"/>
                </a:solidFill>
              </a:rPr>
              <a:t>、</a:t>
            </a:r>
            <a:r>
              <a:rPr lang="en-US" altLang="zh-CN" b="1" dirty="0" smtClean="0">
                <a:solidFill>
                  <a:srgbClr val="7030A0"/>
                </a:solidFill>
              </a:rPr>
              <a:t>Rectangle</a:t>
            </a:r>
            <a:endParaRPr lang="zh-CN" altLang="en-US" b="1" dirty="0">
              <a:solidFill>
                <a:srgbClr val="7030A0"/>
              </a:solidFill>
            </a:endParaRPr>
          </a:p>
        </p:txBody>
      </p:sp>
      <p:sp>
        <p:nvSpPr>
          <p:cNvPr id="26" name="文本框 25"/>
          <p:cNvSpPr txBox="1"/>
          <p:nvPr/>
        </p:nvSpPr>
        <p:spPr>
          <a:xfrm>
            <a:off x="3909365" y="3471306"/>
            <a:ext cx="1887784" cy="369332"/>
          </a:xfrm>
          <a:prstGeom prst="rect">
            <a:avLst/>
          </a:prstGeom>
          <a:noFill/>
        </p:spPr>
        <p:txBody>
          <a:bodyPr wrap="square" rtlCol="0">
            <a:spAutoFit/>
          </a:bodyPr>
          <a:lstStyle/>
          <a:p>
            <a:r>
              <a:rPr lang="en-US" altLang="zh-CN" b="1" dirty="0" err="1" smtClean="0">
                <a:solidFill>
                  <a:srgbClr val="7030A0"/>
                </a:solidFill>
              </a:rPr>
              <a:t>ShapeWrapper</a:t>
            </a:r>
            <a:endParaRPr lang="zh-CN" altLang="en-US" b="1" dirty="0">
              <a:solidFill>
                <a:srgbClr val="7030A0"/>
              </a:solidFill>
            </a:endParaRPr>
          </a:p>
        </p:txBody>
      </p:sp>
      <p:sp>
        <p:nvSpPr>
          <p:cNvPr id="27" name="coding_151359"/>
          <p:cNvSpPr>
            <a:spLocks noChangeAspect="1"/>
          </p:cNvSpPr>
          <p:nvPr/>
        </p:nvSpPr>
        <p:spPr bwMode="auto">
          <a:xfrm>
            <a:off x="6599664" y="198392"/>
            <a:ext cx="467336" cy="466684"/>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06439" h="605593">
                <a:moveTo>
                  <a:pt x="264222" y="458757"/>
                </a:moveTo>
                <a:lnTo>
                  <a:pt x="220421" y="579819"/>
                </a:lnTo>
                <a:lnTo>
                  <a:pt x="386019" y="579819"/>
                </a:lnTo>
                <a:lnTo>
                  <a:pt x="342217" y="458757"/>
                </a:lnTo>
                <a:close/>
                <a:moveTo>
                  <a:pt x="420977" y="157263"/>
                </a:moveTo>
                <a:lnTo>
                  <a:pt x="489088" y="231020"/>
                </a:lnTo>
                <a:lnTo>
                  <a:pt x="424086" y="301483"/>
                </a:lnTo>
                <a:lnTo>
                  <a:pt x="405150" y="283985"/>
                </a:lnTo>
                <a:lnTo>
                  <a:pt x="453949" y="231020"/>
                </a:lnTo>
                <a:lnTo>
                  <a:pt x="402042" y="174761"/>
                </a:lnTo>
                <a:close/>
                <a:moveTo>
                  <a:pt x="185461" y="157263"/>
                </a:moveTo>
                <a:lnTo>
                  <a:pt x="204397" y="174761"/>
                </a:lnTo>
                <a:lnTo>
                  <a:pt x="152489" y="231020"/>
                </a:lnTo>
                <a:lnTo>
                  <a:pt x="201288" y="283985"/>
                </a:lnTo>
                <a:lnTo>
                  <a:pt x="182352" y="301483"/>
                </a:lnTo>
                <a:lnTo>
                  <a:pt x="117350" y="231020"/>
                </a:lnTo>
                <a:close/>
                <a:moveTo>
                  <a:pt x="309343" y="122078"/>
                </a:moveTo>
                <a:lnTo>
                  <a:pt x="334401" y="128193"/>
                </a:lnTo>
                <a:lnTo>
                  <a:pt x="283718" y="336668"/>
                </a:lnTo>
                <a:lnTo>
                  <a:pt x="258565" y="330553"/>
                </a:lnTo>
                <a:close/>
                <a:moveTo>
                  <a:pt x="25810" y="25774"/>
                </a:moveTo>
                <a:lnTo>
                  <a:pt x="25810" y="432983"/>
                </a:lnTo>
                <a:lnTo>
                  <a:pt x="580629" y="432983"/>
                </a:lnTo>
                <a:lnTo>
                  <a:pt x="580629" y="25774"/>
                </a:lnTo>
                <a:close/>
                <a:moveTo>
                  <a:pt x="0" y="0"/>
                </a:moveTo>
                <a:lnTo>
                  <a:pt x="606439" y="0"/>
                </a:lnTo>
                <a:lnTo>
                  <a:pt x="606439" y="458757"/>
                </a:lnTo>
                <a:lnTo>
                  <a:pt x="369628" y="458757"/>
                </a:lnTo>
                <a:lnTo>
                  <a:pt x="413430" y="579819"/>
                </a:lnTo>
                <a:lnTo>
                  <a:pt x="459492" y="579819"/>
                </a:lnTo>
                <a:lnTo>
                  <a:pt x="459492" y="605593"/>
                </a:lnTo>
                <a:lnTo>
                  <a:pt x="146947" y="605593"/>
                </a:lnTo>
                <a:lnTo>
                  <a:pt x="146947" y="579819"/>
                </a:lnTo>
                <a:lnTo>
                  <a:pt x="192915" y="579819"/>
                </a:lnTo>
                <a:lnTo>
                  <a:pt x="236717" y="458757"/>
                </a:lnTo>
                <a:lnTo>
                  <a:pt x="0" y="458757"/>
                </a:lnTo>
                <a:close/>
              </a:path>
            </a:pathLst>
          </a:custGeom>
          <a:solidFill>
            <a:schemeClr val="accent1"/>
          </a:solidFill>
          <a:ln>
            <a:noFill/>
          </a:ln>
        </p:spPr>
        <p:txBody>
          <a:bodyPr/>
          <a:lstStyle/>
          <a:p>
            <a:endParaRPr lang="zh-CN" altLang="en-US"/>
          </a:p>
        </p:txBody>
      </p:sp>
    </p:spTree>
    <p:extLst>
      <p:ext uri="{BB962C8B-B14F-4D97-AF65-F5344CB8AC3E}">
        <p14:creationId xmlns:p14="http://schemas.microsoft.com/office/powerpoint/2010/main" val="3340202260"/>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6096000" y="1130300"/>
            <a:ext cx="5424488" cy="277681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zh-CN" altLang="en-US" dirty="0" smtClean="0"/>
              <a:t>银行系统</a:t>
            </a:r>
            <a:endParaRPr lang="zh-CN" altLang="en-US" dirty="0"/>
          </a:p>
        </p:txBody>
      </p:sp>
      <p:sp>
        <p:nvSpPr>
          <p:cNvPr id="22" name="标题 1"/>
          <p:cNvSpPr>
            <a:spLocks noGrp="1"/>
          </p:cNvSpPr>
          <p:nvPr>
            <p:ph type="title"/>
          </p:nvPr>
        </p:nvSpPr>
        <p:spPr>
          <a:xfrm>
            <a:off x="1137925" y="205921"/>
            <a:ext cx="10401280" cy="695186"/>
          </a:xfrm>
        </p:spPr>
        <p:txBody>
          <a:bodyPr/>
          <a:lstStyle/>
          <a:p>
            <a:r>
              <a:rPr lang="zh-CN" altLang="en-US" sz="3200" b="0" dirty="0" smtClean="0">
                <a:latin typeface="Arial"/>
                <a:ea typeface="Microsoft YaHei"/>
                <a:cs typeface="+mn-ea"/>
                <a:sym typeface="Arial"/>
              </a:rPr>
              <a:t>外观模式</a:t>
            </a:r>
            <a:endParaRPr lang="zh-CN" altLang="en-US" sz="3200" b="0" dirty="0">
              <a:latin typeface="Arial"/>
              <a:ea typeface="Microsoft YaHei"/>
              <a:cs typeface="+mn-ea"/>
              <a:sym typeface="Arial"/>
            </a:endParaRPr>
          </a:p>
        </p:txBody>
      </p:sp>
      <p:grpSp>
        <p:nvGrpSpPr>
          <p:cNvPr id="23" name="组合 22">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24" name="椭圆 23">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25" name="椭圆 24">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
        <p:nvSpPr>
          <p:cNvPr id="29" name="î$ḷîḓê">
            <a:extLst>
              <a:ext uri="{FF2B5EF4-FFF2-40B4-BE49-F238E27FC236}">
                <a16:creationId xmlns:a16="http://schemas.microsoft.com/office/drawing/2014/main" id="{0120662D-08EC-45F4-BE9C-84021ADB4C9A}"/>
              </a:ext>
            </a:extLst>
          </p:cNvPr>
          <p:cNvSpPr/>
          <p:nvPr/>
        </p:nvSpPr>
        <p:spPr bwMode="gray">
          <a:xfrm>
            <a:off x="7211000" y="198392"/>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创建型模式</a:t>
            </a:r>
            <a:endParaRPr lang="en-US" altLang="zh-CN" sz="2400" dirty="0">
              <a:solidFill>
                <a:schemeClr val="bg1"/>
              </a:solidFill>
            </a:endParaRPr>
          </a:p>
        </p:txBody>
      </p:sp>
      <p:sp>
        <p:nvSpPr>
          <p:cNvPr id="30" name="î$ḷîḓê">
            <a:extLst>
              <a:ext uri="{FF2B5EF4-FFF2-40B4-BE49-F238E27FC236}">
                <a16:creationId xmlns:a16="http://schemas.microsoft.com/office/drawing/2014/main" id="{0120662D-08EC-45F4-BE9C-84021ADB4C9A}"/>
              </a:ext>
            </a:extLst>
          </p:cNvPr>
          <p:cNvSpPr/>
          <p:nvPr/>
        </p:nvSpPr>
        <p:spPr bwMode="gray">
          <a:xfrm>
            <a:off x="8749874" y="199746"/>
            <a:ext cx="1506790" cy="480145"/>
          </a:xfrm>
          <a:prstGeom prst="rect">
            <a:avLst/>
          </a:prstGeom>
          <a:solidFill>
            <a:schemeClr val="accent1"/>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结构型模式</a:t>
            </a:r>
            <a:endParaRPr lang="en-US" altLang="zh-CN" sz="2400" dirty="0">
              <a:solidFill>
                <a:schemeClr val="bg1"/>
              </a:solidFill>
            </a:endParaRPr>
          </a:p>
        </p:txBody>
      </p:sp>
      <p:sp>
        <p:nvSpPr>
          <p:cNvPr id="31" name="î$ḷîḓê">
            <a:extLst>
              <a:ext uri="{FF2B5EF4-FFF2-40B4-BE49-F238E27FC236}">
                <a16:creationId xmlns:a16="http://schemas.microsoft.com/office/drawing/2014/main" id="{0120662D-08EC-45F4-BE9C-84021ADB4C9A}"/>
              </a:ext>
            </a:extLst>
          </p:cNvPr>
          <p:cNvSpPr/>
          <p:nvPr/>
        </p:nvSpPr>
        <p:spPr bwMode="gray">
          <a:xfrm>
            <a:off x="10282004" y="189695"/>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行为型模式</a:t>
            </a:r>
            <a:endParaRPr lang="en-US" altLang="zh-CN" sz="2400" dirty="0">
              <a:solidFill>
                <a:schemeClr val="bg1"/>
              </a:solidFill>
            </a:endParaRPr>
          </a:p>
        </p:txBody>
      </p:sp>
      <p:sp>
        <p:nvSpPr>
          <p:cNvPr id="4" name="圆角矩形 3"/>
          <p:cNvSpPr/>
          <p:nvPr/>
        </p:nvSpPr>
        <p:spPr>
          <a:xfrm>
            <a:off x="6338565" y="1524000"/>
            <a:ext cx="1658806" cy="48157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t>填写个人信息</a:t>
            </a:r>
            <a:endParaRPr lang="zh-CN" altLang="en-US" dirty="0"/>
          </a:p>
        </p:txBody>
      </p:sp>
      <p:sp>
        <p:nvSpPr>
          <p:cNvPr id="5" name="圆角矩形 4"/>
          <p:cNvSpPr/>
          <p:nvPr/>
        </p:nvSpPr>
        <p:spPr>
          <a:xfrm>
            <a:off x="6338565" y="2233467"/>
            <a:ext cx="1658806" cy="52616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取号</a:t>
            </a:r>
          </a:p>
        </p:txBody>
      </p:sp>
      <p:sp>
        <p:nvSpPr>
          <p:cNvPr id="14" name="圆角矩形 13"/>
          <p:cNvSpPr/>
          <p:nvPr/>
        </p:nvSpPr>
        <p:spPr>
          <a:xfrm>
            <a:off x="6338565" y="3154376"/>
            <a:ext cx="1658806" cy="52616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t>排号</a:t>
            </a:r>
            <a:endParaRPr lang="zh-CN" altLang="en-US" dirty="0"/>
          </a:p>
        </p:txBody>
      </p:sp>
      <p:sp>
        <p:nvSpPr>
          <p:cNvPr id="17" name="圆角矩形 16"/>
          <p:cNvSpPr/>
          <p:nvPr/>
        </p:nvSpPr>
        <p:spPr>
          <a:xfrm>
            <a:off x="8597858" y="2276475"/>
            <a:ext cx="1658806" cy="52616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t>个人信息审核</a:t>
            </a:r>
            <a:endParaRPr lang="zh-CN" altLang="en-US" dirty="0"/>
          </a:p>
        </p:txBody>
      </p:sp>
      <p:sp>
        <p:nvSpPr>
          <p:cNvPr id="18" name="圆角矩形 17"/>
          <p:cNvSpPr/>
          <p:nvPr/>
        </p:nvSpPr>
        <p:spPr>
          <a:xfrm>
            <a:off x="8597858" y="3169021"/>
            <a:ext cx="1658806" cy="52616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t>资产审核</a:t>
            </a:r>
            <a:endParaRPr lang="zh-CN" altLang="en-US" dirty="0"/>
          </a:p>
        </p:txBody>
      </p:sp>
      <p:sp>
        <p:nvSpPr>
          <p:cNvPr id="19" name="圆角矩形 18"/>
          <p:cNvSpPr/>
          <p:nvPr/>
        </p:nvSpPr>
        <p:spPr>
          <a:xfrm>
            <a:off x="8597858" y="1501705"/>
            <a:ext cx="1658806" cy="52616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t>征信审核</a:t>
            </a:r>
            <a:endParaRPr lang="zh-CN" altLang="en-US" dirty="0"/>
          </a:p>
        </p:txBody>
      </p:sp>
      <p:sp>
        <p:nvSpPr>
          <p:cNvPr id="20" name="矩形 19"/>
          <p:cNvSpPr/>
          <p:nvPr/>
        </p:nvSpPr>
        <p:spPr>
          <a:xfrm>
            <a:off x="6096000" y="4046923"/>
            <a:ext cx="5297714" cy="113467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zh-CN" altLang="en-US" dirty="0" smtClean="0"/>
              <a:t>征信系统</a:t>
            </a:r>
            <a:endParaRPr lang="zh-CN" altLang="en-US" dirty="0"/>
          </a:p>
        </p:txBody>
      </p:sp>
      <p:sp>
        <p:nvSpPr>
          <p:cNvPr id="21" name="圆角矩形 20"/>
          <p:cNvSpPr/>
          <p:nvPr/>
        </p:nvSpPr>
        <p:spPr>
          <a:xfrm>
            <a:off x="6338565" y="4455728"/>
            <a:ext cx="1658806" cy="52616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t>查询征信</a:t>
            </a:r>
            <a:endParaRPr lang="zh-CN" altLang="en-US" dirty="0"/>
          </a:p>
        </p:txBody>
      </p:sp>
      <p:sp>
        <p:nvSpPr>
          <p:cNvPr id="26" name="矩形 25"/>
          <p:cNvSpPr/>
          <p:nvPr/>
        </p:nvSpPr>
        <p:spPr>
          <a:xfrm>
            <a:off x="6096000" y="5321409"/>
            <a:ext cx="5297714" cy="113467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zh-CN" altLang="en-US" dirty="0" smtClean="0"/>
              <a:t>资产查询系统</a:t>
            </a:r>
            <a:endParaRPr lang="zh-CN" altLang="en-US" dirty="0"/>
          </a:p>
        </p:txBody>
      </p:sp>
      <p:sp>
        <p:nvSpPr>
          <p:cNvPr id="27" name="圆角矩形 26"/>
          <p:cNvSpPr/>
          <p:nvPr/>
        </p:nvSpPr>
        <p:spPr>
          <a:xfrm>
            <a:off x="6338565" y="5741776"/>
            <a:ext cx="1658806" cy="52616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t>资产查询</a:t>
            </a:r>
            <a:endParaRPr lang="zh-CN" altLang="en-US" dirty="0"/>
          </a:p>
        </p:txBody>
      </p:sp>
      <p:sp>
        <p:nvSpPr>
          <p:cNvPr id="28" name="person-of-a-call-center-in-communication-with-headphones_15888"/>
          <p:cNvSpPr>
            <a:spLocks noChangeAspect="1"/>
          </p:cNvSpPr>
          <p:nvPr/>
        </p:nvSpPr>
        <p:spPr bwMode="auto">
          <a:xfrm>
            <a:off x="1266524" y="3121196"/>
            <a:ext cx="2401012" cy="2986131"/>
          </a:xfrm>
          <a:custGeom>
            <a:avLst/>
            <a:gdLst>
              <a:gd name="connsiteX0" fmla="*/ 111087 w 484393"/>
              <a:gd name="connsiteY0" fmla="*/ 317268 h 602437"/>
              <a:gd name="connsiteX1" fmla="*/ 241551 w 484393"/>
              <a:gd name="connsiteY1" fmla="*/ 368882 h 602437"/>
              <a:gd name="connsiteX2" fmla="*/ 242842 w 484393"/>
              <a:gd name="connsiteY2" fmla="*/ 368882 h 602437"/>
              <a:gd name="connsiteX3" fmla="*/ 373306 w 484393"/>
              <a:gd name="connsiteY3" fmla="*/ 317268 h 602437"/>
              <a:gd name="connsiteX4" fmla="*/ 484393 w 484393"/>
              <a:gd name="connsiteY4" fmla="*/ 451465 h 602437"/>
              <a:gd name="connsiteX5" fmla="*/ 484393 w 484393"/>
              <a:gd name="connsiteY5" fmla="*/ 602437 h 602437"/>
              <a:gd name="connsiteX6" fmla="*/ 242842 w 484393"/>
              <a:gd name="connsiteY6" fmla="*/ 602437 h 602437"/>
              <a:gd name="connsiteX7" fmla="*/ 241551 w 484393"/>
              <a:gd name="connsiteY7" fmla="*/ 602437 h 602437"/>
              <a:gd name="connsiteX8" fmla="*/ 0 w 484393"/>
              <a:gd name="connsiteY8" fmla="*/ 602437 h 602437"/>
              <a:gd name="connsiteX9" fmla="*/ 0 w 484393"/>
              <a:gd name="connsiteY9" fmla="*/ 451465 h 602437"/>
              <a:gd name="connsiteX10" fmla="*/ 111087 w 484393"/>
              <a:gd name="connsiteY10" fmla="*/ 317268 h 602437"/>
              <a:gd name="connsiteX11" fmla="*/ 317724 w 484393"/>
              <a:gd name="connsiteY11" fmla="*/ 61926 h 602437"/>
              <a:gd name="connsiteX12" fmla="*/ 109862 w 484393"/>
              <a:gd name="connsiteY12" fmla="*/ 119981 h 602437"/>
              <a:gd name="connsiteX13" fmla="*/ 99534 w 484393"/>
              <a:gd name="connsiteY13" fmla="*/ 171586 h 602437"/>
              <a:gd name="connsiteX14" fmla="*/ 204110 w 484393"/>
              <a:gd name="connsiteY14" fmla="*/ 277375 h 602437"/>
              <a:gd name="connsiteX15" fmla="*/ 202819 w 484393"/>
              <a:gd name="connsiteY15" fmla="*/ 274795 h 602437"/>
              <a:gd name="connsiteX16" fmla="*/ 233805 w 484393"/>
              <a:gd name="connsiteY16" fmla="*/ 259314 h 602437"/>
              <a:gd name="connsiteX17" fmla="*/ 264790 w 484393"/>
              <a:gd name="connsiteY17" fmla="*/ 274795 h 602437"/>
              <a:gd name="connsiteX18" fmla="*/ 236387 w 484393"/>
              <a:gd name="connsiteY18" fmla="*/ 288987 h 602437"/>
              <a:gd name="connsiteX19" fmla="*/ 233805 w 484393"/>
              <a:gd name="connsiteY19" fmla="*/ 288987 h 602437"/>
              <a:gd name="connsiteX20" fmla="*/ 226058 w 484393"/>
              <a:gd name="connsiteY20" fmla="*/ 288987 h 602437"/>
              <a:gd name="connsiteX21" fmla="*/ 113735 w 484393"/>
              <a:gd name="connsiteY21" fmla="*/ 234802 h 602437"/>
              <a:gd name="connsiteX22" fmla="*/ 241551 w 484393"/>
              <a:gd name="connsiteY22" fmla="*/ 316079 h 602437"/>
              <a:gd name="connsiteX23" fmla="*/ 383568 w 484393"/>
              <a:gd name="connsiteY23" fmla="*/ 187067 h 602437"/>
              <a:gd name="connsiteX24" fmla="*/ 317724 w 484393"/>
              <a:gd name="connsiteY24" fmla="*/ 61926 h 602437"/>
              <a:gd name="connsiteX25" fmla="*/ 241551 w 484393"/>
              <a:gd name="connsiteY25" fmla="*/ 0 h 602437"/>
              <a:gd name="connsiteX26" fmla="*/ 415845 w 484393"/>
              <a:gd name="connsiteY26" fmla="*/ 174166 h 602437"/>
              <a:gd name="connsiteX27" fmla="*/ 241551 w 484393"/>
              <a:gd name="connsiteY27" fmla="*/ 348332 h 602437"/>
              <a:gd name="connsiteX28" fmla="*/ 68548 w 484393"/>
              <a:gd name="connsiteY28" fmla="*/ 174166 h 602437"/>
              <a:gd name="connsiteX29" fmla="*/ 241551 w 484393"/>
              <a:gd name="connsiteY29" fmla="*/ 0 h 602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84393" h="602437">
                <a:moveTo>
                  <a:pt x="111087" y="317268"/>
                </a:moveTo>
                <a:cubicBezTo>
                  <a:pt x="144672" y="349527"/>
                  <a:pt x="191174" y="368882"/>
                  <a:pt x="241551" y="368882"/>
                </a:cubicBezTo>
                <a:cubicBezTo>
                  <a:pt x="242842" y="368882"/>
                  <a:pt x="242842" y="368882"/>
                  <a:pt x="242842" y="368882"/>
                </a:cubicBezTo>
                <a:cubicBezTo>
                  <a:pt x="293219" y="368882"/>
                  <a:pt x="338429" y="349527"/>
                  <a:pt x="373306" y="317268"/>
                </a:cubicBezTo>
                <a:cubicBezTo>
                  <a:pt x="436600" y="330172"/>
                  <a:pt x="484393" y="384367"/>
                  <a:pt x="484393" y="451465"/>
                </a:cubicBezTo>
                <a:lnTo>
                  <a:pt x="484393" y="602437"/>
                </a:lnTo>
                <a:lnTo>
                  <a:pt x="242842" y="602437"/>
                </a:lnTo>
                <a:lnTo>
                  <a:pt x="241551" y="602437"/>
                </a:lnTo>
                <a:lnTo>
                  <a:pt x="0" y="602437"/>
                </a:lnTo>
                <a:lnTo>
                  <a:pt x="0" y="451465"/>
                </a:lnTo>
                <a:cubicBezTo>
                  <a:pt x="0" y="384367"/>
                  <a:pt x="47793" y="330172"/>
                  <a:pt x="111087" y="317268"/>
                </a:cubicBezTo>
                <a:close/>
                <a:moveTo>
                  <a:pt x="317724" y="61926"/>
                </a:moveTo>
                <a:cubicBezTo>
                  <a:pt x="309978" y="83858"/>
                  <a:pt x="149885" y="116111"/>
                  <a:pt x="109862" y="119981"/>
                </a:cubicBezTo>
                <a:cubicBezTo>
                  <a:pt x="103407" y="136753"/>
                  <a:pt x="99534" y="153524"/>
                  <a:pt x="99534" y="171586"/>
                </a:cubicBezTo>
                <a:cubicBezTo>
                  <a:pt x="103407" y="223190"/>
                  <a:pt x="146012" y="264474"/>
                  <a:pt x="204110" y="277375"/>
                </a:cubicBezTo>
                <a:cubicBezTo>
                  <a:pt x="204110" y="276085"/>
                  <a:pt x="202819" y="274795"/>
                  <a:pt x="202819" y="274795"/>
                </a:cubicBezTo>
                <a:cubicBezTo>
                  <a:pt x="202819" y="265764"/>
                  <a:pt x="217021" y="259314"/>
                  <a:pt x="233805" y="259314"/>
                </a:cubicBezTo>
                <a:cubicBezTo>
                  <a:pt x="251880" y="259314"/>
                  <a:pt x="264790" y="265764"/>
                  <a:pt x="264790" y="274795"/>
                </a:cubicBezTo>
                <a:cubicBezTo>
                  <a:pt x="264790" y="282536"/>
                  <a:pt x="253171" y="288987"/>
                  <a:pt x="236387" y="288987"/>
                </a:cubicBezTo>
                <a:cubicBezTo>
                  <a:pt x="236387" y="288987"/>
                  <a:pt x="235096" y="288987"/>
                  <a:pt x="233805" y="288987"/>
                </a:cubicBezTo>
                <a:cubicBezTo>
                  <a:pt x="231222" y="288987"/>
                  <a:pt x="228640" y="288987"/>
                  <a:pt x="226058" y="288987"/>
                </a:cubicBezTo>
                <a:cubicBezTo>
                  <a:pt x="179580" y="286406"/>
                  <a:pt x="138266" y="265764"/>
                  <a:pt x="113735" y="234802"/>
                </a:cubicBezTo>
                <a:cubicBezTo>
                  <a:pt x="136975" y="282536"/>
                  <a:pt x="184744" y="316079"/>
                  <a:pt x="241551" y="316079"/>
                </a:cubicBezTo>
                <a:cubicBezTo>
                  <a:pt x="316433" y="316079"/>
                  <a:pt x="377113" y="259314"/>
                  <a:pt x="383568" y="187067"/>
                </a:cubicBezTo>
                <a:cubicBezTo>
                  <a:pt x="353874" y="158685"/>
                  <a:pt x="324179" y="101919"/>
                  <a:pt x="317724" y="61926"/>
                </a:cubicBezTo>
                <a:close/>
                <a:moveTo>
                  <a:pt x="241551" y="0"/>
                </a:moveTo>
                <a:cubicBezTo>
                  <a:pt x="338381" y="0"/>
                  <a:pt x="415845" y="77407"/>
                  <a:pt x="415845" y="174166"/>
                </a:cubicBezTo>
                <a:cubicBezTo>
                  <a:pt x="415845" y="269635"/>
                  <a:pt x="338381" y="348332"/>
                  <a:pt x="241551" y="348332"/>
                </a:cubicBezTo>
                <a:cubicBezTo>
                  <a:pt x="146012" y="348332"/>
                  <a:pt x="68548" y="269635"/>
                  <a:pt x="68548" y="174166"/>
                </a:cubicBezTo>
                <a:cubicBezTo>
                  <a:pt x="68548" y="77407"/>
                  <a:pt x="146012" y="0"/>
                  <a:pt x="241551" y="0"/>
                </a:cubicBezTo>
                <a:close/>
              </a:path>
            </a:pathLst>
          </a:custGeom>
          <a:solidFill>
            <a:schemeClr val="accent1"/>
          </a:solidFill>
          <a:ln>
            <a:noFill/>
          </a:ln>
        </p:spPr>
      </p:sp>
      <p:sp>
        <p:nvSpPr>
          <p:cNvPr id="3" name="云形 2"/>
          <p:cNvSpPr/>
          <p:nvPr/>
        </p:nvSpPr>
        <p:spPr>
          <a:xfrm>
            <a:off x="947232" y="1205305"/>
            <a:ext cx="3513367" cy="1739590"/>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7" name="矩形 6"/>
          <p:cNvSpPr/>
          <p:nvPr/>
        </p:nvSpPr>
        <p:spPr>
          <a:xfrm>
            <a:off x="2785498" y="1705768"/>
            <a:ext cx="1107996" cy="369332"/>
          </a:xfrm>
          <a:prstGeom prst="rect">
            <a:avLst/>
          </a:prstGeom>
        </p:spPr>
        <p:txBody>
          <a:bodyPr wrap="none">
            <a:spAutoFit/>
          </a:bodyPr>
          <a:lstStyle/>
          <a:p>
            <a:pPr algn="ctr"/>
            <a:r>
              <a:rPr lang="zh-CN" altLang="en-US" dirty="0"/>
              <a:t>办银行卡</a:t>
            </a:r>
          </a:p>
        </p:txBody>
      </p:sp>
      <p:sp>
        <p:nvSpPr>
          <p:cNvPr id="8" name="矩形 7"/>
          <p:cNvSpPr/>
          <p:nvPr/>
        </p:nvSpPr>
        <p:spPr>
          <a:xfrm>
            <a:off x="1434937" y="1726276"/>
            <a:ext cx="1107996" cy="369332"/>
          </a:xfrm>
          <a:prstGeom prst="rect">
            <a:avLst/>
          </a:prstGeom>
        </p:spPr>
        <p:txBody>
          <a:bodyPr wrap="none">
            <a:spAutoFit/>
          </a:bodyPr>
          <a:lstStyle/>
          <a:p>
            <a:pPr algn="ctr"/>
            <a:r>
              <a:rPr lang="zh-CN" altLang="en-US" dirty="0"/>
              <a:t>开通网银</a:t>
            </a:r>
          </a:p>
        </p:txBody>
      </p:sp>
      <p:sp>
        <p:nvSpPr>
          <p:cNvPr id="9" name="矩形 8"/>
          <p:cNvSpPr/>
          <p:nvPr/>
        </p:nvSpPr>
        <p:spPr>
          <a:xfrm>
            <a:off x="2094783" y="2225096"/>
            <a:ext cx="1107996" cy="369332"/>
          </a:xfrm>
          <a:prstGeom prst="rect">
            <a:avLst/>
          </a:prstGeom>
        </p:spPr>
        <p:txBody>
          <a:bodyPr wrap="none">
            <a:spAutoFit/>
          </a:bodyPr>
          <a:lstStyle/>
          <a:p>
            <a:pPr algn="ctr"/>
            <a:r>
              <a:rPr lang="zh-CN" altLang="en-US" dirty="0"/>
              <a:t>办理贷款</a:t>
            </a:r>
          </a:p>
        </p:txBody>
      </p:sp>
      <p:cxnSp>
        <p:nvCxnSpPr>
          <p:cNvPr id="12" name="直接箭头连接符 11"/>
          <p:cNvCxnSpPr>
            <a:endCxn id="6" idx="1"/>
          </p:cNvCxnSpPr>
          <p:nvPr/>
        </p:nvCxnSpPr>
        <p:spPr>
          <a:xfrm flipV="1">
            <a:off x="3667536" y="2518708"/>
            <a:ext cx="2428464" cy="1272707"/>
          </a:xfrm>
          <a:prstGeom prst="straightConnector1">
            <a:avLst/>
          </a:prstGeom>
          <a:ln w="63500" cap="flat">
            <a:solidFill>
              <a:srgbClr val="00659E"/>
            </a:solidFill>
            <a:prstDash val="sysDash"/>
            <a:round/>
            <a:tailEnd type="triangle"/>
          </a:ln>
          <a:effectLst>
            <a:outerShdw blurRad="40000" dist="23000" dir="5400000" rotWithShape="0">
              <a:srgbClr val="000000">
                <a:alpha val="35000"/>
              </a:srgbClr>
            </a:outerShdw>
            <a:softEdge rad="0"/>
          </a:effectLst>
        </p:spPr>
        <p:style>
          <a:lnRef idx="3">
            <a:schemeClr val="accent1"/>
          </a:lnRef>
          <a:fillRef idx="0">
            <a:schemeClr val="accent1"/>
          </a:fillRef>
          <a:effectRef idx="2">
            <a:schemeClr val="accent1"/>
          </a:effectRef>
          <a:fontRef idx="minor">
            <a:schemeClr val="tx1"/>
          </a:fontRef>
        </p:style>
      </p:cxnSp>
      <p:cxnSp>
        <p:nvCxnSpPr>
          <p:cNvPr id="32" name="直接箭头连接符 31"/>
          <p:cNvCxnSpPr>
            <a:endCxn id="20" idx="1"/>
          </p:cNvCxnSpPr>
          <p:nvPr/>
        </p:nvCxnSpPr>
        <p:spPr>
          <a:xfrm>
            <a:off x="3667536" y="3791415"/>
            <a:ext cx="2428464" cy="822847"/>
          </a:xfrm>
          <a:prstGeom prst="straightConnector1">
            <a:avLst/>
          </a:prstGeom>
          <a:ln w="63500" cap="flat">
            <a:solidFill>
              <a:srgbClr val="00659E"/>
            </a:solidFill>
            <a:prstDash val="sysDash"/>
            <a:round/>
            <a:tailEnd type="triangle"/>
          </a:ln>
          <a:effectLst>
            <a:outerShdw blurRad="40000" dist="23000" dir="5400000" rotWithShape="0">
              <a:srgbClr val="000000">
                <a:alpha val="35000"/>
              </a:srgbClr>
            </a:outerShdw>
            <a:softEdge rad="0"/>
          </a:effectLst>
        </p:spPr>
        <p:style>
          <a:lnRef idx="3">
            <a:schemeClr val="accent1"/>
          </a:lnRef>
          <a:fillRef idx="0">
            <a:schemeClr val="accent1"/>
          </a:fillRef>
          <a:effectRef idx="2">
            <a:schemeClr val="accent1"/>
          </a:effectRef>
          <a:fontRef idx="minor">
            <a:schemeClr val="tx1"/>
          </a:fontRef>
        </p:style>
      </p:cxnSp>
      <p:cxnSp>
        <p:nvCxnSpPr>
          <p:cNvPr id="33" name="直接箭头连接符 32"/>
          <p:cNvCxnSpPr>
            <a:endCxn id="26" idx="1"/>
          </p:cNvCxnSpPr>
          <p:nvPr/>
        </p:nvCxnSpPr>
        <p:spPr>
          <a:xfrm>
            <a:off x="3667536" y="3850888"/>
            <a:ext cx="2428464" cy="2037860"/>
          </a:xfrm>
          <a:prstGeom prst="straightConnector1">
            <a:avLst/>
          </a:prstGeom>
          <a:ln w="63500" cap="flat">
            <a:solidFill>
              <a:srgbClr val="00659E"/>
            </a:solidFill>
            <a:prstDash val="sysDash"/>
            <a:round/>
            <a:tailEnd type="triangle"/>
          </a:ln>
          <a:effectLst>
            <a:outerShdw blurRad="40000" dist="23000" dir="5400000" rotWithShape="0">
              <a:srgbClr val="000000">
                <a:alpha val="35000"/>
              </a:srgbClr>
            </a:outerShdw>
            <a:softEdge rad="0"/>
          </a:effectLst>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41501505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3"/>
          <a:stretch>
            <a:fillRect/>
          </a:stretch>
        </p:blipFill>
        <p:spPr>
          <a:xfrm>
            <a:off x="1894466" y="1768059"/>
            <a:ext cx="3435615" cy="3443738"/>
          </a:xfrm>
          <a:prstGeom prst="rect">
            <a:avLst/>
          </a:prstGeom>
        </p:spPr>
      </p:pic>
      <p:pic>
        <p:nvPicPr>
          <p:cNvPr id="3" name="图片 2"/>
          <p:cNvPicPr>
            <a:picLocks noChangeAspect="1"/>
          </p:cNvPicPr>
          <p:nvPr/>
        </p:nvPicPr>
        <p:blipFill>
          <a:blip r:embed="rId4"/>
          <a:stretch>
            <a:fillRect/>
          </a:stretch>
        </p:blipFill>
        <p:spPr>
          <a:xfrm>
            <a:off x="6574986" y="1721221"/>
            <a:ext cx="3846876" cy="3747351"/>
          </a:xfrm>
          <a:prstGeom prst="rect">
            <a:avLst/>
          </a:prstGeom>
        </p:spPr>
      </p:pic>
      <p:grpSp>
        <p:nvGrpSpPr>
          <p:cNvPr id="4" name="组合 3">
            <a:extLst>
              <a:ext uri="{FF2B5EF4-FFF2-40B4-BE49-F238E27FC236}">
                <a16:creationId xmlns:a16="http://schemas.microsoft.com/office/drawing/2014/main" id="{0853A8D8-448C-4E50-AD38-219140CD6184}"/>
              </a:ext>
            </a:extLst>
          </p:cNvPr>
          <p:cNvGrpSpPr/>
          <p:nvPr/>
        </p:nvGrpSpPr>
        <p:grpSpPr>
          <a:xfrm>
            <a:off x="669925" y="210537"/>
            <a:ext cx="468000" cy="468000"/>
            <a:chOff x="669925" y="48611"/>
            <a:chExt cx="468000" cy="468000"/>
          </a:xfrm>
        </p:grpSpPr>
        <p:sp>
          <p:nvSpPr>
            <p:cNvPr id="5" name="椭圆 4">
              <a:extLst>
                <a:ext uri="{FF2B5EF4-FFF2-40B4-BE49-F238E27FC236}">
                  <a16:creationId xmlns:a16="http://schemas.microsoft.com/office/drawing/2014/main" id="{18765B3C-06BD-445D-B72B-512E55DEF34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sp>
          <p:nvSpPr>
            <p:cNvPr id="6" name="椭圆 5">
              <a:extLst>
                <a:ext uri="{FF2B5EF4-FFF2-40B4-BE49-F238E27FC236}">
                  <a16:creationId xmlns:a16="http://schemas.microsoft.com/office/drawing/2014/main" id="{A6AA7771-0E3D-4241-9DE3-825324394A29}"/>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panose="020B0604020202020204" pitchFamily="34" charset="0"/>
                <a:ea typeface="Microsoft YaHei" panose="020B0503020204020204" pitchFamily="34" charset="-122"/>
                <a:cs typeface="+mn-ea"/>
                <a:sym typeface="Arial" panose="020B0604020202020204" pitchFamily="34" charset="0"/>
              </a:endParaRPr>
            </a:p>
          </p:txBody>
        </p:sp>
      </p:grpSp>
      <p:sp>
        <p:nvSpPr>
          <p:cNvPr id="7" name="标题 1">
            <a:extLst>
              <a:ext uri="{FF2B5EF4-FFF2-40B4-BE49-F238E27FC236}">
                <a16:creationId xmlns:a16="http://schemas.microsoft.com/office/drawing/2014/main" id="{62930304-3D14-4FEB-B45D-709CE5948953}"/>
              </a:ext>
            </a:extLst>
          </p:cNvPr>
          <p:cNvSpPr txBox="1">
            <a:spLocks/>
          </p:cNvSpPr>
          <p:nvPr/>
        </p:nvSpPr>
        <p:spPr>
          <a:xfrm>
            <a:off x="1149783" y="198392"/>
            <a:ext cx="4092068" cy="57784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3200" b="0" dirty="0" smtClean="0">
                <a:latin typeface="Arial" panose="020B0604020202020204" pitchFamily="34" charset="0"/>
                <a:ea typeface="Microsoft YaHei" panose="020B0503020204020204" pitchFamily="34" charset="-122"/>
                <a:cs typeface="+mn-ea"/>
                <a:sym typeface="Arial" panose="020B0604020202020204" pitchFamily="34" charset="0"/>
              </a:rPr>
              <a:t>需求</a:t>
            </a:r>
            <a:endParaRPr lang="zh-CN" altLang="en-US" sz="3200" b="0" dirty="0">
              <a:latin typeface="Arial" panose="020B0604020202020204" pitchFamily="34" charset="0"/>
              <a:ea typeface="Microsoft YaHei" panose="020B0503020204020204" pitchFamily="34" charset="-122"/>
              <a:cs typeface="+mn-ea"/>
              <a:sym typeface="Arial" panose="020B0604020202020204" pitchFamily="34" charset="0"/>
            </a:endParaRPr>
          </a:p>
        </p:txBody>
      </p:sp>
    </p:spTree>
    <p:extLst>
      <p:ext uri="{BB962C8B-B14F-4D97-AF65-F5344CB8AC3E}">
        <p14:creationId xmlns:p14="http://schemas.microsoft.com/office/powerpoint/2010/main" val="4372025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fill="hold"/>
                                        <p:tgtEl>
                                          <p:spTgt spid="3"/>
                                        </p:tgtEl>
                                        <p:attrNameLst>
                                          <p:attrName>ppt_x</p:attrName>
                                        </p:attrNameLst>
                                      </p:cBhvr>
                                      <p:tavLst>
                                        <p:tav tm="0">
                                          <p:val>
                                            <p:strVal val="#ppt_x"/>
                                          </p:val>
                                        </p:tav>
                                        <p:tav tm="100000">
                                          <p:val>
                                            <p:strVal val="#ppt_x"/>
                                          </p:val>
                                        </p:tav>
                                      </p:tavLst>
                                    </p:anim>
                                    <p:anim calcmode="lin" valueType="num">
                                      <p:cBhvr additive="base">
                                        <p:cTn id="14"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p:cNvSpPr/>
          <p:nvPr/>
        </p:nvSpPr>
        <p:spPr>
          <a:xfrm>
            <a:off x="3668433" y="1233488"/>
            <a:ext cx="2150804" cy="500697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zh-CN" altLang="en-US" dirty="0" smtClean="0"/>
              <a:t>金融业务接待</a:t>
            </a:r>
            <a:endParaRPr lang="zh-CN" altLang="en-US" dirty="0"/>
          </a:p>
        </p:txBody>
      </p:sp>
      <p:sp>
        <p:nvSpPr>
          <p:cNvPr id="6" name="矩形 5"/>
          <p:cNvSpPr/>
          <p:nvPr/>
        </p:nvSpPr>
        <p:spPr>
          <a:xfrm>
            <a:off x="6096000" y="1130300"/>
            <a:ext cx="5424488" cy="277681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zh-CN" altLang="en-US" dirty="0" smtClean="0"/>
              <a:t>银行系统</a:t>
            </a:r>
            <a:endParaRPr lang="zh-CN" altLang="en-US" dirty="0"/>
          </a:p>
        </p:txBody>
      </p:sp>
      <p:sp>
        <p:nvSpPr>
          <p:cNvPr id="22" name="标题 1"/>
          <p:cNvSpPr>
            <a:spLocks noGrp="1"/>
          </p:cNvSpPr>
          <p:nvPr>
            <p:ph type="title"/>
          </p:nvPr>
        </p:nvSpPr>
        <p:spPr>
          <a:xfrm>
            <a:off x="1137925" y="205921"/>
            <a:ext cx="10401280" cy="695186"/>
          </a:xfrm>
        </p:spPr>
        <p:txBody>
          <a:bodyPr/>
          <a:lstStyle/>
          <a:p>
            <a:r>
              <a:rPr lang="zh-CN" altLang="en-US" sz="3200" b="0" dirty="0" smtClean="0">
                <a:latin typeface="Arial"/>
                <a:ea typeface="Microsoft YaHei"/>
                <a:cs typeface="+mn-ea"/>
                <a:sym typeface="Arial"/>
              </a:rPr>
              <a:t>外观模式</a:t>
            </a:r>
            <a:endParaRPr lang="zh-CN" altLang="en-US" sz="3200" b="0" dirty="0">
              <a:latin typeface="Arial"/>
              <a:ea typeface="Microsoft YaHei"/>
              <a:cs typeface="+mn-ea"/>
              <a:sym typeface="Arial"/>
            </a:endParaRPr>
          </a:p>
        </p:txBody>
      </p:sp>
      <p:grpSp>
        <p:nvGrpSpPr>
          <p:cNvPr id="23" name="组合 22">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24" name="椭圆 23">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25" name="椭圆 24">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
        <p:nvSpPr>
          <p:cNvPr id="29" name="î$ḷîḓê">
            <a:extLst>
              <a:ext uri="{FF2B5EF4-FFF2-40B4-BE49-F238E27FC236}">
                <a16:creationId xmlns:a16="http://schemas.microsoft.com/office/drawing/2014/main" id="{0120662D-08EC-45F4-BE9C-84021ADB4C9A}"/>
              </a:ext>
            </a:extLst>
          </p:cNvPr>
          <p:cNvSpPr/>
          <p:nvPr/>
        </p:nvSpPr>
        <p:spPr bwMode="gray">
          <a:xfrm>
            <a:off x="7211000" y="198392"/>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创建型模式</a:t>
            </a:r>
            <a:endParaRPr lang="en-US" altLang="zh-CN" sz="2400" dirty="0">
              <a:solidFill>
                <a:schemeClr val="bg1"/>
              </a:solidFill>
            </a:endParaRPr>
          </a:p>
        </p:txBody>
      </p:sp>
      <p:sp>
        <p:nvSpPr>
          <p:cNvPr id="30" name="î$ḷîḓê">
            <a:extLst>
              <a:ext uri="{FF2B5EF4-FFF2-40B4-BE49-F238E27FC236}">
                <a16:creationId xmlns:a16="http://schemas.microsoft.com/office/drawing/2014/main" id="{0120662D-08EC-45F4-BE9C-84021ADB4C9A}"/>
              </a:ext>
            </a:extLst>
          </p:cNvPr>
          <p:cNvSpPr/>
          <p:nvPr/>
        </p:nvSpPr>
        <p:spPr bwMode="gray">
          <a:xfrm>
            <a:off x="8749874" y="199746"/>
            <a:ext cx="1506790" cy="480145"/>
          </a:xfrm>
          <a:prstGeom prst="rect">
            <a:avLst/>
          </a:prstGeom>
          <a:solidFill>
            <a:schemeClr val="accent1"/>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结构型模式</a:t>
            </a:r>
            <a:endParaRPr lang="en-US" altLang="zh-CN" sz="2400" dirty="0">
              <a:solidFill>
                <a:schemeClr val="bg1"/>
              </a:solidFill>
            </a:endParaRPr>
          </a:p>
        </p:txBody>
      </p:sp>
      <p:sp>
        <p:nvSpPr>
          <p:cNvPr id="31" name="î$ḷîḓê">
            <a:extLst>
              <a:ext uri="{FF2B5EF4-FFF2-40B4-BE49-F238E27FC236}">
                <a16:creationId xmlns:a16="http://schemas.microsoft.com/office/drawing/2014/main" id="{0120662D-08EC-45F4-BE9C-84021ADB4C9A}"/>
              </a:ext>
            </a:extLst>
          </p:cNvPr>
          <p:cNvSpPr/>
          <p:nvPr/>
        </p:nvSpPr>
        <p:spPr bwMode="gray">
          <a:xfrm>
            <a:off x="10282004" y="189695"/>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行为型模式</a:t>
            </a:r>
            <a:endParaRPr lang="en-US" altLang="zh-CN" sz="2400" dirty="0">
              <a:solidFill>
                <a:schemeClr val="bg1"/>
              </a:solidFill>
            </a:endParaRPr>
          </a:p>
        </p:txBody>
      </p:sp>
      <p:sp>
        <p:nvSpPr>
          <p:cNvPr id="2" name="矩形 1"/>
          <p:cNvSpPr/>
          <p:nvPr/>
        </p:nvSpPr>
        <p:spPr>
          <a:xfrm>
            <a:off x="4318036" y="1801359"/>
            <a:ext cx="1364343" cy="61481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t>办银行卡</a:t>
            </a:r>
            <a:endParaRPr lang="zh-CN" altLang="en-US" dirty="0"/>
          </a:p>
        </p:txBody>
      </p:sp>
      <p:sp>
        <p:nvSpPr>
          <p:cNvPr id="10" name="矩形 9"/>
          <p:cNvSpPr/>
          <p:nvPr/>
        </p:nvSpPr>
        <p:spPr>
          <a:xfrm>
            <a:off x="4318036" y="2905831"/>
            <a:ext cx="1364343" cy="61481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t>开通网银</a:t>
            </a:r>
            <a:endParaRPr lang="zh-CN" altLang="en-US" dirty="0"/>
          </a:p>
        </p:txBody>
      </p:sp>
      <p:sp>
        <p:nvSpPr>
          <p:cNvPr id="4" name="圆角矩形 3"/>
          <p:cNvSpPr/>
          <p:nvPr/>
        </p:nvSpPr>
        <p:spPr>
          <a:xfrm>
            <a:off x="6338565" y="1524000"/>
            <a:ext cx="1658806" cy="48157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t>填写个人信息</a:t>
            </a:r>
            <a:endParaRPr lang="zh-CN" altLang="en-US" dirty="0"/>
          </a:p>
        </p:txBody>
      </p:sp>
      <p:sp>
        <p:nvSpPr>
          <p:cNvPr id="5" name="圆角矩形 4"/>
          <p:cNvSpPr/>
          <p:nvPr/>
        </p:nvSpPr>
        <p:spPr>
          <a:xfrm>
            <a:off x="6338565" y="2233467"/>
            <a:ext cx="1658806" cy="52616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取号</a:t>
            </a:r>
          </a:p>
        </p:txBody>
      </p:sp>
      <p:sp>
        <p:nvSpPr>
          <p:cNvPr id="14" name="圆角矩形 13"/>
          <p:cNvSpPr/>
          <p:nvPr/>
        </p:nvSpPr>
        <p:spPr>
          <a:xfrm>
            <a:off x="6338565" y="3154376"/>
            <a:ext cx="1658806" cy="52616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t>排号</a:t>
            </a:r>
            <a:endParaRPr lang="zh-CN" altLang="en-US" dirty="0"/>
          </a:p>
        </p:txBody>
      </p:sp>
      <p:sp>
        <p:nvSpPr>
          <p:cNvPr id="16" name="矩形 15"/>
          <p:cNvSpPr/>
          <p:nvPr/>
        </p:nvSpPr>
        <p:spPr>
          <a:xfrm>
            <a:off x="4318036" y="4010303"/>
            <a:ext cx="1364343" cy="61481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t>办理贷款</a:t>
            </a:r>
            <a:endParaRPr lang="zh-CN" altLang="en-US" dirty="0"/>
          </a:p>
        </p:txBody>
      </p:sp>
      <p:sp>
        <p:nvSpPr>
          <p:cNvPr id="17" name="圆角矩形 16"/>
          <p:cNvSpPr/>
          <p:nvPr/>
        </p:nvSpPr>
        <p:spPr>
          <a:xfrm>
            <a:off x="8597858" y="2276475"/>
            <a:ext cx="1658806" cy="52616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t>个人信息审核</a:t>
            </a:r>
            <a:endParaRPr lang="zh-CN" altLang="en-US" dirty="0"/>
          </a:p>
        </p:txBody>
      </p:sp>
      <p:sp>
        <p:nvSpPr>
          <p:cNvPr id="18" name="圆角矩形 17"/>
          <p:cNvSpPr/>
          <p:nvPr/>
        </p:nvSpPr>
        <p:spPr>
          <a:xfrm>
            <a:off x="8597858" y="3169021"/>
            <a:ext cx="1658806" cy="52616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t>资产审核</a:t>
            </a:r>
            <a:endParaRPr lang="zh-CN" altLang="en-US" dirty="0"/>
          </a:p>
        </p:txBody>
      </p:sp>
      <p:sp>
        <p:nvSpPr>
          <p:cNvPr id="19" name="圆角矩形 18"/>
          <p:cNvSpPr/>
          <p:nvPr/>
        </p:nvSpPr>
        <p:spPr>
          <a:xfrm>
            <a:off x="8597858" y="1501705"/>
            <a:ext cx="1658806" cy="52616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t>征信审核</a:t>
            </a:r>
            <a:endParaRPr lang="zh-CN" altLang="en-US" dirty="0"/>
          </a:p>
        </p:txBody>
      </p:sp>
      <p:sp>
        <p:nvSpPr>
          <p:cNvPr id="20" name="矩形 19"/>
          <p:cNvSpPr/>
          <p:nvPr/>
        </p:nvSpPr>
        <p:spPr>
          <a:xfrm>
            <a:off x="6096000" y="4046923"/>
            <a:ext cx="5297714" cy="113467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zh-CN" altLang="en-US" dirty="0" smtClean="0"/>
              <a:t>征信系统</a:t>
            </a:r>
            <a:endParaRPr lang="zh-CN" altLang="en-US" dirty="0"/>
          </a:p>
        </p:txBody>
      </p:sp>
      <p:sp>
        <p:nvSpPr>
          <p:cNvPr id="21" name="圆角矩形 20"/>
          <p:cNvSpPr/>
          <p:nvPr/>
        </p:nvSpPr>
        <p:spPr>
          <a:xfrm>
            <a:off x="6338565" y="4455728"/>
            <a:ext cx="1658806" cy="52616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t>查询征信</a:t>
            </a:r>
            <a:endParaRPr lang="zh-CN" altLang="en-US" dirty="0"/>
          </a:p>
        </p:txBody>
      </p:sp>
      <p:sp>
        <p:nvSpPr>
          <p:cNvPr id="26" name="矩形 25"/>
          <p:cNvSpPr/>
          <p:nvPr/>
        </p:nvSpPr>
        <p:spPr>
          <a:xfrm>
            <a:off x="6096000" y="5321409"/>
            <a:ext cx="5297714" cy="113467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zh-CN" altLang="en-US" dirty="0" smtClean="0"/>
              <a:t>资产查询系统</a:t>
            </a:r>
            <a:endParaRPr lang="zh-CN" altLang="en-US" dirty="0"/>
          </a:p>
        </p:txBody>
      </p:sp>
      <p:sp>
        <p:nvSpPr>
          <p:cNvPr id="27" name="圆角矩形 26"/>
          <p:cNvSpPr/>
          <p:nvPr/>
        </p:nvSpPr>
        <p:spPr>
          <a:xfrm>
            <a:off x="6338565" y="5741776"/>
            <a:ext cx="1658806" cy="52616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t>资产查询</a:t>
            </a:r>
            <a:endParaRPr lang="zh-CN" altLang="en-US" dirty="0"/>
          </a:p>
        </p:txBody>
      </p:sp>
      <p:sp>
        <p:nvSpPr>
          <p:cNvPr id="28" name="person-of-a-call-center-in-communication-with-headphones_15888"/>
          <p:cNvSpPr>
            <a:spLocks noChangeAspect="1"/>
          </p:cNvSpPr>
          <p:nvPr/>
        </p:nvSpPr>
        <p:spPr bwMode="auto">
          <a:xfrm>
            <a:off x="542442" y="2443657"/>
            <a:ext cx="1902735" cy="2339613"/>
          </a:xfrm>
          <a:custGeom>
            <a:avLst/>
            <a:gdLst>
              <a:gd name="connsiteX0" fmla="*/ 111087 w 484393"/>
              <a:gd name="connsiteY0" fmla="*/ 317268 h 602437"/>
              <a:gd name="connsiteX1" fmla="*/ 241551 w 484393"/>
              <a:gd name="connsiteY1" fmla="*/ 368882 h 602437"/>
              <a:gd name="connsiteX2" fmla="*/ 242842 w 484393"/>
              <a:gd name="connsiteY2" fmla="*/ 368882 h 602437"/>
              <a:gd name="connsiteX3" fmla="*/ 373306 w 484393"/>
              <a:gd name="connsiteY3" fmla="*/ 317268 h 602437"/>
              <a:gd name="connsiteX4" fmla="*/ 484393 w 484393"/>
              <a:gd name="connsiteY4" fmla="*/ 451465 h 602437"/>
              <a:gd name="connsiteX5" fmla="*/ 484393 w 484393"/>
              <a:gd name="connsiteY5" fmla="*/ 602437 h 602437"/>
              <a:gd name="connsiteX6" fmla="*/ 242842 w 484393"/>
              <a:gd name="connsiteY6" fmla="*/ 602437 h 602437"/>
              <a:gd name="connsiteX7" fmla="*/ 241551 w 484393"/>
              <a:gd name="connsiteY7" fmla="*/ 602437 h 602437"/>
              <a:gd name="connsiteX8" fmla="*/ 0 w 484393"/>
              <a:gd name="connsiteY8" fmla="*/ 602437 h 602437"/>
              <a:gd name="connsiteX9" fmla="*/ 0 w 484393"/>
              <a:gd name="connsiteY9" fmla="*/ 451465 h 602437"/>
              <a:gd name="connsiteX10" fmla="*/ 111087 w 484393"/>
              <a:gd name="connsiteY10" fmla="*/ 317268 h 602437"/>
              <a:gd name="connsiteX11" fmla="*/ 317724 w 484393"/>
              <a:gd name="connsiteY11" fmla="*/ 61926 h 602437"/>
              <a:gd name="connsiteX12" fmla="*/ 109862 w 484393"/>
              <a:gd name="connsiteY12" fmla="*/ 119981 h 602437"/>
              <a:gd name="connsiteX13" fmla="*/ 99534 w 484393"/>
              <a:gd name="connsiteY13" fmla="*/ 171586 h 602437"/>
              <a:gd name="connsiteX14" fmla="*/ 204110 w 484393"/>
              <a:gd name="connsiteY14" fmla="*/ 277375 h 602437"/>
              <a:gd name="connsiteX15" fmla="*/ 202819 w 484393"/>
              <a:gd name="connsiteY15" fmla="*/ 274795 h 602437"/>
              <a:gd name="connsiteX16" fmla="*/ 233805 w 484393"/>
              <a:gd name="connsiteY16" fmla="*/ 259314 h 602437"/>
              <a:gd name="connsiteX17" fmla="*/ 264790 w 484393"/>
              <a:gd name="connsiteY17" fmla="*/ 274795 h 602437"/>
              <a:gd name="connsiteX18" fmla="*/ 236387 w 484393"/>
              <a:gd name="connsiteY18" fmla="*/ 288987 h 602437"/>
              <a:gd name="connsiteX19" fmla="*/ 233805 w 484393"/>
              <a:gd name="connsiteY19" fmla="*/ 288987 h 602437"/>
              <a:gd name="connsiteX20" fmla="*/ 226058 w 484393"/>
              <a:gd name="connsiteY20" fmla="*/ 288987 h 602437"/>
              <a:gd name="connsiteX21" fmla="*/ 113735 w 484393"/>
              <a:gd name="connsiteY21" fmla="*/ 234802 h 602437"/>
              <a:gd name="connsiteX22" fmla="*/ 241551 w 484393"/>
              <a:gd name="connsiteY22" fmla="*/ 316079 h 602437"/>
              <a:gd name="connsiteX23" fmla="*/ 383568 w 484393"/>
              <a:gd name="connsiteY23" fmla="*/ 187067 h 602437"/>
              <a:gd name="connsiteX24" fmla="*/ 317724 w 484393"/>
              <a:gd name="connsiteY24" fmla="*/ 61926 h 602437"/>
              <a:gd name="connsiteX25" fmla="*/ 241551 w 484393"/>
              <a:gd name="connsiteY25" fmla="*/ 0 h 602437"/>
              <a:gd name="connsiteX26" fmla="*/ 415845 w 484393"/>
              <a:gd name="connsiteY26" fmla="*/ 174166 h 602437"/>
              <a:gd name="connsiteX27" fmla="*/ 241551 w 484393"/>
              <a:gd name="connsiteY27" fmla="*/ 348332 h 602437"/>
              <a:gd name="connsiteX28" fmla="*/ 68548 w 484393"/>
              <a:gd name="connsiteY28" fmla="*/ 174166 h 602437"/>
              <a:gd name="connsiteX29" fmla="*/ 241551 w 484393"/>
              <a:gd name="connsiteY29" fmla="*/ 0 h 602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84393" h="602437">
                <a:moveTo>
                  <a:pt x="111087" y="317268"/>
                </a:moveTo>
                <a:cubicBezTo>
                  <a:pt x="144672" y="349527"/>
                  <a:pt x="191174" y="368882"/>
                  <a:pt x="241551" y="368882"/>
                </a:cubicBezTo>
                <a:cubicBezTo>
                  <a:pt x="242842" y="368882"/>
                  <a:pt x="242842" y="368882"/>
                  <a:pt x="242842" y="368882"/>
                </a:cubicBezTo>
                <a:cubicBezTo>
                  <a:pt x="293219" y="368882"/>
                  <a:pt x="338429" y="349527"/>
                  <a:pt x="373306" y="317268"/>
                </a:cubicBezTo>
                <a:cubicBezTo>
                  <a:pt x="436600" y="330172"/>
                  <a:pt x="484393" y="384367"/>
                  <a:pt x="484393" y="451465"/>
                </a:cubicBezTo>
                <a:lnTo>
                  <a:pt x="484393" y="602437"/>
                </a:lnTo>
                <a:lnTo>
                  <a:pt x="242842" y="602437"/>
                </a:lnTo>
                <a:lnTo>
                  <a:pt x="241551" y="602437"/>
                </a:lnTo>
                <a:lnTo>
                  <a:pt x="0" y="602437"/>
                </a:lnTo>
                <a:lnTo>
                  <a:pt x="0" y="451465"/>
                </a:lnTo>
                <a:cubicBezTo>
                  <a:pt x="0" y="384367"/>
                  <a:pt x="47793" y="330172"/>
                  <a:pt x="111087" y="317268"/>
                </a:cubicBezTo>
                <a:close/>
                <a:moveTo>
                  <a:pt x="317724" y="61926"/>
                </a:moveTo>
                <a:cubicBezTo>
                  <a:pt x="309978" y="83858"/>
                  <a:pt x="149885" y="116111"/>
                  <a:pt x="109862" y="119981"/>
                </a:cubicBezTo>
                <a:cubicBezTo>
                  <a:pt x="103407" y="136753"/>
                  <a:pt x="99534" y="153524"/>
                  <a:pt x="99534" y="171586"/>
                </a:cubicBezTo>
                <a:cubicBezTo>
                  <a:pt x="103407" y="223190"/>
                  <a:pt x="146012" y="264474"/>
                  <a:pt x="204110" y="277375"/>
                </a:cubicBezTo>
                <a:cubicBezTo>
                  <a:pt x="204110" y="276085"/>
                  <a:pt x="202819" y="274795"/>
                  <a:pt x="202819" y="274795"/>
                </a:cubicBezTo>
                <a:cubicBezTo>
                  <a:pt x="202819" y="265764"/>
                  <a:pt x="217021" y="259314"/>
                  <a:pt x="233805" y="259314"/>
                </a:cubicBezTo>
                <a:cubicBezTo>
                  <a:pt x="251880" y="259314"/>
                  <a:pt x="264790" y="265764"/>
                  <a:pt x="264790" y="274795"/>
                </a:cubicBezTo>
                <a:cubicBezTo>
                  <a:pt x="264790" y="282536"/>
                  <a:pt x="253171" y="288987"/>
                  <a:pt x="236387" y="288987"/>
                </a:cubicBezTo>
                <a:cubicBezTo>
                  <a:pt x="236387" y="288987"/>
                  <a:pt x="235096" y="288987"/>
                  <a:pt x="233805" y="288987"/>
                </a:cubicBezTo>
                <a:cubicBezTo>
                  <a:pt x="231222" y="288987"/>
                  <a:pt x="228640" y="288987"/>
                  <a:pt x="226058" y="288987"/>
                </a:cubicBezTo>
                <a:cubicBezTo>
                  <a:pt x="179580" y="286406"/>
                  <a:pt x="138266" y="265764"/>
                  <a:pt x="113735" y="234802"/>
                </a:cubicBezTo>
                <a:cubicBezTo>
                  <a:pt x="136975" y="282536"/>
                  <a:pt x="184744" y="316079"/>
                  <a:pt x="241551" y="316079"/>
                </a:cubicBezTo>
                <a:cubicBezTo>
                  <a:pt x="316433" y="316079"/>
                  <a:pt x="377113" y="259314"/>
                  <a:pt x="383568" y="187067"/>
                </a:cubicBezTo>
                <a:cubicBezTo>
                  <a:pt x="353874" y="158685"/>
                  <a:pt x="324179" y="101919"/>
                  <a:pt x="317724" y="61926"/>
                </a:cubicBezTo>
                <a:close/>
                <a:moveTo>
                  <a:pt x="241551" y="0"/>
                </a:moveTo>
                <a:cubicBezTo>
                  <a:pt x="338381" y="0"/>
                  <a:pt x="415845" y="77407"/>
                  <a:pt x="415845" y="174166"/>
                </a:cubicBezTo>
                <a:cubicBezTo>
                  <a:pt x="415845" y="269635"/>
                  <a:pt x="338381" y="348332"/>
                  <a:pt x="241551" y="348332"/>
                </a:cubicBezTo>
                <a:cubicBezTo>
                  <a:pt x="146012" y="348332"/>
                  <a:pt x="68548" y="269635"/>
                  <a:pt x="68548" y="174166"/>
                </a:cubicBezTo>
                <a:cubicBezTo>
                  <a:pt x="68548" y="77407"/>
                  <a:pt x="146012" y="0"/>
                  <a:pt x="241551" y="0"/>
                </a:cubicBezTo>
                <a:close/>
              </a:path>
            </a:pathLst>
          </a:custGeom>
          <a:solidFill>
            <a:schemeClr val="accent1"/>
          </a:solidFill>
          <a:ln>
            <a:noFill/>
          </a:ln>
        </p:spPr>
        <p:txBody>
          <a:bodyPr/>
          <a:lstStyle/>
          <a:p>
            <a:endParaRPr lang="zh-CN" altLang="en-US"/>
          </a:p>
        </p:txBody>
      </p:sp>
      <p:cxnSp>
        <p:nvCxnSpPr>
          <p:cNvPr id="8" name="直接箭头连接符 7"/>
          <p:cNvCxnSpPr/>
          <p:nvPr/>
        </p:nvCxnSpPr>
        <p:spPr>
          <a:xfrm>
            <a:off x="2215376" y="3520648"/>
            <a:ext cx="1453057" cy="0"/>
          </a:xfrm>
          <a:prstGeom prst="straightConnector1">
            <a:avLst/>
          </a:prstGeom>
          <a:ln w="63500" cap="flat">
            <a:solidFill>
              <a:srgbClr val="00659E"/>
            </a:solidFill>
            <a:prstDash val="sysDash"/>
            <a:round/>
            <a:tailEnd type="triangle"/>
          </a:ln>
          <a:effectLst>
            <a:outerShdw blurRad="40000" dist="23000" dir="5400000" rotWithShape="0">
              <a:srgbClr val="000000">
                <a:alpha val="35000"/>
              </a:srgbClr>
            </a:outerShdw>
            <a:softEdge rad="0"/>
          </a:effectLst>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390902392"/>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a:blip r:embed="rId3"/>
          <a:stretch>
            <a:fillRect/>
          </a:stretch>
        </p:blipFill>
        <p:spPr>
          <a:xfrm>
            <a:off x="1501045" y="686066"/>
            <a:ext cx="8641396" cy="5625524"/>
          </a:xfrm>
          <a:prstGeom prst="rect">
            <a:avLst/>
          </a:prstGeom>
        </p:spPr>
      </p:pic>
      <p:sp>
        <p:nvSpPr>
          <p:cNvPr id="22" name="标题 1"/>
          <p:cNvSpPr>
            <a:spLocks noGrp="1"/>
          </p:cNvSpPr>
          <p:nvPr>
            <p:ph type="title"/>
          </p:nvPr>
        </p:nvSpPr>
        <p:spPr>
          <a:xfrm>
            <a:off x="1137925" y="205921"/>
            <a:ext cx="10401280" cy="695186"/>
          </a:xfrm>
        </p:spPr>
        <p:txBody>
          <a:bodyPr/>
          <a:lstStyle/>
          <a:p>
            <a:r>
              <a:rPr lang="zh-CN" altLang="en-US" sz="3200" b="0" dirty="0" smtClean="0">
                <a:latin typeface="Arial"/>
                <a:ea typeface="Microsoft YaHei"/>
                <a:cs typeface="+mn-ea"/>
                <a:sym typeface="Arial"/>
              </a:rPr>
              <a:t>外观模式</a:t>
            </a:r>
            <a:endParaRPr lang="zh-CN" altLang="en-US" sz="3200" b="0" dirty="0">
              <a:latin typeface="Arial"/>
              <a:ea typeface="Microsoft YaHei"/>
              <a:cs typeface="+mn-ea"/>
              <a:sym typeface="Arial"/>
            </a:endParaRPr>
          </a:p>
        </p:txBody>
      </p:sp>
      <p:grpSp>
        <p:nvGrpSpPr>
          <p:cNvPr id="23" name="组合 22">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24" name="椭圆 23">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25" name="椭圆 24">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
        <p:nvSpPr>
          <p:cNvPr id="29" name="î$ḷîḓê">
            <a:extLst>
              <a:ext uri="{FF2B5EF4-FFF2-40B4-BE49-F238E27FC236}">
                <a16:creationId xmlns:a16="http://schemas.microsoft.com/office/drawing/2014/main" id="{0120662D-08EC-45F4-BE9C-84021ADB4C9A}"/>
              </a:ext>
            </a:extLst>
          </p:cNvPr>
          <p:cNvSpPr/>
          <p:nvPr/>
        </p:nvSpPr>
        <p:spPr bwMode="gray">
          <a:xfrm>
            <a:off x="7211000" y="198392"/>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创建型模式</a:t>
            </a:r>
            <a:endParaRPr lang="en-US" altLang="zh-CN" sz="2400" dirty="0">
              <a:solidFill>
                <a:schemeClr val="bg1"/>
              </a:solidFill>
            </a:endParaRPr>
          </a:p>
        </p:txBody>
      </p:sp>
      <p:sp>
        <p:nvSpPr>
          <p:cNvPr id="30" name="î$ḷîḓê">
            <a:extLst>
              <a:ext uri="{FF2B5EF4-FFF2-40B4-BE49-F238E27FC236}">
                <a16:creationId xmlns:a16="http://schemas.microsoft.com/office/drawing/2014/main" id="{0120662D-08EC-45F4-BE9C-84021ADB4C9A}"/>
              </a:ext>
            </a:extLst>
          </p:cNvPr>
          <p:cNvSpPr/>
          <p:nvPr/>
        </p:nvSpPr>
        <p:spPr bwMode="gray">
          <a:xfrm>
            <a:off x="8749874" y="199746"/>
            <a:ext cx="1506790" cy="480145"/>
          </a:xfrm>
          <a:prstGeom prst="rect">
            <a:avLst/>
          </a:prstGeom>
          <a:solidFill>
            <a:schemeClr val="accent1"/>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结构型模式</a:t>
            </a:r>
            <a:endParaRPr lang="en-US" altLang="zh-CN" sz="2400" dirty="0">
              <a:solidFill>
                <a:schemeClr val="bg1"/>
              </a:solidFill>
            </a:endParaRPr>
          </a:p>
        </p:txBody>
      </p:sp>
      <p:sp>
        <p:nvSpPr>
          <p:cNvPr id="31" name="î$ḷîḓê">
            <a:extLst>
              <a:ext uri="{FF2B5EF4-FFF2-40B4-BE49-F238E27FC236}">
                <a16:creationId xmlns:a16="http://schemas.microsoft.com/office/drawing/2014/main" id="{0120662D-08EC-45F4-BE9C-84021ADB4C9A}"/>
              </a:ext>
            </a:extLst>
          </p:cNvPr>
          <p:cNvSpPr/>
          <p:nvPr/>
        </p:nvSpPr>
        <p:spPr bwMode="gray">
          <a:xfrm>
            <a:off x="10282004" y="189695"/>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行为型模式</a:t>
            </a:r>
            <a:endParaRPr lang="en-US" altLang="zh-CN" sz="2400" dirty="0">
              <a:solidFill>
                <a:schemeClr val="bg1"/>
              </a:solidFill>
            </a:endParaRPr>
          </a:p>
        </p:txBody>
      </p:sp>
      <p:sp>
        <p:nvSpPr>
          <p:cNvPr id="3" name="圆角矩形 2"/>
          <p:cNvSpPr/>
          <p:nvPr/>
        </p:nvSpPr>
        <p:spPr>
          <a:xfrm>
            <a:off x="3865756" y="3419707"/>
            <a:ext cx="3769112" cy="624469"/>
          </a:xfrm>
          <a:prstGeom prst="roundRect">
            <a:avLst/>
          </a:prstGeom>
          <a:noFill/>
          <a:ln w="63500">
            <a:solidFill>
              <a:srgbClr val="008C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9" name="直接箭头连接符 8"/>
          <p:cNvCxnSpPr>
            <a:stCxn id="3" idx="3"/>
          </p:cNvCxnSpPr>
          <p:nvPr/>
        </p:nvCxnSpPr>
        <p:spPr>
          <a:xfrm flipV="1">
            <a:off x="7634868" y="3251202"/>
            <a:ext cx="1082922" cy="480740"/>
          </a:xfrm>
          <a:prstGeom prst="straightConnector1">
            <a:avLst/>
          </a:prstGeom>
          <a:ln w="63500">
            <a:solidFill>
              <a:srgbClr val="008CD7"/>
            </a:solidFill>
            <a:tailEnd type="triangle"/>
          </a:ln>
        </p:spPr>
        <p:style>
          <a:lnRef idx="1">
            <a:schemeClr val="accent1"/>
          </a:lnRef>
          <a:fillRef idx="0">
            <a:schemeClr val="accent1"/>
          </a:fillRef>
          <a:effectRef idx="0">
            <a:schemeClr val="accent1"/>
          </a:effectRef>
          <a:fontRef idx="minor">
            <a:schemeClr val="tx1"/>
          </a:fontRef>
        </p:style>
      </p:cxnSp>
      <p:sp>
        <p:nvSpPr>
          <p:cNvPr id="11" name="矩形 10"/>
          <p:cNvSpPr/>
          <p:nvPr/>
        </p:nvSpPr>
        <p:spPr>
          <a:xfrm>
            <a:off x="8421595" y="2651035"/>
            <a:ext cx="3071905" cy="1200329"/>
          </a:xfrm>
          <a:prstGeom prst="rect">
            <a:avLst/>
          </a:prstGeom>
          <a:noFill/>
        </p:spPr>
        <p:txBody>
          <a:bodyPr wrap="square" lIns="91440" tIns="45720" rIns="91440" bIns="45720">
            <a:spAutoFit/>
          </a:bodyPr>
          <a:lstStyle/>
          <a:p>
            <a:pPr algn="ctr"/>
            <a:r>
              <a:rPr lang="zh-CN" altLang="en-US" sz="4800" b="0" cap="none" spc="0" dirty="0" smtClean="0">
                <a:ln w="0"/>
                <a:solidFill>
                  <a:srgbClr val="7030A0"/>
                </a:solidFill>
                <a:effectLst>
                  <a:outerShdw blurRad="38100" dist="25400" dir="5400000" algn="ctr" rotWithShape="0">
                    <a:srgbClr val="6E747A">
                      <a:alpha val="43000"/>
                    </a:srgbClr>
                  </a:outerShdw>
                </a:effectLst>
                <a:latin typeface="华文行楷" panose="02010800040101010101" pitchFamily="2" charset="-122"/>
                <a:ea typeface="华文行楷" panose="02010800040101010101" pitchFamily="2" charset="-122"/>
              </a:rPr>
              <a:t>组合</a:t>
            </a:r>
            <a:r>
              <a:rPr lang="zh-CN" altLang="en-US" sz="2400" b="1" cap="none" spc="0" dirty="0" smtClean="0">
                <a:ln w="0"/>
                <a:solidFill>
                  <a:schemeClr val="accent1"/>
                </a:solidFill>
                <a:effectLst>
                  <a:outerShdw blurRad="38100" dist="25400" dir="5400000" algn="ctr" rotWithShape="0">
                    <a:srgbClr val="6E747A">
                      <a:alpha val="43000"/>
                    </a:srgbClr>
                  </a:outerShdw>
                </a:effectLst>
              </a:rPr>
              <a:t>复杂行为，对外形成门面。</a:t>
            </a:r>
            <a:endParaRPr lang="zh-CN" altLang="en-US" sz="2400" b="1" cap="none" spc="0" dirty="0">
              <a:ln w="0"/>
              <a:solidFill>
                <a:schemeClr val="accent1"/>
              </a:solidFill>
              <a:effectLst>
                <a:outerShdw blurRad="38100" dist="25400" dir="5400000" algn="ctr" rotWithShape="0">
                  <a:srgbClr val="6E747A">
                    <a:alpha val="43000"/>
                  </a:srgbClr>
                </a:outerShdw>
              </a:effectLst>
            </a:endParaRPr>
          </a:p>
        </p:txBody>
      </p:sp>
      <p:sp>
        <p:nvSpPr>
          <p:cNvPr id="10" name="圆角矩形 9"/>
          <p:cNvSpPr/>
          <p:nvPr/>
        </p:nvSpPr>
        <p:spPr>
          <a:xfrm>
            <a:off x="3947532" y="2596040"/>
            <a:ext cx="2319454" cy="325579"/>
          </a:xfrm>
          <a:prstGeom prst="roundRect">
            <a:avLst/>
          </a:prstGeom>
          <a:noFill/>
          <a:ln w="63500">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圆角矩形 19"/>
          <p:cNvSpPr/>
          <p:nvPr/>
        </p:nvSpPr>
        <p:spPr>
          <a:xfrm>
            <a:off x="7482469" y="5438502"/>
            <a:ext cx="1921726" cy="325579"/>
          </a:xfrm>
          <a:prstGeom prst="roundRect">
            <a:avLst/>
          </a:prstGeom>
          <a:noFill/>
          <a:ln w="63500">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文本框 11"/>
          <p:cNvSpPr txBox="1"/>
          <p:nvPr/>
        </p:nvSpPr>
        <p:spPr>
          <a:xfrm>
            <a:off x="9812807" y="5185792"/>
            <a:ext cx="2056033" cy="830997"/>
          </a:xfrm>
          <a:prstGeom prst="rect">
            <a:avLst/>
          </a:prstGeom>
          <a:noFill/>
        </p:spPr>
        <p:txBody>
          <a:bodyPr wrap="square" rtlCol="0">
            <a:spAutoFit/>
          </a:bodyPr>
          <a:lstStyle/>
          <a:p>
            <a:r>
              <a:rPr lang="zh-CN" altLang="en-US" sz="2400" b="1" dirty="0" smtClean="0">
                <a:solidFill>
                  <a:srgbClr val="00659E"/>
                </a:solidFill>
              </a:rPr>
              <a:t>系统内部的接口对外隐藏</a:t>
            </a:r>
            <a:r>
              <a:rPr lang="zh-CN" altLang="en-US" b="1" dirty="0" smtClean="0">
                <a:solidFill>
                  <a:srgbClr val="00659E"/>
                </a:solidFill>
              </a:rPr>
              <a:t>。</a:t>
            </a:r>
            <a:endParaRPr lang="zh-CN" altLang="en-US" b="1" dirty="0">
              <a:solidFill>
                <a:srgbClr val="00659E"/>
              </a:solidFill>
            </a:endParaRPr>
          </a:p>
        </p:txBody>
      </p:sp>
      <p:cxnSp>
        <p:nvCxnSpPr>
          <p:cNvPr id="14" name="直接箭头连接符 13"/>
          <p:cNvCxnSpPr>
            <a:stCxn id="20" idx="3"/>
            <a:endCxn id="12" idx="1"/>
          </p:cNvCxnSpPr>
          <p:nvPr/>
        </p:nvCxnSpPr>
        <p:spPr>
          <a:xfrm flipV="1">
            <a:off x="9404195" y="5601291"/>
            <a:ext cx="408612" cy="1"/>
          </a:xfrm>
          <a:prstGeom prst="straightConnector1">
            <a:avLst/>
          </a:prstGeom>
          <a:ln w="63500" cap="flat">
            <a:solidFill>
              <a:srgbClr val="00659E"/>
            </a:solidFill>
            <a:prstDash val="sysDash"/>
            <a:round/>
            <a:tailEnd type="triangle"/>
          </a:ln>
          <a:effectLst>
            <a:outerShdw blurRad="40000" dist="23000" dir="5400000" rotWithShape="0">
              <a:srgbClr val="000000">
                <a:alpha val="35000"/>
              </a:srgbClr>
            </a:outerShdw>
            <a:softEdge rad="0"/>
          </a:effectLst>
        </p:spPr>
        <p:style>
          <a:lnRef idx="3">
            <a:schemeClr val="accent1"/>
          </a:lnRef>
          <a:fillRef idx="0">
            <a:schemeClr val="accent1"/>
          </a:fillRef>
          <a:effectRef idx="2">
            <a:schemeClr val="accent1"/>
          </a:effectRef>
          <a:fontRef idx="minor">
            <a:schemeClr val="tx1"/>
          </a:fontRef>
        </p:style>
      </p:cxnSp>
      <p:sp>
        <p:nvSpPr>
          <p:cNvPr id="2" name="文本框 1"/>
          <p:cNvSpPr txBox="1"/>
          <p:nvPr/>
        </p:nvSpPr>
        <p:spPr>
          <a:xfrm>
            <a:off x="408878" y="3105834"/>
            <a:ext cx="1092167" cy="646331"/>
          </a:xfrm>
          <a:prstGeom prst="rect">
            <a:avLst/>
          </a:prstGeom>
          <a:noFill/>
        </p:spPr>
        <p:txBody>
          <a:bodyPr wrap="square" rtlCol="0">
            <a:spAutoFit/>
          </a:bodyPr>
          <a:lstStyle/>
          <a:p>
            <a:r>
              <a:rPr lang="zh-CN" altLang="en-US" dirty="0" smtClean="0"/>
              <a:t>封闭性、开放性。</a:t>
            </a:r>
            <a:endParaRPr lang="zh-CN" altLang="en-US" dirty="0"/>
          </a:p>
        </p:txBody>
      </p:sp>
    </p:spTree>
    <p:extLst>
      <p:ext uri="{BB962C8B-B14F-4D97-AF65-F5344CB8AC3E}">
        <p14:creationId xmlns:p14="http://schemas.microsoft.com/office/powerpoint/2010/main" val="17719688"/>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矩形 94"/>
          <p:cNvSpPr/>
          <p:nvPr/>
        </p:nvSpPr>
        <p:spPr>
          <a:xfrm>
            <a:off x="6282354" y="1130300"/>
            <a:ext cx="5144429" cy="4675768"/>
          </a:xfrm>
          <a:prstGeom prst="rect">
            <a:avLst/>
          </a:prstGeom>
          <a:gradFill flip="none" rotWithShape="1">
            <a:gsLst>
              <a:gs pos="0">
                <a:schemeClr val="accent1">
                  <a:lumMod val="20000"/>
                  <a:lumOff val="80000"/>
                  <a:shade val="30000"/>
                  <a:satMod val="115000"/>
                </a:schemeClr>
              </a:gs>
              <a:gs pos="50000">
                <a:schemeClr val="accent1">
                  <a:lumMod val="20000"/>
                  <a:lumOff val="80000"/>
                  <a:shade val="67500"/>
                  <a:satMod val="115000"/>
                </a:schemeClr>
              </a:gs>
              <a:gs pos="100000">
                <a:schemeClr val="accent1">
                  <a:lumMod val="20000"/>
                  <a:lumOff val="80000"/>
                  <a:shade val="100000"/>
                  <a:satMod val="115000"/>
                </a:schemeClr>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3" name="矩形 92"/>
          <p:cNvSpPr/>
          <p:nvPr/>
        </p:nvSpPr>
        <p:spPr>
          <a:xfrm>
            <a:off x="594732" y="1130300"/>
            <a:ext cx="5144429" cy="4675768"/>
          </a:xfrm>
          <a:prstGeom prst="rect">
            <a:avLst/>
          </a:prstGeom>
          <a:gradFill flip="none" rotWithShape="1">
            <a:gsLst>
              <a:gs pos="0">
                <a:schemeClr val="accent1">
                  <a:lumMod val="20000"/>
                  <a:lumOff val="80000"/>
                  <a:shade val="30000"/>
                  <a:satMod val="115000"/>
                </a:schemeClr>
              </a:gs>
              <a:gs pos="50000">
                <a:schemeClr val="accent1">
                  <a:lumMod val="20000"/>
                  <a:lumOff val="80000"/>
                  <a:shade val="67500"/>
                  <a:satMod val="115000"/>
                </a:schemeClr>
              </a:gs>
              <a:gs pos="100000">
                <a:schemeClr val="accent1">
                  <a:lumMod val="20000"/>
                  <a:lumOff val="80000"/>
                  <a:shade val="100000"/>
                  <a:satMod val="115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标题 1"/>
          <p:cNvSpPr>
            <a:spLocks noGrp="1"/>
          </p:cNvSpPr>
          <p:nvPr>
            <p:ph type="title"/>
          </p:nvPr>
        </p:nvSpPr>
        <p:spPr>
          <a:xfrm>
            <a:off x="1137925" y="205921"/>
            <a:ext cx="10401280" cy="695186"/>
          </a:xfrm>
        </p:spPr>
        <p:txBody>
          <a:bodyPr/>
          <a:lstStyle/>
          <a:p>
            <a:r>
              <a:rPr lang="zh-CN" altLang="en-US" sz="3200" b="0" dirty="0" smtClean="0">
                <a:latin typeface="Arial"/>
                <a:ea typeface="Microsoft YaHei"/>
                <a:cs typeface="+mn-ea"/>
                <a:sym typeface="Arial"/>
              </a:rPr>
              <a:t>桥接模式</a:t>
            </a:r>
            <a:endParaRPr lang="zh-CN" altLang="en-US" sz="3200" b="0" dirty="0">
              <a:latin typeface="Arial"/>
              <a:ea typeface="Microsoft YaHei"/>
              <a:cs typeface="+mn-ea"/>
              <a:sym typeface="Arial"/>
            </a:endParaRPr>
          </a:p>
        </p:txBody>
      </p:sp>
      <p:grpSp>
        <p:nvGrpSpPr>
          <p:cNvPr id="23" name="组合 22">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24" name="椭圆 23">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25" name="椭圆 24">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
        <p:nvSpPr>
          <p:cNvPr id="29" name="î$ḷîḓê">
            <a:extLst>
              <a:ext uri="{FF2B5EF4-FFF2-40B4-BE49-F238E27FC236}">
                <a16:creationId xmlns:a16="http://schemas.microsoft.com/office/drawing/2014/main" id="{0120662D-08EC-45F4-BE9C-84021ADB4C9A}"/>
              </a:ext>
            </a:extLst>
          </p:cNvPr>
          <p:cNvSpPr/>
          <p:nvPr/>
        </p:nvSpPr>
        <p:spPr bwMode="gray">
          <a:xfrm>
            <a:off x="7211000" y="198392"/>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创建型模式</a:t>
            </a:r>
            <a:endParaRPr lang="en-US" altLang="zh-CN" sz="2400" dirty="0">
              <a:solidFill>
                <a:schemeClr val="bg1"/>
              </a:solidFill>
            </a:endParaRPr>
          </a:p>
        </p:txBody>
      </p:sp>
      <p:sp>
        <p:nvSpPr>
          <p:cNvPr id="30" name="î$ḷîḓê">
            <a:extLst>
              <a:ext uri="{FF2B5EF4-FFF2-40B4-BE49-F238E27FC236}">
                <a16:creationId xmlns:a16="http://schemas.microsoft.com/office/drawing/2014/main" id="{0120662D-08EC-45F4-BE9C-84021ADB4C9A}"/>
              </a:ext>
            </a:extLst>
          </p:cNvPr>
          <p:cNvSpPr/>
          <p:nvPr/>
        </p:nvSpPr>
        <p:spPr bwMode="gray">
          <a:xfrm>
            <a:off x="8749874" y="199746"/>
            <a:ext cx="1506790" cy="480145"/>
          </a:xfrm>
          <a:prstGeom prst="rect">
            <a:avLst/>
          </a:prstGeom>
          <a:solidFill>
            <a:schemeClr val="accent1"/>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结构型模式</a:t>
            </a:r>
            <a:endParaRPr lang="en-US" altLang="zh-CN" sz="2400" dirty="0">
              <a:solidFill>
                <a:schemeClr val="bg1"/>
              </a:solidFill>
            </a:endParaRPr>
          </a:p>
        </p:txBody>
      </p:sp>
      <p:sp>
        <p:nvSpPr>
          <p:cNvPr id="31" name="î$ḷîḓê">
            <a:extLst>
              <a:ext uri="{FF2B5EF4-FFF2-40B4-BE49-F238E27FC236}">
                <a16:creationId xmlns:a16="http://schemas.microsoft.com/office/drawing/2014/main" id="{0120662D-08EC-45F4-BE9C-84021ADB4C9A}"/>
              </a:ext>
            </a:extLst>
          </p:cNvPr>
          <p:cNvSpPr/>
          <p:nvPr/>
        </p:nvSpPr>
        <p:spPr bwMode="gray">
          <a:xfrm>
            <a:off x="10282004" y="189695"/>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行为型模式</a:t>
            </a:r>
            <a:endParaRPr lang="en-US" altLang="zh-CN" sz="2400" dirty="0">
              <a:solidFill>
                <a:schemeClr val="bg1"/>
              </a:solidFill>
            </a:endParaRPr>
          </a:p>
        </p:txBody>
      </p:sp>
      <p:sp>
        <p:nvSpPr>
          <p:cNvPr id="4" name="矩形 3"/>
          <p:cNvSpPr/>
          <p:nvPr/>
        </p:nvSpPr>
        <p:spPr>
          <a:xfrm>
            <a:off x="2652248" y="1300975"/>
            <a:ext cx="936704" cy="427360"/>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t>Square</a:t>
            </a:r>
            <a:endParaRPr lang="zh-CN" altLang="en-US" dirty="0"/>
          </a:p>
        </p:txBody>
      </p:sp>
      <p:cxnSp>
        <p:nvCxnSpPr>
          <p:cNvPr id="39" name="肘形连接符 38"/>
          <p:cNvCxnSpPr>
            <a:stCxn id="43" idx="0"/>
            <a:endCxn id="4" idx="2"/>
          </p:cNvCxnSpPr>
          <p:nvPr/>
        </p:nvCxnSpPr>
        <p:spPr>
          <a:xfrm rot="5400000" flipH="1" flipV="1">
            <a:off x="1835737" y="1030875"/>
            <a:ext cx="587402" cy="1982323"/>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43" name="矩形 42"/>
          <p:cNvSpPr/>
          <p:nvPr/>
        </p:nvSpPr>
        <p:spPr>
          <a:xfrm>
            <a:off x="669925" y="2315737"/>
            <a:ext cx="936704" cy="42736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smtClean="0"/>
              <a:t>Black Square</a:t>
            </a:r>
            <a:endParaRPr lang="zh-CN" altLang="en-US" sz="1200" dirty="0"/>
          </a:p>
        </p:txBody>
      </p:sp>
      <p:sp>
        <p:nvSpPr>
          <p:cNvPr id="45" name="矩形 44"/>
          <p:cNvSpPr/>
          <p:nvPr/>
        </p:nvSpPr>
        <p:spPr>
          <a:xfrm>
            <a:off x="1928715" y="2315737"/>
            <a:ext cx="936704" cy="42736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smtClean="0"/>
              <a:t>Red Square</a:t>
            </a:r>
            <a:endParaRPr lang="zh-CN" altLang="en-US" sz="1200" dirty="0"/>
          </a:p>
        </p:txBody>
      </p:sp>
      <p:sp>
        <p:nvSpPr>
          <p:cNvPr id="46" name="矩形 45"/>
          <p:cNvSpPr/>
          <p:nvPr/>
        </p:nvSpPr>
        <p:spPr>
          <a:xfrm>
            <a:off x="3187505" y="2315737"/>
            <a:ext cx="936704" cy="42736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smtClean="0"/>
              <a:t>Green Square</a:t>
            </a:r>
            <a:endParaRPr lang="zh-CN" altLang="en-US" sz="1200" dirty="0"/>
          </a:p>
        </p:txBody>
      </p:sp>
      <p:sp>
        <p:nvSpPr>
          <p:cNvPr id="47" name="矩形 46"/>
          <p:cNvSpPr/>
          <p:nvPr/>
        </p:nvSpPr>
        <p:spPr>
          <a:xfrm>
            <a:off x="4446295" y="2315737"/>
            <a:ext cx="936704" cy="427360"/>
          </a:xfrm>
          <a:prstGeom prst="rect">
            <a:avLst/>
          </a:prstGeom>
          <a:gradFill flip="none" rotWithShape="1">
            <a:gsLst>
              <a:gs pos="0">
                <a:schemeClr val="bg2">
                  <a:lumMod val="90000"/>
                  <a:shade val="30000"/>
                  <a:satMod val="115000"/>
                </a:schemeClr>
              </a:gs>
              <a:gs pos="50000">
                <a:schemeClr val="bg2">
                  <a:lumMod val="90000"/>
                  <a:shade val="67500"/>
                  <a:satMod val="115000"/>
                </a:schemeClr>
              </a:gs>
              <a:gs pos="100000">
                <a:schemeClr val="bg2">
                  <a:lumMod val="90000"/>
                  <a:shade val="100000"/>
                  <a:satMod val="115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altLang="zh-CN" sz="3600" dirty="0" smtClean="0"/>
              <a:t>…</a:t>
            </a:r>
            <a:endParaRPr lang="zh-CN" altLang="en-US" sz="3600" dirty="0"/>
          </a:p>
        </p:txBody>
      </p:sp>
      <p:cxnSp>
        <p:nvCxnSpPr>
          <p:cNvPr id="49" name="肘形连接符 48"/>
          <p:cNvCxnSpPr>
            <a:stCxn id="45" idx="0"/>
            <a:endCxn id="4" idx="2"/>
          </p:cNvCxnSpPr>
          <p:nvPr/>
        </p:nvCxnSpPr>
        <p:spPr>
          <a:xfrm rot="5400000" flipH="1" flipV="1">
            <a:off x="2465132" y="1660270"/>
            <a:ext cx="587402" cy="723533"/>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53" name="肘形连接符 52"/>
          <p:cNvCxnSpPr>
            <a:stCxn id="46" idx="0"/>
            <a:endCxn id="4" idx="2"/>
          </p:cNvCxnSpPr>
          <p:nvPr/>
        </p:nvCxnSpPr>
        <p:spPr>
          <a:xfrm rot="16200000" flipV="1">
            <a:off x="3094528" y="1754407"/>
            <a:ext cx="587402" cy="535257"/>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56" name="肘形连接符 55"/>
          <p:cNvCxnSpPr>
            <a:stCxn id="47" idx="0"/>
            <a:endCxn id="4" idx="2"/>
          </p:cNvCxnSpPr>
          <p:nvPr/>
        </p:nvCxnSpPr>
        <p:spPr>
          <a:xfrm rot="16200000" flipV="1">
            <a:off x="3723923" y="1125012"/>
            <a:ext cx="587402" cy="1794047"/>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59" name="椭圆 58"/>
          <p:cNvSpPr/>
          <p:nvPr/>
        </p:nvSpPr>
        <p:spPr>
          <a:xfrm>
            <a:off x="2652248" y="3330499"/>
            <a:ext cx="841801" cy="841801"/>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smtClean="0"/>
              <a:t>Circle</a:t>
            </a:r>
            <a:endParaRPr lang="zh-CN" altLang="en-US" sz="1200" dirty="0"/>
          </a:p>
        </p:txBody>
      </p:sp>
      <p:sp>
        <p:nvSpPr>
          <p:cNvPr id="60" name="椭圆 59"/>
          <p:cNvSpPr/>
          <p:nvPr/>
        </p:nvSpPr>
        <p:spPr>
          <a:xfrm>
            <a:off x="717024" y="4813612"/>
            <a:ext cx="841801" cy="841801"/>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smtClean="0"/>
              <a:t>Black Circle</a:t>
            </a:r>
            <a:endParaRPr lang="zh-CN" altLang="en-US" sz="1200" dirty="0"/>
          </a:p>
        </p:txBody>
      </p:sp>
      <p:cxnSp>
        <p:nvCxnSpPr>
          <p:cNvPr id="62" name="肘形连接符 61"/>
          <p:cNvCxnSpPr>
            <a:stCxn id="60" idx="0"/>
            <a:endCxn id="59" idx="4"/>
          </p:cNvCxnSpPr>
          <p:nvPr/>
        </p:nvCxnSpPr>
        <p:spPr>
          <a:xfrm rot="5400000" flipH="1" flipV="1">
            <a:off x="1784881" y="3525344"/>
            <a:ext cx="641312" cy="1935224"/>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63" name="椭圆 62"/>
          <p:cNvSpPr/>
          <p:nvPr/>
        </p:nvSpPr>
        <p:spPr>
          <a:xfrm>
            <a:off x="1979726" y="4813611"/>
            <a:ext cx="841801" cy="841801"/>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smtClean="0"/>
              <a:t>Red Circle</a:t>
            </a:r>
            <a:endParaRPr lang="zh-CN" altLang="en-US" sz="1200" dirty="0"/>
          </a:p>
        </p:txBody>
      </p:sp>
      <p:cxnSp>
        <p:nvCxnSpPr>
          <p:cNvPr id="65" name="肘形连接符 64"/>
          <p:cNvCxnSpPr>
            <a:stCxn id="63" idx="0"/>
            <a:endCxn id="59" idx="4"/>
          </p:cNvCxnSpPr>
          <p:nvPr/>
        </p:nvCxnSpPr>
        <p:spPr>
          <a:xfrm rot="5400000" flipH="1" flipV="1">
            <a:off x="2416233" y="4156695"/>
            <a:ext cx="641311" cy="672522"/>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66" name="椭圆 65"/>
          <p:cNvSpPr/>
          <p:nvPr/>
        </p:nvSpPr>
        <p:spPr>
          <a:xfrm>
            <a:off x="3232648" y="4813611"/>
            <a:ext cx="841801" cy="841801"/>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smtClean="0"/>
              <a:t>Breen Circle</a:t>
            </a:r>
            <a:endParaRPr lang="zh-CN" altLang="en-US" sz="1200" dirty="0"/>
          </a:p>
        </p:txBody>
      </p:sp>
      <p:cxnSp>
        <p:nvCxnSpPr>
          <p:cNvPr id="68" name="肘形连接符 67"/>
          <p:cNvCxnSpPr>
            <a:stCxn id="66" idx="0"/>
            <a:endCxn id="59" idx="4"/>
          </p:cNvCxnSpPr>
          <p:nvPr/>
        </p:nvCxnSpPr>
        <p:spPr>
          <a:xfrm rot="16200000" flipV="1">
            <a:off x="3042694" y="4202756"/>
            <a:ext cx="641311" cy="580400"/>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69" name="椭圆 68"/>
          <p:cNvSpPr/>
          <p:nvPr/>
        </p:nvSpPr>
        <p:spPr>
          <a:xfrm>
            <a:off x="4493746" y="4813610"/>
            <a:ext cx="841801" cy="841801"/>
          </a:xfrm>
          <a:prstGeom prst="ellipse">
            <a:avLst/>
          </a:prstGeom>
          <a:gradFill flip="none" rotWithShape="1">
            <a:gsLst>
              <a:gs pos="0">
                <a:srgbClr val="676A8A">
                  <a:tint val="66000"/>
                  <a:satMod val="160000"/>
                </a:srgbClr>
              </a:gs>
              <a:gs pos="50000">
                <a:srgbClr val="676A8A">
                  <a:tint val="44500"/>
                  <a:satMod val="160000"/>
                </a:srgbClr>
              </a:gs>
              <a:gs pos="100000">
                <a:srgbClr val="676A8A">
                  <a:tint val="23500"/>
                  <a:satMod val="16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altLang="zh-CN" sz="3600" dirty="0" smtClean="0"/>
              <a:t>…</a:t>
            </a:r>
            <a:endParaRPr lang="zh-CN" altLang="en-US" sz="3600" dirty="0"/>
          </a:p>
        </p:txBody>
      </p:sp>
      <p:cxnSp>
        <p:nvCxnSpPr>
          <p:cNvPr id="71" name="肘形连接符 70"/>
          <p:cNvCxnSpPr>
            <a:stCxn id="69" idx="0"/>
            <a:endCxn id="59" idx="4"/>
          </p:cNvCxnSpPr>
          <p:nvPr/>
        </p:nvCxnSpPr>
        <p:spPr>
          <a:xfrm rot="16200000" flipV="1">
            <a:off x="3673243" y="3572206"/>
            <a:ext cx="641310" cy="1841498"/>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73" name="椭圆 72"/>
          <p:cNvSpPr/>
          <p:nvPr/>
        </p:nvSpPr>
        <p:spPr>
          <a:xfrm>
            <a:off x="6610931" y="3424296"/>
            <a:ext cx="841801" cy="841801"/>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smtClean="0"/>
              <a:t>Basic Circle</a:t>
            </a:r>
            <a:endParaRPr lang="zh-CN" altLang="en-US" sz="1200" dirty="0"/>
          </a:p>
        </p:txBody>
      </p:sp>
      <p:sp>
        <p:nvSpPr>
          <p:cNvPr id="74" name="矩形 73"/>
          <p:cNvSpPr/>
          <p:nvPr/>
        </p:nvSpPr>
        <p:spPr>
          <a:xfrm>
            <a:off x="6563480" y="2312988"/>
            <a:ext cx="936704" cy="427360"/>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smtClean="0"/>
              <a:t>Basic Square</a:t>
            </a:r>
            <a:endParaRPr lang="zh-CN" altLang="en-US" sz="1200" dirty="0"/>
          </a:p>
        </p:txBody>
      </p:sp>
      <p:sp>
        <p:nvSpPr>
          <p:cNvPr id="75" name="矩形 74"/>
          <p:cNvSpPr/>
          <p:nvPr/>
        </p:nvSpPr>
        <p:spPr>
          <a:xfrm>
            <a:off x="8431576" y="2321391"/>
            <a:ext cx="572429" cy="3215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6" name="矩形 75"/>
          <p:cNvSpPr/>
          <p:nvPr/>
        </p:nvSpPr>
        <p:spPr>
          <a:xfrm>
            <a:off x="8431575" y="2642970"/>
            <a:ext cx="572429" cy="32157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0000"/>
              </a:solidFill>
            </a:endParaRPr>
          </a:p>
        </p:txBody>
      </p:sp>
      <p:sp>
        <p:nvSpPr>
          <p:cNvPr id="77" name="矩形 76"/>
          <p:cNvSpPr/>
          <p:nvPr/>
        </p:nvSpPr>
        <p:spPr>
          <a:xfrm>
            <a:off x="8431575" y="2958934"/>
            <a:ext cx="572429" cy="321579"/>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0000"/>
              </a:solidFill>
            </a:endParaRPr>
          </a:p>
        </p:txBody>
      </p:sp>
      <p:sp>
        <p:nvSpPr>
          <p:cNvPr id="78" name="矩形 77"/>
          <p:cNvSpPr/>
          <p:nvPr/>
        </p:nvSpPr>
        <p:spPr>
          <a:xfrm>
            <a:off x="8431575" y="3280513"/>
            <a:ext cx="572429" cy="32157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00"/>
              </a:solidFill>
            </a:endParaRPr>
          </a:p>
        </p:txBody>
      </p:sp>
      <p:sp>
        <p:nvSpPr>
          <p:cNvPr id="79" name="矩形 78"/>
          <p:cNvSpPr/>
          <p:nvPr/>
        </p:nvSpPr>
        <p:spPr>
          <a:xfrm>
            <a:off x="8431574" y="3596477"/>
            <a:ext cx="572429" cy="321579"/>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00"/>
              </a:solidFill>
            </a:endParaRPr>
          </a:p>
        </p:txBody>
      </p:sp>
      <p:sp>
        <p:nvSpPr>
          <p:cNvPr id="80" name="矩形 79"/>
          <p:cNvSpPr/>
          <p:nvPr/>
        </p:nvSpPr>
        <p:spPr>
          <a:xfrm>
            <a:off x="8431573" y="3934745"/>
            <a:ext cx="572429" cy="321579"/>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00"/>
              </a:solidFill>
            </a:endParaRPr>
          </a:p>
        </p:txBody>
      </p:sp>
      <p:sp>
        <p:nvSpPr>
          <p:cNvPr id="81" name="文本框 80"/>
          <p:cNvSpPr txBox="1"/>
          <p:nvPr/>
        </p:nvSpPr>
        <p:spPr>
          <a:xfrm>
            <a:off x="7964395" y="1913707"/>
            <a:ext cx="1642946" cy="338554"/>
          </a:xfrm>
          <a:prstGeom prst="rect">
            <a:avLst/>
          </a:prstGeom>
          <a:noFill/>
        </p:spPr>
        <p:txBody>
          <a:bodyPr wrap="square" rtlCol="0">
            <a:spAutoFit/>
          </a:bodyPr>
          <a:lstStyle/>
          <a:p>
            <a:r>
              <a:rPr lang="en-US" altLang="zh-CN" sz="1600" dirty="0" smtClean="0">
                <a:solidFill>
                  <a:srgbClr val="007BC0"/>
                </a:solidFill>
              </a:rPr>
              <a:t>Color Template</a:t>
            </a:r>
            <a:endParaRPr lang="zh-CN" altLang="en-US" sz="1600" dirty="0">
              <a:solidFill>
                <a:srgbClr val="007BC0"/>
              </a:solidFill>
            </a:endParaRPr>
          </a:p>
        </p:txBody>
      </p:sp>
      <p:sp>
        <p:nvSpPr>
          <p:cNvPr id="82" name="右箭头 81"/>
          <p:cNvSpPr/>
          <p:nvPr/>
        </p:nvSpPr>
        <p:spPr>
          <a:xfrm>
            <a:off x="7694341" y="3119723"/>
            <a:ext cx="572430" cy="304573"/>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3" name="右箭头 82"/>
          <p:cNvSpPr/>
          <p:nvPr/>
        </p:nvSpPr>
        <p:spPr>
          <a:xfrm>
            <a:off x="9072082" y="3119723"/>
            <a:ext cx="572430" cy="304573"/>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4" name="矩形 83"/>
          <p:cNvSpPr/>
          <p:nvPr/>
        </p:nvSpPr>
        <p:spPr>
          <a:xfrm>
            <a:off x="9788312" y="2531574"/>
            <a:ext cx="936704" cy="42736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smtClean="0"/>
              <a:t>Square</a:t>
            </a:r>
            <a:endParaRPr lang="zh-CN" altLang="en-US" sz="1200" dirty="0"/>
          </a:p>
        </p:txBody>
      </p:sp>
      <p:sp>
        <p:nvSpPr>
          <p:cNvPr id="85" name="矩形 84"/>
          <p:cNvSpPr/>
          <p:nvPr/>
        </p:nvSpPr>
        <p:spPr>
          <a:xfrm>
            <a:off x="9940712" y="2683974"/>
            <a:ext cx="936704" cy="42736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p>
        </p:txBody>
      </p:sp>
      <p:sp>
        <p:nvSpPr>
          <p:cNvPr id="86" name="矩形 85"/>
          <p:cNvSpPr/>
          <p:nvPr/>
        </p:nvSpPr>
        <p:spPr>
          <a:xfrm>
            <a:off x="10093112" y="2836374"/>
            <a:ext cx="936704" cy="42736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p>
        </p:txBody>
      </p:sp>
      <p:sp>
        <p:nvSpPr>
          <p:cNvPr id="88" name="矩形 87"/>
          <p:cNvSpPr/>
          <p:nvPr/>
        </p:nvSpPr>
        <p:spPr>
          <a:xfrm>
            <a:off x="10245512" y="2988774"/>
            <a:ext cx="936704" cy="427360"/>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altLang="zh-CN" sz="3600" dirty="0" smtClean="0"/>
              <a:t>…</a:t>
            </a:r>
            <a:endParaRPr lang="zh-CN" altLang="en-US" sz="3600" dirty="0"/>
          </a:p>
        </p:txBody>
      </p:sp>
      <p:sp>
        <p:nvSpPr>
          <p:cNvPr id="89" name="椭圆 88"/>
          <p:cNvSpPr/>
          <p:nvPr/>
        </p:nvSpPr>
        <p:spPr>
          <a:xfrm>
            <a:off x="9788312" y="3596477"/>
            <a:ext cx="841801" cy="84180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smtClean="0"/>
              <a:t>Circle</a:t>
            </a:r>
            <a:endParaRPr lang="zh-CN" altLang="en-US" sz="1200" dirty="0"/>
          </a:p>
        </p:txBody>
      </p:sp>
      <p:sp>
        <p:nvSpPr>
          <p:cNvPr id="90" name="椭圆 89"/>
          <p:cNvSpPr/>
          <p:nvPr/>
        </p:nvSpPr>
        <p:spPr>
          <a:xfrm>
            <a:off x="9940712" y="3748877"/>
            <a:ext cx="841801" cy="841801"/>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smtClean="0"/>
              <a:t>Circle</a:t>
            </a:r>
            <a:endParaRPr lang="zh-CN" altLang="en-US" sz="1200" dirty="0"/>
          </a:p>
        </p:txBody>
      </p:sp>
      <p:sp>
        <p:nvSpPr>
          <p:cNvPr id="91" name="椭圆 90"/>
          <p:cNvSpPr/>
          <p:nvPr/>
        </p:nvSpPr>
        <p:spPr>
          <a:xfrm>
            <a:off x="10093112" y="3901277"/>
            <a:ext cx="841801" cy="841801"/>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smtClean="0"/>
              <a:t>Circle</a:t>
            </a:r>
            <a:endParaRPr lang="zh-CN" altLang="en-US" sz="1200" dirty="0"/>
          </a:p>
        </p:txBody>
      </p:sp>
      <p:sp>
        <p:nvSpPr>
          <p:cNvPr id="92" name="椭圆 91"/>
          <p:cNvSpPr/>
          <p:nvPr/>
        </p:nvSpPr>
        <p:spPr>
          <a:xfrm>
            <a:off x="10245512" y="4053677"/>
            <a:ext cx="841801" cy="841801"/>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altLang="zh-CN" sz="3600" dirty="0" smtClean="0"/>
              <a:t>…</a:t>
            </a:r>
            <a:endParaRPr lang="zh-CN" altLang="en-US" sz="3600" dirty="0"/>
          </a:p>
        </p:txBody>
      </p:sp>
    </p:spTree>
    <p:extLst>
      <p:ext uri="{BB962C8B-B14F-4D97-AF65-F5344CB8AC3E}">
        <p14:creationId xmlns:p14="http://schemas.microsoft.com/office/powerpoint/2010/main" val="796275385"/>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a:blip r:embed="rId3"/>
          <a:stretch>
            <a:fillRect/>
          </a:stretch>
        </p:blipFill>
        <p:spPr>
          <a:xfrm>
            <a:off x="520572" y="1219200"/>
            <a:ext cx="10999916" cy="4739640"/>
          </a:xfrm>
          <a:prstGeom prst="rect">
            <a:avLst/>
          </a:prstGeom>
        </p:spPr>
      </p:pic>
      <p:sp>
        <p:nvSpPr>
          <p:cNvPr id="6" name="圆角矩形 5"/>
          <p:cNvSpPr/>
          <p:nvPr/>
        </p:nvSpPr>
        <p:spPr>
          <a:xfrm>
            <a:off x="5463540" y="2461260"/>
            <a:ext cx="388620" cy="1264920"/>
          </a:xfrm>
          <a:prstGeom prst="round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圆角矩形 6"/>
          <p:cNvSpPr/>
          <p:nvPr/>
        </p:nvSpPr>
        <p:spPr>
          <a:xfrm>
            <a:off x="6461760" y="1607820"/>
            <a:ext cx="2423160" cy="480060"/>
          </a:xfrm>
          <a:prstGeom prst="round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矩形 7"/>
          <p:cNvSpPr/>
          <p:nvPr/>
        </p:nvSpPr>
        <p:spPr>
          <a:xfrm>
            <a:off x="5852160" y="2678221"/>
            <a:ext cx="868680" cy="830997"/>
          </a:xfrm>
          <a:prstGeom prst="rect">
            <a:avLst/>
          </a:prstGeom>
          <a:noFill/>
        </p:spPr>
        <p:txBody>
          <a:bodyPr wrap="square" lIns="91440" tIns="45720" rIns="91440" bIns="45720">
            <a:spAutoFit/>
          </a:bodyPr>
          <a:lstStyle/>
          <a:p>
            <a:pPr algn="ctr"/>
            <a:r>
              <a:rPr lang="zh-CN" altLang="en-US" sz="2400" b="0" cap="none" spc="0" dirty="0" smtClean="0">
                <a:ln w="0"/>
                <a:solidFill>
                  <a:srgbClr val="D26206"/>
                </a:solidFill>
                <a:effectLst>
                  <a:outerShdw blurRad="38100" dist="25400" dir="5400000" algn="ctr" rotWithShape="0">
                    <a:srgbClr val="6E747A">
                      <a:alpha val="43000"/>
                    </a:srgbClr>
                  </a:outerShdw>
                </a:effectLst>
              </a:rPr>
              <a:t>抽象部分</a:t>
            </a:r>
            <a:endParaRPr lang="zh-CN" altLang="en-US" sz="2400" b="0" cap="none" spc="0" dirty="0">
              <a:ln w="0"/>
              <a:solidFill>
                <a:srgbClr val="D26206"/>
              </a:solidFill>
              <a:effectLst>
                <a:outerShdw blurRad="38100" dist="25400" dir="5400000" algn="ctr" rotWithShape="0">
                  <a:srgbClr val="6E747A">
                    <a:alpha val="43000"/>
                  </a:srgbClr>
                </a:outerShdw>
              </a:effectLst>
            </a:endParaRPr>
          </a:p>
        </p:txBody>
      </p:sp>
      <p:sp>
        <p:nvSpPr>
          <p:cNvPr id="10" name="矩形 9"/>
          <p:cNvSpPr/>
          <p:nvPr/>
        </p:nvSpPr>
        <p:spPr>
          <a:xfrm>
            <a:off x="7239000" y="2167681"/>
            <a:ext cx="868680" cy="830997"/>
          </a:xfrm>
          <a:prstGeom prst="rect">
            <a:avLst/>
          </a:prstGeom>
          <a:noFill/>
        </p:spPr>
        <p:txBody>
          <a:bodyPr wrap="square" lIns="91440" tIns="45720" rIns="91440" bIns="45720">
            <a:spAutoFit/>
          </a:bodyPr>
          <a:lstStyle/>
          <a:p>
            <a:pPr algn="ctr"/>
            <a:r>
              <a:rPr lang="zh-CN" altLang="en-US" sz="2400" dirty="0">
                <a:ln w="0"/>
                <a:solidFill>
                  <a:srgbClr val="D26206"/>
                </a:solidFill>
                <a:effectLst>
                  <a:outerShdw blurRad="38100" dist="25400" dir="5400000" algn="ctr" rotWithShape="0">
                    <a:srgbClr val="6E747A">
                      <a:alpha val="43000"/>
                    </a:srgbClr>
                  </a:outerShdw>
                </a:effectLst>
              </a:rPr>
              <a:t>实现</a:t>
            </a:r>
            <a:r>
              <a:rPr lang="zh-CN" altLang="en-US" sz="2400" b="0" cap="none" spc="0" dirty="0" smtClean="0">
                <a:ln w="0"/>
                <a:solidFill>
                  <a:srgbClr val="D26206"/>
                </a:solidFill>
                <a:effectLst>
                  <a:outerShdw blurRad="38100" dist="25400" dir="5400000" algn="ctr" rotWithShape="0">
                    <a:srgbClr val="6E747A">
                      <a:alpha val="43000"/>
                    </a:srgbClr>
                  </a:outerShdw>
                </a:effectLst>
              </a:rPr>
              <a:t>部分</a:t>
            </a:r>
            <a:endParaRPr lang="zh-CN" altLang="en-US" sz="2400" b="0" cap="none" spc="0" dirty="0">
              <a:ln w="0"/>
              <a:solidFill>
                <a:srgbClr val="D26206"/>
              </a:solidFill>
              <a:effectLst>
                <a:outerShdw blurRad="38100" dist="25400" dir="5400000" algn="ctr" rotWithShape="0">
                  <a:srgbClr val="6E747A">
                    <a:alpha val="43000"/>
                  </a:srgbClr>
                </a:outerShdw>
              </a:effectLst>
            </a:endParaRPr>
          </a:p>
        </p:txBody>
      </p:sp>
      <p:cxnSp>
        <p:nvCxnSpPr>
          <p:cNvPr id="11" name="直接连接符 10"/>
          <p:cNvCxnSpPr/>
          <p:nvPr/>
        </p:nvCxnSpPr>
        <p:spPr>
          <a:xfrm>
            <a:off x="5416471" y="982145"/>
            <a:ext cx="3209369" cy="5258318"/>
          </a:xfrm>
          <a:prstGeom prst="line">
            <a:avLst/>
          </a:prstGeom>
          <a:ln>
            <a:prstDash val="dash"/>
          </a:ln>
        </p:spPr>
        <p:style>
          <a:lnRef idx="3">
            <a:schemeClr val="accent6"/>
          </a:lnRef>
          <a:fillRef idx="0">
            <a:schemeClr val="accent6"/>
          </a:fillRef>
          <a:effectRef idx="2">
            <a:schemeClr val="accent6"/>
          </a:effectRef>
          <a:fontRef idx="minor">
            <a:schemeClr val="tx1"/>
          </a:fontRef>
        </p:style>
      </p:cxnSp>
      <p:sp>
        <p:nvSpPr>
          <p:cNvPr id="12" name="矩形 11"/>
          <p:cNvSpPr/>
          <p:nvPr/>
        </p:nvSpPr>
        <p:spPr>
          <a:xfrm>
            <a:off x="6454169" y="3284608"/>
            <a:ext cx="1569661" cy="923330"/>
          </a:xfrm>
          <a:prstGeom prst="rect">
            <a:avLst/>
          </a:prstGeom>
          <a:noFill/>
        </p:spPr>
        <p:txBody>
          <a:bodyPr wrap="none" lIns="91440" tIns="45720" rIns="91440" bIns="45720">
            <a:spAutoFit/>
          </a:bodyPr>
          <a:lstStyle/>
          <a:p>
            <a:pPr algn="ctr"/>
            <a:r>
              <a:rPr lang="zh-CN" altLang="en-US" sz="5400" dirty="0">
                <a:ln w="0"/>
                <a:solidFill>
                  <a:srgbClr val="FF0000"/>
                </a:solidFill>
                <a:effectLst>
                  <a:outerShdw blurRad="38100" dist="25400" dir="5400000" algn="ctr" rotWithShape="0">
                    <a:srgbClr val="6E747A">
                      <a:alpha val="43000"/>
                    </a:srgbClr>
                  </a:outerShdw>
                </a:effectLst>
                <a:latin typeface="华文行楷" panose="02010800040101010101" pitchFamily="2" charset="-122"/>
                <a:ea typeface="华文行楷" panose="02010800040101010101" pitchFamily="2" charset="-122"/>
              </a:rPr>
              <a:t>分离</a:t>
            </a:r>
            <a:endParaRPr lang="zh-CN" altLang="en-US" sz="5400" b="0" cap="none" spc="0" dirty="0">
              <a:ln w="0"/>
              <a:solidFill>
                <a:srgbClr val="FF0000"/>
              </a:solidFill>
              <a:effectLst>
                <a:outerShdw blurRad="38100" dist="25400" dir="5400000" algn="ctr" rotWithShape="0">
                  <a:srgbClr val="6E747A">
                    <a:alpha val="43000"/>
                  </a:srgbClr>
                </a:outerShdw>
              </a:effectLst>
              <a:latin typeface="华文行楷" panose="02010800040101010101" pitchFamily="2" charset="-122"/>
              <a:ea typeface="华文行楷" panose="02010800040101010101" pitchFamily="2" charset="-122"/>
            </a:endParaRPr>
          </a:p>
        </p:txBody>
      </p:sp>
      <p:sp>
        <p:nvSpPr>
          <p:cNvPr id="9" name="标题 1"/>
          <p:cNvSpPr>
            <a:spLocks noGrp="1"/>
          </p:cNvSpPr>
          <p:nvPr>
            <p:ph type="title"/>
          </p:nvPr>
        </p:nvSpPr>
        <p:spPr>
          <a:xfrm>
            <a:off x="1137925" y="205921"/>
            <a:ext cx="10401280" cy="695186"/>
          </a:xfrm>
        </p:spPr>
        <p:txBody>
          <a:bodyPr/>
          <a:lstStyle/>
          <a:p>
            <a:r>
              <a:rPr lang="zh-CN" altLang="en-US" sz="3200" b="0" dirty="0" smtClean="0">
                <a:latin typeface="Arial"/>
                <a:ea typeface="Microsoft YaHei"/>
                <a:cs typeface="+mn-ea"/>
                <a:sym typeface="Arial"/>
              </a:rPr>
              <a:t>桥接模式</a:t>
            </a:r>
            <a:endParaRPr lang="zh-CN" altLang="en-US" sz="3200" b="0" dirty="0">
              <a:latin typeface="Arial"/>
              <a:ea typeface="Microsoft YaHei"/>
              <a:cs typeface="+mn-ea"/>
              <a:sym typeface="Arial"/>
            </a:endParaRPr>
          </a:p>
        </p:txBody>
      </p:sp>
      <p:grpSp>
        <p:nvGrpSpPr>
          <p:cNvPr id="13" name="组合 12">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14" name="椭圆 13">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15" name="椭圆 14">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
        <p:nvSpPr>
          <p:cNvPr id="16" name="î$ḷîḓê">
            <a:extLst>
              <a:ext uri="{FF2B5EF4-FFF2-40B4-BE49-F238E27FC236}">
                <a16:creationId xmlns:a16="http://schemas.microsoft.com/office/drawing/2014/main" id="{0120662D-08EC-45F4-BE9C-84021ADB4C9A}"/>
              </a:ext>
            </a:extLst>
          </p:cNvPr>
          <p:cNvSpPr/>
          <p:nvPr/>
        </p:nvSpPr>
        <p:spPr bwMode="gray">
          <a:xfrm>
            <a:off x="7211000" y="198392"/>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创建型模式</a:t>
            </a:r>
            <a:endParaRPr lang="en-US" altLang="zh-CN" sz="2400" dirty="0">
              <a:solidFill>
                <a:schemeClr val="bg1"/>
              </a:solidFill>
            </a:endParaRPr>
          </a:p>
        </p:txBody>
      </p:sp>
      <p:sp>
        <p:nvSpPr>
          <p:cNvPr id="17" name="î$ḷîḓê">
            <a:extLst>
              <a:ext uri="{FF2B5EF4-FFF2-40B4-BE49-F238E27FC236}">
                <a16:creationId xmlns:a16="http://schemas.microsoft.com/office/drawing/2014/main" id="{0120662D-08EC-45F4-BE9C-84021ADB4C9A}"/>
              </a:ext>
            </a:extLst>
          </p:cNvPr>
          <p:cNvSpPr/>
          <p:nvPr/>
        </p:nvSpPr>
        <p:spPr bwMode="gray">
          <a:xfrm>
            <a:off x="8749874" y="199746"/>
            <a:ext cx="1506790" cy="480145"/>
          </a:xfrm>
          <a:prstGeom prst="rect">
            <a:avLst/>
          </a:prstGeom>
          <a:solidFill>
            <a:schemeClr val="accent1"/>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结构型模式</a:t>
            </a:r>
            <a:endParaRPr lang="en-US" altLang="zh-CN" sz="2400" dirty="0">
              <a:solidFill>
                <a:schemeClr val="bg1"/>
              </a:solidFill>
            </a:endParaRPr>
          </a:p>
        </p:txBody>
      </p:sp>
      <p:sp>
        <p:nvSpPr>
          <p:cNvPr id="18" name="î$ḷîḓê">
            <a:extLst>
              <a:ext uri="{FF2B5EF4-FFF2-40B4-BE49-F238E27FC236}">
                <a16:creationId xmlns:a16="http://schemas.microsoft.com/office/drawing/2014/main" id="{0120662D-08EC-45F4-BE9C-84021ADB4C9A}"/>
              </a:ext>
            </a:extLst>
          </p:cNvPr>
          <p:cNvSpPr/>
          <p:nvPr/>
        </p:nvSpPr>
        <p:spPr bwMode="gray">
          <a:xfrm>
            <a:off x="10282004" y="189695"/>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行为型模式</a:t>
            </a:r>
            <a:endParaRPr lang="en-US" altLang="zh-CN" sz="2400" dirty="0">
              <a:solidFill>
                <a:schemeClr val="bg1"/>
              </a:solidFill>
            </a:endParaRPr>
          </a:p>
        </p:txBody>
      </p:sp>
      <p:sp>
        <p:nvSpPr>
          <p:cNvPr id="19" name="coding_151359"/>
          <p:cNvSpPr>
            <a:spLocks noChangeAspect="1"/>
          </p:cNvSpPr>
          <p:nvPr/>
        </p:nvSpPr>
        <p:spPr bwMode="auto">
          <a:xfrm>
            <a:off x="6509664" y="205122"/>
            <a:ext cx="467336" cy="466684"/>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06439" h="605593">
                <a:moveTo>
                  <a:pt x="264222" y="458757"/>
                </a:moveTo>
                <a:lnTo>
                  <a:pt x="220421" y="579819"/>
                </a:lnTo>
                <a:lnTo>
                  <a:pt x="386019" y="579819"/>
                </a:lnTo>
                <a:lnTo>
                  <a:pt x="342217" y="458757"/>
                </a:lnTo>
                <a:close/>
                <a:moveTo>
                  <a:pt x="420977" y="157263"/>
                </a:moveTo>
                <a:lnTo>
                  <a:pt x="489088" y="231020"/>
                </a:lnTo>
                <a:lnTo>
                  <a:pt x="424086" y="301483"/>
                </a:lnTo>
                <a:lnTo>
                  <a:pt x="405150" y="283985"/>
                </a:lnTo>
                <a:lnTo>
                  <a:pt x="453949" y="231020"/>
                </a:lnTo>
                <a:lnTo>
                  <a:pt x="402042" y="174761"/>
                </a:lnTo>
                <a:close/>
                <a:moveTo>
                  <a:pt x="185461" y="157263"/>
                </a:moveTo>
                <a:lnTo>
                  <a:pt x="204397" y="174761"/>
                </a:lnTo>
                <a:lnTo>
                  <a:pt x="152489" y="231020"/>
                </a:lnTo>
                <a:lnTo>
                  <a:pt x="201288" y="283985"/>
                </a:lnTo>
                <a:lnTo>
                  <a:pt x="182352" y="301483"/>
                </a:lnTo>
                <a:lnTo>
                  <a:pt x="117350" y="231020"/>
                </a:lnTo>
                <a:close/>
                <a:moveTo>
                  <a:pt x="309343" y="122078"/>
                </a:moveTo>
                <a:lnTo>
                  <a:pt x="334401" y="128193"/>
                </a:lnTo>
                <a:lnTo>
                  <a:pt x="283718" y="336668"/>
                </a:lnTo>
                <a:lnTo>
                  <a:pt x="258565" y="330553"/>
                </a:lnTo>
                <a:close/>
                <a:moveTo>
                  <a:pt x="25810" y="25774"/>
                </a:moveTo>
                <a:lnTo>
                  <a:pt x="25810" y="432983"/>
                </a:lnTo>
                <a:lnTo>
                  <a:pt x="580629" y="432983"/>
                </a:lnTo>
                <a:lnTo>
                  <a:pt x="580629" y="25774"/>
                </a:lnTo>
                <a:close/>
                <a:moveTo>
                  <a:pt x="0" y="0"/>
                </a:moveTo>
                <a:lnTo>
                  <a:pt x="606439" y="0"/>
                </a:lnTo>
                <a:lnTo>
                  <a:pt x="606439" y="458757"/>
                </a:lnTo>
                <a:lnTo>
                  <a:pt x="369628" y="458757"/>
                </a:lnTo>
                <a:lnTo>
                  <a:pt x="413430" y="579819"/>
                </a:lnTo>
                <a:lnTo>
                  <a:pt x="459492" y="579819"/>
                </a:lnTo>
                <a:lnTo>
                  <a:pt x="459492" y="605593"/>
                </a:lnTo>
                <a:lnTo>
                  <a:pt x="146947" y="605593"/>
                </a:lnTo>
                <a:lnTo>
                  <a:pt x="146947" y="579819"/>
                </a:lnTo>
                <a:lnTo>
                  <a:pt x="192915" y="579819"/>
                </a:lnTo>
                <a:lnTo>
                  <a:pt x="236717" y="458757"/>
                </a:lnTo>
                <a:lnTo>
                  <a:pt x="0" y="458757"/>
                </a:lnTo>
                <a:close/>
              </a:path>
            </a:pathLst>
          </a:custGeom>
          <a:solidFill>
            <a:schemeClr val="accent1"/>
          </a:solidFill>
          <a:ln>
            <a:noFill/>
          </a:ln>
        </p:spPr>
      </p:sp>
    </p:spTree>
    <p:extLst>
      <p:ext uri="{BB962C8B-B14F-4D97-AF65-F5344CB8AC3E}">
        <p14:creationId xmlns:p14="http://schemas.microsoft.com/office/powerpoint/2010/main" val="4236487802"/>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标题 1"/>
          <p:cNvSpPr>
            <a:spLocks noGrp="1"/>
          </p:cNvSpPr>
          <p:nvPr>
            <p:ph type="title"/>
          </p:nvPr>
        </p:nvSpPr>
        <p:spPr>
          <a:xfrm>
            <a:off x="1137925" y="205921"/>
            <a:ext cx="10401280" cy="695186"/>
          </a:xfrm>
        </p:spPr>
        <p:txBody>
          <a:bodyPr/>
          <a:lstStyle/>
          <a:p>
            <a:r>
              <a:rPr lang="zh-CN" altLang="en-US" sz="3200" b="0" dirty="0" smtClean="0">
                <a:latin typeface="Arial"/>
                <a:ea typeface="Microsoft YaHei"/>
                <a:cs typeface="+mn-ea"/>
                <a:sym typeface="Arial"/>
              </a:rPr>
              <a:t>桥接模式</a:t>
            </a:r>
            <a:endParaRPr lang="zh-CN" altLang="en-US" sz="3200" b="0" dirty="0">
              <a:latin typeface="Arial"/>
              <a:ea typeface="Microsoft YaHei"/>
              <a:cs typeface="+mn-ea"/>
              <a:sym typeface="Arial"/>
            </a:endParaRPr>
          </a:p>
        </p:txBody>
      </p:sp>
      <p:grpSp>
        <p:nvGrpSpPr>
          <p:cNvPr id="23" name="组合 22">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24" name="椭圆 23">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25" name="椭圆 24">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
        <p:nvSpPr>
          <p:cNvPr id="29" name="î$ḷîḓê">
            <a:extLst>
              <a:ext uri="{FF2B5EF4-FFF2-40B4-BE49-F238E27FC236}">
                <a16:creationId xmlns:a16="http://schemas.microsoft.com/office/drawing/2014/main" id="{0120662D-08EC-45F4-BE9C-84021ADB4C9A}"/>
              </a:ext>
            </a:extLst>
          </p:cNvPr>
          <p:cNvSpPr/>
          <p:nvPr/>
        </p:nvSpPr>
        <p:spPr bwMode="gray">
          <a:xfrm>
            <a:off x="7211000" y="198392"/>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创建型模式</a:t>
            </a:r>
            <a:endParaRPr lang="en-US" altLang="zh-CN" sz="2400" dirty="0">
              <a:solidFill>
                <a:schemeClr val="bg1"/>
              </a:solidFill>
            </a:endParaRPr>
          </a:p>
        </p:txBody>
      </p:sp>
      <p:sp>
        <p:nvSpPr>
          <p:cNvPr id="30" name="î$ḷîḓê">
            <a:extLst>
              <a:ext uri="{FF2B5EF4-FFF2-40B4-BE49-F238E27FC236}">
                <a16:creationId xmlns:a16="http://schemas.microsoft.com/office/drawing/2014/main" id="{0120662D-08EC-45F4-BE9C-84021ADB4C9A}"/>
              </a:ext>
            </a:extLst>
          </p:cNvPr>
          <p:cNvSpPr/>
          <p:nvPr/>
        </p:nvSpPr>
        <p:spPr bwMode="gray">
          <a:xfrm>
            <a:off x="8749874" y="199746"/>
            <a:ext cx="1506790" cy="480145"/>
          </a:xfrm>
          <a:prstGeom prst="rect">
            <a:avLst/>
          </a:prstGeom>
          <a:solidFill>
            <a:schemeClr val="accent1"/>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结构型模式</a:t>
            </a:r>
            <a:endParaRPr lang="en-US" altLang="zh-CN" sz="2400" dirty="0">
              <a:solidFill>
                <a:schemeClr val="bg1"/>
              </a:solidFill>
            </a:endParaRPr>
          </a:p>
        </p:txBody>
      </p:sp>
      <p:sp>
        <p:nvSpPr>
          <p:cNvPr id="31" name="î$ḷîḓê">
            <a:extLst>
              <a:ext uri="{FF2B5EF4-FFF2-40B4-BE49-F238E27FC236}">
                <a16:creationId xmlns:a16="http://schemas.microsoft.com/office/drawing/2014/main" id="{0120662D-08EC-45F4-BE9C-84021ADB4C9A}"/>
              </a:ext>
            </a:extLst>
          </p:cNvPr>
          <p:cNvSpPr/>
          <p:nvPr/>
        </p:nvSpPr>
        <p:spPr bwMode="gray">
          <a:xfrm>
            <a:off x="10282004" y="189695"/>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行为型模式</a:t>
            </a:r>
            <a:endParaRPr lang="en-US" altLang="zh-CN" sz="2400" dirty="0">
              <a:solidFill>
                <a:schemeClr val="bg1"/>
              </a:solidFill>
            </a:endParaRPr>
          </a:p>
        </p:txBody>
      </p:sp>
      <p:pic>
        <p:nvPicPr>
          <p:cNvPr id="10242" name="Picture 2" descr="../_images/Bridge.jpg"/>
          <p:cNvPicPr>
            <a:picLocks noChangeAspect="1" noChangeArrowheads="1"/>
          </p:cNvPicPr>
          <p:nvPr/>
        </p:nvPicPr>
        <p:blipFill rotWithShape="1">
          <a:blip r:embed="rId3">
            <a:extLst>
              <a:ext uri="{28A0092B-C50C-407E-A947-70E740481C1C}">
                <a14:useLocalDpi xmlns:a14="http://schemas.microsoft.com/office/drawing/2010/main" val="0"/>
              </a:ext>
            </a:extLst>
          </a:blip>
          <a:srcRect l="561" t="1267" r="676" b="1839"/>
          <a:stretch/>
        </p:blipFill>
        <p:spPr bwMode="auto">
          <a:xfrm>
            <a:off x="635000" y="1193799"/>
            <a:ext cx="10909300" cy="4851401"/>
          </a:xfrm>
          <a:prstGeom prst="rect">
            <a:avLst/>
          </a:prstGeom>
          <a:noFill/>
          <a:extLst>
            <a:ext uri="{909E8E84-426E-40DD-AFC4-6F175D3DCCD1}">
              <a14:hiddenFill xmlns:a14="http://schemas.microsoft.com/office/drawing/2010/main">
                <a:solidFill>
                  <a:srgbClr val="FFFFFF"/>
                </a:solidFill>
              </a14:hiddenFill>
            </a:ext>
          </a:extLst>
        </p:spPr>
      </p:pic>
      <p:cxnSp>
        <p:nvCxnSpPr>
          <p:cNvPr id="3" name="直接连接符 2"/>
          <p:cNvCxnSpPr/>
          <p:nvPr/>
        </p:nvCxnSpPr>
        <p:spPr>
          <a:xfrm>
            <a:off x="5097780" y="525828"/>
            <a:ext cx="1783080" cy="6118812"/>
          </a:xfrm>
          <a:prstGeom prst="line">
            <a:avLst/>
          </a:prstGeom>
          <a:ln w="63500">
            <a:prstDash val="dash"/>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385969232"/>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i$1iḓè">
            <a:extLst>
              <a:ext uri="{FF2B5EF4-FFF2-40B4-BE49-F238E27FC236}">
                <a16:creationId xmlns:a16="http://schemas.microsoft.com/office/drawing/2014/main" id="{5BBBAD07-0160-4DBF-95B9-E5DAC6E0DB43}"/>
              </a:ext>
            </a:extLst>
          </p:cNvPr>
          <p:cNvGrpSpPr/>
          <p:nvPr/>
        </p:nvGrpSpPr>
        <p:grpSpPr>
          <a:xfrm>
            <a:off x="693686" y="1901372"/>
            <a:ext cx="2362819" cy="4364339"/>
            <a:chOff x="669925" y="1478280"/>
            <a:chExt cx="2362819" cy="4364339"/>
          </a:xfrm>
        </p:grpSpPr>
        <p:sp>
          <p:nvSpPr>
            <p:cNvPr id="27" name="îşḻiḍè">
              <a:extLst>
                <a:ext uri="{FF2B5EF4-FFF2-40B4-BE49-F238E27FC236}">
                  <a16:creationId xmlns:a16="http://schemas.microsoft.com/office/drawing/2014/main" id="{44736D6B-71C7-410B-B8A1-1DAEAD2C3DF6}"/>
                </a:ext>
              </a:extLst>
            </p:cNvPr>
            <p:cNvSpPr/>
            <p:nvPr/>
          </p:nvSpPr>
          <p:spPr>
            <a:xfrm>
              <a:off x="669925" y="2209800"/>
              <a:ext cx="2235321" cy="3632819"/>
            </a:xfrm>
            <a:prstGeom prst="rect">
              <a:avLst/>
            </a:prstGeom>
            <a:solidFill>
              <a:srgbClr val="008CD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a:p>
          </p:txBody>
        </p:sp>
        <p:sp>
          <p:nvSpPr>
            <p:cNvPr id="28" name="iṩḷíďé">
              <a:extLst>
                <a:ext uri="{FF2B5EF4-FFF2-40B4-BE49-F238E27FC236}">
                  <a16:creationId xmlns:a16="http://schemas.microsoft.com/office/drawing/2014/main" id="{B275542E-3C33-4FEA-979C-FB3872624C69}"/>
                </a:ext>
              </a:extLst>
            </p:cNvPr>
            <p:cNvSpPr/>
            <p:nvPr/>
          </p:nvSpPr>
          <p:spPr>
            <a:xfrm>
              <a:off x="669925" y="1478280"/>
              <a:ext cx="2235321" cy="558800"/>
            </a:xfrm>
            <a:prstGeom prst="rect">
              <a:avLst/>
            </a:prstGeom>
            <a:pattFill prst="pct5">
              <a:fgClr>
                <a:srgbClr val="E4E6EA"/>
              </a:fgClr>
              <a:bgClr>
                <a:srgbClr val="ADB5BF"/>
              </a:bgClr>
            </a:patt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a:r>
                <a:rPr lang="zh-CN" altLang="en-US" sz="2800" b="1" dirty="0" smtClean="0"/>
                <a:t>父类与子类</a:t>
              </a:r>
              <a:endParaRPr lang="zh-CN" altLang="en-US" sz="2800" b="1" dirty="0"/>
            </a:p>
          </p:txBody>
        </p:sp>
        <p:sp>
          <p:nvSpPr>
            <p:cNvPr id="31" name="îs1îḍé">
              <a:extLst>
                <a:ext uri="{FF2B5EF4-FFF2-40B4-BE49-F238E27FC236}">
                  <a16:creationId xmlns:a16="http://schemas.microsoft.com/office/drawing/2014/main" id="{591970D6-8940-4B3B-A082-F729F2394E73}"/>
                </a:ext>
              </a:extLst>
            </p:cNvPr>
            <p:cNvSpPr/>
            <p:nvPr/>
          </p:nvSpPr>
          <p:spPr bwMode="auto">
            <a:xfrm>
              <a:off x="919796" y="2344117"/>
              <a:ext cx="2112948" cy="1218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50000"/>
                </a:lnSpc>
                <a:spcBef>
                  <a:spcPct val="0"/>
                </a:spcBef>
                <a:buFont typeface="Arial" panose="020B0604020202020204" pitchFamily="34" charset="0"/>
                <a:buChar char="•"/>
              </a:pPr>
              <a:r>
                <a:rPr lang="zh-CN" altLang="en-US" b="1" dirty="0" smtClean="0">
                  <a:solidFill>
                    <a:schemeClr val="bg1"/>
                  </a:solidFill>
                </a:rPr>
                <a:t>策略模式</a:t>
              </a:r>
              <a:endParaRPr lang="en-US" altLang="zh-CN" b="1" dirty="0" smtClean="0">
                <a:solidFill>
                  <a:schemeClr val="bg1"/>
                </a:solidFill>
              </a:endParaRPr>
            </a:p>
            <a:p>
              <a:pPr marL="171450" indent="-171450">
                <a:lnSpc>
                  <a:spcPct val="150000"/>
                </a:lnSpc>
                <a:spcBef>
                  <a:spcPct val="0"/>
                </a:spcBef>
                <a:buFont typeface="Arial" panose="020B0604020202020204" pitchFamily="34" charset="0"/>
                <a:buChar char="•"/>
              </a:pPr>
              <a:r>
                <a:rPr lang="zh-CN" altLang="en-US" b="1" dirty="0">
                  <a:solidFill>
                    <a:schemeClr val="bg1"/>
                  </a:solidFill>
                </a:rPr>
                <a:t>模板</a:t>
              </a:r>
              <a:r>
                <a:rPr lang="zh-CN" altLang="en-US" b="1" dirty="0" smtClean="0">
                  <a:solidFill>
                    <a:schemeClr val="bg1"/>
                  </a:solidFill>
                </a:rPr>
                <a:t>方法模式</a:t>
              </a:r>
              <a:endParaRPr lang="en-US" altLang="zh-CN" b="1" dirty="0" smtClean="0">
                <a:solidFill>
                  <a:schemeClr val="bg1"/>
                </a:solidFill>
              </a:endParaRPr>
            </a:p>
          </p:txBody>
        </p:sp>
        <p:sp>
          <p:nvSpPr>
            <p:cNvPr id="30" name="ïṡḻïďè">
              <a:extLst>
                <a:ext uri="{FF2B5EF4-FFF2-40B4-BE49-F238E27FC236}">
                  <a16:creationId xmlns:a16="http://schemas.microsoft.com/office/drawing/2014/main" id="{95DB5B64-EFFF-4EAE-95FF-7E15A00DCBEF}"/>
                </a:ext>
              </a:extLst>
            </p:cNvPr>
            <p:cNvSpPr/>
            <p:nvPr/>
          </p:nvSpPr>
          <p:spPr bwMode="auto">
            <a:xfrm>
              <a:off x="1522850" y="4860497"/>
              <a:ext cx="529470" cy="509204"/>
            </a:xfrm>
            <a:custGeom>
              <a:avLst/>
              <a:gdLst>
                <a:gd name="connsiteX0" fmla="*/ 61288 w 609549"/>
                <a:gd name="connsiteY0" fmla="*/ 383285 h 586216"/>
                <a:gd name="connsiteX1" fmla="*/ 71162 w 609549"/>
                <a:gd name="connsiteY1" fmla="*/ 387101 h 586216"/>
                <a:gd name="connsiteX2" fmla="*/ 120018 w 609549"/>
                <a:gd name="connsiteY2" fmla="*/ 435892 h 586216"/>
                <a:gd name="connsiteX3" fmla="*/ 120018 w 609549"/>
                <a:gd name="connsiteY3" fmla="*/ 454200 h 586216"/>
                <a:gd name="connsiteX4" fmla="*/ 56639 w 609549"/>
                <a:gd name="connsiteY4" fmla="*/ 517543 h 586216"/>
                <a:gd name="connsiteX5" fmla="*/ 35592 w 609549"/>
                <a:gd name="connsiteY5" fmla="*/ 513644 h 586216"/>
                <a:gd name="connsiteX6" fmla="*/ 51877 w 609549"/>
                <a:gd name="connsiteY6" fmla="*/ 388099 h 586216"/>
                <a:gd name="connsiteX7" fmla="*/ 61288 w 609549"/>
                <a:gd name="connsiteY7" fmla="*/ 383285 h 586216"/>
                <a:gd name="connsiteX8" fmla="*/ 235245 w 609549"/>
                <a:gd name="connsiteY8" fmla="*/ 302810 h 586216"/>
                <a:gd name="connsiteX9" fmla="*/ 306042 w 609549"/>
                <a:gd name="connsiteY9" fmla="*/ 373466 h 586216"/>
                <a:gd name="connsiteX10" fmla="*/ 258717 w 609549"/>
                <a:gd name="connsiteY10" fmla="*/ 420680 h 586216"/>
                <a:gd name="connsiteX11" fmla="*/ 230246 w 609549"/>
                <a:gd name="connsiteY11" fmla="*/ 550152 h 586216"/>
                <a:gd name="connsiteX12" fmla="*/ 92223 w 609549"/>
                <a:gd name="connsiteY12" fmla="*/ 575305 h 586216"/>
                <a:gd name="connsiteX13" fmla="*/ 88748 w 609549"/>
                <a:gd name="connsiteY13" fmla="*/ 556143 h 586216"/>
                <a:gd name="connsiteX14" fmla="*/ 165115 w 609549"/>
                <a:gd name="connsiteY14" fmla="*/ 479877 h 586216"/>
                <a:gd name="connsiteX15" fmla="*/ 165115 w 609549"/>
                <a:gd name="connsiteY15" fmla="*/ 446308 h 586216"/>
                <a:gd name="connsiteX16" fmla="*/ 88700 w 609549"/>
                <a:gd name="connsiteY16" fmla="*/ 369995 h 586216"/>
                <a:gd name="connsiteX17" fmla="*/ 92128 w 609549"/>
                <a:gd name="connsiteY17" fmla="*/ 350976 h 586216"/>
                <a:gd name="connsiteX18" fmla="*/ 189111 w 609549"/>
                <a:gd name="connsiteY18" fmla="*/ 348884 h 586216"/>
                <a:gd name="connsiteX19" fmla="*/ 257958 w 609549"/>
                <a:gd name="connsiteY19" fmla="*/ 161679 h 586216"/>
                <a:gd name="connsiteX20" fmla="*/ 317251 w 609549"/>
                <a:gd name="connsiteY20" fmla="*/ 220879 h 586216"/>
                <a:gd name="connsiteX21" fmla="*/ 388070 w 609549"/>
                <a:gd name="connsiteY21" fmla="*/ 291586 h 586216"/>
                <a:gd name="connsiteX22" fmla="*/ 604906 w 609549"/>
                <a:gd name="connsiteY22" fmla="*/ 508130 h 586216"/>
                <a:gd name="connsiteX23" fmla="*/ 604906 w 609549"/>
                <a:gd name="connsiteY23" fmla="*/ 530526 h 586216"/>
                <a:gd name="connsiteX24" fmla="*/ 556567 w 609549"/>
                <a:gd name="connsiteY24" fmla="*/ 578789 h 586216"/>
                <a:gd name="connsiteX25" fmla="*/ 545327 w 609549"/>
                <a:gd name="connsiteY25" fmla="*/ 583449 h 586216"/>
                <a:gd name="connsiteX26" fmla="*/ 534135 w 609549"/>
                <a:gd name="connsiteY26" fmla="*/ 578789 h 586216"/>
                <a:gd name="connsiteX27" fmla="*/ 317251 w 609549"/>
                <a:gd name="connsiteY27" fmla="*/ 362293 h 586216"/>
                <a:gd name="connsiteX28" fmla="*/ 246481 w 609549"/>
                <a:gd name="connsiteY28" fmla="*/ 291586 h 586216"/>
                <a:gd name="connsiteX29" fmla="*/ 187140 w 609549"/>
                <a:gd name="connsiteY29" fmla="*/ 232339 h 586216"/>
                <a:gd name="connsiteX30" fmla="*/ 58606 w 609549"/>
                <a:gd name="connsiteY30" fmla="*/ 160814 h 586216"/>
                <a:gd name="connsiteX31" fmla="*/ 126401 w 609549"/>
                <a:gd name="connsiteY31" fmla="*/ 228498 h 586216"/>
                <a:gd name="connsiteX32" fmla="*/ 111975 w 609549"/>
                <a:gd name="connsiteY32" fmla="*/ 242899 h 586216"/>
                <a:gd name="connsiteX33" fmla="*/ 119307 w 609549"/>
                <a:gd name="connsiteY33" fmla="*/ 250219 h 586216"/>
                <a:gd name="connsiteX34" fmla="*/ 119307 w 609549"/>
                <a:gd name="connsiteY34" fmla="*/ 277692 h 586216"/>
                <a:gd name="connsiteX35" fmla="*/ 115641 w 609549"/>
                <a:gd name="connsiteY35" fmla="*/ 281352 h 586216"/>
                <a:gd name="connsiteX36" fmla="*/ 88123 w 609549"/>
                <a:gd name="connsiteY36" fmla="*/ 281352 h 586216"/>
                <a:gd name="connsiteX37" fmla="*/ 5712 w 609549"/>
                <a:gd name="connsiteY37" fmla="*/ 199029 h 586216"/>
                <a:gd name="connsiteX38" fmla="*/ 5712 w 609549"/>
                <a:gd name="connsiteY38" fmla="*/ 171604 h 586216"/>
                <a:gd name="connsiteX39" fmla="*/ 9378 w 609549"/>
                <a:gd name="connsiteY39" fmla="*/ 167944 h 586216"/>
                <a:gd name="connsiteX40" fmla="*/ 36849 w 609549"/>
                <a:gd name="connsiteY40" fmla="*/ 167944 h 586216"/>
                <a:gd name="connsiteX41" fmla="*/ 44180 w 609549"/>
                <a:gd name="connsiteY41" fmla="*/ 175264 h 586216"/>
                <a:gd name="connsiteX42" fmla="*/ 585775 w 609549"/>
                <a:gd name="connsiteY42" fmla="*/ 66370 h 586216"/>
                <a:gd name="connsiteX43" fmla="*/ 595263 w 609549"/>
                <a:gd name="connsiteY43" fmla="*/ 73839 h 586216"/>
                <a:gd name="connsiteX44" fmla="*/ 578978 w 609549"/>
                <a:gd name="connsiteY44" fmla="*/ 199341 h 586216"/>
                <a:gd name="connsiteX45" fmla="*/ 559693 w 609549"/>
                <a:gd name="connsiteY45" fmla="*/ 200387 h 586216"/>
                <a:gd name="connsiteX46" fmla="*/ 510789 w 609549"/>
                <a:gd name="connsiteY46" fmla="*/ 151612 h 586216"/>
                <a:gd name="connsiteX47" fmla="*/ 510789 w 609549"/>
                <a:gd name="connsiteY47" fmla="*/ 133262 h 586216"/>
                <a:gd name="connsiteX48" fmla="*/ 574216 w 609549"/>
                <a:gd name="connsiteY48" fmla="*/ 69988 h 586216"/>
                <a:gd name="connsiteX49" fmla="*/ 585775 w 609549"/>
                <a:gd name="connsiteY49" fmla="*/ 66370 h 586216"/>
                <a:gd name="connsiteX50" fmla="*/ 158702 w 609549"/>
                <a:gd name="connsiteY50" fmla="*/ 26758 h 586216"/>
                <a:gd name="connsiteX51" fmla="*/ 172463 w 609549"/>
                <a:gd name="connsiteY51" fmla="*/ 32464 h 586216"/>
                <a:gd name="connsiteX52" fmla="*/ 179701 w 609549"/>
                <a:gd name="connsiteY52" fmla="*/ 39691 h 586216"/>
                <a:gd name="connsiteX53" fmla="*/ 246935 w 609549"/>
                <a:gd name="connsiteY53" fmla="*/ 106831 h 586216"/>
                <a:gd name="connsiteX54" fmla="*/ 254886 w 609549"/>
                <a:gd name="connsiteY54" fmla="*/ 114819 h 586216"/>
                <a:gd name="connsiteX55" fmla="*/ 257600 w 609549"/>
                <a:gd name="connsiteY55" fmla="*/ 138879 h 586216"/>
                <a:gd name="connsiteX56" fmla="*/ 254886 w 609549"/>
                <a:gd name="connsiteY56" fmla="*/ 142255 h 586216"/>
                <a:gd name="connsiteX57" fmla="*/ 252315 w 609549"/>
                <a:gd name="connsiteY57" fmla="*/ 144823 h 586216"/>
                <a:gd name="connsiteX58" fmla="*/ 246696 w 609549"/>
                <a:gd name="connsiteY58" fmla="*/ 150434 h 586216"/>
                <a:gd name="connsiteX59" fmla="*/ 175892 w 609549"/>
                <a:gd name="connsiteY59" fmla="*/ 221140 h 586216"/>
                <a:gd name="connsiteX60" fmla="*/ 172463 w 609549"/>
                <a:gd name="connsiteY60" fmla="*/ 224611 h 586216"/>
                <a:gd name="connsiteX61" fmla="*/ 170130 w 609549"/>
                <a:gd name="connsiteY61" fmla="*/ 226560 h 586216"/>
                <a:gd name="connsiteX62" fmla="*/ 162274 w 609549"/>
                <a:gd name="connsiteY62" fmla="*/ 229936 h 586216"/>
                <a:gd name="connsiteX63" fmla="*/ 158702 w 609549"/>
                <a:gd name="connsiteY63" fmla="*/ 230269 h 586216"/>
                <a:gd name="connsiteX64" fmla="*/ 144942 w 609549"/>
                <a:gd name="connsiteY64" fmla="*/ 224611 h 586216"/>
                <a:gd name="connsiteX65" fmla="*/ 137609 w 609549"/>
                <a:gd name="connsiteY65" fmla="*/ 217288 h 586216"/>
                <a:gd name="connsiteX66" fmla="*/ 69804 w 609549"/>
                <a:gd name="connsiteY66" fmla="*/ 149578 h 586216"/>
                <a:gd name="connsiteX67" fmla="*/ 62519 w 609549"/>
                <a:gd name="connsiteY67" fmla="*/ 142255 h 586216"/>
                <a:gd name="connsiteX68" fmla="*/ 62519 w 609549"/>
                <a:gd name="connsiteY68" fmla="*/ 114819 h 586216"/>
                <a:gd name="connsiteX69" fmla="*/ 144942 w 609549"/>
                <a:gd name="connsiteY69" fmla="*/ 32464 h 586216"/>
                <a:gd name="connsiteX70" fmla="*/ 158702 w 609549"/>
                <a:gd name="connsiteY70" fmla="*/ 26758 h 586216"/>
                <a:gd name="connsiteX71" fmla="*/ 254809 w 609549"/>
                <a:gd name="connsiteY71" fmla="*/ 6542 h 586216"/>
                <a:gd name="connsiteX72" fmla="*/ 321015 w 609549"/>
                <a:gd name="connsiteY72" fmla="*/ 29913 h 586216"/>
                <a:gd name="connsiteX73" fmla="*/ 260017 w 609549"/>
                <a:gd name="connsiteY73" fmla="*/ 97465 h 586216"/>
                <a:gd name="connsiteX74" fmla="*/ 193067 w 609549"/>
                <a:gd name="connsiteY74" fmla="*/ 30626 h 586216"/>
                <a:gd name="connsiteX75" fmla="*/ 254809 w 609549"/>
                <a:gd name="connsiteY75" fmla="*/ 6542 h 586216"/>
                <a:gd name="connsiteX76" fmla="*/ 503105 w 609549"/>
                <a:gd name="connsiteY76" fmla="*/ 953 h 586216"/>
                <a:gd name="connsiteX77" fmla="*/ 538560 w 609549"/>
                <a:gd name="connsiteY77" fmla="*/ 10911 h 586216"/>
                <a:gd name="connsiteX78" fmla="*/ 542083 w 609549"/>
                <a:gd name="connsiteY78" fmla="*/ 30073 h 586216"/>
                <a:gd name="connsiteX79" fmla="*/ 465709 w 609549"/>
                <a:gd name="connsiteY79" fmla="*/ 106341 h 586216"/>
                <a:gd name="connsiteX80" fmla="*/ 465709 w 609549"/>
                <a:gd name="connsiteY80" fmla="*/ 139911 h 586216"/>
                <a:gd name="connsiteX81" fmla="*/ 542131 w 609549"/>
                <a:gd name="connsiteY81" fmla="*/ 216227 h 586216"/>
                <a:gd name="connsiteX82" fmla="*/ 538655 w 609549"/>
                <a:gd name="connsiteY82" fmla="*/ 235246 h 586216"/>
                <a:gd name="connsiteX83" fmla="*/ 442187 w 609549"/>
                <a:gd name="connsiteY83" fmla="*/ 237528 h 586216"/>
                <a:gd name="connsiteX84" fmla="*/ 399238 w 609549"/>
                <a:gd name="connsiteY84" fmla="*/ 280370 h 586216"/>
                <a:gd name="connsiteX85" fmla="*/ 328482 w 609549"/>
                <a:gd name="connsiteY85" fmla="*/ 209712 h 586216"/>
                <a:gd name="connsiteX86" fmla="*/ 372240 w 609549"/>
                <a:gd name="connsiteY86" fmla="*/ 166015 h 586216"/>
                <a:gd name="connsiteX87" fmla="*/ 400571 w 609549"/>
                <a:gd name="connsiteY87" fmla="*/ 36064 h 586216"/>
                <a:gd name="connsiteX88" fmla="*/ 503105 w 609549"/>
                <a:gd name="connsiteY88" fmla="*/ 953 h 586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09549" h="586216">
                  <a:moveTo>
                    <a:pt x="61288" y="383285"/>
                  </a:moveTo>
                  <a:cubicBezTo>
                    <a:pt x="64829" y="383106"/>
                    <a:pt x="68448" y="384367"/>
                    <a:pt x="71162" y="387101"/>
                  </a:cubicBezTo>
                  <a:lnTo>
                    <a:pt x="120018" y="435892"/>
                  </a:lnTo>
                  <a:cubicBezTo>
                    <a:pt x="125113" y="440933"/>
                    <a:pt x="125113" y="449160"/>
                    <a:pt x="120018" y="454200"/>
                  </a:cubicBezTo>
                  <a:lnTo>
                    <a:pt x="56639" y="517543"/>
                  </a:lnTo>
                  <a:cubicBezTo>
                    <a:pt x="50211" y="523963"/>
                    <a:pt x="39211" y="522013"/>
                    <a:pt x="35592" y="513644"/>
                  </a:cubicBezTo>
                  <a:cubicBezTo>
                    <a:pt x="17783" y="472794"/>
                    <a:pt x="23211" y="424288"/>
                    <a:pt x="51877" y="388099"/>
                  </a:cubicBezTo>
                  <a:cubicBezTo>
                    <a:pt x="54282" y="385079"/>
                    <a:pt x="57746" y="383463"/>
                    <a:pt x="61288" y="383285"/>
                  </a:cubicBezTo>
                  <a:close/>
                  <a:moveTo>
                    <a:pt x="235245" y="302810"/>
                  </a:moveTo>
                  <a:lnTo>
                    <a:pt x="306042" y="373466"/>
                  </a:lnTo>
                  <a:lnTo>
                    <a:pt x="258717" y="420680"/>
                  </a:lnTo>
                  <a:cubicBezTo>
                    <a:pt x="274667" y="464329"/>
                    <a:pt x="265192" y="515300"/>
                    <a:pt x="230246" y="550152"/>
                  </a:cubicBezTo>
                  <a:cubicBezTo>
                    <a:pt x="192919" y="587430"/>
                    <a:pt x="137644" y="595798"/>
                    <a:pt x="92223" y="575305"/>
                  </a:cubicBezTo>
                  <a:cubicBezTo>
                    <a:pt x="84701" y="571882"/>
                    <a:pt x="82892" y="561992"/>
                    <a:pt x="88748" y="556143"/>
                  </a:cubicBezTo>
                  <a:lnTo>
                    <a:pt x="165115" y="479877"/>
                  </a:lnTo>
                  <a:cubicBezTo>
                    <a:pt x="174399" y="470605"/>
                    <a:pt x="174399" y="455580"/>
                    <a:pt x="165115" y="446308"/>
                  </a:cubicBezTo>
                  <a:lnTo>
                    <a:pt x="88700" y="369995"/>
                  </a:lnTo>
                  <a:cubicBezTo>
                    <a:pt x="82844" y="364194"/>
                    <a:pt x="84653" y="354399"/>
                    <a:pt x="92128" y="350976"/>
                  </a:cubicBezTo>
                  <a:cubicBezTo>
                    <a:pt x="122789" y="337092"/>
                    <a:pt x="157973" y="336379"/>
                    <a:pt x="189111" y="348884"/>
                  </a:cubicBezTo>
                  <a:close/>
                  <a:moveTo>
                    <a:pt x="257958" y="161679"/>
                  </a:moveTo>
                  <a:lnTo>
                    <a:pt x="317251" y="220879"/>
                  </a:lnTo>
                  <a:lnTo>
                    <a:pt x="388070" y="291586"/>
                  </a:lnTo>
                  <a:lnTo>
                    <a:pt x="604906" y="508130"/>
                  </a:lnTo>
                  <a:cubicBezTo>
                    <a:pt x="611097" y="514311"/>
                    <a:pt x="611097" y="524344"/>
                    <a:pt x="604906" y="530526"/>
                  </a:cubicBezTo>
                  <a:lnTo>
                    <a:pt x="556567" y="578789"/>
                  </a:lnTo>
                  <a:cubicBezTo>
                    <a:pt x="553471" y="581880"/>
                    <a:pt x="549423" y="583449"/>
                    <a:pt x="545327" y="583449"/>
                  </a:cubicBezTo>
                  <a:cubicBezTo>
                    <a:pt x="541279" y="583449"/>
                    <a:pt x="537231" y="581880"/>
                    <a:pt x="534135" y="578789"/>
                  </a:cubicBezTo>
                  <a:lnTo>
                    <a:pt x="317251" y="362293"/>
                  </a:lnTo>
                  <a:lnTo>
                    <a:pt x="246481" y="291586"/>
                  </a:lnTo>
                  <a:lnTo>
                    <a:pt x="187140" y="232339"/>
                  </a:lnTo>
                  <a:close/>
                  <a:moveTo>
                    <a:pt x="58606" y="160814"/>
                  </a:moveTo>
                  <a:lnTo>
                    <a:pt x="126401" y="228498"/>
                  </a:lnTo>
                  <a:lnTo>
                    <a:pt x="111975" y="242899"/>
                  </a:lnTo>
                  <a:lnTo>
                    <a:pt x="119307" y="250219"/>
                  </a:lnTo>
                  <a:cubicBezTo>
                    <a:pt x="126877" y="257824"/>
                    <a:pt x="126877" y="270087"/>
                    <a:pt x="119307" y="277692"/>
                  </a:cubicBezTo>
                  <a:lnTo>
                    <a:pt x="115641" y="281352"/>
                  </a:lnTo>
                  <a:cubicBezTo>
                    <a:pt x="108024" y="288909"/>
                    <a:pt x="95741" y="288909"/>
                    <a:pt x="88123" y="281352"/>
                  </a:cubicBezTo>
                  <a:lnTo>
                    <a:pt x="5712" y="199029"/>
                  </a:lnTo>
                  <a:cubicBezTo>
                    <a:pt x="-1905" y="191424"/>
                    <a:pt x="-1905" y="179161"/>
                    <a:pt x="5712" y="171604"/>
                  </a:cubicBezTo>
                  <a:lnTo>
                    <a:pt x="9378" y="167944"/>
                  </a:lnTo>
                  <a:cubicBezTo>
                    <a:pt x="16948" y="160339"/>
                    <a:pt x="29231" y="160339"/>
                    <a:pt x="36849" y="167944"/>
                  </a:cubicBezTo>
                  <a:lnTo>
                    <a:pt x="44180" y="175264"/>
                  </a:lnTo>
                  <a:close/>
                  <a:moveTo>
                    <a:pt x="585775" y="66370"/>
                  </a:moveTo>
                  <a:cubicBezTo>
                    <a:pt x="589775" y="67101"/>
                    <a:pt x="593430" y="69680"/>
                    <a:pt x="595263" y="73839"/>
                  </a:cubicBezTo>
                  <a:cubicBezTo>
                    <a:pt x="613072" y="114675"/>
                    <a:pt x="607644" y="163212"/>
                    <a:pt x="578978" y="199341"/>
                  </a:cubicBezTo>
                  <a:cubicBezTo>
                    <a:pt x="574168" y="205379"/>
                    <a:pt x="565121" y="205854"/>
                    <a:pt x="559693" y="200387"/>
                  </a:cubicBezTo>
                  <a:lnTo>
                    <a:pt x="510789" y="151612"/>
                  </a:lnTo>
                  <a:cubicBezTo>
                    <a:pt x="505742" y="146526"/>
                    <a:pt x="505742" y="138349"/>
                    <a:pt x="510789" y="133262"/>
                  </a:cubicBezTo>
                  <a:lnTo>
                    <a:pt x="574216" y="69988"/>
                  </a:lnTo>
                  <a:cubicBezTo>
                    <a:pt x="577430" y="66756"/>
                    <a:pt x="581775" y="65639"/>
                    <a:pt x="585775" y="66370"/>
                  </a:cubicBezTo>
                  <a:close/>
                  <a:moveTo>
                    <a:pt x="158702" y="26758"/>
                  </a:moveTo>
                  <a:cubicBezTo>
                    <a:pt x="163655" y="26758"/>
                    <a:pt x="168654" y="28660"/>
                    <a:pt x="172463" y="32464"/>
                  </a:cubicBezTo>
                  <a:lnTo>
                    <a:pt x="179701" y="39691"/>
                  </a:lnTo>
                  <a:lnTo>
                    <a:pt x="246935" y="106831"/>
                  </a:lnTo>
                  <a:lnTo>
                    <a:pt x="254886" y="114819"/>
                  </a:lnTo>
                  <a:cubicBezTo>
                    <a:pt x="261457" y="121334"/>
                    <a:pt x="262362" y="131414"/>
                    <a:pt x="257600" y="138879"/>
                  </a:cubicBezTo>
                  <a:cubicBezTo>
                    <a:pt x="256839" y="140068"/>
                    <a:pt x="255934" y="141209"/>
                    <a:pt x="254886" y="142255"/>
                  </a:cubicBezTo>
                  <a:lnTo>
                    <a:pt x="252315" y="144823"/>
                  </a:lnTo>
                  <a:lnTo>
                    <a:pt x="246696" y="150434"/>
                  </a:lnTo>
                  <a:lnTo>
                    <a:pt x="175892" y="221140"/>
                  </a:lnTo>
                  <a:lnTo>
                    <a:pt x="172463" y="224611"/>
                  </a:lnTo>
                  <a:cubicBezTo>
                    <a:pt x="171702" y="225324"/>
                    <a:pt x="170940" y="225990"/>
                    <a:pt x="170130" y="226560"/>
                  </a:cubicBezTo>
                  <a:cubicBezTo>
                    <a:pt x="167749" y="228319"/>
                    <a:pt x="165083" y="229413"/>
                    <a:pt x="162274" y="229936"/>
                  </a:cubicBezTo>
                  <a:cubicBezTo>
                    <a:pt x="161083" y="230174"/>
                    <a:pt x="159893" y="230269"/>
                    <a:pt x="158702" y="230269"/>
                  </a:cubicBezTo>
                  <a:cubicBezTo>
                    <a:pt x="153703" y="230269"/>
                    <a:pt x="148751" y="228367"/>
                    <a:pt x="144942" y="224611"/>
                  </a:cubicBezTo>
                  <a:lnTo>
                    <a:pt x="137609" y="217288"/>
                  </a:lnTo>
                  <a:lnTo>
                    <a:pt x="69804" y="149578"/>
                  </a:lnTo>
                  <a:lnTo>
                    <a:pt x="62519" y="142255"/>
                  </a:lnTo>
                  <a:cubicBezTo>
                    <a:pt x="54900" y="134647"/>
                    <a:pt x="54900" y="122380"/>
                    <a:pt x="62519" y="114819"/>
                  </a:cubicBezTo>
                  <a:lnTo>
                    <a:pt x="144942" y="32464"/>
                  </a:lnTo>
                  <a:cubicBezTo>
                    <a:pt x="148751" y="28660"/>
                    <a:pt x="153750" y="26758"/>
                    <a:pt x="158702" y="26758"/>
                  </a:cubicBezTo>
                  <a:close/>
                  <a:moveTo>
                    <a:pt x="254809" y="6542"/>
                  </a:moveTo>
                  <a:cubicBezTo>
                    <a:pt x="277279" y="4029"/>
                    <a:pt x="300492" y="9424"/>
                    <a:pt x="321015" y="29913"/>
                  </a:cubicBezTo>
                  <a:cubicBezTo>
                    <a:pt x="380347" y="89193"/>
                    <a:pt x="337205" y="46124"/>
                    <a:pt x="260017" y="97465"/>
                  </a:cubicBezTo>
                  <a:lnTo>
                    <a:pt x="193067" y="30626"/>
                  </a:lnTo>
                  <a:cubicBezTo>
                    <a:pt x="210614" y="19479"/>
                    <a:pt x="232340" y="9056"/>
                    <a:pt x="254809" y="6542"/>
                  </a:cubicBezTo>
                  <a:close/>
                  <a:moveTo>
                    <a:pt x="503105" y="953"/>
                  </a:moveTo>
                  <a:cubicBezTo>
                    <a:pt x="515252" y="2468"/>
                    <a:pt x="527216" y="5788"/>
                    <a:pt x="538560" y="10911"/>
                  </a:cubicBezTo>
                  <a:cubicBezTo>
                    <a:pt x="546131" y="14334"/>
                    <a:pt x="547940" y="24224"/>
                    <a:pt x="542083" y="30073"/>
                  </a:cubicBezTo>
                  <a:lnTo>
                    <a:pt x="465709" y="106341"/>
                  </a:lnTo>
                  <a:cubicBezTo>
                    <a:pt x="456424" y="115613"/>
                    <a:pt x="456424" y="130639"/>
                    <a:pt x="465709" y="139911"/>
                  </a:cubicBezTo>
                  <a:lnTo>
                    <a:pt x="542131" y="216227"/>
                  </a:lnTo>
                  <a:cubicBezTo>
                    <a:pt x="547940" y="222028"/>
                    <a:pt x="546178" y="231823"/>
                    <a:pt x="538655" y="235246"/>
                  </a:cubicBezTo>
                  <a:cubicBezTo>
                    <a:pt x="508181" y="249035"/>
                    <a:pt x="473184" y="249844"/>
                    <a:pt x="442187" y="237528"/>
                  </a:cubicBezTo>
                  <a:lnTo>
                    <a:pt x="399238" y="280370"/>
                  </a:lnTo>
                  <a:lnTo>
                    <a:pt x="328482" y="209712"/>
                  </a:lnTo>
                  <a:lnTo>
                    <a:pt x="372240" y="166015"/>
                  </a:lnTo>
                  <a:cubicBezTo>
                    <a:pt x="356051" y="122270"/>
                    <a:pt x="365527" y="71060"/>
                    <a:pt x="400571" y="36064"/>
                  </a:cubicBezTo>
                  <a:cubicBezTo>
                    <a:pt x="428569" y="8106"/>
                    <a:pt x="466664" y="-3592"/>
                    <a:pt x="503105" y="953"/>
                  </a:cubicBezTo>
                  <a:close/>
                </a:path>
              </a:pathLst>
            </a:custGeom>
            <a:solidFill>
              <a:schemeClr val="bg1"/>
            </a:solidFill>
            <a:ln>
              <a:noFill/>
            </a:ln>
          </p:spPr>
          <p:txBody>
            <a:bodyPr/>
            <a:lstStyle/>
            <a:p>
              <a:endParaRPr lang="zh-CN" altLang="en-US"/>
            </a:p>
          </p:txBody>
        </p:sp>
      </p:grpSp>
      <p:grpSp>
        <p:nvGrpSpPr>
          <p:cNvPr id="5" name="iṥlïďê">
            <a:extLst>
              <a:ext uri="{FF2B5EF4-FFF2-40B4-BE49-F238E27FC236}">
                <a16:creationId xmlns:a16="http://schemas.microsoft.com/office/drawing/2014/main" id="{17F996E2-C113-44CC-8350-07832A36A4AA}"/>
              </a:ext>
            </a:extLst>
          </p:cNvPr>
          <p:cNvGrpSpPr/>
          <p:nvPr/>
        </p:nvGrpSpPr>
        <p:grpSpPr>
          <a:xfrm>
            <a:off x="9350078" y="1901372"/>
            <a:ext cx="2420876" cy="4364339"/>
            <a:chOff x="9280949" y="1478280"/>
            <a:chExt cx="2420876" cy="4364339"/>
          </a:xfrm>
        </p:grpSpPr>
        <p:sp>
          <p:nvSpPr>
            <p:cNvPr id="21" name="íṣḻíḓê">
              <a:extLst>
                <a:ext uri="{FF2B5EF4-FFF2-40B4-BE49-F238E27FC236}">
                  <a16:creationId xmlns:a16="http://schemas.microsoft.com/office/drawing/2014/main" id="{C74F4FF6-91F7-4047-B70C-46D82F0FC7D7}"/>
                </a:ext>
              </a:extLst>
            </p:cNvPr>
            <p:cNvSpPr/>
            <p:nvPr/>
          </p:nvSpPr>
          <p:spPr>
            <a:xfrm>
              <a:off x="9280949" y="2209800"/>
              <a:ext cx="2235321" cy="36328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a:p>
          </p:txBody>
        </p:sp>
        <p:sp>
          <p:nvSpPr>
            <p:cNvPr id="22" name="î$líḑè">
              <a:extLst>
                <a:ext uri="{FF2B5EF4-FFF2-40B4-BE49-F238E27FC236}">
                  <a16:creationId xmlns:a16="http://schemas.microsoft.com/office/drawing/2014/main" id="{ACECD71D-1CFC-436C-A99F-75B4E1D505B9}"/>
                </a:ext>
              </a:extLst>
            </p:cNvPr>
            <p:cNvSpPr/>
            <p:nvPr/>
          </p:nvSpPr>
          <p:spPr>
            <a:xfrm>
              <a:off x="9280949" y="1478280"/>
              <a:ext cx="2235321" cy="558800"/>
            </a:xfrm>
            <a:prstGeom prst="rect">
              <a:avLst/>
            </a:prstGeom>
            <a:pattFill prst="pct5">
              <a:fgClr>
                <a:srgbClr val="E4E6EA"/>
              </a:fgClr>
              <a:bgClr>
                <a:srgbClr val="ADB5BF"/>
              </a:bgClr>
            </a:patt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a:r>
                <a:rPr lang="zh-CN" altLang="en-US" sz="2800" b="1" dirty="0" smtClean="0"/>
                <a:t>通过中间类</a:t>
              </a:r>
              <a:endParaRPr lang="zh-CN" altLang="en-US" sz="2800" b="1" dirty="0"/>
            </a:p>
          </p:txBody>
        </p:sp>
        <p:sp>
          <p:nvSpPr>
            <p:cNvPr id="25" name="îṥliďe">
              <a:extLst>
                <a:ext uri="{FF2B5EF4-FFF2-40B4-BE49-F238E27FC236}">
                  <a16:creationId xmlns:a16="http://schemas.microsoft.com/office/drawing/2014/main" id="{10016780-9CAA-4CD2-81AD-6C5D47F8E3C9}"/>
                </a:ext>
              </a:extLst>
            </p:cNvPr>
            <p:cNvSpPr/>
            <p:nvPr/>
          </p:nvSpPr>
          <p:spPr bwMode="auto">
            <a:xfrm>
              <a:off x="9588877" y="2344118"/>
              <a:ext cx="2112948" cy="1218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50000"/>
                </a:lnSpc>
                <a:spcBef>
                  <a:spcPct val="0"/>
                </a:spcBef>
                <a:buFont typeface="Arial" panose="020B0604020202020204" pitchFamily="34" charset="0"/>
                <a:buChar char="•"/>
              </a:pPr>
              <a:r>
                <a:rPr lang="zh-CN" altLang="en-US" b="1" dirty="0" smtClean="0">
                  <a:solidFill>
                    <a:schemeClr val="bg1"/>
                  </a:solidFill>
                </a:rPr>
                <a:t>访问者模式</a:t>
              </a:r>
              <a:endParaRPr lang="en-US" altLang="zh-CN" b="1" dirty="0" smtClean="0">
                <a:solidFill>
                  <a:schemeClr val="bg1"/>
                </a:solidFill>
              </a:endParaRPr>
            </a:p>
            <a:p>
              <a:pPr marL="171450" indent="-171450">
                <a:lnSpc>
                  <a:spcPct val="150000"/>
                </a:lnSpc>
                <a:spcBef>
                  <a:spcPct val="0"/>
                </a:spcBef>
                <a:buFont typeface="Arial" panose="020B0604020202020204" pitchFamily="34" charset="0"/>
                <a:buChar char="•"/>
              </a:pPr>
              <a:r>
                <a:rPr lang="zh-CN" altLang="en-US" b="1" dirty="0">
                  <a:solidFill>
                    <a:schemeClr val="bg1"/>
                  </a:solidFill>
                </a:rPr>
                <a:t>中介</a:t>
              </a:r>
              <a:r>
                <a:rPr lang="zh-CN" altLang="en-US" b="1" dirty="0" smtClean="0">
                  <a:solidFill>
                    <a:schemeClr val="bg1"/>
                  </a:solidFill>
                </a:rPr>
                <a:t>者模式</a:t>
              </a:r>
              <a:endParaRPr lang="en-US" altLang="zh-CN" b="1" dirty="0" smtClean="0">
                <a:solidFill>
                  <a:schemeClr val="bg1"/>
                </a:solidFill>
              </a:endParaRPr>
            </a:p>
            <a:p>
              <a:pPr marL="171450" indent="-171450">
                <a:lnSpc>
                  <a:spcPct val="150000"/>
                </a:lnSpc>
                <a:spcBef>
                  <a:spcPct val="0"/>
                </a:spcBef>
                <a:buFont typeface="Arial" panose="020B0604020202020204" pitchFamily="34" charset="0"/>
                <a:buChar char="•"/>
              </a:pPr>
              <a:r>
                <a:rPr lang="zh-CN" altLang="en-US" b="1" dirty="0" smtClean="0">
                  <a:solidFill>
                    <a:schemeClr val="bg1"/>
                  </a:solidFill>
                </a:rPr>
                <a:t>解释器模式</a:t>
              </a:r>
              <a:endParaRPr lang="zh-CN" altLang="en-US" b="1" dirty="0">
                <a:solidFill>
                  <a:schemeClr val="bg1"/>
                </a:solidFill>
              </a:endParaRPr>
            </a:p>
          </p:txBody>
        </p:sp>
        <p:sp>
          <p:nvSpPr>
            <p:cNvPr id="24" name="i$ļïḋe">
              <a:extLst>
                <a:ext uri="{FF2B5EF4-FFF2-40B4-BE49-F238E27FC236}">
                  <a16:creationId xmlns:a16="http://schemas.microsoft.com/office/drawing/2014/main" id="{7F821E2C-CC1D-46E5-B6A6-F24F668D98E9}"/>
                </a:ext>
              </a:extLst>
            </p:cNvPr>
            <p:cNvSpPr/>
            <p:nvPr/>
          </p:nvSpPr>
          <p:spPr bwMode="auto">
            <a:xfrm>
              <a:off x="10139378" y="4870927"/>
              <a:ext cx="518462" cy="498774"/>
            </a:xfrm>
            <a:custGeom>
              <a:avLst/>
              <a:gdLst>
                <a:gd name="connsiteX0" fmla="*/ 195114 w 608814"/>
                <a:gd name="connsiteY0" fmla="*/ 351627 h 585693"/>
                <a:gd name="connsiteX1" fmla="*/ 258290 w 608814"/>
                <a:gd name="connsiteY1" fmla="*/ 351627 h 585693"/>
                <a:gd name="connsiteX2" fmla="*/ 282731 w 608814"/>
                <a:gd name="connsiteY2" fmla="*/ 376018 h 585693"/>
                <a:gd name="connsiteX3" fmla="*/ 282731 w 608814"/>
                <a:gd name="connsiteY3" fmla="*/ 561210 h 585693"/>
                <a:gd name="connsiteX4" fmla="*/ 258290 w 608814"/>
                <a:gd name="connsiteY4" fmla="*/ 585693 h 585693"/>
                <a:gd name="connsiteX5" fmla="*/ 195114 w 608814"/>
                <a:gd name="connsiteY5" fmla="*/ 585693 h 585693"/>
                <a:gd name="connsiteX6" fmla="*/ 170673 w 608814"/>
                <a:gd name="connsiteY6" fmla="*/ 561210 h 585693"/>
                <a:gd name="connsiteX7" fmla="*/ 170673 w 608814"/>
                <a:gd name="connsiteY7" fmla="*/ 376018 h 585693"/>
                <a:gd name="connsiteX8" fmla="*/ 195114 w 608814"/>
                <a:gd name="connsiteY8" fmla="*/ 351627 h 585693"/>
                <a:gd name="connsiteX9" fmla="*/ 358100 w 608814"/>
                <a:gd name="connsiteY9" fmla="*/ 249872 h 585693"/>
                <a:gd name="connsiteX10" fmla="*/ 421316 w 608814"/>
                <a:gd name="connsiteY10" fmla="*/ 249872 h 585693"/>
                <a:gd name="connsiteX11" fmla="*/ 445737 w 608814"/>
                <a:gd name="connsiteY11" fmla="*/ 274267 h 585693"/>
                <a:gd name="connsiteX12" fmla="*/ 445737 w 608814"/>
                <a:gd name="connsiteY12" fmla="*/ 561206 h 585693"/>
                <a:gd name="connsiteX13" fmla="*/ 421316 w 608814"/>
                <a:gd name="connsiteY13" fmla="*/ 585693 h 585693"/>
                <a:gd name="connsiteX14" fmla="*/ 358100 w 608814"/>
                <a:gd name="connsiteY14" fmla="*/ 585693 h 585693"/>
                <a:gd name="connsiteX15" fmla="*/ 333679 w 608814"/>
                <a:gd name="connsiteY15" fmla="*/ 561206 h 585693"/>
                <a:gd name="connsiteX16" fmla="*/ 333679 w 608814"/>
                <a:gd name="connsiteY16" fmla="*/ 274267 h 585693"/>
                <a:gd name="connsiteX17" fmla="*/ 358100 w 608814"/>
                <a:gd name="connsiteY17" fmla="*/ 249872 h 585693"/>
                <a:gd name="connsiteX18" fmla="*/ 140260 w 608814"/>
                <a:gd name="connsiteY18" fmla="*/ 224680 h 585693"/>
                <a:gd name="connsiteX19" fmla="*/ 191844 w 608814"/>
                <a:gd name="connsiteY19" fmla="*/ 276122 h 585693"/>
                <a:gd name="connsiteX20" fmla="*/ 140260 w 608814"/>
                <a:gd name="connsiteY20" fmla="*/ 327564 h 585693"/>
                <a:gd name="connsiteX21" fmla="*/ 88676 w 608814"/>
                <a:gd name="connsiteY21" fmla="*/ 276122 h 585693"/>
                <a:gd name="connsiteX22" fmla="*/ 140260 w 608814"/>
                <a:gd name="connsiteY22" fmla="*/ 224680 h 585693"/>
                <a:gd name="connsiteX23" fmla="*/ 521177 w 608814"/>
                <a:gd name="connsiteY23" fmla="*/ 148117 h 585693"/>
                <a:gd name="connsiteX24" fmla="*/ 584301 w 608814"/>
                <a:gd name="connsiteY24" fmla="*/ 148117 h 585693"/>
                <a:gd name="connsiteX25" fmla="*/ 608814 w 608814"/>
                <a:gd name="connsiteY25" fmla="*/ 172601 h 585693"/>
                <a:gd name="connsiteX26" fmla="*/ 608814 w 608814"/>
                <a:gd name="connsiteY26" fmla="*/ 561209 h 585693"/>
                <a:gd name="connsiteX27" fmla="*/ 584301 w 608814"/>
                <a:gd name="connsiteY27" fmla="*/ 585693 h 585693"/>
                <a:gd name="connsiteX28" fmla="*/ 521177 w 608814"/>
                <a:gd name="connsiteY28" fmla="*/ 585693 h 585693"/>
                <a:gd name="connsiteX29" fmla="*/ 496756 w 608814"/>
                <a:gd name="connsiteY29" fmla="*/ 561209 h 585693"/>
                <a:gd name="connsiteX30" fmla="*/ 496756 w 608814"/>
                <a:gd name="connsiteY30" fmla="*/ 172601 h 585693"/>
                <a:gd name="connsiteX31" fmla="*/ 521177 w 608814"/>
                <a:gd name="connsiteY31" fmla="*/ 148117 h 585693"/>
                <a:gd name="connsiteX32" fmla="*/ 116229 w 608814"/>
                <a:gd name="connsiteY32" fmla="*/ 131322 h 585693"/>
                <a:gd name="connsiteX33" fmla="*/ 164246 w 608814"/>
                <a:gd name="connsiteY33" fmla="*/ 131322 h 585693"/>
                <a:gd name="connsiteX34" fmla="*/ 184061 w 608814"/>
                <a:gd name="connsiteY34" fmla="*/ 151113 h 585693"/>
                <a:gd name="connsiteX35" fmla="*/ 184061 w 608814"/>
                <a:gd name="connsiteY35" fmla="*/ 171457 h 585693"/>
                <a:gd name="connsiteX36" fmla="*/ 208669 w 608814"/>
                <a:gd name="connsiteY36" fmla="*/ 186094 h 585693"/>
                <a:gd name="connsiteX37" fmla="*/ 226641 w 608814"/>
                <a:gd name="connsiteY37" fmla="*/ 175692 h 585693"/>
                <a:gd name="connsiteX38" fmla="*/ 253737 w 608814"/>
                <a:gd name="connsiteY38" fmla="*/ 182964 h 585693"/>
                <a:gd name="connsiteX39" fmla="*/ 277792 w 608814"/>
                <a:gd name="connsiteY39" fmla="*/ 224572 h 585693"/>
                <a:gd name="connsiteX40" fmla="*/ 279727 w 608814"/>
                <a:gd name="connsiteY40" fmla="*/ 239577 h 585693"/>
                <a:gd name="connsiteX41" fmla="*/ 270511 w 608814"/>
                <a:gd name="connsiteY41" fmla="*/ 251544 h 585693"/>
                <a:gd name="connsiteX42" fmla="*/ 252355 w 608814"/>
                <a:gd name="connsiteY42" fmla="*/ 262038 h 585693"/>
                <a:gd name="connsiteX43" fmla="*/ 253829 w 608814"/>
                <a:gd name="connsiteY43" fmla="*/ 276122 h 585693"/>
                <a:gd name="connsiteX44" fmla="*/ 252355 w 608814"/>
                <a:gd name="connsiteY44" fmla="*/ 290206 h 585693"/>
                <a:gd name="connsiteX45" fmla="*/ 270511 w 608814"/>
                <a:gd name="connsiteY45" fmla="*/ 300700 h 585693"/>
                <a:gd name="connsiteX46" fmla="*/ 278714 w 608814"/>
                <a:gd name="connsiteY46" fmla="*/ 325094 h 585693"/>
                <a:gd name="connsiteX47" fmla="*/ 258253 w 608814"/>
                <a:gd name="connsiteY47" fmla="*/ 321136 h 585693"/>
                <a:gd name="connsiteX48" fmla="*/ 195858 w 608814"/>
                <a:gd name="connsiteY48" fmla="*/ 321136 h 585693"/>
                <a:gd name="connsiteX49" fmla="*/ 212171 w 608814"/>
                <a:gd name="connsiteY49" fmla="*/ 276122 h 585693"/>
                <a:gd name="connsiteX50" fmla="*/ 140191 w 608814"/>
                <a:gd name="connsiteY50" fmla="*/ 204320 h 585693"/>
                <a:gd name="connsiteX51" fmla="*/ 68304 w 608814"/>
                <a:gd name="connsiteY51" fmla="*/ 276122 h 585693"/>
                <a:gd name="connsiteX52" fmla="*/ 140191 w 608814"/>
                <a:gd name="connsiteY52" fmla="*/ 348016 h 585693"/>
                <a:gd name="connsiteX53" fmla="*/ 148486 w 608814"/>
                <a:gd name="connsiteY53" fmla="*/ 347095 h 585693"/>
                <a:gd name="connsiteX54" fmla="*/ 140099 w 608814"/>
                <a:gd name="connsiteY54" fmla="*/ 376000 h 585693"/>
                <a:gd name="connsiteX55" fmla="*/ 140099 w 608814"/>
                <a:gd name="connsiteY55" fmla="*/ 420922 h 585693"/>
                <a:gd name="connsiteX56" fmla="*/ 116229 w 608814"/>
                <a:gd name="connsiteY56" fmla="*/ 420922 h 585693"/>
                <a:gd name="connsiteX57" fmla="*/ 96413 w 608814"/>
                <a:gd name="connsiteY57" fmla="*/ 401131 h 585693"/>
                <a:gd name="connsiteX58" fmla="*/ 96413 w 608814"/>
                <a:gd name="connsiteY58" fmla="*/ 380787 h 585693"/>
                <a:gd name="connsiteX59" fmla="*/ 71806 w 608814"/>
                <a:gd name="connsiteY59" fmla="*/ 366150 h 585693"/>
                <a:gd name="connsiteX60" fmla="*/ 53742 w 608814"/>
                <a:gd name="connsiteY60" fmla="*/ 376552 h 585693"/>
                <a:gd name="connsiteX61" fmla="*/ 38719 w 608814"/>
                <a:gd name="connsiteY61" fmla="*/ 378577 h 585693"/>
                <a:gd name="connsiteX62" fmla="*/ 26738 w 608814"/>
                <a:gd name="connsiteY62" fmla="*/ 369372 h 585693"/>
                <a:gd name="connsiteX63" fmla="*/ 2683 w 608814"/>
                <a:gd name="connsiteY63" fmla="*/ 327764 h 585693"/>
                <a:gd name="connsiteX64" fmla="*/ 9872 w 608814"/>
                <a:gd name="connsiteY64" fmla="*/ 300700 h 585693"/>
                <a:gd name="connsiteX65" fmla="*/ 28120 w 608814"/>
                <a:gd name="connsiteY65" fmla="*/ 290206 h 585693"/>
                <a:gd name="connsiteX66" fmla="*/ 26645 w 608814"/>
                <a:gd name="connsiteY66" fmla="*/ 276122 h 585693"/>
                <a:gd name="connsiteX67" fmla="*/ 28120 w 608814"/>
                <a:gd name="connsiteY67" fmla="*/ 262038 h 585693"/>
                <a:gd name="connsiteX68" fmla="*/ 9872 w 608814"/>
                <a:gd name="connsiteY68" fmla="*/ 251544 h 585693"/>
                <a:gd name="connsiteX69" fmla="*/ 2683 w 608814"/>
                <a:gd name="connsiteY69" fmla="*/ 224572 h 585693"/>
                <a:gd name="connsiteX70" fmla="*/ 26738 w 608814"/>
                <a:gd name="connsiteY70" fmla="*/ 182964 h 585693"/>
                <a:gd name="connsiteX71" fmla="*/ 38719 w 608814"/>
                <a:gd name="connsiteY71" fmla="*/ 173759 h 585693"/>
                <a:gd name="connsiteX72" fmla="*/ 53742 w 608814"/>
                <a:gd name="connsiteY72" fmla="*/ 175692 h 585693"/>
                <a:gd name="connsiteX73" fmla="*/ 71806 w 608814"/>
                <a:gd name="connsiteY73" fmla="*/ 186094 h 585693"/>
                <a:gd name="connsiteX74" fmla="*/ 96413 w 608814"/>
                <a:gd name="connsiteY74" fmla="*/ 171457 h 585693"/>
                <a:gd name="connsiteX75" fmla="*/ 96413 w 608814"/>
                <a:gd name="connsiteY75" fmla="*/ 151113 h 585693"/>
                <a:gd name="connsiteX76" fmla="*/ 116229 w 608814"/>
                <a:gd name="connsiteY76" fmla="*/ 131322 h 585693"/>
                <a:gd name="connsiteX77" fmla="*/ 445756 w 608814"/>
                <a:gd name="connsiteY77" fmla="*/ 83476 h 585693"/>
                <a:gd name="connsiteX78" fmla="*/ 414140 w 608814"/>
                <a:gd name="connsiteY78" fmla="*/ 115044 h 585693"/>
                <a:gd name="connsiteX79" fmla="*/ 445756 w 608814"/>
                <a:gd name="connsiteY79" fmla="*/ 146520 h 585693"/>
                <a:gd name="connsiteX80" fmla="*/ 477371 w 608814"/>
                <a:gd name="connsiteY80" fmla="*/ 115044 h 585693"/>
                <a:gd name="connsiteX81" fmla="*/ 445756 w 608814"/>
                <a:gd name="connsiteY81" fmla="*/ 83476 h 585693"/>
                <a:gd name="connsiteX82" fmla="*/ 426676 w 608814"/>
                <a:gd name="connsiteY82" fmla="*/ 0 h 585693"/>
                <a:gd name="connsiteX83" fmla="*/ 464835 w 608814"/>
                <a:gd name="connsiteY83" fmla="*/ 0 h 585693"/>
                <a:gd name="connsiteX84" fmla="*/ 480597 w 608814"/>
                <a:gd name="connsiteY84" fmla="*/ 15738 h 585693"/>
                <a:gd name="connsiteX85" fmla="*/ 480597 w 608814"/>
                <a:gd name="connsiteY85" fmla="*/ 31936 h 585693"/>
                <a:gd name="connsiteX86" fmla="*/ 500138 w 608814"/>
                <a:gd name="connsiteY86" fmla="*/ 43533 h 585693"/>
                <a:gd name="connsiteX87" fmla="*/ 514425 w 608814"/>
                <a:gd name="connsiteY87" fmla="*/ 35249 h 585693"/>
                <a:gd name="connsiteX88" fmla="*/ 535901 w 608814"/>
                <a:gd name="connsiteY88" fmla="*/ 40956 h 585693"/>
                <a:gd name="connsiteX89" fmla="*/ 554981 w 608814"/>
                <a:gd name="connsiteY89" fmla="*/ 73996 h 585693"/>
                <a:gd name="connsiteX90" fmla="*/ 556640 w 608814"/>
                <a:gd name="connsiteY90" fmla="*/ 85961 h 585693"/>
                <a:gd name="connsiteX91" fmla="*/ 549266 w 608814"/>
                <a:gd name="connsiteY91" fmla="*/ 95440 h 585693"/>
                <a:gd name="connsiteX92" fmla="*/ 534887 w 608814"/>
                <a:gd name="connsiteY92" fmla="*/ 103815 h 585693"/>
                <a:gd name="connsiteX93" fmla="*/ 535993 w 608814"/>
                <a:gd name="connsiteY93" fmla="*/ 115044 h 585693"/>
                <a:gd name="connsiteX94" fmla="*/ 535717 w 608814"/>
                <a:gd name="connsiteY94" fmla="*/ 117621 h 585693"/>
                <a:gd name="connsiteX95" fmla="*/ 521153 w 608814"/>
                <a:gd name="connsiteY95" fmla="*/ 117621 h 585693"/>
                <a:gd name="connsiteX96" fmla="*/ 466126 w 608814"/>
                <a:gd name="connsiteY96" fmla="*/ 172565 h 585693"/>
                <a:gd name="connsiteX97" fmla="*/ 466126 w 608814"/>
                <a:gd name="connsiteY97" fmla="*/ 229719 h 585693"/>
                <a:gd name="connsiteX98" fmla="*/ 466126 w 608814"/>
                <a:gd name="connsiteY98" fmla="*/ 242604 h 585693"/>
                <a:gd name="connsiteX99" fmla="*/ 453590 w 608814"/>
                <a:gd name="connsiteY99" fmla="*/ 229995 h 585693"/>
                <a:gd name="connsiteX100" fmla="*/ 421330 w 608814"/>
                <a:gd name="connsiteY100" fmla="*/ 219319 h 585693"/>
                <a:gd name="connsiteX101" fmla="*/ 411928 w 608814"/>
                <a:gd name="connsiteY101" fmla="*/ 219319 h 585693"/>
                <a:gd name="connsiteX102" fmla="*/ 410914 w 608814"/>
                <a:gd name="connsiteY102" fmla="*/ 214257 h 585693"/>
                <a:gd name="connsiteX103" fmla="*/ 410914 w 608814"/>
                <a:gd name="connsiteY103" fmla="*/ 198059 h 585693"/>
                <a:gd name="connsiteX104" fmla="*/ 391373 w 608814"/>
                <a:gd name="connsiteY104" fmla="*/ 186463 h 585693"/>
                <a:gd name="connsiteX105" fmla="*/ 377086 w 608814"/>
                <a:gd name="connsiteY105" fmla="*/ 194746 h 585693"/>
                <a:gd name="connsiteX106" fmla="*/ 365104 w 608814"/>
                <a:gd name="connsiteY106" fmla="*/ 196310 h 585693"/>
                <a:gd name="connsiteX107" fmla="*/ 355610 w 608814"/>
                <a:gd name="connsiteY107" fmla="*/ 189040 h 585693"/>
                <a:gd name="connsiteX108" fmla="*/ 336530 w 608814"/>
                <a:gd name="connsiteY108" fmla="*/ 155999 h 585693"/>
                <a:gd name="connsiteX109" fmla="*/ 342245 w 608814"/>
                <a:gd name="connsiteY109" fmla="*/ 134463 h 585693"/>
                <a:gd name="connsiteX110" fmla="*/ 356716 w 608814"/>
                <a:gd name="connsiteY110" fmla="*/ 126180 h 585693"/>
                <a:gd name="connsiteX111" fmla="*/ 355518 w 608814"/>
                <a:gd name="connsiteY111" fmla="*/ 115044 h 585693"/>
                <a:gd name="connsiteX112" fmla="*/ 356716 w 608814"/>
                <a:gd name="connsiteY112" fmla="*/ 103815 h 585693"/>
                <a:gd name="connsiteX113" fmla="*/ 342245 w 608814"/>
                <a:gd name="connsiteY113" fmla="*/ 95440 h 585693"/>
                <a:gd name="connsiteX114" fmla="*/ 336530 w 608814"/>
                <a:gd name="connsiteY114" fmla="*/ 73996 h 585693"/>
                <a:gd name="connsiteX115" fmla="*/ 355610 w 608814"/>
                <a:gd name="connsiteY115" fmla="*/ 40956 h 585693"/>
                <a:gd name="connsiteX116" fmla="*/ 365104 w 608814"/>
                <a:gd name="connsiteY116" fmla="*/ 33685 h 585693"/>
                <a:gd name="connsiteX117" fmla="*/ 377086 w 608814"/>
                <a:gd name="connsiteY117" fmla="*/ 35249 h 585693"/>
                <a:gd name="connsiteX118" fmla="*/ 391373 w 608814"/>
                <a:gd name="connsiteY118" fmla="*/ 43533 h 585693"/>
                <a:gd name="connsiteX119" fmla="*/ 410914 w 608814"/>
                <a:gd name="connsiteY119" fmla="*/ 31936 h 585693"/>
                <a:gd name="connsiteX120" fmla="*/ 410914 w 608814"/>
                <a:gd name="connsiteY120" fmla="*/ 15738 h 585693"/>
                <a:gd name="connsiteX121" fmla="*/ 426676 w 608814"/>
                <a:gd name="connsiteY121" fmla="*/ 0 h 585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608814" h="585693">
                  <a:moveTo>
                    <a:pt x="195114" y="351627"/>
                  </a:moveTo>
                  <a:lnTo>
                    <a:pt x="258290" y="351627"/>
                  </a:lnTo>
                  <a:cubicBezTo>
                    <a:pt x="271848" y="351627"/>
                    <a:pt x="282731" y="362580"/>
                    <a:pt x="282731" y="376018"/>
                  </a:cubicBezTo>
                  <a:lnTo>
                    <a:pt x="282731" y="561210"/>
                  </a:lnTo>
                  <a:cubicBezTo>
                    <a:pt x="282731" y="574740"/>
                    <a:pt x="271848" y="585693"/>
                    <a:pt x="258290" y="585693"/>
                  </a:cubicBezTo>
                  <a:lnTo>
                    <a:pt x="195114" y="585693"/>
                  </a:lnTo>
                  <a:cubicBezTo>
                    <a:pt x="181556" y="585693"/>
                    <a:pt x="170673" y="574740"/>
                    <a:pt x="170673" y="561210"/>
                  </a:cubicBezTo>
                  <a:lnTo>
                    <a:pt x="170673" y="376018"/>
                  </a:lnTo>
                  <a:cubicBezTo>
                    <a:pt x="170673" y="362580"/>
                    <a:pt x="181556" y="351627"/>
                    <a:pt x="195114" y="351627"/>
                  </a:cubicBezTo>
                  <a:close/>
                  <a:moveTo>
                    <a:pt x="358100" y="249872"/>
                  </a:moveTo>
                  <a:lnTo>
                    <a:pt x="421316" y="249872"/>
                  </a:lnTo>
                  <a:cubicBezTo>
                    <a:pt x="434771" y="249872"/>
                    <a:pt x="445737" y="260735"/>
                    <a:pt x="445737" y="274267"/>
                  </a:cubicBezTo>
                  <a:lnTo>
                    <a:pt x="445737" y="561206"/>
                  </a:lnTo>
                  <a:cubicBezTo>
                    <a:pt x="445737" y="574738"/>
                    <a:pt x="434771" y="585693"/>
                    <a:pt x="421316" y="585693"/>
                  </a:cubicBezTo>
                  <a:lnTo>
                    <a:pt x="358100" y="585693"/>
                  </a:lnTo>
                  <a:cubicBezTo>
                    <a:pt x="344645" y="585693"/>
                    <a:pt x="333679" y="574738"/>
                    <a:pt x="333679" y="561206"/>
                  </a:cubicBezTo>
                  <a:lnTo>
                    <a:pt x="333679" y="274267"/>
                  </a:lnTo>
                  <a:cubicBezTo>
                    <a:pt x="333679" y="260735"/>
                    <a:pt x="344645" y="249872"/>
                    <a:pt x="358100" y="249872"/>
                  </a:cubicBezTo>
                  <a:close/>
                  <a:moveTo>
                    <a:pt x="140260" y="224680"/>
                  </a:moveTo>
                  <a:cubicBezTo>
                    <a:pt x="168749" y="224680"/>
                    <a:pt x="191844" y="247711"/>
                    <a:pt x="191844" y="276122"/>
                  </a:cubicBezTo>
                  <a:cubicBezTo>
                    <a:pt x="191844" y="304533"/>
                    <a:pt x="168749" y="327564"/>
                    <a:pt x="140260" y="327564"/>
                  </a:cubicBezTo>
                  <a:cubicBezTo>
                    <a:pt x="111771" y="327564"/>
                    <a:pt x="88676" y="304533"/>
                    <a:pt x="88676" y="276122"/>
                  </a:cubicBezTo>
                  <a:cubicBezTo>
                    <a:pt x="88676" y="247711"/>
                    <a:pt x="111771" y="224680"/>
                    <a:pt x="140260" y="224680"/>
                  </a:cubicBezTo>
                  <a:close/>
                  <a:moveTo>
                    <a:pt x="521177" y="148117"/>
                  </a:moveTo>
                  <a:lnTo>
                    <a:pt x="584301" y="148117"/>
                  </a:lnTo>
                  <a:cubicBezTo>
                    <a:pt x="597848" y="148117"/>
                    <a:pt x="608814" y="159070"/>
                    <a:pt x="608814" y="172601"/>
                  </a:cubicBezTo>
                  <a:lnTo>
                    <a:pt x="608814" y="561209"/>
                  </a:lnTo>
                  <a:cubicBezTo>
                    <a:pt x="608814" y="574740"/>
                    <a:pt x="597848" y="585693"/>
                    <a:pt x="584301" y="585693"/>
                  </a:cubicBezTo>
                  <a:lnTo>
                    <a:pt x="521177" y="585693"/>
                  </a:lnTo>
                  <a:cubicBezTo>
                    <a:pt x="507722" y="585693"/>
                    <a:pt x="496756" y="574740"/>
                    <a:pt x="496756" y="561209"/>
                  </a:cubicBezTo>
                  <a:lnTo>
                    <a:pt x="496756" y="172601"/>
                  </a:lnTo>
                  <a:cubicBezTo>
                    <a:pt x="496756" y="159070"/>
                    <a:pt x="507722" y="148117"/>
                    <a:pt x="521177" y="148117"/>
                  </a:cubicBezTo>
                  <a:close/>
                  <a:moveTo>
                    <a:pt x="116229" y="131322"/>
                  </a:moveTo>
                  <a:lnTo>
                    <a:pt x="164246" y="131322"/>
                  </a:lnTo>
                  <a:cubicBezTo>
                    <a:pt x="175214" y="131322"/>
                    <a:pt x="184061" y="140159"/>
                    <a:pt x="184061" y="151113"/>
                  </a:cubicBezTo>
                  <a:lnTo>
                    <a:pt x="184061" y="171457"/>
                  </a:lnTo>
                  <a:cubicBezTo>
                    <a:pt x="193001" y="175231"/>
                    <a:pt x="201019" y="180386"/>
                    <a:pt x="208669" y="186094"/>
                  </a:cubicBezTo>
                  <a:lnTo>
                    <a:pt x="226641" y="175692"/>
                  </a:lnTo>
                  <a:cubicBezTo>
                    <a:pt x="236134" y="170261"/>
                    <a:pt x="248300" y="173482"/>
                    <a:pt x="253737" y="182964"/>
                  </a:cubicBezTo>
                  <a:lnTo>
                    <a:pt x="277792" y="224572"/>
                  </a:lnTo>
                  <a:cubicBezTo>
                    <a:pt x="280465" y="229083"/>
                    <a:pt x="281110" y="234514"/>
                    <a:pt x="279727" y="239577"/>
                  </a:cubicBezTo>
                  <a:cubicBezTo>
                    <a:pt x="278437" y="244640"/>
                    <a:pt x="275119" y="248966"/>
                    <a:pt x="270511" y="251544"/>
                  </a:cubicBezTo>
                  <a:lnTo>
                    <a:pt x="252355" y="262038"/>
                  </a:lnTo>
                  <a:cubicBezTo>
                    <a:pt x="253000" y="266733"/>
                    <a:pt x="253829" y="271335"/>
                    <a:pt x="253829" y="276122"/>
                  </a:cubicBezTo>
                  <a:cubicBezTo>
                    <a:pt x="253829" y="281001"/>
                    <a:pt x="253000" y="285604"/>
                    <a:pt x="252355" y="290206"/>
                  </a:cubicBezTo>
                  <a:lnTo>
                    <a:pt x="270511" y="300700"/>
                  </a:lnTo>
                  <a:cubicBezTo>
                    <a:pt x="279174" y="305671"/>
                    <a:pt x="282308" y="316165"/>
                    <a:pt x="278714" y="325094"/>
                  </a:cubicBezTo>
                  <a:cubicBezTo>
                    <a:pt x="272354" y="322609"/>
                    <a:pt x="265442" y="321136"/>
                    <a:pt x="258253" y="321136"/>
                  </a:cubicBezTo>
                  <a:lnTo>
                    <a:pt x="195858" y="321136"/>
                  </a:lnTo>
                  <a:cubicBezTo>
                    <a:pt x="205904" y="308709"/>
                    <a:pt x="212171" y="293244"/>
                    <a:pt x="212171" y="276122"/>
                  </a:cubicBezTo>
                  <a:cubicBezTo>
                    <a:pt x="212171" y="236539"/>
                    <a:pt x="179914" y="204320"/>
                    <a:pt x="140191" y="204320"/>
                  </a:cubicBezTo>
                  <a:cubicBezTo>
                    <a:pt x="100561" y="204320"/>
                    <a:pt x="68304" y="236539"/>
                    <a:pt x="68304" y="276122"/>
                  </a:cubicBezTo>
                  <a:cubicBezTo>
                    <a:pt x="68304" y="315797"/>
                    <a:pt x="100561" y="348016"/>
                    <a:pt x="140191" y="348016"/>
                  </a:cubicBezTo>
                  <a:cubicBezTo>
                    <a:pt x="143048" y="348016"/>
                    <a:pt x="145721" y="347463"/>
                    <a:pt x="148486" y="347095"/>
                  </a:cubicBezTo>
                  <a:cubicBezTo>
                    <a:pt x="143233" y="355564"/>
                    <a:pt x="140099" y="365414"/>
                    <a:pt x="140099" y="376000"/>
                  </a:cubicBezTo>
                  <a:lnTo>
                    <a:pt x="140099" y="420922"/>
                  </a:lnTo>
                  <a:lnTo>
                    <a:pt x="116229" y="420922"/>
                  </a:lnTo>
                  <a:cubicBezTo>
                    <a:pt x="105261" y="420922"/>
                    <a:pt x="96413" y="412085"/>
                    <a:pt x="96413" y="401131"/>
                  </a:cubicBezTo>
                  <a:lnTo>
                    <a:pt x="96413" y="380787"/>
                  </a:lnTo>
                  <a:cubicBezTo>
                    <a:pt x="87474" y="377013"/>
                    <a:pt x="79455" y="371950"/>
                    <a:pt x="71806" y="366150"/>
                  </a:cubicBezTo>
                  <a:lnTo>
                    <a:pt x="53742" y="376552"/>
                  </a:lnTo>
                  <a:cubicBezTo>
                    <a:pt x="49226" y="379222"/>
                    <a:pt x="43788" y="379866"/>
                    <a:pt x="38719" y="378577"/>
                  </a:cubicBezTo>
                  <a:cubicBezTo>
                    <a:pt x="33650" y="377197"/>
                    <a:pt x="29318" y="373883"/>
                    <a:pt x="26738" y="369372"/>
                  </a:cubicBezTo>
                  <a:lnTo>
                    <a:pt x="2683" y="327764"/>
                  </a:lnTo>
                  <a:cubicBezTo>
                    <a:pt x="-2847" y="318282"/>
                    <a:pt x="471" y="306131"/>
                    <a:pt x="9872" y="300700"/>
                  </a:cubicBezTo>
                  <a:lnTo>
                    <a:pt x="28120" y="290206"/>
                  </a:lnTo>
                  <a:cubicBezTo>
                    <a:pt x="27475" y="285604"/>
                    <a:pt x="26645" y="281001"/>
                    <a:pt x="26645" y="276122"/>
                  </a:cubicBezTo>
                  <a:cubicBezTo>
                    <a:pt x="26645" y="271335"/>
                    <a:pt x="27475" y="266733"/>
                    <a:pt x="28120" y="262038"/>
                  </a:cubicBezTo>
                  <a:lnTo>
                    <a:pt x="9872" y="251544"/>
                  </a:lnTo>
                  <a:cubicBezTo>
                    <a:pt x="471" y="246113"/>
                    <a:pt x="-2847" y="233962"/>
                    <a:pt x="2683" y="224572"/>
                  </a:cubicBezTo>
                  <a:lnTo>
                    <a:pt x="26738" y="182964"/>
                  </a:lnTo>
                  <a:cubicBezTo>
                    <a:pt x="29318" y="178361"/>
                    <a:pt x="33650" y="175139"/>
                    <a:pt x="38719" y="173759"/>
                  </a:cubicBezTo>
                  <a:cubicBezTo>
                    <a:pt x="43788" y="172378"/>
                    <a:pt x="49226" y="173114"/>
                    <a:pt x="53742" y="175692"/>
                  </a:cubicBezTo>
                  <a:lnTo>
                    <a:pt x="71806" y="186094"/>
                  </a:lnTo>
                  <a:cubicBezTo>
                    <a:pt x="79455" y="180386"/>
                    <a:pt x="87474" y="175231"/>
                    <a:pt x="96413" y="171457"/>
                  </a:cubicBezTo>
                  <a:lnTo>
                    <a:pt x="96413" y="151113"/>
                  </a:lnTo>
                  <a:cubicBezTo>
                    <a:pt x="96413" y="140159"/>
                    <a:pt x="105261" y="131322"/>
                    <a:pt x="116229" y="131322"/>
                  </a:cubicBezTo>
                  <a:close/>
                  <a:moveTo>
                    <a:pt x="445756" y="83476"/>
                  </a:moveTo>
                  <a:cubicBezTo>
                    <a:pt x="428335" y="83476"/>
                    <a:pt x="414140" y="97557"/>
                    <a:pt x="414140" y="115044"/>
                  </a:cubicBezTo>
                  <a:cubicBezTo>
                    <a:pt x="414140" y="132438"/>
                    <a:pt x="428335" y="146520"/>
                    <a:pt x="445756" y="146520"/>
                  </a:cubicBezTo>
                  <a:cubicBezTo>
                    <a:pt x="463176" y="146520"/>
                    <a:pt x="477371" y="132438"/>
                    <a:pt x="477371" y="115044"/>
                  </a:cubicBezTo>
                  <a:cubicBezTo>
                    <a:pt x="477371" y="97557"/>
                    <a:pt x="463176" y="83476"/>
                    <a:pt x="445756" y="83476"/>
                  </a:cubicBezTo>
                  <a:close/>
                  <a:moveTo>
                    <a:pt x="426676" y="0"/>
                  </a:moveTo>
                  <a:lnTo>
                    <a:pt x="464835" y="0"/>
                  </a:lnTo>
                  <a:cubicBezTo>
                    <a:pt x="473500" y="0"/>
                    <a:pt x="480597" y="7087"/>
                    <a:pt x="480597" y="15738"/>
                  </a:cubicBezTo>
                  <a:lnTo>
                    <a:pt x="480597" y="31936"/>
                  </a:lnTo>
                  <a:cubicBezTo>
                    <a:pt x="487694" y="34881"/>
                    <a:pt x="494054" y="38931"/>
                    <a:pt x="500138" y="43533"/>
                  </a:cubicBezTo>
                  <a:lnTo>
                    <a:pt x="514425" y="35249"/>
                  </a:lnTo>
                  <a:cubicBezTo>
                    <a:pt x="521983" y="30924"/>
                    <a:pt x="531569" y="33501"/>
                    <a:pt x="535901" y="40956"/>
                  </a:cubicBezTo>
                  <a:lnTo>
                    <a:pt x="554981" y="73996"/>
                  </a:lnTo>
                  <a:cubicBezTo>
                    <a:pt x="557101" y="77585"/>
                    <a:pt x="557654" y="81911"/>
                    <a:pt x="556640" y="85961"/>
                  </a:cubicBezTo>
                  <a:cubicBezTo>
                    <a:pt x="555534" y="89918"/>
                    <a:pt x="552861" y="93415"/>
                    <a:pt x="549266" y="95440"/>
                  </a:cubicBezTo>
                  <a:lnTo>
                    <a:pt x="534887" y="103815"/>
                  </a:lnTo>
                  <a:cubicBezTo>
                    <a:pt x="535348" y="107497"/>
                    <a:pt x="535993" y="111178"/>
                    <a:pt x="535993" y="115044"/>
                  </a:cubicBezTo>
                  <a:cubicBezTo>
                    <a:pt x="535993" y="115872"/>
                    <a:pt x="535809" y="116700"/>
                    <a:pt x="535717" y="117621"/>
                  </a:cubicBezTo>
                  <a:lnTo>
                    <a:pt x="521153" y="117621"/>
                  </a:lnTo>
                  <a:cubicBezTo>
                    <a:pt x="490828" y="117621"/>
                    <a:pt x="466126" y="142286"/>
                    <a:pt x="466126" y="172565"/>
                  </a:cubicBezTo>
                  <a:lnTo>
                    <a:pt x="466126" y="229719"/>
                  </a:lnTo>
                  <a:lnTo>
                    <a:pt x="466126" y="242604"/>
                  </a:lnTo>
                  <a:cubicBezTo>
                    <a:pt x="462715" y="237726"/>
                    <a:pt x="458383" y="233493"/>
                    <a:pt x="453590" y="229995"/>
                  </a:cubicBezTo>
                  <a:cubicBezTo>
                    <a:pt x="444465" y="223369"/>
                    <a:pt x="433404" y="219319"/>
                    <a:pt x="421330" y="219319"/>
                  </a:cubicBezTo>
                  <a:lnTo>
                    <a:pt x="411928" y="219319"/>
                  </a:lnTo>
                  <a:cubicBezTo>
                    <a:pt x="411375" y="217755"/>
                    <a:pt x="410914" y="216098"/>
                    <a:pt x="410914" y="214257"/>
                  </a:cubicBezTo>
                  <a:lnTo>
                    <a:pt x="410914" y="198059"/>
                  </a:lnTo>
                  <a:cubicBezTo>
                    <a:pt x="403817" y="195114"/>
                    <a:pt x="397457" y="191064"/>
                    <a:pt x="391373" y="186463"/>
                  </a:cubicBezTo>
                  <a:lnTo>
                    <a:pt x="377086" y="194746"/>
                  </a:lnTo>
                  <a:cubicBezTo>
                    <a:pt x="373492" y="196863"/>
                    <a:pt x="369160" y="197415"/>
                    <a:pt x="365104" y="196310"/>
                  </a:cubicBezTo>
                  <a:cubicBezTo>
                    <a:pt x="361140" y="195206"/>
                    <a:pt x="357638" y="192629"/>
                    <a:pt x="355610" y="189040"/>
                  </a:cubicBezTo>
                  <a:lnTo>
                    <a:pt x="336530" y="155999"/>
                  </a:lnTo>
                  <a:cubicBezTo>
                    <a:pt x="332198" y="148452"/>
                    <a:pt x="334687" y="138881"/>
                    <a:pt x="342245" y="134463"/>
                  </a:cubicBezTo>
                  <a:lnTo>
                    <a:pt x="356716" y="126180"/>
                  </a:lnTo>
                  <a:cubicBezTo>
                    <a:pt x="356163" y="122498"/>
                    <a:pt x="355518" y="118817"/>
                    <a:pt x="355518" y="115044"/>
                  </a:cubicBezTo>
                  <a:cubicBezTo>
                    <a:pt x="355518" y="111178"/>
                    <a:pt x="356163" y="107497"/>
                    <a:pt x="356716" y="103815"/>
                  </a:cubicBezTo>
                  <a:lnTo>
                    <a:pt x="342245" y="95440"/>
                  </a:lnTo>
                  <a:cubicBezTo>
                    <a:pt x="334687" y="91115"/>
                    <a:pt x="332198" y="81543"/>
                    <a:pt x="336530" y="73996"/>
                  </a:cubicBezTo>
                  <a:lnTo>
                    <a:pt x="355610" y="40956"/>
                  </a:lnTo>
                  <a:cubicBezTo>
                    <a:pt x="357638" y="37366"/>
                    <a:pt x="361140" y="34789"/>
                    <a:pt x="365104" y="33685"/>
                  </a:cubicBezTo>
                  <a:cubicBezTo>
                    <a:pt x="369160" y="32580"/>
                    <a:pt x="373492" y="33133"/>
                    <a:pt x="377086" y="35249"/>
                  </a:cubicBezTo>
                  <a:lnTo>
                    <a:pt x="391373" y="43533"/>
                  </a:lnTo>
                  <a:cubicBezTo>
                    <a:pt x="397457" y="38931"/>
                    <a:pt x="403817" y="34881"/>
                    <a:pt x="410914" y="31936"/>
                  </a:cubicBezTo>
                  <a:lnTo>
                    <a:pt x="410914" y="15738"/>
                  </a:lnTo>
                  <a:cubicBezTo>
                    <a:pt x="410914" y="7087"/>
                    <a:pt x="418011" y="0"/>
                    <a:pt x="426676" y="0"/>
                  </a:cubicBezTo>
                  <a:close/>
                </a:path>
              </a:pathLst>
            </a:custGeom>
            <a:solidFill>
              <a:schemeClr val="bg1"/>
            </a:solidFill>
            <a:ln>
              <a:noFill/>
            </a:ln>
          </p:spPr>
          <p:txBody>
            <a:bodyPr/>
            <a:lstStyle/>
            <a:p>
              <a:endParaRPr lang="zh-CN" altLang="en-US"/>
            </a:p>
          </p:txBody>
        </p:sp>
      </p:grpSp>
      <p:grpSp>
        <p:nvGrpSpPr>
          <p:cNvPr id="6" name="îṩļiďê">
            <a:extLst>
              <a:ext uri="{FF2B5EF4-FFF2-40B4-BE49-F238E27FC236}">
                <a16:creationId xmlns:a16="http://schemas.microsoft.com/office/drawing/2014/main" id="{1F77A0E9-AD64-434D-8961-D7D05A3A1CCF}"/>
              </a:ext>
            </a:extLst>
          </p:cNvPr>
          <p:cNvGrpSpPr/>
          <p:nvPr/>
        </p:nvGrpSpPr>
        <p:grpSpPr>
          <a:xfrm>
            <a:off x="3579150" y="1901372"/>
            <a:ext cx="2362819" cy="4364339"/>
            <a:chOff x="3083394" y="1478280"/>
            <a:chExt cx="2362819" cy="4364339"/>
          </a:xfrm>
        </p:grpSpPr>
        <p:sp>
          <p:nvSpPr>
            <p:cNvPr id="15" name="îśľíḓè">
              <a:extLst>
                <a:ext uri="{FF2B5EF4-FFF2-40B4-BE49-F238E27FC236}">
                  <a16:creationId xmlns:a16="http://schemas.microsoft.com/office/drawing/2014/main" id="{F8307B11-B06D-45A3-A67D-DDA5FB283028}"/>
                </a:ext>
              </a:extLst>
            </p:cNvPr>
            <p:cNvSpPr/>
            <p:nvPr/>
          </p:nvSpPr>
          <p:spPr>
            <a:xfrm>
              <a:off x="3083394" y="2209800"/>
              <a:ext cx="2235321" cy="3632819"/>
            </a:xfrm>
            <a:prstGeom prst="rect">
              <a:avLst/>
            </a:prstGeom>
            <a:solidFill>
              <a:srgbClr val="008CD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a:p>
          </p:txBody>
        </p:sp>
        <p:sp>
          <p:nvSpPr>
            <p:cNvPr id="16" name="î$ľide">
              <a:extLst>
                <a:ext uri="{FF2B5EF4-FFF2-40B4-BE49-F238E27FC236}">
                  <a16:creationId xmlns:a16="http://schemas.microsoft.com/office/drawing/2014/main" id="{8CD5A489-6B62-4AD2-8069-75760FC2D784}"/>
                </a:ext>
              </a:extLst>
            </p:cNvPr>
            <p:cNvSpPr/>
            <p:nvPr/>
          </p:nvSpPr>
          <p:spPr>
            <a:xfrm>
              <a:off x="3083394" y="1478280"/>
              <a:ext cx="2235321" cy="558800"/>
            </a:xfrm>
            <a:prstGeom prst="rect">
              <a:avLst/>
            </a:prstGeom>
            <a:pattFill prst="pct5">
              <a:fgClr>
                <a:srgbClr val="E4E6EA"/>
              </a:fgClr>
              <a:bgClr>
                <a:srgbClr val="ADB5BF"/>
              </a:bgClr>
            </a:patt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a:r>
                <a:rPr lang="zh-CN" altLang="en-US" sz="2800" b="1" dirty="0" smtClean="0"/>
                <a:t>两个类之间</a:t>
              </a:r>
              <a:endParaRPr lang="zh-CN" altLang="en-US" sz="2800" b="1" dirty="0"/>
            </a:p>
          </p:txBody>
        </p:sp>
        <p:sp>
          <p:nvSpPr>
            <p:cNvPr id="19" name="íşľîḑê">
              <a:extLst>
                <a:ext uri="{FF2B5EF4-FFF2-40B4-BE49-F238E27FC236}">
                  <a16:creationId xmlns:a16="http://schemas.microsoft.com/office/drawing/2014/main" id="{6D480D48-5E80-48E9-BA6A-52929BCFD400}"/>
                </a:ext>
              </a:extLst>
            </p:cNvPr>
            <p:cNvSpPr/>
            <p:nvPr/>
          </p:nvSpPr>
          <p:spPr bwMode="auto">
            <a:xfrm>
              <a:off x="3333265" y="2315089"/>
              <a:ext cx="2112948" cy="1218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50000"/>
                </a:lnSpc>
                <a:spcBef>
                  <a:spcPct val="0"/>
                </a:spcBef>
                <a:buFont typeface="Arial" panose="020B0604020202020204" pitchFamily="34" charset="0"/>
                <a:buChar char="•"/>
              </a:pPr>
              <a:r>
                <a:rPr lang="zh-CN" altLang="en-US" b="1" dirty="0">
                  <a:solidFill>
                    <a:schemeClr val="bg1"/>
                  </a:solidFill>
                </a:rPr>
                <a:t>观察</a:t>
              </a:r>
              <a:r>
                <a:rPr lang="zh-CN" altLang="en-US" b="1" dirty="0" smtClean="0">
                  <a:solidFill>
                    <a:schemeClr val="bg1"/>
                  </a:solidFill>
                </a:rPr>
                <a:t>者模式</a:t>
              </a:r>
              <a:endParaRPr lang="en-US" altLang="zh-CN" b="1" dirty="0" smtClean="0">
                <a:solidFill>
                  <a:schemeClr val="bg1"/>
                </a:solidFill>
              </a:endParaRPr>
            </a:p>
            <a:p>
              <a:pPr marL="171450" indent="-171450">
                <a:lnSpc>
                  <a:spcPct val="150000"/>
                </a:lnSpc>
                <a:spcBef>
                  <a:spcPct val="0"/>
                </a:spcBef>
                <a:buFont typeface="Arial" panose="020B0604020202020204" pitchFamily="34" charset="0"/>
                <a:buChar char="•"/>
              </a:pPr>
              <a:r>
                <a:rPr lang="zh-CN" altLang="en-US" b="1" dirty="0">
                  <a:solidFill>
                    <a:schemeClr val="bg1"/>
                  </a:solidFill>
                </a:rPr>
                <a:t>迭代</a:t>
              </a:r>
              <a:r>
                <a:rPr lang="zh-CN" altLang="en-US" b="1" dirty="0" smtClean="0">
                  <a:solidFill>
                    <a:schemeClr val="bg1"/>
                  </a:solidFill>
                </a:rPr>
                <a:t>器模式</a:t>
              </a:r>
              <a:endParaRPr lang="en-US" altLang="zh-CN" b="1" dirty="0" smtClean="0">
                <a:solidFill>
                  <a:schemeClr val="bg1"/>
                </a:solidFill>
              </a:endParaRPr>
            </a:p>
            <a:p>
              <a:pPr marL="171450" indent="-171450">
                <a:lnSpc>
                  <a:spcPct val="150000"/>
                </a:lnSpc>
                <a:spcBef>
                  <a:spcPct val="0"/>
                </a:spcBef>
                <a:buFont typeface="Arial" panose="020B0604020202020204" pitchFamily="34" charset="0"/>
                <a:buChar char="•"/>
              </a:pPr>
              <a:r>
                <a:rPr lang="zh-CN" altLang="en-US" b="1" dirty="0">
                  <a:solidFill>
                    <a:schemeClr val="bg1"/>
                  </a:solidFill>
                </a:rPr>
                <a:t>责任</a:t>
              </a:r>
              <a:r>
                <a:rPr lang="zh-CN" altLang="en-US" b="1" dirty="0" smtClean="0">
                  <a:solidFill>
                    <a:schemeClr val="bg1"/>
                  </a:solidFill>
                </a:rPr>
                <a:t>链模式</a:t>
              </a:r>
              <a:endParaRPr lang="en-US" altLang="zh-CN" b="1" dirty="0" smtClean="0">
                <a:solidFill>
                  <a:schemeClr val="bg1"/>
                </a:solidFill>
              </a:endParaRPr>
            </a:p>
            <a:p>
              <a:pPr marL="171450" indent="-171450">
                <a:lnSpc>
                  <a:spcPct val="150000"/>
                </a:lnSpc>
                <a:spcBef>
                  <a:spcPct val="0"/>
                </a:spcBef>
                <a:buFont typeface="Arial" panose="020B0604020202020204" pitchFamily="34" charset="0"/>
                <a:buChar char="•"/>
              </a:pPr>
              <a:r>
                <a:rPr lang="zh-CN" altLang="en-US" b="1" dirty="0" smtClean="0">
                  <a:solidFill>
                    <a:schemeClr val="bg1"/>
                  </a:solidFill>
                </a:rPr>
                <a:t>命令模式</a:t>
              </a:r>
              <a:endParaRPr lang="en-US" altLang="zh-CN" b="1" dirty="0" smtClean="0">
                <a:solidFill>
                  <a:schemeClr val="bg1"/>
                </a:solidFill>
              </a:endParaRPr>
            </a:p>
          </p:txBody>
        </p:sp>
        <p:sp>
          <p:nvSpPr>
            <p:cNvPr id="18" name="ïslïḋè">
              <a:extLst>
                <a:ext uri="{FF2B5EF4-FFF2-40B4-BE49-F238E27FC236}">
                  <a16:creationId xmlns:a16="http://schemas.microsoft.com/office/drawing/2014/main" id="{7952A546-D109-4A8C-8638-9D4754B47DBE}"/>
                </a:ext>
              </a:extLst>
            </p:cNvPr>
            <p:cNvSpPr/>
            <p:nvPr/>
          </p:nvSpPr>
          <p:spPr bwMode="auto">
            <a:xfrm>
              <a:off x="3880908" y="4851441"/>
              <a:ext cx="640292" cy="518260"/>
            </a:xfrm>
            <a:custGeom>
              <a:avLst/>
              <a:gdLst>
                <a:gd name="connsiteX0" fmla="*/ 355420 w 607568"/>
                <a:gd name="connsiteY0" fmla="*/ 250307 h 491771"/>
                <a:gd name="connsiteX1" fmla="*/ 352312 w 607568"/>
                <a:gd name="connsiteY1" fmla="*/ 251812 h 491771"/>
                <a:gd name="connsiteX2" fmla="*/ 321042 w 607568"/>
                <a:gd name="connsiteY2" fmla="*/ 289814 h 491771"/>
                <a:gd name="connsiteX3" fmla="*/ 321513 w 607568"/>
                <a:gd name="connsiteY3" fmla="*/ 295364 h 491771"/>
                <a:gd name="connsiteX4" fmla="*/ 369736 w 607568"/>
                <a:gd name="connsiteY4" fmla="*/ 338257 h 491771"/>
                <a:gd name="connsiteX5" fmla="*/ 371997 w 607568"/>
                <a:gd name="connsiteY5" fmla="*/ 339104 h 491771"/>
                <a:gd name="connsiteX6" fmla="*/ 373127 w 607568"/>
                <a:gd name="connsiteY6" fmla="*/ 338916 h 491771"/>
                <a:gd name="connsiteX7" fmla="*/ 375293 w 607568"/>
                <a:gd name="connsiteY7" fmla="*/ 336282 h 491771"/>
                <a:gd name="connsiteX8" fmla="*/ 383676 w 607568"/>
                <a:gd name="connsiteY8" fmla="*/ 279467 h 491771"/>
                <a:gd name="connsiteX9" fmla="*/ 376424 w 607568"/>
                <a:gd name="connsiteY9" fmla="*/ 263287 h 491771"/>
                <a:gd name="connsiteX10" fmla="*/ 357681 w 607568"/>
                <a:gd name="connsiteY10" fmla="*/ 250965 h 491771"/>
                <a:gd name="connsiteX11" fmla="*/ 355420 w 607568"/>
                <a:gd name="connsiteY11" fmla="*/ 250307 h 491771"/>
                <a:gd name="connsiteX12" fmla="*/ 258879 w 607568"/>
                <a:gd name="connsiteY12" fmla="*/ 250307 h 491771"/>
                <a:gd name="connsiteX13" fmla="*/ 256712 w 607568"/>
                <a:gd name="connsiteY13" fmla="*/ 250965 h 491771"/>
                <a:gd name="connsiteX14" fmla="*/ 237969 w 607568"/>
                <a:gd name="connsiteY14" fmla="*/ 263287 h 491771"/>
                <a:gd name="connsiteX15" fmla="*/ 230717 w 607568"/>
                <a:gd name="connsiteY15" fmla="*/ 279467 h 491771"/>
                <a:gd name="connsiteX16" fmla="*/ 239100 w 607568"/>
                <a:gd name="connsiteY16" fmla="*/ 336282 h 491771"/>
                <a:gd name="connsiteX17" fmla="*/ 241266 w 607568"/>
                <a:gd name="connsiteY17" fmla="*/ 338916 h 491771"/>
                <a:gd name="connsiteX18" fmla="*/ 242396 w 607568"/>
                <a:gd name="connsiteY18" fmla="*/ 339104 h 491771"/>
                <a:gd name="connsiteX19" fmla="*/ 244657 w 607568"/>
                <a:gd name="connsiteY19" fmla="*/ 338257 h 491771"/>
                <a:gd name="connsiteX20" fmla="*/ 292880 w 607568"/>
                <a:gd name="connsiteY20" fmla="*/ 295364 h 491771"/>
                <a:gd name="connsiteX21" fmla="*/ 293351 w 607568"/>
                <a:gd name="connsiteY21" fmla="*/ 289814 h 491771"/>
                <a:gd name="connsiteX22" fmla="*/ 261987 w 607568"/>
                <a:gd name="connsiteY22" fmla="*/ 251812 h 491771"/>
                <a:gd name="connsiteX23" fmla="*/ 258879 w 607568"/>
                <a:gd name="connsiteY23" fmla="*/ 250307 h 491771"/>
                <a:gd name="connsiteX24" fmla="*/ 500465 w 607568"/>
                <a:gd name="connsiteY24" fmla="*/ 66049 h 491771"/>
                <a:gd name="connsiteX25" fmla="*/ 565743 w 607568"/>
                <a:gd name="connsiteY25" fmla="*/ 130673 h 491771"/>
                <a:gd name="connsiteX26" fmla="*/ 566120 w 607568"/>
                <a:gd name="connsiteY26" fmla="*/ 130673 h 491771"/>
                <a:gd name="connsiteX27" fmla="*/ 580250 w 607568"/>
                <a:gd name="connsiteY27" fmla="*/ 160962 h 491771"/>
                <a:gd name="connsiteX28" fmla="*/ 560939 w 607568"/>
                <a:gd name="connsiteY28" fmla="*/ 182503 h 491771"/>
                <a:gd name="connsiteX29" fmla="*/ 531927 w 607568"/>
                <a:gd name="connsiteY29" fmla="*/ 223799 h 491771"/>
                <a:gd name="connsiteX30" fmla="*/ 528253 w 607568"/>
                <a:gd name="connsiteY30" fmla="*/ 234240 h 491771"/>
                <a:gd name="connsiteX31" fmla="*/ 530797 w 607568"/>
                <a:gd name="connsiteY31" fmla="*/ 246281 h 491771"/>
                <a:gd name="connsiteX32" fmla="*/ 545868 w 607568"/>
                <a:gd name="connsiteY32" fmla="*/ 261143 h 491771"/>
                <a:gd name="connsiteX33" fmla="*/ 558961 w 607568"/>
                <a:gd name="connsiteY33" fmla="*/ 263777 h 491771"/>
                <a:gd name="connsiteX34" fmla="*/ 597299 w 607568"/>
                <a:gd name="connsiteY34" fmla="*/ 301968 h 491771"/>
                <a:gd name="connsiteX35" fmla="*/ 607002 w 607568"/>
                <a:gd name="connsiteY35" fmla="*/ 350788 h 491771"/>
                <a:gd name="connsiteX36" fmla="*/ 601256 w 607568"/>
                <a:gd name="connsiteY36" fmla="*/ 373835 h 491771"/>
                <a:gd name="connsiteX37" fmla="*/ 579685 w 607568"/>
                <a:gd name="connsiteY37" fmla="*/ 384088 h 491771"/>
                <a:gd name="connsiteX38" fmla="*/ 490386 w 607568"/>
                <a:gd name="connsiteY38" fmla="*/ 384088 h 491771"/>
                <a:gd name="connsiteX39" fmla="*/ 467685 w 607568"/>
                <a:gd name="connsiteY39" fmla="*/ 310058 h 491771"/>
                <a:gd name="connsiteX40" fmla="*/ 431702 w 607568"/>
                <a:gd name="connsiteY40" fmla="*/ 267445 h 491771"/>
                <a:gd name="connsiteX41" fmla="*/ 441969 w 607568"/>
                <a:gd name="connsiteY41" fmla="*/ 263777 h 491771"/>
                <a:gd name="connsiteX42" fmla="*/ 455157 w 607568"/>
                <a:gd name="connsiteY42" fmla="*/ 261237 h 491771"/>
                <a:gd name="connsiteX43" fmla="*/ 470228 w 607568"/>
                <a:gd name="connsiteY43" fmla="*/ 246281 h 491771"/>
                <a:gd name="connsiteX44" fmla="*/ 472677 w 607568"/>
                <a:gd name="connsiteY44" fmla="*/ 234240 h 491771"/>
                <a:gd name="connsiteX45" fmla="*/ 469098 w 607568"/>
                <a:gd name="connsiteY45" fmla="*/ 223893 h 491771"/>
                <a:gd name="connsiteX46" fmla="*/ 439991 w 607568"/>
                <a:gd name="connsiteY46" fmla="*/ 182503 h 491771"/>
                <a:gd name="connsiteX47" fmla="*/ 426144 w 607568"/>
                <a:gd name="connsiteY47" fmla="*/ 172720 h 491771"/>
                <a:gd name="connsiteX48" fmla="*/ 441404 w 607568"/>
                <a:gd name="connsiteY48" fmla="*/ 143278 h 491771"/>
                <a:gd name="connsiteX49" fmla="*/ 439708 w 607568"/>
                <a:gd name="connsiteY49" fmla="*/ 107438 h 491771"/>
                <a:gd name="connsiteX50" fmla="*/ 500465 w 607568"/>
                <a:gd name="connsiteY50" fmla="*/ 66049 h 491771"/>
                <a:gd name="connsiteX51" fmla="*/ 107100 w 607568"/>
                <a:gd name="connsiteY51" fmla="*/ 66049 h 491771"/>
                <a:gd name="connsiteX52" fmla="*/ 171341 w 607568"/>
                <a:gd name="connsiteY52" fmla="*/ 123618 h 491771"/>
                <a:gd name="connsiteX53" fmla="*/ 172849 w 607568"/>
                <a:gd name="connsiteY53" fmla="*/ 143278 h 491771"/>
                <a:gd name="connsiteX54" fmla="*/ 184246 w 607568"/>
                <a:gd name="connsiteY54" fmla="*/ 168205 h 491771"/>
                <a:gd name="connsiteX55" fmla="*/ 167574 w 607568"/>
                <a:gd name="connsiteY55" fmla="*/ 182503 h 491771"/>
                <a:gd name="connsiteX56" fmla="*/ 138468 w 607568"/>
                <a:gd name="connsiteY56" fmla="*/ 223799 h 491771"/>
                <a:gd name="connsiteX57" fmla="*/ 134794 w 607568"/>
                <a:gd name="connsiteY57" fmla="*/ 234240 h 491771"/>
                <a:gd name="connsiteX58" fmla="*/ 137337 w 607568"/>
                <a:gd name="connsiteY58" fmla="*/ 246281 h 491771"/>
                <a:gd name="connsiteX59" fmla="*/ 152408 w 607568"/>
                <a:gd name="connsiteY59" fmla="*/ 261143 h 491771"/>
                <a:gd name="connsiteX60" fmla="*/ 165596 w 607568"/>
                <a:gd name="connsiteY60" fmla="*/ 263777 h 491771"/>
                <a:gd name="connsiteX61" fmla="*/ 179442 w 607568"/>
                <a:gd name="connsiteY61" fmla="*/ 268856 h 491771"/>
                <a:gd name="connsiteX62" fmla="*/ 146662 w 607568"/>
                <a:gd name="connsiteY62" fmla="*/ 310058 h 491771"/>
                <a:gd name="connsiteX63" fmla="*/ 123867 w 607568"/>
                <a:gd name="connsiteY63" fmla="*/ 384088 h 491771"/>
                <a:gd name="connsiteX64" fmla="*/ 27883 w 607568"/>
                <a:gd name="connsiteY64" fmla="*/ 384088 h 491771"/>
                <a:gd name="connsiteX65" fmla="*/ 6312 w 607568"/>
                <a:gd name="connsiteY65" fmla="*/ 373835 h 491771"/>
                <a:gd name="connsiteX66" fmla="*/ 566 w 607568"/>
                <a:gd name="connsiteY66" fmla="*/ 350788 h 491771"/>
                <a:gd name="connsiteX67" fmla="*/ 10268 w 607568"/>
                <a:gd name="connsiteY67" fmla="*/ 301968 h 491771"/>
                <a:gd name="connsiteX68" fmla="*/ 48606 w 607568"/>
                <a:gd name="connsiteY68" fmla="*/ 263777 h 491771"/>
                <a:gd name="connsiteX69" fmla="*/ 61699 w 607568"/>
                <a:gd name="connsiteY69" fmla="*/ 261237 h 491771"/>
                <a:gd name="connsiteX70" fmla="*/ 76770 w 607568"/>
                <a:gd name="connsiteY70" fmla="*/ 246281 h 491771"/>
                <a:gd name="connsiteX71" fmla="*/ 79313 w 607568"/>
                <a:gd name="connsiteY71" fmla="*/ 234240 h 491771"/>
                <a:gd name="connsiteX72" fmla="*/ 75639 w 607568"/>
                <a:gd name="connsiteY72" fmla="*/ 223893 h 491771"/>
                <a:gd name="connsiteX73" fmla="*/ 46628 w 607568"/>
                <a:gd name="connsiteY73" fmla="*/ 182503 h 491771"/>
                <a:gd name="connsiteX74" fmla="*/ 27318 w 607568"/>
                <a:gd name="connsiteY74" fmla="*/ 160962 h 491771"/>
                <a:gd name="connsiteX75" fmla="*/ 41447 w 607568"/>
                <a:gd name="connsiteY75" fmla="*/ 130673 h 491771"/>
                <a:gd name="connsiteX76" fmla="*/ 41824 w 607568"/>
                <a:gd name="connsiteY76" fmla="*/ 130673 h 491771"/>
                <a:gd name="connsiteX77" fmla="*/ 107100 w 607568"/>
                <a:gd name="connsiteY77" fmla="*/ 66049 h 491771"/>
                <a:gd name="connsiteX78" fmla="*/ 298626 w 607568"/>
                <a:gd name="connsiteY78" fmla="*/ 0 h 491771"/>
                <a:gd name="connsiteX79" fmla="*/ 315956 w 607568"/>
                <a:gd name="connsiteY79" fmla="*/ 0 h 491771"/>
                <a:gd name="connsiteX80" fmla="*/ 401854 w 607568"/>
                <a:gd name="connsiteY80" fmla="*/ 85787 h 491771"/>
                <a:gd name="connsiteX81" fmla="*/ 401854 w 607568"/>
                <a:gd name="connsiteY81" fmla="*/ 95476 h 491771"/>
                <a:gd name="connsiteX82" fmla="*/ 421633 w 607568"/>
                <a:gd name="connsiteY82" fmla="*/ 138840 h 491771"/>
                <a:gd name="connsiteX83" fmla="*/ 417960 w 607568"/>
                <a:gd name="connsiteY83" fmla="*/ 149281 h 491771"/>
                <a:gd name="connsiteX84" fmla="*/ 417112 w 607568"/>
                <a:gd name="connsiteY84" fmla="*/ 151068 h 491771"/>
                <a:gd name="connsiteX85" fmla="*/ 411273 w 607568"/>
                <a:gd name="connsiteY85" fmla="*/ 159534 h 491771"/>
                <a:gd name="connsiteX86" fmla="*/ 410896 w 607568"/>
                <a:gd name="connsiteY86" fmla="*/ 159910 h 491771"/>
                <a:gd name="connsiteX87" fmla="*/ 394037 w 607568"/>
                <a:gd name="connsiteY87" fmla="*/ 169787 h 491771"/>
                <a:gd name="connsiteX88" fmla="*/ 384900 w 607568"/>
                <a:gd name="connsiteY88" fmla="*/ 189541 h 491771"/>
                <a:gd name="connsiteX89" fmla="*/ 384712 w 607568"/>
                <a:gd name="connsiteY89" fmla="*/ 189823 h 491771"/>
                <a:gd name="connsiteX90" fmla="*/ 373316 w 607568"/>
                <a:gd name="connsiteY90" fmla="*/ 207131 h 491771"/>
                <a:gd name="connsiteX91" fmla="*/ 372750 w 607568"/>
                <a:gd name="connsiteY91" fmla="*/ 207789 h 491771"/>
                <a:gd name="connsiteX92" fmla="*/ 359847 w 607568"/>
                <a:gd name="connsiteY92" fmla="*/ 222275 h 491771"/>
                <a:gd name="connsiteX93" fmla="*/ 359188 w 607568"/>
                <a:gd name="connsiteY93" fmla="*/ 222934 h 491771"/>
                <a:gd name="connsiteX94" fmla="*/ 345154 w 607568"/>
                <a:gd name="connsiteY94" fmla="*/ 234598 h 491771"/>
                <a:gd name="connsiteX95" fmla="*/ 345625 w 607568"/>
                <a:gd name="connsiteY95" fmla="*/ 236855 h 491771"/>
                <a:gd name="connsiteX96" fmla="*/ 348639 w 607568"/>
                <a:gd name="connsiteY96" fmla="*/ 235538 h 491771"/>
                <a:gd name="connsiteX97" fmla="*/ 355514 w 607568"/>
                <a:gd name="connsiteY97" fmla="*/ 234033 h 491771"/>
                <a:gd name="connsiteX98" fmla="*/ 366628 w 607568"/>
                <a:gd name="connsiteY98" fmla="*/ 237326 h 491771"/>
                <a:gd name="connsiteX99" fmla="*/ 385371 w 607568"/>
                <a:gd name="connsiteY99" fmla="*/ 249648 h 491771"/>
                <a:gd name="connsiteX100" fmla="*/ 399876 w 607568"/>
                <a:gd name="connsiteY100" fmla="*/ 279373 h 491771"/>
                <a:gd name="connsiteX101" fmla="*/ 430016 w 607568"/>
                <a:gd name="connsiteY101" fmla="*/ 289814 h 491771"/>
                <a:gd name="connsiteX102" fmla="*/ 448382 w 607568"/>
                <a:gd name="connsiteY102" fmla="*/ 316058 h 491771"/>
                <a:gd name="connsiteX103" fmla="*/ 481630 w 607568"/>
                <a:gd name="connsiteY103" fmla="*/ 424515 h 491771"/>
                <a:gd name="connsiteX104" fmla="*/ 483891 w 607568"/>
                <a:gd name="connsiteY104" fmla="*/ 436461 h 491771"/>
                <a:gd name="connsiteX105" fmla="*/ 473718 w 607568"/>
                <a:gd name="connsiteY105" fmla="*/ 470700 h 491771"/>
                <a:gd name="connsiteX106" fmla="*/ 443956 w 607568"/>
                <a:gd name="connsiteY106" fmla="*/ 490360 h 491771"/>
                <a:gd name="connsiteX107" fmla="*/ 431805 w 607568"/>
                <a:gd name="connsiteY107" fmla="*/ 491771 h 491771"/>
                <a:gd name="connsiteX108" fmla="*/ 325375 w 607568"/>
                <a:gd name="connsiteY108" fmla="*/ 491771 h 491771"/>
                <a:gd name="connsiteX109" fmla="*/ 337430 w 607568"/>
                <a:gd name="connsiteY109" fmla="*/ 415296 h 491771"/>
                <a:gd name="connsiteX110" fmla="*/ 334605 w 607568"/>
                <a:gd name="connsiteY110" fmla="*/ 389052 h 491771"/>
                <a:gd name="connsiteX111" fmla="*/ 323962 w 607568"/>
                <a:gd name="connsiteY111" fmla="*/ 360927 h 491771"/>
                <a:gd name="connsiteX112" fmla="*/ 337430 w 607568"/>
                <a:gd name="connsiteY112" fmla="*/ 347476 h 491771"/>
                <a:gd name="connsiteX113" fmla="*/ 307196 w 607568"/>
                <a:gd name="connsiteY113" fmla="*/ 317281 h 491771"/>
                <a:gd name="connsiteX114" fmla="*/ 276868 w 607568"/>
                <a:gd name="connsiteY114" fmla="*/ 347476 h 491771"/>
                <a:gd name="connsiteX115" fmla="*/ 290337 w 607568"/>
                <a:gd name="connsiteY115" fmla="*/ 360927 h 491771"/>
                <a:gd name="connsiteX116" fmla="*/ 279694 w 607568"/>
                <a:gd name="connsiteY116" fmla="*/ 389052 h 491771"/>
                <a:gd name="connsiteX117" fmla="*/ 276963 w 607568"/>
                <a:gd name="connsiteY117" fmla="*/ 415296 h 491771"/>
                <a:gd name="connsiteX118" fmla="*/ 288736 w 607568"/>
                <a:gd name="connsiteY118" fmla="*/ 491771 h 491771"/>
                <a:gd name="connsiteX119" fmla="*/ 182493 w 607568"/>
                <a:gd name="connsiteY119" fmla="*/ 491771 h 491771"/>
                <a:gd name="connsiteX120" fmla="*/ 170437 w 607568"/>
                <a:gd name="connsiteY120" fmla="*/ 490360 h 491771"/>
                <a:gd name="connsiteX121" fmla="*/ 140675 w 607568"/>
                <a:gd name="connsiteY121" fmla="*/ 470700 h 491771"/>
                <a:gd name="connsiteX122" fmla="*/ 132669 w 607568"/>
                <a:gd name="connsiteY122" fmla="*/ 424515 h 491771"/>
                <a:gd name="connsiteX123" fmla="*/ 166011 w 607568"/>
                <a:gd name="connsiteY123" fmla="*/ 316058 h 491771"/>
                <a:gd name="connsiteX124" fmla="*/ 184377 w 607568"/>
                <a:gd name="connsiteY124" fmla="*/ 289814 h 491771"/>
                <a:gd name="connsiteX125" fmla="*/ 214517 w 607568"/>
                <a:gd name="connsiteY125" fmla="*/ 279373 h 491771"/>
                <a:gd name="connsiteX126" fmla="*/ 214517 w 607568"/>
                <a:gd name="connsiteY126" fmla="*/ 279279 h 491771"/>
                <a:gd name="connsiteX127" fmla="*/ 229022 w 607568"/>
                <a:gd name="connsiteY127" fmla="*/ 249648 h 491771"/>
                <a:gd name="connsiteX128" fmla="*/ 247765 w 607568"/>
                <a:gd name="connsiteY128" fmla="*/ 237326 h 491771"/>
                <a:gd name="connsiteX129" fmla="*/ 258879 w 607568"/>
                <a:gd name="connsiteY129" fmla="*/ 234033 h 491771"/>
                <a:gd name="connsiteX130" fmla="*/ 265754 w 607568"/>
                <a:gd name="connsiteY130" fmla="*/ 235538 h 491771"/>
                <a:gd name="connsiteX131" fmla="*/ 268768 w 607568"/>
                <a:gd name="connsiteY131" fmla="*/ 236855 h 491771"/>
                <a:gd name="connsiteX132" fmla="*/ 269239 w 607568"/>
                <a:gd name="connsiteY132" fmla="*/ 234598 h 491771"/>
                <a:gd name="connsiteX133" fmla="*/ 255205 w 607568"/>
                <a:gd name="connsiteY133" fmla="*/ 222934 h 491771"/>
                <a:gd name="connsiteX134" fmla="*/ 254546 w 607568"/>
                <a:gd name="connsiteY134" fmla="*/ 222275 h 491771"/>
                <a:gd name="connsiteX135" fmla="*/ 241548 w 607568"/>
                <a:gd name="connsiteY135" fmla="*/ 207789 h 491771"/>
                <a:gd name="connsiteX136" fmla="*/ 241077 w 607568"/>
                <a:gd name="connsiteY136" fmla="*/ 207225 h 491771"/>
                <a:gd name="connsiteX137" fmla="*/ 229681 w 607568"/>
                <a:gd name="connsiteY137" fmla="*/ 189823 h 491771"/>
                <a:gd name="connsiteX138" fmla="*/ 229493 w 607568"/>
                <a:gd name="connsiteY138" fmla="*/ 189635 h 491771"/>
                <a:gd name="connsiteX139" fmla="*/ 220356 w 607568"/>
                <a:gd name="connsiteY139" fmla="*/ 169787 h 491771"/>
                <a:gd name="connsiteX140" fmla="*/ 203497 w 607568"/>
                <a:gd name="connsiteY140" fmla="*/ 159910 h 491771"/>
                <a:gd name="connsiteX141" fmla="*/ 203120 w 607568"/>
                <a:gd name="connsiteY141" fmla="*/ 159534 h 491771"/>
                <a:gd name="connsiteX142" fmla="*/ 197281 w 607568"/>
                <a:gd name="connsiteY142" fmla="*/ 151068 h 491771"/>
                <a:gd name="connsiteX143" fmla="*/ 196433 w 607568"/>
                <a:gd name="connsiteY143" fmla="*/ 149281 h 491771"/>
                <a:gd name="connsiteX144" fmla="*/ 192666 w 607568"/>
                <a:gd name="connsiteY144" fmla="*/ 138840 h 491771"/>
                <a:gd name="connsiteX145" fmla="*/ 212727 w 607568"/>
                <a:gd name="connsiteY145" fmla="*/ 95476 h 491771"/>
                <a:gd name="connsiteX146" fmla="*/ 212727 w 607568"/>
                <a:gd name="connsiteY146" fmla="*/ 85787 h 491771"/>
                <a:gd name="connsiteX147" fmla="*/ 298626 w 607568"/>
                <a:gd name="connsiteY147" fmla="*/ 0 h 491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607568" h="491771">
                  <a:moveTo>
                    <a:pt x="355420" y="250307"/>
                  </a:moveTo>
                  <a:cubicBezTo>
                    <a:pt x="354290" y="250307"/>
                    <a:pt x="353160" y="250871"/>
                    <a:pt x="352312" y="251812"/>
                  </a:cubicBezTo>
                  <a:lnTo>
                    <a:pt x="321042" y="289814"/>
                  </a:lnTo>
                  <a:cubicBezTo>
                    <a:pt x="319723" y="291507"/>
                    <a:pt x="319912" y="293953"/>
                    <a:pt x="321513" y="295364"/>
                  </a:cubicBezTo>
                  <a:lnTo>
                    <a:pt x="369736" y="338257"/>
                  </a:lnTo>
                  <a:cubicBezTo>
                    <a:pt x="370396" y="338822"/>
                    <a:pt x="371149" y="339104"/>
                    <a:pt x="371997" y="339104"/>
                  </a:cubicBezTo>
                  <a:cubicBezTo>
                    <a:pt x="372374" y="339104"/>
                    <a:pt x="372750" y="339010"/>
                    <a:pt x="373127" y="338916"/>
                  </a:cubicBezTo>
                  <a:cubicBezTo>
                    <a:pt x="374257" y="338539"/>
                    <a:pt x="375105" y="337505"/>
                    <a:pt x="375293" y="336282"/>
                  </a:cubicBezTo>
                  <a:lnTo>
                    <a:pt x="383676" y="279467"/>
                  </a:lnTo>
                  <a:cubicBezTo>
                    <a:pt x="384618" y="273164"/>
                    <a:pt x="381792" y="266768"/>
                    <a:pt x="376424" y="263287"/>
                  </a:cubicBezTo>
                  <a:lnTo>
                    <a:pt x="357681" y="250965"/>
                  </a:lnTo>
                  <a:cubicBezTo>
                    <a:pt x="357021" y="250495"/>
                    <a:pt x="356174" y="250307"/>
                    <a:pt x="355420" y="250307"/>
                  </a:cubicBezTo>
                  <a:close/>
                  <a:moveTo>
                    <a:pt x="258879" y="250307"/>
                  </a:moveTo>
                  <a:cubicBezTo>
                    <a:pt x="258125" y="250307"/>
                    <a:pt x="257372" y="250495"/>
                    <a:pt x="256712" y="250965"/>
                  </a:cubicBezTo>
                  <a:lnTo>
                    <a:pt x="237969" y="263287"/>
                  </a:lnTo>
                  <a:cubicBezTo>
                    <a:pt x="232601" y="266768"/>
                    <a:pt x="229775" y="273164"/>
                    <a:pt x="230717" y="279467"/>
                  </a:cubicBezTo>
                  <a:lnTo>
                    <a:pt x="239100" y="336282"/>
                  </a:lnTo>
                  <a:cubicBezTo>
                    <a:pt x="239288" y="337505"/>
                    <a:pt x="240136" y="338539"/>
                    <a:pt x="241266" y="338916"/>
                  </a:cubicBezTo>
                  <a:cubicBezTo>
                    <a:pt x="241643" y="339010"/>
                    <a:pt x="242019" y="339104"/>
                    <a:pt x="242396" y="339104"/>
                  </a:cubicBezTo>
                  <a:cubicBezTo>
                    <a:pt x="243244" y="339104"/>
                    <a:pt x="243997" y="338822"/>
                    <a:pt x="244657" y="338257"/>
                  </a:cubicBezTo>
                  <a:lnTo>
                    <a:pt x="292880" y="295364"/>
                  </a:lnTo>
                  <a:cubicBezTo>
                    <a:pt x="294481" y="293953"/>
                    <a:pt x="294670" y="291507"/>
                    <a:pt x="293351" y="289814"/>
                  </a:cubicBezTo>
                  <a:lnTo>
                    <a:pt x="261987" y="251812"/>
                  </a:lnTo>
                  <a:cubicBezTo>
                    <a:pt x="261233" y="250871"/>
                    <a:pt x="260103" y="250307"/>
                    <a:pt x="258879" y="250307"/>
                  </a:cubicBezTo>
                  <a:close/>
                  <a:moveTo>
                    <a:pt x="500465" y="66049"/>
                  </a:moveTo>
                  <a:cubicBezTo>
                    <a:pt x="548129" y="66049"/>
                    <a:pt x="562447" y="93516"/>
                    <a:pt x="565743" y="130673"/>
                  </a:cubicBezTo>
                  <a:cubicBezTo>
                    <a:pt x="565932" y="130673"/>
                    <a:pt x="566026" y="130673"/>
                    <a:pt x="566120" y="130673"/>
                  </a:cubicBezTo>
                  <a:cubicBezTo>
                    <a:pt x="577141" y="133118"/>
                    <a:pt x="583358" y="146664"/>
                    <a:pt x="580250" y="160962"/>
                  </a:cubicBezTo>
                  <a:cubicBezTo>
                    <a:pt x="577706" y="172532"/>
                    <a:pt x="569700" y="180904"/>
                    <a:pt x="560939" y="182503"/>
                  </a:cubicBezTo>
                  <a:cubicBezTo>
                    <a:pt x="554628" y="199529"/>
                    <a:pt x="543796" y="214016"/>
                    <a:pt x="531927" y="223799"/>
                  </a:cubicBezTo>
                  <a:cubicBezTo>
                    <a:pt x="528913" y="226338"/>
                    <a:pt x="527500" y="230383"/>
                    <a:pt x="528253" y="234240"/>
                  </a:cubicBezTo>
                  <a:lnTo>
                    <a:pt x="530797" y="246281"/>
                  </a:lnTo>
                  <a:cubicBezTo>
                    <a:pt x="532304" y="253806"/>
                    <a:pt x="538238" y="259732"/>
                    <a:pt x="545868" y="261143"/>
                  </a:cubicBezTo>
                  <a:lnTo>
                    <a:pt x="558961" y="263777"/>
                  </a:lnTo>
                  <a:cubicBezTo>
                    <a:pt x="578366" y="267634"/>
                    <a:pt x="593437" y="282684"/>
                    <a:pt x="597299" y="301968"/>
                  </a:cubicBezTo>
                  <a:lnTo>
                    <a:pt x="607002" y="350788"/>
                  </a:lnTo>
                  <a:cubicBezTo>
                    <a:pt x="608697" y="358972"/>
                    <a:pt x="606531" y="367438"/>
                    <a:pt x="601256" y="373835"/>
                  </a:cubicBezTo>
                  <a:cubicBezTo>
                    <a:pt x="595981" y="380325"/>
                    <a:pt x="588068" y="384088"/>
                    <a:pt x="579685" y="384088"/>
                  </a:cubicBezTo>
                  <a:lnTo>
                    <a:pt x="490386" y="384088"/>
                  </a:lnTo>
                  <a:lnTo>
                    <a:pt x="467685" y="310058"/>
                  </a:lnTo>
                  <a:cubicBezTo>
                    <a:pt x="461845" y="291150"/>
                    <a:pt x="448563" y="276194"/>
                    <a:pt x="431702" y="267445"/>
                  </a:cubicBezTo>
                  <a:cubicBezTo>
                    <a:pt x="434999" y="265940"/>
                    <a:pt x="438295" y="264529"/>
                    <a:pt x="441969" y="263777"/>
                  </a:cubicBezTo>
                  <a:lnTo>
                    <a:pt x="455157" y="261237"/>
                  </a:lnTo>
                  <a:cubicBezTo>
                    <a:pt x="462692" y="259732"/>
                    <a:pt x="468627" y="253806"/>
                    <a:pt x="470228" y="246281"/>
                  </a:cubicBezTo>
                  <a:lnTo>
                    <a:pt x="472677" y="234240"/>
                  </a:lnTo>
                  <a:cubicBezTo>
                    <a:pt x="473525" y="230383"/>
                    <a:pt x="472112" y="226338"/>
                    <a:pt x="469098" y="223893"/>
                  </a:cubicBezTo>
                  <a:cubicBezTo>
                    <a:pt x="457229" y="214016"/>
                    <a:pt x="446302" y="199529"/>
                    <a:pt x="439991" y="182503"/>
                  </a:cubicBezTo>
                  <a:cubicBezTo>
                    <a:pt x="434716" y="181563"/>
                    <a:pt x="429818" y="177894"/>
                    <a:pt x="426144" y="172720"/>
                  </a:cubicBezTo>
                  <a:cubicBezTo>
                    <a:pt x="433303" y="164725"/>
                    <a:pt x="438861" y="154754"/>
                    <a:pt x="441404" y="143278"/>
                  </a:cubicBezTo>
                  <a:cubicBezTo>
                    <a:pt x="444324" y="130485"/>
                    <a:pt x="443476" y="118068"/>
                    <a:pt x="439708" y="107438"/>
                  </a:cubicBezTo>
                  <a:cubicBezTo>
                    <a:pt x="447244" y="82699"/>
                    <a:pt x="464200" y="66049"/>
                    <a:pt x="500465" y="66049"/>
                  </a:cubicBezTo>
                  <a:close/>
                  <a:moveTo>
                    <a:pt x="107100" y="66049"/>
                  </a:moveTo>
                  <a:cubicBezTo>
                    <a:pt x="151561" y="66049"/>
                    <a:pt x="166820" y="90130"/>
                    <a:pt x="171341" y="123618"/>
                  </a:cubicBezTo>
                  <a:cubicBezTo>
                    <a:pt x="170965" y="129920"/>
                    <a:pt x="171436" y="136505"/>
                    <a:pt x="172849" y="143278"/>
                  </a:cubicBezTo>
                  <a:cubicBezTo>
                    <a:pt x="174921" y="152590"/>
                    <a:pt x="178971" y="161056"/>
                    <a:pt x="184246" y="168205"/>
                  </a:cubicBezTo>
                  <a:cubicBezTo>
                    <a:pt x="180573" y="175919"/>
                    <a:pt x="174356" y="181281"/>
                    <a:pt x="167574" y="182503"/>
                  </a:cubicBezTo>
                  <a:cubicBezTo>
                    <a:pt x="161263" y="199529"/>
                    <a:pt x="150336" y="214016"/>
                    <a:pt x="138468" y="223799"/>
                  </a:cubicBezTo>
                  <a:cubicBezTo>
                    <a:pt x="135453" y="226338"/>
                    <a:pt x="134040" y="230383"/>
                    <a:pt x="134794" y="234240"/>
                  </a:cubicBezTo>
                  <a:lnTo>
                    <a:pt x="137337" y="246281"/>
                  </a:lnTo>
                  <a:cubicBezTo>
                    <a:pt x="138939" y="253806"/>
                    <a:pt x="144873" y="259732"/>
                    <a:pt x="152408" y="261143"/>
                  </a:cubicBezTo>
                  <a:lnTo>
                    <a:pt x="165596" y="263777"/>
                  </a:lnTo>
                  <a:cubicBezTo>
                    <a:pt x="170494" y="264812"/>
                    <a:pt x="175203" y="266505"/>
                    <a:pt x="179442" y="268856"/>
                  </a:cubicBezTo>
                  <a:cubicBezTo>
                    <a:pt x="164088" y="277793"/>
                    <a:pt x="152126" y="292279"/>
                    <a:pt x="146662" y="310058"/>
                  </a:cubicBezTo>
                  <a:lnTo>
                    <a:pt x="123867" y="384088"/>
                  </a:lnTo>
                  <a:lnTo>
                    <a:pt x="27883" y="384088"/>
                  </a:lnTo>
                  <a:cubicBezTo>
                    <a:pt x="19499" y="384088"/>
                    <a:pt x="11587" y="380325"/>
                    <a:pt x="6312" y="373835"/>
                  </a:cubicBezTo>
                  <a:cubicBezTo>
                    <a:pt x="1037" y="367438"/>
                    <a:pt x="-1129" y="358972"/>
                    <a:pt x="566" y="350788"/>
                  </a:cubicBezTo>
                  <a:lnTo>
                    <a:pt x="10268" y="301968"/>
                  </a:lnTo>
                  <a:cubicBezTo>
                    <a:pt x="14130" y="282684"/>
                    <a:pt x="29202" y="267634"/>
                    <a:pt x="48606" y="263777"/>
                  </a:cubicBezTo>
                  <a:lnTo>
                    <a:pt x="61699" y="261237"/>
                  </a:lnTo>
                  <a:cubicBezTo>
                    <a:pt x="69328" y="259732"/>
                    <a:pt x="75263" y="253806"/>
                    <a:pt x="76770" y="246281"/>
                  </a:cubicBezTo>
                  <a:lnTo>
                    <a:pt x="79313" y="234240"/>
                  </a:lnTo>
                  <a:cubicBezTo>
                    <a:pt x="80067" y="230383"/>
                    <a:pt x="78654" y="226338"/>
                    <a:pt x="75639" y="223893"/>
                  </a:cubicBezTo>
                  <a:cubicBezTo>
                    <a:pt x="63771" y="214016"/>
                    <a:pt x="52939" y="199623"/>
                    <a:pt x="46628" y="182503"/>
                  </a:cubicBezTo>
                  <a:cubicBezTo>
                    <a:pt x="37867" y="180904"/>
                    <a:pt x="29861" y="172532"/>
                    <a:pt x="27318" y="160962"/>
                  </a:cubicBezTo>
                  <a:cubicBezTo>
                    <a:pt x="24115" y="146664"/>
                    <a:pt x="30426" y="133118"/>
                    <a:pt x="41447" y="130673"/>
                  </a:cubicBezTo>
                  <a:cubicBezTo>
                    <a:pt x="41541" y="130673"/>
                    <a:pt x="41729" y="130673"/>
                    <a:pt x="41824" y="130673"/>
                  </a:cubicBezTo>
                  <a:cubicBezTo>
                    <a:pt x="45403" y="93516"/>
                    <a:pt x="60192" y="66049"/>
                    <a:pt x="107100" y="66049"/>
                  </a:cubicBezTo>
                  <a:close/>
                  <a:moveTo>
                    <a:pt x="298626" y="0"/>
                  </a:moveTo>
                  <a:lnTo>
                    <a:pt x="315956" y="0"/>
                  </a:lnTo>
                  <a:cubicBezTo>
                    <a:pt x="363426" y="0"/>
                    <a:pt x="401854" y="38378"/>
                    <a:pt x="401854" y="85787"/>
                  </a:cubicBezTo>
                  <a:lnTo>
                    <a:pt x="401854" y="95476"/>
                  </a:lnTo>
                  <a:cubicBezTo>
                    <a:pt x="417301" y="99238"/>
                    <a:pt x="426154" y="118522"/>
                    <a:pt x="421633" y="138840"/>
                  </a:cubicBezTo>
                  <a:cubicBezTo>
                    <a:pt x="420880" y="142602"/>
                    <a:pt x="419467" y="146083"/>
                    <a:pt x="417960" y="149281"/>
                  </a:cubicBezTo>
                  <a:cubicBezTo>
                    <a:pt x="417677" y="149939"/>
                    <a:pt x="417395" y="150504"/>
                    <a:pt x="417112" y="151068"/>
                  </a:cubicBezTo>
                  <a:cubicBezTo>
                    <a:pt x="415417" y="154172"/>
                    <a:pt x="413533" y="157088"/>
                    <a:pt x="411273" y="159534"/>
                  </a:cubicBezTo>
                  <a:cubicBezTo>
                    <a:pt x="411179" y="159628"/>
                    <a:pt x="410990" y="159816"/>
                    <a:pt x="410896" y="159910"/>
                  </a:cubicBezTo>
                  <a:cubicBezTo>
                    <a:pt x="406092" y="165084"/>
                    <a:pt x="400159" y="168658"/>
                    <a:pt x="394037" y="169787"/>
                  </a:cubicBezTo>
                  <a:cubicBezTo>
                    <a:pt x="391494" y="176654"/>
                    <a:pt x="388385" y="183332"/>
                    <a:pt x="384900" y="189541"/>
                  </a:cubicBezTo>
                  <a:cubicBezTo>
                    <a:pt x="384806" y="189635"/>
                    <a:pt x="384806" y="189729"/>
                    <a:pt x="384712" y="189823"/>
                  </a:cubicBezTo>
                  <a:cubicBezTo>
                    <a:pt x="381227" y="196031"/>
                    <a:pt x="377460" y="201769"/>
                    <a:pt x="373316" y="207131"/>
                  </a:cubicBezTo>
                  <a:cubicBezTo>
                    <a:pt x="373127" y="207413"/>
                    <a:pt x="372939" y="207601"/>
                    <a:pt x="372750" y="207789"/>
                  </a:cubicBezTo>
                  <a:cubicBezTo>
                    <a:pt x="368700" y="213057"/>
                    <a:pt x="364368" y="217948"/>
                    <a:pt x="359847" y="222275"/>
                  </a:cubicBezTo>
                  <a:cubicBezTo>
                    <a:pt x="359658" y="222463"/>
                    <a:pt x="359376" y="222651"/>
                    <a:pt x="359188" y="222934"/>
                  </a:cubicBezTo>
                  <a:cubicBezTo>
                    <a:pt x="354667" y="227261"/>
                    <a:pt x="349957" y="231211"/>
                    <a:pt x="345154" y="234598"/>
                  </a:cubicBezTo>
                  <a:lnTo>
                    <a:pt x="345625" y="236855"/>
                  </a:lnTo>
                  <a:cubicBezTo>
                    <a:pt x="346567" y="236385"/>
                    <a:pt x="347603" y="235915"/>
                    <a:pt x="348639" y="235538"/>
                  </a:cubicBezTo>
                  <a:cubicBezTo>
                    <a:pt x="350899" y="234786"/>
                    <a:pt x="353065" y="234033"/>
                    <a:pt x="355514" y="234033"/>
                  </a:cubicBezTo>
                  <a:cubicBezTo>
                    <a:pt x="359470" y="234033"/>
                    <a:pt x="363238" y="235162"/>
                    <a:pt x="366628" y="237326"/>
                  </a:cubicBezTo>
                  <a:cubicBezTo>
                    <a:pt x="366628" y="237326"/>
                    <a:pt x="380756" y="246450"/>
                    <a:pt x="385371" y="249648"/>
                  </a:cubicBezTo>
                  <a:cubicBezTo>
                    <a:pt x="401854" y="261030"/>
                    <a:pt x="399876" y="279373"/>
                    <a:pt x="399876" y="279373"/>
                  </a:cubicBezTo>
                  <a:cubicBezTo>
                    <a:pt x="410990" y="279655"/>
                    <a:pt x="421822" y="283041"/>
                    <a:pt x="430016" y="289814"/>
                  </a:cubicBezTo>
                  <a:cubicBezTo>
                    <a:pt x="445180" y="302324"/>
                    <a:pt x="447535" y="313330"/>
                    <a:pt x="448382" y="316058"/>
                  </a:cubicBezTo>
                  <a:lnTo>
                    <a:pt x="481630" y="424515"/>
                  </a:lnTo>
                  <a:cubicBezTo>
                    <a:pt x="482855" y="428371"/>
                    <a:pt x="483608" y="432416"/>
                    <a:pt x="483891" y="436461"/>
                  </a:cubicBezTo>
                  <a:cubicBezTo>
                    <a:pt x="484644" y="448595"/>
                    <a:pt x="481159" y="460730"/>
                    <a:pt x="473718" y="470700"/>
                  </a:cubicBezTo>
                  <a:cubicBezTo>
                    <a:pt x="466372" y="480671"/>
                    <a:pt x="455823" y="487538"/>
                    <a:pt x="443956" y="490360"/>
                  </a:cubicBezTo>
                  <a:cubicBezTo>
                    <a:pt x="440000" y="491301"/>
                    <a:pt x="435950" y="491771"/>
                    <a:pt x="431805" y="491771"/>
                  </a:cubicBezTo>
                  <a:lnTo>
                    <a:pt x="325375" y="491771"/>
                  </a:lnTo>
                  <a:lnTo>
                    <a:pt x="337430" y="415296"/>
                  </a:lnTo>
                  <a:cubicBezTo>
                    <a:pt x="338749" y="406454"/>
                    <a:pt x="337807" y="397424"/>
                    <a:pt x="334605" y="389052"/>
                  </a:cubicBezTo>
                  <a:lnTo>
                    <a:pt x="323962" y="360927"/>
                  </a:lnTo>
                  <a:lnTo>
                    <a:pt x="337430" y="347476"/>
                  </a:lnTo>
                  <a:lnTo>
                    <a:pt x="307196" y="317281"/>
                  </a:lnTo>
                  <a:lnTo>
                    <a:pt x="276868" y="347476"/>
                  </a:lnTo>
                  <a:lnTo>
                    <a:pt x="290337" y="360927"/>
                  </a:lnTo>
                  <a:lnTo>
                    <a:pt x="279694" y="389052"/>
                  </a:lnTo>
                  <a:cubicBezTo>
                    <a:pt x="276586" y="397424"/>
                    <a:pt x="275644" y="406454"/>
                    <a:pt x="276963" y="415296"/>
                  </a:cubicBezTo>
                  <a:lnTo>
                    <a:pt x="288736" y="491771"/>
                  </a:lnTo>
                  <a:lnTo>
                    <a:pt x="182493" y="491771"/>
                  </a:lnTo>
                  <a:cubicBezTo>
                    <a:pt x="178443" y="491771"/>
                    <a:pt x="174299" y="491301"/>
                    <a:pt x="170437" y="490360"/>
                  </a:cubicBezTo>
                  <a:cubicBezTo>
                    <a:pt x="158570" y="487538"/>
                    <a:pt x="148021" y="480671"/>
                    <a:pt x="140675" y="470700"/>
                  </a:cubicBezTo>
                  <a:cubicBezTo>
                    <a:pt x="130785" y="457343"/>
                    <a:pt x="127865" y="440223"/>
                    <a:pt x="132669" y="424515"/>
                  </a:cubicBezTo>
                  <a:lnTo>
                    <a:pt x="166011" y="316058"/>
                  </a:lnTo>
                  <a:cubicBezTo>
                    <a:pt x="166858" y="313330"/>
                    <a:pt x="170908" y="300631"/>
                    <a:pt x="184377" y="289814"/>
                  </a:cubicBezTo>
                  <a:cubicBezTo>
                    <a:pt x="192666" y="283229"/>
                    <a:pt x="203403" y="279655"/>
                    <a:pt x="214517" y="279373"/>
                  </a:cubicBezTo>
                  <a:lnTo>
                    <a:pt x="214517" y="279279"/>
                  </a:lnTo>
                  <a:cubicBezTo>
                    <a:pt x="214140" y="273447"/>
                    <a:pt x="211880" y="260654"/>
                    <a:pt x="229022" y="249648"/>
                  </a:cubicBezTo>
                  <a:cubicBezTo>
                    <a:pt x="233731" y="246638"/>
                    <a:pt x="247765" y="237326"/>
                    <a:pt x="247765" y="237326"/>
                  </a:cubicBezTo>
                  <a:cubicBezTo>
                    <a:pt x="251061" y="235162"/>
                    <a:pt x="254923" y="234033"/>
                    <a:pt x="258879" y="234033"/>
                  </a:cubicBezTo>
                  <a:cubicBezTo>
                    <a:pt x="261328" y="234033"/>
                    <a:pt x="263494" y="234786"/>
                    <a:pt x="265754" y="235538"/>
                  </a:cubicBezTo>
                  <a:cubicBezTo>
                    <a:pt x="266790" y="236009"/>
                    <a:pt x="267826" y="236385"/>
                    <a:pt x="268768" y="236855"/>
                  </a:cubicBezTo>
                  <a:lnTo>
                    <a:pt x="269239" y="234598"/>
                  </a:lnTo>
                  <a:cubicBezTo>
                    <a:pt x="264436" y="231211"/>
                    <a:pt x="259726" y="227261"/>
                    <a:pt x="255205" y="222934"/>
                  </a:cubicBezTo>
                  <a:cubicBezTo>
                    <a:pt x="254923" y="222651"/>
                    <a:pt x="254735" y="222463"/>
                    <a:pt x="254546" y="222275"/>
                  </a:cubicBezTo>
                  <a:cubicBezTo>
                    <a:pt x="250025" y="217948"/>
                    <a:pt x="245693" y="213057"/>
                    <a:pt x="241548" y="207789"/>
                  </a:cubicBezTo>
                  <a:cubicBezTo>
                    <a:pt x="241454" y="207601"/>
                    <a:pt x="241266" y="207413"/>
                    <a:pt x="241077" y="207225"/>
                  </a:cubicBezTo>
                  <a:cubicBezTo>
                    <a:pt x="236933" y="201769"/>
                    <a:pt x="233072" y="196031"/>
                    <a:pt x="229681" y="189823"/>
                  </a:cubicBezTo>
                  <a:cubicBezTo>
                    <a:pt x="229587" y="189729"/>
                    <a:pt x="229587" y="189635"/>
                    <a:pt x="229493" y="189635"/>
                  </a:cubicBezTo>
                  <a:cubicBezTo>
                    <a:pt x="226008" y="183332"/>
                    <a:pt x="222899" y="176654"/>
                    <a:pt x="220356" y="169787"/>
                  </a:cubicBezTo>
                  <a:cubicBezTo>
                    <a:pt x="214140" y="168658"/>
                    <a:pt x="208301" y="165084"/>
                    <a:pt x="203497" y="159910"/>
                  </a:cubicBezTo>
                  <a:cubicBezTo>
                    <a:pt x="203309" y="159722"/>
                    <a:pt x="203214" y="159628"/>
                    <a:pt x="203120" y="159534"/>
                  </a:cubicBezTo>
                  <a:cubicBezTo>
                    <a:pt x="200860" y="157088"/>
                    <a:pt x="198976" y="154172"/>
                    <a:pt x="197281" y="151068"/>
                  </a:cubicBezTo>
                  <a:cubicBezTo>
                    <a:pt x="196998" y="150504"/>
                    <a:pt x="196716" y="149939"/>
                    <a:pt x="196433" y="149281"/>
                  </a:cubicBezTo>
                  <a:cubicBezTo>
                    <a:pt x="194832" y="146083"/>
                    <a:pt x="193513" y="142602"/>
                    <a:pt x="192666" y="138840"/>
                  </a:cubicBezTo>
                  <a:cubicBezTo>
                    <a:pt x="188145" y="118428"/>
                    <a:pt x="197092" y="99050"/>
                    <a:pt x="212727" y="95476"/>
                  </a:cubicBezTo>
                  <a:lnTo>
                    <a:pt x="212727" y="85787"/>
                  </a:lnTo>
                  <a:cubicBezTo>
                    <a:pt x="212727" y="38378"/>
                    <a:pt x="251155" y="0"/>
                    <a:pt x="298626" y="0"/>
                  </a:cubicBezTo>
                  <a:close/>
                </a:path>
              </a:pathLst>
            </a:custGeom>
            <a:solidFill>
              <a:schemeClr val="bg1"/>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id-ID"/>
            </a:p>
          </p:txBody>
        </p:sp>
      </p:grpSp>
      <p:grpSp>
        <p:nvGrpSpPr>
          <p:cNvPr id="8" name="íṧḷíḓè">
            <a:extLst>
              <a:ext uri="{FF2B5EF4-FFF2-40B4-BE49-F238E27FC236}">
                <a16:creationId xmlns:a16="http://schemas.microsoft.com/office/drawing/2014/main" id="{C95401C2-6CC6-46E5-A8CB-68CB5F1C9A48}"/>
              </a:ext>
            </a:extLst>
          </p:cNvPr>
          <p:cNvGrpSpPr/>
          <p:nvPr/>
        </p:nvGrpSpPr>
        <p:grpSpPr>
          <a:xfrm>
            <a:off x="6464614" y="1901372"/>
            <a:ext cx="2391848" cy="4364339"/>
            <a:chOff x="5496863" y="1478280"/>
            <a:chExt cx="2391848" cy="4364339"/>
          </a:xfrm>
        </p:grpSpPr>
        <p:sp>
          <p:nvSpPr>
            <p:cNvPr id="9" name="ïśḷïḑé">
              <a:extLst>
                <a:ext uri="{FF2B5EF4-FFF2-40B4-BE49-F238E27FC236}">
                  <a16:creationId xmlns:a16="http://schemas.microsoft.com/office/drawing/2014/main" id="{22256070-7C16-458E-964B-2D3077BEEF8A}"/>
                </a:ext>
              </a:extLst>
            </p:cNvPr>
            <p:cNvSpPr/>
            <p:nvPr/>
          </p:nvSpPr>
          <p:spPr>
            <a:xfrm>
              <a:off x="5496863" y="2209800"/>
              <a:ext cx="2235321" cy="3632819"/>
            </a:xfrm>
            <a:prstGeom prst="rect">
              <a:avLst/>
            </a:prstGeom>
            <a:solidFill>
              <a:srgbClr val="008CD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a:p>
          </p:txBody>
        </p:sp>
        <p:sp>
          <p:nvSpPr>
            <p:cNvPr id="10" name="îšḻíďè">
              <a:extLst>
                <a:ext uri="{FF2B5EF4-FFF2-40B4-BE49-F238E27FC236}">
                  <a16:creationId xmlns:a16="http://schemas.microsoft.com/office/drawing/2014/main" id="{28528568-638C-4F92-98C8-98F6DE4E7C99}"/>
                </a:ext>
              </a:extLst>
            </p:cNvPr>
            <p:cNvSpPr/>
            <p:nvPr/>
          </p:nvSpPr>
          <p:spPr>
            <a:xfrm>
              <a:off x="5496863" y="1478280"/>
              <a:ext cx="2235321" cy="558800"/>
            </a:xfrm>
            <a:prstGeom prst="rect">
              <a:avLst/>
            </a:prstGeom>
            <a:pattFill prst="pct5">
              <a:fgClr>
                <a:srgbClr val="E4E6EA"/>
              </a:fgClr>
              <a:bgClr>
                <a:srgbClr val="ADB5BF"/>
              </a:bgClr>
            </a:patt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a:r>
                <a:rPr lang="zh-CN" altLang="en-US" sz="2800" b="1" dirty="0" smtClean="0"/>
                <a:t>类的状态</a:t>
              </a:r>
              <a:endParaRPr lang="zh-CN" altLang="en-US" sz="2800" b="1" dirty="0"/>
            </a:p>
          </p:txBody>
        </p:sp>
        <p:sp>
          <p:nvSpPr>
            <p:cNvPr id="13" name="ïṩļïḋè">
              <a:extLst>
                <a:ext uri="{FF2B5EF4-FFF2-40B4-BE49-F238E27FC236}">
                  <a16:creationId xmlns:a16="http://schemas.microsoft.com/office/drawing/2014/main" id="{27EFD743-E73C-460B-9599-8B5D91852D21}"/>
                </a:ext>
              </a:extLst>
            </p:cNvPr>
            <p:cNvSpPr/>
            <p:nvPr/>
          </p:nvSpPr>
          <p:spPr bwMode="auto">
            <a:xfrm>
              <a:off x="5775763" y="2358632"/>
              <a:ext cx="2112948" cy="1218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50000"/>
                </a:lnSpc>
                <a:spcBef>
                  <a:spcPct val="0"/>
                </a:spcBef>
                <a:buFont typeface="Arial" panose="020B0604020202020204" pitchFamily="34" charset="0"/>
                <a:buChar char="•"/>
              </a:pPr>
              <a:r>
                <a:rPr lang="zh-CN" altLang="en-US" b="1" dirty="0" smtClean="0">
                  <a:solidFill>
                    <a:schemeClr val="bg1"/>
                  </a:solidFill>
                </a:rPr>
                <a:t>备忘录模式</a:t>
              </a:r>
              <a:endParaRPr lang="en-US" altLang="zh-CN" b="1" dirty="0" smtClean="0">
                <a:solidFill>
                  <a:schemeClr val="bg1"/>
                </a:solidFill>
              </a:endParaRPr>
            </a:p>
            <a:p>
              <a:pPr marL="171450" indent="-171450">
                <a:lnSpc>
                  <a:spcPct val="150000"/>
                </a:lnSpc>
                <a:spcBef>
                  <a:spcPct val="0"/>
                </a:spcBef>
                <a:buFont typeface="Arial" panose="020B0604020202020204" pitchFamily="34" charset="0"/>
                <a:buChar char="•"/>
              </a:pPr>
              <a:r>
                <a:rPr lang="zh-CN" altLang="en-US" b="1" dirty="0" smtClean="0">
                  <a:solidFill>
                    <a:schemeClr val="bg1"/>
                  </a:solidFill>
                </a:rPr>
                <a:t>状态机模式</a:t>
              </a:r>
              <a:endParaRPr lang="zh-CN" altLang="en-US" b="1" dirty="0">
                <a:solidFill>
                  <a:schemeClr val="bg1"/>
                </a:solidFill>
              </a:endParaRPr>
            </a:p>
          </p:txBody>
        </p:sp>
        <p:sp>
          <p:nvSpPr>
            <p:cNvPr id="12" name="iŝ1ïdè">
              <a:extLst>
                <a:ext uri="{FF2B5EF4-FFF2-40B4-BE49-F238E27FC236}">
                  <a16:creationId xmlns:a16="http://schemas.microsoft.com/office/drawing/2014/main" id="{1861FBE4-CC12-43F7-9CDD-251EEE47813B}"/>
                </a:ext>
              </a:extLst>
            </p:cNvPr>
            <p:cNvSpPr/>
            <p:nvPr/>
          </p:nvSpPr>
          <p:spPr bwMode="auto">
            <a:xfrm>
              <a:off x="6352467" y="4846571"/>
              <a:ext cx="524112" cy="523130"/>
            </a:xfrm>
            <a:custGeom>
              <a:avLst/>
              <a:gdLst>
                <a:gd name="connsiteX0" fmla="*/ 290910 w 605702"/>
                <a:gd name="connsiteY0" fmla="*/ 156336 h 604568"/>
                <a:gd name="connsiteX1" fmla="*/ 335849 w 605702"/>
                <a:gd name="connsiteY1" fmla="*/ 164992 h 604568"/>
                <a:gd name="connsiteX2" fmla="*/ 288310 w 605702"/>
                <a:gd name="connsiteY2" fmla="*/ 212456 h 604568"/>
                <a:gd name="connsiteX3" fmla="*/ 203632 w 605702"/>
                <a:gd name="connsiteY3" fmla="*/ 244717 h 604568"/>
                <a:gd name="connsiteX4" fmla="*/ 203632 w 605702"/>
                <a:gd name="connsiteY4" fmla="*/ 401388 h 604568"/>
                <a:gd name="connsiteX5" fmla="*/ 360547 w 605702"/>
                <a:gd name="connsiteY5" fmla="*/ 401388 h 604568"/>
                <a:gd name="connsiteX6" fmla="*/ 392859 w 605702"/>
                <a:gd name="connsiteY6" fmla="*/ 316749 h 604568"/>
                <a:gd name="connsiteX7" fmla="*/ 440397 w 605702"/>
                <a:gd name="connsiteY7" fmla="*/ 269284 h 604568"/>
                <a:gd name="connsiteX8" fmla="*/ 400287 w 605702"/>
                <a:gd name="connsiteY8" fmla="*/ 441065 h 604568"/>
                <a:gd name="connsiteX9" fmla="*/ 163892 w 605702"/>
                <a:gd name="connsiteY9" fmla="*/ 441065 h 604568"/>
                <a:gd name="connsiteX10" fmla="*/ 163892 w 605702"/>
                <a:gd name="connsiteY10" fmla="*/ 205040 h 604568"/>
                <a:gd name="connsiteX11" fmla="*/ 290910 w 605702"/>
                <a:gd name="connsiteY11" fmla="*/ 156336 h 604568"/>
                <a:gd name="connsiteX12" fmla="*/ 246542 w 605702"/>
                <a:gd name="connsiteY12" fmla="*/ 43775 h 604568"/>
                <a:gd name="connsiteX13" fmla="*/ 422196 w 605702"/>
                <a:gd name="connsiteY13" fmla="*/ 78723 h 604568"/>
                <a:gd name="connsiteX14" fmla="*/ 376794 w 605702"/>
                <a:gd name="connsiteY14" fmla="*/ 124054 h 604568"/>
                <a:gd name="connsiteX15" fmla="*/ 126109 w 605702"/>
                <a:gd name="connsiteY15" fmla="*/ 167345 h 604568"/>
                <a:gd name="connsiteX16" fmla="*/ 126109 w 605702"/>
                <a:gd name="connsiteY16" fmla="*/ 478820 h 604568"/>
                <a:gd name="connsiteX17" fmla="*/ 438073 w 605702"/>
                <a:gd name="connsiteY17" fmla="*/ 478820 h 604568"/>
                <a:gd name="connsiteX18" fmla="*/ 481432 w 605702"/>
                <a:gd name="connsiteY18" fmla="*/ 228527 h 604568"/>
                <a:gd name="connsiteX19" fmla="*/ 526741 w 605702"/>
                <a:gd name="connsiteY19" fmla="*/ 183011 h 604568"/>
                <a:gd name="connsiteX20" fmla="*/ 481432 w 605702"/>
                <a:gd name="connsiteY20" fmla="*/ 522111 h 604568"/>
                <a:gd name="connsiteX21" fmla="*/ 82657 w 605702"/>
                <a:gd name="connsiteY21" fmla="*/ 522111 h 604568"/>
                <a:gd name="connsiteX22" fmla="*/ 82657 w 605702"/>
                <a:gd name="connsiteY22" fmla="*/ 123961 h 604568"/>
                <a:gd name="connsiteX23" fmla="*/ 246542 w 605702"/>
                <a:gd name="connsiteY23" fmla="*/ 43775 h 604568"/>
                <a:gd name="connsiteX24" fmla="*/ 536061 w 605702"/>
                <a:gd name="connsiteY24" fmla="*/ 0 h 604568"/>
                <a:gd name="connsiteX25" fmla="*/ 544232 w 605702"/>
                <a:gd name="connsiteY25" fmla="*/ 61368 h 604568"/>
                <a:gd name="connsiteX26" fmla="*/ 605702 w 605702"/>
                <a:gd name="connsiteY26" fmla="*/ 69526 h 604568"/>
                <a:gd name="connsiteX27" fmla="*/ 524361 w 605702"/>
                <a:gd name="connsiteY27" fmla="*/ 150732 h 604568"/>
                <a:gd name="connsiteX28" fmla="*/ 498361 w 605702"/>
                <a:gd name="connsiteY28" fmla="*/ 147302 h 604568"/>
                <a:gd name="connsiteX29" fmla="*/ 337721 w 605702"/>
                <a:gd name="connsiteY29" fmla="*/ 307767 h 604568"/>
                <a:gd name="connsiteX30" fmla="*/ 339764 w 605702"/>
                <a:gd name="connsiteY30" fmla="*/ 323063 h 604568"/>
                <a:gd name="connsiteX31" fmla="*/ 282101 w 605702"/>
                <a:gd name="connsiteY31" fmla="*/ 380630 h 604568"/>
                <a:gd name="connsiteX32" fmla="*/ 224437 w 605702"/>
                <a:gd name="connsiteY32" fmla="*/ 323063 h 604568"/>
                <a:gd name="connsiteX33" fmla="*/ 282101 w 605702"/>
                <a:gd name="connsiteY33" fmla="*/ 265495 h 604568"/>
                <a:gd name="connsiteX34" fmla="*/ 297422 w 605702"/>
                <a:gd name="connsiteY34" fmla="*/ 267535 h 604568"/>
                <a:gd name="connsiteX35" fmla="*/ 458155 w 605702"/>
                <a:gd name="connsiteY35" fmla="*/ 107162 h 604568"/>
                <a:gd name="connsiteX36" fmla="*/ 454719 w 605702"/>
                <a:gd name="connsiteY36" fmla="*/ 81206 h 604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5702" h="604568">
                  <a:moveTo>
                    <a:pt x="290910" y="156336"/>
                  </a:moveTo>
                  <a:cubicBezTo>
                    <a:pt x="306137" y="157147"/>
                    <a:pt x="321272" y="160032"/>
                    <a:pt x="335849" y="164992"/>
                  </a:cubicBezTo>
                  <a:lnTo>
                    <a:pt x="288310" y="212456"/>
                  </a:lnTo>
                  <a:cubicBezTo>
                    <a:pt x="257856" y="210695"/>
                    <a:pt x="226844" y="221449"/>
                    <a:pt x="203632" y="244717"/>
                  </a:cubicBezTo>
                  <a:cubicBezTo>
                    <a:pt x="160271" y="287918"/>
                    <a:pt x="160271" y="358187"/>
                    <a:pt x="203632" y="401388"/>
                  </a:cubicBezTo>
                  <a:cubicBezTo>
                    <a:pt x="246900" y="444680"/>
                    <a:pt x="317279" y="444680"/>
                    <a:pt x="360547" y="401388"/>
                  </a:cubicBezTo>
                  <a:cubicBezTo>
                    <a:pt x="383852" y="378211"/>
                    <a:pt x="394623" y="347156"/>
                    <a:pt x="392859" y="316749"/>
                  </a:cubicBezTo>
                  <a:lnTo>
                    <a:pt x="440397" y="269284"/>
                  </a:lnTo>
                  <a:cubicBezTo>
                    <a:pt x="460267" y="327595"/>
                    <a:pt x="446897" y="394620"/>
                    <a:pt x="400287" y="441065"/>
                  </a:cubicBezTo>
                  <a:cubicBezTo>
                    <a:pt x="335106" y="506236"/>
                    <a:pt x="229073" y="506236"/>
                    <a:pt x="163892" y="441065"/>
                  </a:cubicBezTo>
                  <a:cubicBezTo>
                    <a:pt x="98619" y="375987"/>
                    <a:pt x="98619" y="270118"/>
                    <a:pt x="163892" y="205040"/>
                  </a:cubicBezTo>
                  <a:cubicBezTo>
                    <a:pt x="198711" y="170137"/>
                    <a:pt x="245228" y="153902"/>
                    <a:pt x="290910" y="156336"/>
                  </a:cubicBezTo>
                  <a:close/>
                  <a:moveTo>
                    <a:pt x="246542" y="43775"/>
                  </a:moveTo>
                  <a:cubicBezTo>
                    <a:pt x="306463" y="36243"/>
                    <a:pt x="368345" y="47900"/>
                    <a:pt x="422196" y="78723"/>
                  </a:cubicBezTo>
                  <a:lnTo>
                    <a:pt x="376794" y="124054"/>
                  </a:lnTo>
                  <a:cubicBezTo>
                    <a:pt x="294811" y="85305"/>
                    <a:pt x="193980" y="99581"/>
                    <a:pt x="126109" y="167345"/>
                  </a:cubicBezTo>
                  <a:cubicBezTo>
                    <a:pt x="39948" y="253371"/>
                    <a:pt x="39948" y="392793"/>
                    <a:pt x="126109" y="478820"/>
                  </a:cubicBezTo>
                  <a:cubicBezTo>
                    <a:pt x="212271" y="564846"/>
                    <a:pt x="351912" y="564846"/>
                    <a:pt x="438073" y="478820"/>
                  </a:cubicBezTo>
                  <a:cubicBezTo>
                    <a:pt x="505944" y="411055"/>
                    <a:pt x="520428" y="310382"/>
                    <a:pt x="481432" y="228527"/>
                  </a:cubicBezTo>
                  <a:lnTo>
                    <a:pt x="526741" y="183011"/>
                  </a:lnTo>
                  <a:cubicBezTo>
                    <a:pt x="588484" y="290544"/>
                    <a:pt x="573350" y="430244"/>
                    <a:pt x="481432" y="522111"/>
                  </a:cubicBezTo>
                  <a:cubicBezTo>
                    <a:pt x="371316" y="632054"/>
                    <a:pt x="192866" y="632054"/>
                    <a:pt x="82657" y="522111"/>
                  </a:cubicBezTo>
                  <a:cubicBezTo>
                    <a:pt x="-27552" y="412168"/>
                    <a:pt x="-27552" y="233997"/>
                    <a:pt x="82657" y="123961"/>
                  </a:cubicBezTo>
                  <a:cubicBezTo>
                    <a:pt x="128662" y="78028"/>
                    <a:pt x="186622" y="51307"/>
                    <a:pt x="246542" y="43775"/>
                  </a:cubicBezTo>
                  <a:close/>
                  <a:moveTo>
                    <a:pt x="536061" y="0"/>
                  </a:moveTo>
                  <a:lnTo>
                    <a:pt x="544232" y="61368"/>
                  </a:lnTo>
                  <a:lnTo>
                    <a:pt x="605702" y="69526"/>
                  </a:lnTo>
                  <a:lnTo>
                    <a:pt x="524361" y="150732"/>
                  </a:lnTo>
                  <a:lnTo>
                    <a:pt x="498361" y="147302"/>
                  </a:lnTo>
                  <a:lnTo>
                    <a:pt x="337721" y="307767"/>
                  </a:lnTo>
                  <a:cubicBezTo>
                    <a:pt x="339021" y="312588"/>
                    <a:pt x="339764" y="317779"/>
                    <a:pt x="339764" y="323063"/>
                  </a:cubicBezTo>
                  <a:cubicBezTo>
                    <a:pt x="339764" y="354859"/>
                    <a:pt x="313950" y="380630"/>
                    <a:pt x="282101" y="380630"/>
                  </a:cubicBezTo>
                  <a:cubicBezTo>
                    <a:pt x="250251" y="380630"/>
                    <a:pt x="224437" y="354859"/>
                    <a:pt x="224437" y="323063"/>
                  </a:cubicBezTo>
                  <a:cubicBezTo>
                    <a:pt x="224437" y="291266"/>
                    <a:pt x="250251" y="265495"/>
                    <a:pt x="282101" y="265495"/>
                  </a:cubicBezTo>
                  <a:cubicBezTo>
                    <a:pt x="287393" y="265495"/>
                    <a:pt x="292500" y="266237"/>
                    <a:pt x="297422" y="267535"/>
                  </a:cubicBezTo>
                  <a:lnTo>
                    <a:pt x="458155" y="107162"/>
                  </a:lnTo>
                  <a:lnTo>
                    <a:pt x="454719" y="81206"/>
                  </a:lnTo>
                  <a:close/>
                </a:path>
              </a:pathLst>
            </a:custGeom>
            <a:solidFill>
              <a:schemeClr val="bg1"/>
            </a:solidFill>
            <a:ln>
              <a:noFill/>
            </a:ln>
          </p:spPr>
          <p:txBody>
            <a:bodyPr wrap="square" lIns="91440" tIns="45720" rIns="91440" bIns="45720">
              <a:normAutofit/>
            </a:bodyPr>
            <a:lstStyle/>
            <a:p>
              <a:endParaRPr lang="zh-CN" altLang="en-US"/>
            </a:p>
          </p:txBody>
        </p:sp>
      </p:grpSp>
      <p:sp>
        <p:nvSpPr>
          <p:cNvPr id="33" name="标题 1"/>
          <p:cNvSpPr>
            <a:spLocks noGrp="1"/>
          </p:cNvSpPr>
          <p:nvPr>
            <p:ph type="title"/>
          </p:nvPr>
        </p:nvSpPr>
        <p:spPr>
          <a:xfrm>
            <a:off x="1137925" y="205921"/>
            <a:ext cx="10401280" cy="695186"/>
          </a:xfrm>
        </p:spPr>
        <p:txBody>
          <a:bodyPr/>
          <a:lstStyle/>
          <a:p>
            <a:r>
              <a:rPr lang="zh-CN" altLang="en-US" sz="3200" b="0" dirty="0" smtClean="0">
                <a:latin typeface="Arial"/>
                <a:ea typeface="Microsoft YaHei"/>
                <a:cs typeface="+mn-ea"/>
                <a:sym typeface="Arial"/>
              </a:rPr>
              <a:t>行为型模式</a:t>
            </a:r>
            <a:endParaRPr lang="zh-CN" altLang="en-US" sz="3200" b="0" dirty="0">
              <a:latin typeface="Arial"/>
              <a:ea typeface="Microsoft YaHei"/>
              <a:cs typeface="+mn-ea"/>
              <a:sym typeface="Arial"/>
            </a:endParaRPr>
          </a:p>
        </p:txBody>
      </p:sp>
      <p:grpSp>
        <p:nvGrpSpPr>
          <p:cNvPr id="34" name="组合 33">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35" name="椭圆 34">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36" name="椭圆 35">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
        <p:nvSpPr>
          <p:cNvPr id="37" name="î$ḷîḓê">
            <a:extLst>
              <a:ext uri="{FF2B5EF4-FFF2-40B4-BE49-F238E27FC236}">
                <a16:creationId xmlns:a16="http://schemas.microsoft.com/office/drawing/2014/main" id="{0120662D-08EC-45F4-BE9C-84021ADB4C9A}"/>
              </a:ext>
            </a:extLst>
          </p:cNvPr>
          <p:cNvSpPr/>
          <p:nvPr/>
        </p:nvSpPr>
        <p:spPr bwMode="gray">
          <a:xfrm>
            <a:off x="7211000" y="198392"/>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创建型模式</a:t>
            </a:r>
            <a:endParaRPr lang="en-US" altLang="zh-CN" sz="2400" dirty="0">
              <a:solidFill>
                <a:schemeClr val="bg1"/>
              </a:solidFill>
            </a:endParaRPr>
          </a:p>
        </p:txBody>
      </p:sp>
      <p:sp>
        <p:nvSpPr>
          <p:cNvPr id="38" name="î$ḷîḓê">
            <a:extLst>
              <a:ext uri="{FF2B5EF4-FFF2-40B4-BE49-F238E27FC236}">
                <a16:creationId xmlns:a16="http://schemas.microsoft.com/office/drawing/2014/main" id="{0120662D-08EC-45F4-BE9C-84021ADB4C9A}"/>
              </a:ext>
            </a:extLst>
          </p:cNvPr>
          <p:cNvSpPr/>
          <p:nvPr/>
        </p:nvSpPr>
        <p:spPr bwMode="gray">
          <a:xfrm>
            <a:off x="8749874" y="199746"/>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结构型模式</a:t>
            </a:r>
            <a:endParaRPr lang="en-US" altLang="zh-CN" sz="2400" dirty="0">
              <a:solidFill>
                <a:schemeClr val="bg1"/>
              </a:solidFill>
            </a:endParaRPr>
          </a:p>
        </p:txBody>
      </p:sp>
      <p:sp>
        <p:nvSpPr>
          <p:cNvPr id="39" name="î$ḷîḓê">
            <a:extLst>
              <a:ext uri="{FF2B5EF4-FFF2-40B4-BE49-F238E27FC236}">
                <a16:creationId xmlns:a16="http://schemas.microsoft.com/office/drawing/2014/main" id="{0120662D-08EC-45F4-BE9C-84021ADB4C9A}"/>
              </a:ext>
            </a:extLst>
          </p:cNvPr>
          <p:cNvSpPr/>
          <p:nvPr/>
        </p:nvSpPr>
        <p:spPr bwMode="gray">
          <a:xfrm>
            <a:off x="10282004" y="189695"/>
            <a:ext cx="1506790" cy="480145"/>
          </a:xfrm>
          <a:prstGeom prst="rect">
            <a:avLst/>
          </a:prstGeom>
          <a:solidFill>
            <a:schemeClr val="accent1"/>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行为型模式</a:t>
            </a:r>
            <a:endParaRPr lang="en-US" altLang="zh-CN" sz="2400" dirty="0">
              <a:solidFill>
                <a:schemeClr val="bg1"/>
              </a:solidFill>
            </a:endParaRPr>
          </a:p>
        </p:txBody>
      </p:sp>
    </p:spTree>
    <p:extLst>
      <p:ext uri="{BB962C8B-B14F-4D97-AF65-F5344CB8AC3E}">
        <p14:creationId xmlns:p14="http://schemas.microsoft.com/office/powerpoint/2010/main" val="1536199719"/>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bg>
      <p:bgPr>
        <a:solidFill>
          <a:srgbClr val="DDDDDD"/>
        </a:solidFill>
        <a:effectLst/>
      </p:bgPr>
    </p:bg>
    <p:spTree>
      <p:nvGrpSpPr>
        <p:cNvPr id="1" name=""/>
        <p:cNvGrpSpPr/>
        <p:nvPr/>
      </p:nvGrpSpPr>
      <p:grpSpPr>
        <a:xfrm>
          <a:off x="0" y="0"/>
          <a:ext cx="0" cy="0"/>
          <a:chOff x="0" y="0"/>
          <a:chExt cx="0" cy="0"/>
        </a:xfrm>
      </p:grpSpPr>
      <p:sp>
        <p:nvSpPr>
          <p:cNvPr id="63" name="标题 1"/>
          <p:cNvSpPr>
            <a:spLocks noGrp="1"/>
          </p:cNvSpPr>
          <p:nvPr>
            <p:ph type="title"/>
          </p:nvPr>
        </p:nvSpPr>
        <p:spPr>
          <a:xfrm>
            <a:off x="1137925" y="205921"/>
            <a:ext cx="10401280" cy="695186"/>
          </a:xfrm>
        </p:spPr>
        <p:txBody>
          <a:bodyPr/>
          <a:lstStyle/>
          <a:p>
            <a:r>
              <a:rPr lang="zh-CN" altLang="en-US" sz="3200" b="0" dirty="0" smtClean="0">
                <a:latin typeface="Arial"/>
                <a:ea typeface="Microsoft YaHei"/>
                <a:cs typeface="+mn-ea"/>
                <a:sym typeface="Arial"/>
              </a:rPr>
              <a:t>模板方法模式</a:t>
            </a:r>
            <a:endParaRPr lang="zh-CN" altLang="en-US" sz="3200" b="0" dirty="0">
              <a:latin typeface="Arial"/>
              <a:ea typeface="Microsoft YaHei"/>
              <a:cs typeface="+mn-ea"/>
              <a:sym typeface="Arial"/>
            </a:endParaRPr>
          </a:p>
        </p:txBody>
      </p:sp>
      <p:grpSp>
        <p:nvGrpSpPr>
          <p:cNvPr id="64" name="组合 63">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65" name="椭圆 64">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66" name="椭圆 65">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
        <p:nvSpPr>
          <p:cNvPr id="67" name="î$ḷîḓê">
            <a:extLst>
              <a:ext uri="{FF2B5EF4-FFF2-40B4-BE49-F238E27FC236}">
                <a16:creationId xmlns:a16="http://schemas.microsoft.com/office/drawing/2014/main" id="{0120662D-08EC-45F4-BE9C-84021ADB4C9A}"/>
              </a:ext>
            </a:extLst>
          </p:cNvPr>
          <p:cNvSpPr/>
          <p:nvPr/>
        </p:nvSpPr>
        <p:spPr bwMode="gray">
          <a:xfrm>
            <a:off x="7211000" y="198392"/>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创建型模式</a:t>
            </a:r>
            <a:endParaRPr lang="en-US" altLang="zh-CN" sz="2400" dirty="0">
              <a:solidFill>
                <a:schemeClr val="bg1"/>
              </a:solidFill>
            </a:endParaRPr>
          </a:p>
        </p:txBody>
      </p:sp>
      <p:sp>
        <p:nvSpPr>
          <p:cNvPr id="68" name="î$ḷîḓê">
            <a:extLst>
              <a:ext uri="{FF2B5EF4-FFF2-40B4-BE49-F238E27FC236}">
                <a16:creationId xmlns:a16="http://schemas.microsoft.com/office/drawing/2014/main" id="{0120662D-08EC-45F4-BE9C-84021ADB4C9A}"/>
              </a:ext>
            </a:extLst>
          </p:cNvPr>
          <p:cNvSpPr/>
          <p:nvPr/>
        </p:nvSpPr>
        <p:spPr bwMode="gray">
          <a:xfrm>
            <a:off x="8749874" y="199746"/>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结构型模式</a:t>
            </a:r>
            <a:endParaRPr lang="en-US" altLang="zh-CN" sz="2400" dirty="0">
              <a:solidFill>
                <a:schemeClr val="bg1"/>
              </a:solidFill>
            </a:endParaRPr>
          </a:p>
        </p:txBody>
      </p:sp>
      <p:sp>
        <p:nvSpPr>
          <p:cNvPr id="69" name="î$ḷîḓê">
            <a:extLst>
              <a:ext uri="{FF2B5EF4-FFF2-40B4-BE49-F238E27FC236}">
                <a16:creationId xmlns:a16="http://schemas.microsoft.com/office/drawing/2014/main" id="{0120662D-08EC-45F4-BE9C-84021ADB4C9A}"/>
              </a:ext>
            </a:extLst>
          </p:cNvPr>
          <p:cNvSpPr/>
          <p:nvPr/>
        </p:nvSpPr>
        <p:spPr bwMode="gray">
          <a:xfrm>
            <a:off x="10282004" y="189695"/>
            <a:ext cx="1506790" cy="480145"/>
          </a:xfrm>
          <a:prstGeom prst="rect">
            <a:avLst/>
          </a:prstGeom>
          <a:solidFill>
            <a:schemeClr val="accent1"/>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行为型模式</a:t>
            </a:r>
            <a:endParaRPr lang="en-US" altLang="zh-CN" sz="2400" dirty="0">
              <a:solidFill>
                <a:schemeClr val="bg1"/>
              </a:solidFill>
            </a:endParaRPr>
          </a:p>
        </p:txBody>
      </p:sp>
      <p:pic>
        <p:nvPicPr>
          <p:cNvPr id="3" name="图片 2"/>
          <p:cNvPicPr>
            <a:picLocks noChangeAspect="1"/>
          </p:cNvPicPr>
          <p:nvPr/>
        </p:nvPicPr>
        <p:blipFill>
          <a:blip r:embed="rId3"/>
          <a:stretch>
            <a:fillRect/>
          </a:stretch>
        </p:blipFill>
        <p:spPr>
          <a:xfrm>
            <a:off x="1137925" y="813882"/>
            <a:ext cx="10092768" cy="5323393"/>
          </a:xfrm>
          <a:prstGeom prst="rect">
            <a:avLst/>
          </a:prstGeom>
        </p:spPr>
      </p:pic>
      <p:sp>
        <p:nvSpPr>
          <p:cNvPr id="2" name="圆角矩形 1"/>
          <p:cNvSpPr/>
          <p:nvPr/>
        </p:nvSpPr>
        <p:spPr>
          <a:xfrm>
            <a:off x="3397405" y="2720898"/>
            <a:ext cx="2527610" cy="854926"/>
          </a:xfrm>
          <a:prstGeom prst="roundRect">
            <a:avLst/>
          </a:prstGeom>
          <a:noFill/>
          <a:ln w="6350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文本框 3"/>
          <p:cNvSpPr txBox="1"/>
          <p:nvPr/>
        </p:nvSpPr>
        <p:spPr>
          <a:xfrm>
            <a:off x="379141" y="2720898"/>
            <a:ext cx="1241503" cy="923330"/>
          </a:xfrm>
          <a:prstGeom prst="rect">
            <a:avLst/>
          </a:prstGeom>
          <a:noFill/>
        </p:spPr>
        <p:txBody>
          <a:bodyPr wrap="square" rtlCol="0">
            <a:spAutoFit/>
          </a:bodyPr>
          <a:lstStyle/>
          <a:p>
            <a:r>
              <a:rPr lang="zh-CN" altLang="en-US" b="1" dirty="0">
                <a:solidFill>
                  <a:srgbClr val="00659E"/>
                </a:solidFill>
              </a:rPr>
              <a:t>子</a:t>
            </a:r>
            <a:r>
              <a:rPr lang="zh-CN" altLang="en-US" b="1" dirty="0" smtClean="0">
                <a:solidFill>
                  <a:srgbClr val="00659E"/>
                </a:solidFill>
              </a:rPr>
              <a:t>类实现框架定义好的模板</a:t>
            </a:r>
            <a:endParaRPr lang="zh-CN" altLang="en-US" b="1" dirty="0">
              <a:solidFill>
                <a:srgbClr val="00659E"/>
              </a:solidFill>
            </a:endParaRPr>
          </a:p>
        </p:txBody>
      </p:sp>
      <p:cxnSp>
        <p:nvCxnSpPr>
          <p:cNvPr id="6" name="直接箭头连接符 5"/>
          <p:cNvCxnSpPr>
            <a:stCxn id="2" idx="1"/>
          </p:cNvCxnSpPr>
          <p:nvPr/>
        </p:nvCxnSpPr>
        <p:spPr>
          <a:xfrm flipH="1">
            <a:off x="1382751" y="3148361"/>
            <a:ext cx="2014654" cy="3717"/>
          </a:xfrm>
          <a:prstGeom prst="straightConnector1">
            <a:avLst/>
          </a:prstGeom>
          <a:ln w="63500" cap="flat">
            <a:solidFill>
              <a:srgbClr val="00659E"/>
            </a:solidFill>
            <a:prstDash val="sysDash"/>
            <a:round/>
            <a:tailEnd type="triangle"/>
          </a:ln>
          <a:effectLst>
            <a:outerShdw blurRad="40000" dist="23000" dir="5400000" rotWithShape="0">
              <a:srgbClr val="000000">
                <a:alpha val="35000"/>
              </a:srgbClr>
            </a:outerShdw>
            <a:softEdge rad="0"/>
          </a:effectLst>
        </p:spPr>
        <p:style>
          <a:lnRef idx="3">
            <a:schemeClr val="accent1"/>
          </a:lnRef>
          <a:fillRef idx="0">
            <a:schemeClr val="accent1"/>
          </a:fillRef>
          <a:effectRef idx="2">
            <a:schemeClr val="accent1"/>
          </a:effectRef>
          <a:fontRef idx="minor">
            <a:schemeClr val="tx1"/>
          </a:fontRef>
        </p:style>
      </p:cxnSp>
      <p:sp>
        <p:nvSpPr>
          <p:cNvPr id="13" name="coding_151359"/>
          <p:cNvSpPr>
            <a:spLocks noChangeAspect="1"/>
          </p:cNvSpPr>
          <p:nvPr/>
        </p:nvSpPr>
        <p:spPr bwMode="auto">
          <a:xfrm>
            <a:off x="6509664" y="205122"/>
            <a:ext cx="467336" cy="466684"/>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06439" h="605593">
                <a:moveTo>
                  <a:pt x="264222" y="458757"/>
                </a:moveTo>
                <a:lnTo>
                  <a:pt x="220421" y="579819"/>
                </a:lnTo>
                <a:lnTo>
                  <a:pt x="386019" y="579819"/>
                </a:lnTo>
                <a:lnTo>
                  <a:pt x="342217" y="458757"/>
                </a:lnTo>
                <a:close/>
                <a:moveTo>
                  <a:pt x="420977" y="157263"/>
                </a:moveTo>
                <a:lnTo>
                  <a:pt x="489088" y="231020"/>
                </a:lnTo>
                <a:lnTo>
                  <a:pt x="424086" y="301483"/>
                </a:lnTo>
                <a:lnTo>
                  <a:pt x="405150" y="283985"/>
                </a:lnTo>
                <a:lnTo>
                  <a:pt x="453949" y="231020"/>
                </a:lnTo>
                <a:lnTo>
                  <a:pt x="402042" y="174761"/>
                </a:lnTo>
                <a:close/>
                <a:moveTo>
                  <a:pt x="185461" y="157263"/>
                </a:moveTo>
                <a:lnTo>
                  <a:pt x="204397" y="174761"/>
                </a:lnTo>
                <a:lnTo>
                  <a:pt x="152489" y="231020"/>
                </a:lnTo>
                <a:lnTo>
                  <a:pt x="201288" y="283985"/>
                </a:lnTo>
                <a:lnTo>
                  <a:pt x="182352" y="301483"/>
                </a:lnTo>
                <a:lnTo>
                  <a:pt x="117350" y="231020"/>
                </a:lnTo>
                <a:close/>
                <a:moveTo>
                  <a:pt x="309343" y="122078"/>
                </a:moveTo>
                <a:lnTo>
                  <a:pt x="334401" y="128193"/>
                </a:lnTo>
                <a:lnTo>
                  <a:pt x="283718" y="336668"/>
                </a:lnTo>
                <a:lnTo>
                  <a:pt x="258565" y="330553"/>
                </a:lnTo>
                <a:close/>
                <a:moveTo>
                  <a:pt x="25810" y="25774"/>
                </a:moveTo>
                <a:lnTo>
                  <a:pt x="25810" y="432983"/>
                </a:lnTo>
                <a:lnTo>
                  <a:pt x="580629" y="432983"/>
                </a:lnTo>
                <a:lnTo>
                  <a:pt x="580629" y="25774"/>
                </a:lnTo>
                <a:close/>
                <a:moveTo>
                  <a:pt x="0" y="0"/>
                </a:moveTo>
                <a:lnTo>
                  <a:pt x="606439" y="0"/>
                </a:lnTo>
                <a:lnTo>
                  <a:pt x="606439" y="458757"/>
                </a:lnTo>
                <a:lnTo>
                  <a:pt x="369628" y="458757"/>
                </a:lnTo>
                <a:lnTo>
                  <a:pt x="413430" y="579819"/>
                </a:lnTo>
                <a:lnTo>
                  <a:pt x="459492" y="579819"/>
                </a:lnTo>
                <a:lnTo>
                  <a:pt x="459492" y="605593"/>
                </a:lnTo>
                <a:lnTo>
                  <a:pt x="146947" y="605593"/>
                </a:lnTo>
                <a:lnTo>
                  <a:pt x="146947" y="579819"/>
                </a:lnTo>
                <a:lnTo>
                  <a:pt x="192915" y="579819"/>
                </a:lnTo>
                <a:lnTo>
                  <a:pt x="236717" y="458757"/>
                </a:lnTo>
                <a:lnTo>
                  <a:pt x="0" y="458757"/>
                </a:lnTo>
                <a:close/>
              </a:path>
            </a:pathLst>
          </a:custGeom>
          <a:solidFill>
            <a:schemeClr val="accent1"/>
          </a:solidFill>
          <a:ln>
            <a:noFill/>
          </a:ln>
        </p:spPr>
      </p:sp>
    </p:spTree>
    <p:extLst>
      <p:ext uri="{BB962C8B-B14F-4D97-AF65-F5344CB8AC3E}">
        <p14:creationId xmlns:p14="http://schemas.microsoft.com/office/powerpoint/2010/main" val="545181792"/>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bg>
      <p:bgPr>
        <a:solidFill>
          <a:srgbClr val="DDDDDD"/>
        </a:solidFill>
        <a:effectLst/>
      </p:bgPr>
    </p:bg>
    <p:spTree>
      <p:nvGrpSpPr>
        <p:cNvPr id="1" name=""/>
        <p:cNvGrpSpPr/>
        <p:nvPr/>
      </p:nvGrpSpPr>
      <p:grpSpPr>
        <a:xfrm>
          <a:off x="0" y="0"/>
          <a:ext cx="0" cy="0"/>
          <a:chOff x="0" y="0"/>
          <a:chExt cx="0" cy="0"/>
        </a:xfrm>
      </p:grpSpPr>
      <p:sp>
        <p:nvSpPr>
          <p:cNvPr id="63" name="标题 1"/>
          <p:cNvSpPr>
            <a:spLocks noGrp="1"/>
          </p:cNvSpPr>
          <p:nvPr>
            <p:ph type="title"/>
          </p:nvPr>
        </p:nvSpPr>
        <p:spPr>
          <a:xfrm>
            <a:off x="1137925" y="205921"/>
            <a:ext cx="10401280" cy="695186"/>
          </a:xfrm>
        </p:spPr>
        <p:txBody>
          <a:bodyPr/>
          <a:lstStyle/>
          <a:p>
            <a:r>
              <a:rPr lang="zh-CN" altLang="en-US" sz="3200" b="0" dirty="0" smtClean="0">
                <a:latin typeface="Arial"/>
                <a:ea typeface="Microsoft YaHei"/>
                <a:cs typeface="+mn-ea"/>
                <a:sym typeface="Arial"/>
              </a:rPr>
              <a:t>策略模式</a:t>
            </a:r>
            <a:endParaRPr lang="zh-CN" altLang="en-US" sz="3200" b="0" dirty="0">
              <a:latin typeface="Arial"/>
              <a:ea typeface="Microsoft YaHei"/>
              <a:cs typeface="+mn-ea"/>
              <a:sym typeface="Arial"/>
            </a:endParaRPr>
          </a:p>
        </p:txBody>
      </p:sp>
      <p:grpSp>
        <p:nvGrpSpPr>
          <p:cNvPr id="64" name="组合 63">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65" name="椭圆 64">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66" name="椭圆 65">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
        <p:nvSpPr>
          <p:cNvPr id="67" name="î$ḷîḓê">
            <a:extLst>
              <a:ext uri="{FF2B5EF4-FFF2-40B4-BE49-F238E27FC236}">
                <a16:creationId xmlns:a16="http://schemas.microsoft.com/office/drawing/2014/main" id="{0120662D-08EC-45F4-BE9C-84021ADB4C9A}"/>
              </a:ext>
            </a:extLst>
          </p:cNvPr>
          <p:cNvSpPr/>
          <p:nvPr/>
        </p:nvSpPr>
        <p:spPr bwMode="gray">
          <a:xfrm>
            <a:off x="7211000" y="198392"/>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创建型模式</a:t>
            </a:r>
            <a:endParaRPr lang="en-US" altLang="zh-CN" sz="2400" dirty="0">
              <a:solidFill>
                <a:schemeClr val="bg1"/>
              </a:solidFill>
            </a:endParaRPr>
          </a:p>
        </p:txBody>
      </p:sp>
      <p:sp>
        <p:nvSpPr>
          <p:cNvPr id="68" name="î$ḷîḓê">
            <a:extLst>
              <a:ext uri="{FF2B5EF4-FFF2-40B4-BE49-F238E27FC236}">
                <a16:creationId xmlns:a16="http://schemas.microsoft.com/office/drawing/2014/main" id="{0120662D-08EC-45F4-BE9C-84021ADB4C9A}"/>
              </a:ext>
            </a:extLst>
          </p:cNvPr>
          <p:cNvSpPr/>
          <p:nvPr/>
        </p:nvSpPr>
        <p:spPr bwMode="gray">
          <a:xfrm>
            <a:off x="8749874" y="199746"/>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结构型模式</a:t>
            </a:r>
            <a:endParaRPr lang="en-US" altLang="zh-CN" sz="2400" dirty="0">
              <a:solidFill>
                <a:schemeClr val="bg1"/>
              </a:solidFill>
            </a:endParaRPr>
          </a:p>
        </p:txBody>
      </p:sp>
      <p:sp>
        <p:nvSpPr>
          <p:cNvPr id="69" name="î$ḷîḓê">
            <a:extLst>
              <a:ext uri="{FF2B5EF4-FFF2-40B4-BE49-F238E27FC236}">
                <a16:creationId xmlns:a16="http://schemas.microsoft.com/office/drawing/2014/main" id="{0120662D-08EC-45F4-BE9C-84021ADB4C9A}"/>
              </a:ext>
            </a:extLst>
          </p:cNvPr>
          <p:cNvSpPr/>
          <p:nvPr/>
        </p:nvSpPr>
        <p:spPr bwMode="gray">
          <a:xfrm>
            <a:off x="10282004" y="189695"/>
            <a:ext cx="1506790" cy="480145"/>
          </a:xfrm>
          <a:prstGeom prst="rect">
            <a:avLst/>
          </a:prstGeom>
          <a:solidFill>
            <a:schemeClr val="accent1"/>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行为型模式</a:t>
            </a:r>
            <a:endParaRPr lang="en-US" altLang="zh-CN" sz="2400" dirty="0">
              <a:solidFill>
                <a:schemeClr val="bg1"/>
              </a:solidFill>
            </a:endParaRPr>
          </a:p>
        </p:txBody>
      </p:sp>
      <p:pic>
        <p:nvPicPr>
          <p:cNvPr id="14338" name="Picture 2" descr="../_images/Strategy.jpg"/>
          <p:cNvPicPr>
            <a:picLocks noChangeAspect="1" noChangeArrowheads="1"/>
          </p:cNvPicPr>
          <p:nvPr/>
        </p:nvPicPr>
        <p:blipFill rotWithShape="1">
          <a:blip r:embed="rId3">
            <a:extLst>
              <a:ext uri="{28A0092B-C50C-407E-A947-70E740481C1C}">
                <a14:useLocalDpi xmlns:a14="http://schemas.microsoft.com/office/drawing/2010/main" val="0"/>
              </a:ext>
            </a:extLst>
          </a:blip>
          <a:srcRect l="283" t="889" r="689" b="1387"/>
          <a:stretch/>
        </p:blipFill>
        <p:spPr bwMode="auto">
          <a:xfrm>
            <a:off x="487681" y="1173480"/>
            <a:ext cx="11170920" cy="4747260"/>
          </a:xfrm>
          <a:prstGeom prst="rect">
            <a:avLst/>
          </a:prstGeom>
          <a:noFill/>
          <a:extLst>
            <a:ext uri="{909E8E84-426E-40DD-AFC4-6F175D3DCCD1}">
              <a14:hiddenFill xmlns:a14="http://schemas.microsoft.com/office/drawing/2010/main">
                <a:solidFill>
                  <a:srgbClr val="FFFFFF"/>
                </a:solidFill>
              </a14:hiddenFill>
            </a:ext>
          </a:extLst>
        </p:spPr>
      </p:pic>
      <p:sp>
        <p:nvSpPr>
          <p:cNvPr id="3" name="矩形 2"/>
          <p:cNvSpPr/>
          <p:nvPr/>
        </p:nvSpPr>
        <p:spPr>
          <a:xfrm>
            <a:off x="3028950" y="2514600"/>
            <a:ext cx="3309615" cy="666750"/>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p:cNvSpPr/>
          <p:nvPr/>
        </p:nvSpPr>
        <p:spPr>
          <a:xfrm>
            <a:off x="3543687" y="3759815"/>
            <a:ext cx="3070474" cy="1292662"/>
          </a:xfrm>
          <a:prstGeom prst="rect">
            <a:avLst/>
          </a:prstGeom>
          <a:noFill/>
        </p:spPr>
        <p:txBody>
          <a:bodyPr wrap="square" lIns="91440" tIns="45720" rIns="91440" bIns="45720">
            <a:spAutoFit/>
          </a:bodyPr>
          <a:lstStyle/>
          <a:p>
            <a:pPr algn="ctr"/>
            <a:r>
              <a:rPr lang="zh-CN" altLang="en-US" sz="2400" b="0" cap="none" spc="0" dirty="0" smtClean="0">
                <a:ln w="0"/>
                <a:solidFill>
                  <a:schemeClr val="accent1"/>
                </a:solidFill>
                <a:effectLst>
                  <a:outerShdw blurRad="38100" dist="25400" dir="5400000" algn="ctr" rotWithShape="0">
                    <a:srgbClr val="6E747A">
                      <a:alpha val="43000"/>
                    </a:srgbClr>
                  </a:outerShdw>
                </a:effectLst>
              </a:rPr>
              <a:t>让策略可</a:t>
            </a:r>
            <a:r>
              <a:rPr lang="zh-CN" altLang="en-US" sz="5400" b="0" cap="none" spc="0" dirty="0" smtClean="0">
                <a:ln w="0"/>
                <a:solidFill>
                  <a:srgbClr val="FF0000"/>
                </a:solidFill>
                <a:effectLst>
                  <a:outerShdw blurRad="38100" dist="25400" dir="5400000" algn="ctr" rotWithShape="0">
                    <a:srgbClr val="6E747A">
                      <a:alpha val="43000"/>
                    </a:srgbClr>
                  </a:outerShdw>
                </a:effectLst>
                <a:latin typeface="华文行楷" panose="02010800040101010101" pitchFamily="2" charset="-122"/>
                <a:ea typeface="华文行楷" panose="02010800040101010101" pitchFamily="2" charset="-122"/>
              </a:rPr>
              <a:t>独立</a:t>
            </a:r>
            <a:r>
              <a:rPr lang="zh-CN" altLang="en-US" sz="2400" b="0" cap="none" spc="0" dirty="0" smtClean="0">
                <a:ln w="0"/>
                <a:solidFill>
                  <a:schemeClr val="accent1"/>
                </a:solidFill>
                <a:effectLst>
                  <a:outerShdw blurRad="38100" dist="25400" dir="5400000" algn="ctr" rotWithShape="0">
                    <a:srgbClr val="6E747A">
                      <a:alpha val="43000"/>
                    </a:srgbClr>
                  </a:outerShdw>
                </a:effectLst>
              </a:rPr>
              <a:t>于客户而变化</a:t>
            </a:r>
            <a:endParaRPr lang="zh-CN" altLang="en-US" sz="2400" b="0" cap="none" spc="0" dirty="0">
              <a:ln w="0"/>
              <a:solidFill>
                <a:schemeClr val="accent1"/>
              </a:solidFill>
              <a:effectLst>
                <a:outerShdw blurRad="38100" dist="25400" dir="5400000" algn="ctr" rotWithShape="0">
                  <a:srgbClr val="6E747A">
                    <a:alpha val="43000"/>
                  </a:srgbClr>
                </a:outerShdw>
              </a:effectLst>
            </a:endParaRPr>
          </a:p>
        </p:txBody>
      </p:sp>
      <p:cxnSp>
        <p:nvCxnSpPr>
          <p:cNvPr id="8" name="直接箭头连接符 7"/>
          <p:cNvCxnSpPr>
            <a:stCxn id="3" idx="2"/>
            <a:endCxn id="5" idx="0"/>
          </p:cNvCxnSpPr>
          <p:nvPr/>
        </p:nvCxnSpPr>
        <p:spPr>
          <a:xfrm>
            <a:off x="4683758" y="3181350"/>
            <a:ext cx="395166" cy="578465"/>
          </a:xfrm>
          <a:prstGeom prst="straightConnector1">
            <a:avLst/>
          </a:prstGeom>
          <a:ln w="635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 name="coding_151359"/>
          <p:cNvSpPr>
            <a:spLocks noChangeAspect="1"/>
          </p:cNvSpPr>
          <p:nvPr/>
        </p:nvSpPr>
        <p:spPr bwMode="auto">
          <a:xfrm>
            <a:off x="6509664" y="205122"/>
            <a:ext cx="467336" cy="466684"/>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06439" h="605593">
                <a:moveTo>
                  <a:pt x="264222" y="458757"/>
                </a:moveTo>
                <a:lnTo>
                  <a:pt x="220421" y="579819"/>
                </a:lnTo>
                <a:lnTo>
                  <a:pt x="386019" y="579819"/>
                </a:lnTo>
                <a:lnTo>
                  <a:pt x="342217" y="458757"/>
                </a:lnTo>
                <a:close/>
                <a:moveTo>
                  <a:pt x="420977" y="157263"/>
                </a:moveTo>
                <a:lnTo>
                  <a:pt x="489088" y="231020"/>
                </a:lnTo>
                <a:lnTo>
                  <a:pt x="424086" y="301483"/>
                </a:lnTo>
                <a:lnTo>
                  <a:pt x="405150" y="283985"/>
                </a:lnTo>
                <a:lnTo>
                  <a:pt x="453949" y="231020"/>
                </a:lnTo>
                <a:lnTo>
                  <a:pt x="402042" y="174761"/>
                </a:lnTo>
                <a:close/>
                <a:moveTo>
                  <a:pt x="185461" y="157263"/>
                </a:moveTo>
                <a:lnTo>
                  <a:pt x="204397" y="174761"/>
                </a:lnTo>
                <a:lnTo>
                  <a:pt x="152489" y="231020"/>
                </a:lnTo>
                <a:lnTo>
                  <a:pt x="201288" y="283985"/>
                </a:lnTo>
                <a:lnTo>
                  <a:pt x="182352" y="301483"/>
                </a:lnTo>
                <a:lnTo>
                  <a:pt x="117350" y="231020"/>
                </a:lnTo>
                <a:close/>
                <a:moveTo>
                  <a:pt x="309343" y="122078"/>
                </a:moveTo>
                <a:lnTo>
                  <a:pt x="334401" y="128193"/>
                </a:lnTo>
                <a:lnTo>
                  <a:pt x="283718" y="336668"/>
                </a:lnTo>
                <a:lnTo>
                  <a:pt x="258565" y="330553"/>
                </a:lnTo>
                <a:close/>
                <a:moveTo>
                  <a:pt x="25810" y="25774"/>
                </a:moveTo>
                <a:lnTo>
                  <a:pt x="25810" y="432983"/>
                </a:lnTo>
                <a:lnTo>
                  <a:pt x="580629" y="432983"/>
                </a:lnTo>
                <a:lnTo>
                  <a:pt x="580629" y="25774"/>
                </a:lnTo>
                <a:close/>
                <a:moveTo>
                  <a:pt x="0" y="0"/>
                </a:moveTo>
                <a:lnTo>
                  <a:pt x="606439" y="0"/>
                </a:lnTo>
                <a:lnTo>
                  <a:pt x="606439" y="458757"/>
                </a:lnTo>
                <a:lnTo>
                  <a:pt x="369628" y="458757"/>
                </a:lnTo>
                <a:lnTo>
                  <a:pt x="413430" y="579819"/>
                </a:lnTo>
                <a:lnTo>
                  <a:pt x="459492" y="579819"/>
                </a:lnTo>
                <a:lnTo>
                  <a:pt x="459492" y="605593"/>
                </a:lnTo>
                <a:lnTo>
                  <a:pt x="146947" y="605593"/>
                </a:lnTo>
                <a:lnTo>
                  <a:pt x="146947" y="579819"/>
                </a:lnTo>
                <a:lnTo>
                  <a:pt x="192915" y="579819"/>
                </a:lnTo>
                <a:lnTo>
                  <a:pt x="236717" y="458757"/>
                </a:lnTo>
                <a:lnTo>
                  <a:pt x="0" y="458757"/>
                </a:lnTo>
                <a:close/>
              </a:path>
            </a:pathLst>
          </a:custGeom>
          <a:solidFill>
            <a:schemeClr val="accent1"/>
          </a:solidFill>
          <a:ln>
            <a:noFill/>
          </a:ln>
        </p:spPr>
      </p:sp>
    </p:spTree>
    <p:extLst>
      <p:ext uri="{BB962C8B-B14F-4D97-AF65-F5344CB8AC3E}">
        <p14:creationId xmlns:p14="http://schemas.microsoft.com/office/powerpoint/2010/main" val="3378790273"/>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740229" y="1494971"/>
            <a:ext cx="2743200" cy="369332"/>
          </a:xfrm>
          <a:prstGeom prst="rect">
            <a:avLst/>
          </a:prstGeom>
          <a:noFill/>
        </p:spPr>
        <p:txBody>
          <a:bodyPr wrap="square" rtlCol="0">
            <a:spAutoFit/>
          </a:bodyPr>
          <a:lstStyle/>
          <a:p>
            <a:r>
              <a:rPr lang="zh-CN" altLang="en-US" dirty="0" smtClean="0"/>
              <a:t>观察者模式</a:t>
            </a:r>
            <a:endParaRPr lang="zh-CN" altLang="en-US" dirty="0"/>
          </a:p>
        </p:txBody>
      </p:sp>
      <p:sp>
        <p:nvSpPr>
          <p:cNvPr id="5" name="圆角矩形 4"/>
          <p:cNvSpPr/>
          <p:nvPr/>
        </p:nvSpPr>
        <p:spPr>
          <a:xfrm>
            <a:off x="7457097" y="2135615"/>
            <a:ext cx="2841626" cy="2836182"/>
          </a:xfrm>
          <a:prstGeom prst="roundRect">
            <a:avLst/>
          </a:prstGeom>
          <a:blipFill>
            <a:blip r:embed="rId5"/>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11" name="圆角矩形 10"/>
          <p:cNvSpPr/>
          <p:nvPr/>
        </p:nvSpPr>
        <p:spPr>
          <a:xfrm>
            <a:off x="912813" y="2158957"/>
            <a:ext cx="2820987" cy="2607635"/>
          </a:xfrm>
          <a:prstGeom prst="roundRect">
            <a:avLst/>
          </a:prstGeom>
          <a:blipFill>
            <a:blip r:embed="rId6"/>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9" name="云形 8"/>
          <p:cNvSpPr/>
          <p:nvPr/>
        </p:nvSpPr>
        <p:spPr>
          <a:xfrm>
            <a:off x="3409950" y="1428750"/>
            <a:ext cx="2476500" cy="1562100"/>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dirty="0" smtClean="0"/>
              <a:t>烧水的人如何知道水壶中的水烧开了？</a:t>
            </a:r>
            <a:endParaRPr lang="zh-CN" altLang="en-US" dirty="0"/>
          </a:p>
        </p:txBody>
      </p:sp>
      <p:sp>
        <p:nvSpPr>
          <p:cNvPr id="12" name="右箭头 11"/>
          <p:cNvSpPr/>
          <p:nvPr/>
        </p:nvSpPr>
        <p:spPr>
          <a:xfrm>
            <a:off x="4818062" y="3462774"/>
            <a:ext cx="1657350" cy="79216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14" name="椭圆 13"/>
          <p:cNvSpPr/>
          <p:nvPr/>
        </p:nvSpPr>
        <p:spPr>
          <a:xfrm>
            <a:off x="7315200" y="2590800"/>
            <a:ext cx="1276350" cy="123825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15" name="云形 14"/>
          <p:cNvSpPr/>
          <p:nvPr/>
        </p:nvSpPr>
        <p:spPr>
          <a:xfrm>
            <a:off x="7174963" y="697961"/>
            <a:ext cx="2628900" cy="1485900"/>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dirty="0" smtClean="0"/>
              <a:t>添加口哨，构建成观察者模式。</a:t>
            </a:r>
            <a:endParaRPr lang="zh-CN" altLang="en-US" dirty="0"/>
          </a:p>
        </p:txBody>
      </p:sp>
      <p:grpSp>
        <p:nvGrpSpPr>
          <p:cNvPr id="16" name="37457260-5770-418d-9f38-7c5af3f11a68"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1380997" y="4667670"/>
            <a:ext cx="1929956" cy="1658257"/>
            <a:chOff x="4022598" y="1234368"/>
            <a:chExt cx="4149896" cy="4842582"/>
          </a:xfrm>
        </p:grpSpPr>
        <p:sp>
          <p:nvSpPr>
            <p:cNvPr id="18" name="íṡľiḋe">
              <a:extLst>
                <a:ext uri="{FF2B5EF4-FFF2-40B4-BE49-F238E27FC236}">
                  <a16:creationId xmlns:a16="http://schemas.microsoft.com/office/drawing/2014/main" id="{43E028C3-9A0D-492D-AE60-3F51FBAFB0A4}"/>
                </a:ext>
              </a:extLst>
            </p:cNvPr>
            <p:cNvSpPr/>
            <p:nvPr/>
          </p:nvSpPr>
          <p:spPr bwMode="auto">
            <a:xfrm>
              <a:off x="4197330" y="3942719"/>
              <a:ext cx="2053107" cy="1360416"/>
            </a:xfrm>
            <a:custGeom>
              <a:avLst/>
              <a:gdLst>
                <a:gd name="T0" fmla="*/ 8 w 240"/>
                <a:gd name="T1" fmla="*/ 36 h 159"/>
                <a:gd name="T2" fmla="*/ 43 w 240"/>
                <a:gd name="T3" fmla="*/ 3 h 159"/>
                <a:gd name="T4" fmla="*/ 43 w 240"/>
                <a:gd name="T5" fmla="*/ 3 h 159"/>
                <a:gd name="T6" fmla="*/ 240 w 240"/>
                <a:gd name="T7" fmla="*/ 79 h 159"/>
                <a:gd name="T8" fmla="*/ 209 w 240"/>
                <a:gd name="T9" fmla="*/ 159 h 159"/>
                <a:gd name="T10" fmla="*/ 13 w 240"/>
                <a:gd name="T11" fmla="*/ 83 h 159"/>
                <a:gd name="T12" fmla="*/ 13 w 240"/>
                <a:gd name="T13" fmla="*/ 83 h 159"/>
                <a:gd name="T14" fmla="*/ 8 w 240"/>
                <a:gd name="T15" fmla="*/ 36 h 1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0" h="159">
                  <a:moveTo>
                    <a:pt x="8" y="36"/>
                  </a:moveTo>
                  <a:cubicBezTo>
                    <a:pt x="16" y="14"/>
                    <a:pt x="32" y="0"/>
                    <a:pt x="43" y="3"/>
                  </a:cubicBezTo>
                  <a:cubicBezTo>
                    <a:pt x="43" y="3"/>
                    <a:pt x="43" y="3"/>
                    <a:pt x="43" y="3"/>
                  </a:cubicBezTo>
                  <a:cubicBezTo>
                    <a:pt x="240" y="79"/>
                    <a:pt x="240" y="79"/>
                    <a:pt x="240" y="79"/>
                  </a:cubicBezTo>
                  <a:cubicBezTo>
                    <a:pt x="209" y="159"/>
                    <a:pt x="209" y="159"/>
                    <a:pt x="209" y="159"/>
                  </a:cubicBezTo>
                  <a:cubicBezTo>
                    <a:pt x="13" y="83"/>
                    <a:pt x="13" y="83"/>
                    <a:pt x="13" y="83"/>
                  </a:cubicBezTo>
                  <a:cubicBezTo>
                    <a:pt x="13" y="83"/>
                    <a:pt x="13" y="83"/>
                    <a:pt x="13" y="83"/>
                  </a:cubicBezTo>
                  <a:cubicBezTo>
                    <a:pt x="2" y="78"/>
                    <a:pt x="0" y="57"/>
                    <a:pt x="8" y="36"/>
                  </a:cubicBezTo>
                  <a:close/>
                </a:path>
              </a:pathLst>
            </a:custGeom>
            <a:solidFill>
              <a:srgbClr val="6C595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 name="ïsļídê">
              <a:extLst>
                <a:ext uri="{FF2B5EF4-FFF2-40B4-BE49-F238E27FC236}">
                  <a16:creationId xmlns:a16="http://schemas.microsoft.com/office/drawing/2014/main" id="{E4FBE91A-359B-4F28-AAB6-4E2A7EF2AD26}"/>
                </a:ext>
              </a:extLst>
            </p:cNvPr>
            <p:cNvSpPr/>
            <p:nvPr/>
          </p:nvSpPr>
          <p:spPr bwMode="auto">
            <a:xfrm>
              <a:off x="4278458" y="3942719"/>
              <a:ext cx="1971980" cy="985990"/>
            </a:xfrm>
            <a:custGeom>
              <a:avLst/>
              <a:gdLst>
                <a:gd name="T0" fmla="*/ 0 w 230"/>
                <a:gd name="T1" fmla="*/ 32 h 115"/>
                <a:gd name="T2" fmla="*/ 33 w 230"/>
                <a:gd name="T3" fmla="*/ 3 h 115"/>
                <a:gd name="T4" fmla="*/ 33 w 230"/>
                <a:gd name="T5" fmla="*/ 3 h 115"/>
                <a:gd name="T6" fmla="*/ 230 w 230"/>
                <a:gd name="T7" fmla="*/ 79 h 115"/>
                <a:gd name="T8" fmla="*/ 216 w 230"/>
                <a:gd name="T9" fmla="*/ 115 h 115"/>
                <a:gd name="T10" fmla="*/ 0 w 230"/>
                <a:gd name="T11" fmla="*/ 32 h 115"/>
              </a:gdLst>
              <a:ahLst/>
              <a:cxnLst>
                <a:cxn ang="0">
                  <a:pos x="T0" y="T1"/>
                </a:cxn>
                <a:cxn ang="0">
                  <a:pos x="T2" y="T3"/>
                </a:cxn>
                <a:cxn ang="0">
                  <a:pos x="T4" y="T5"/>
                </a:cxn>
                <a:cxn ang="0">
                  <a:pos x="T6" y="T7"/>
                </a:cxn>
                <a:cxn ang="0">
                  <a:pos x="T8" y="T9"/>
                </a:cxn>
                <a:cxn ang="0">
                  <a:pos x="T10" y="T11"/>
                </a:cxn>
              </a:cxnLst>
              <a:rect l="0" t="0" r="r" b="b"/>
              <a:pathLst>
                <a:path w="230" h="115">
                  <a:moveTo>
                    <a:pt x="0" y="32"/>
                  </a:moveTo>
                  <a:cubicBezTo>
                    <a:pt x="8" y="13"/>
                    <a:pt x="22" y="0"/>
                    <a:pt x="33" y="3"/>
                  </a:cubicBezTo>
                  <a:cubicBezTo>
                    <a:pt x="33" y="3"/>
                    <a:pt x="33" y="3"/>
                    <a:pt x="33" y="3"/>
                  </a:cubicBezTo>
                  <a:cubicBezTo>
                    <a:pt x="230" y="79"/>
                    <a:pt x="230" y="79"/>
                    <a:pt x="230" y="79"/>
                  </a:cubicBezTo>
                  <a:cubicBezTo>
                    <a:pt x="216" y="115"/>
                    <a:pt x="216" y="115"/>
                    <a:pt x="216" y="115"/>
                  </a:cubicBezTo>
                  <a:lnTo>
                    <a:pt x="0" y="32"/>
                  </a:lnTo>
                  <a:close/>
                </a:path>
              </a:pathLst>
            </a:custGeom>
            <a:solidFill>
              <a:srgbClr val="7D6B6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 name="iśḻîḑe">
              <a:extLst>
                <a:ext uri="{FF2B5EF4-FFF2-40B4-BE49-F238E27FC236}">
                  <a16:creationId xmlns:a16="http://schemas.microsoft.com/office/drawing/2014/main" id="{172E4C51-0A9D-4237-97AA-94E969C96C18}"/>
                </a:ext>
              </a:extLst>
            </p:cNvPr>
            <p:cNvSpPr/>
            <p:nvPr/>
          </p:nvSpPr>
          <p:spPr bwMode="auto">
            <a:xfrm>
              <a:off x="5869769" y="4579244"/>
              <a:ext cx="505478" cy="761334"/>
            </a:xfrm>
            <a:custGeom>
              <a:avLst/>
              <a:gdLst>
                <a:gd name="T0" fmla="*/ 9 w 59"/>
                <a:gd name="T1" fmla="*/ 37 h 89"/>
                <a:gd name="T2" fmla="*/ 14 w 59"/>
                <a:gd name="T3" fmla="*/ 85 h 89"/>
                <a:gd name="T4" fmla="*/ 51 w 59"/>
                <a:gd name="T5" fmla="*/ 53 h 89"/>
                <a:gd name="T6" fmla="*/ 45 w 59"/>
                <a:gd name="T7" fmla="*/ 5 h 89"/>
                <a:gd name="T8" fmla="*/ 9 w 59"/>
                <a:gd name="T9" fmla="*/ 37 h 89"/>
              </a:gdLst>
              <a:ahLst/>
              <a:cxnLst>
                <a:cxn ang="0">
                  <a:pos x="T0" y="T1"/>
                </a:cxn>
                <a:cxn ang="0">
                  <a:pos x="T2" y="T3"/>
                </a:cxn>
                <a:cxn ang="0">
                  <a:pos x="T4" y="T5"/>
                </a:cxn>
                <a:cxn ang="0">
                  <a:pos x="T6" y="T7"/>
                </a:cxn>
                <a:cxn ang="0">
                  <a:pos x="T8" y="T9"/>
                </a:cxn>
              </a:cxnLst>
              <a:rect l="0" t="0" r="r" b="b"/>
              <a:pathLst>
                <a:path w="59" h="89">
                  <a:moveTo>
                    <a:pt x="9" y="37"/>
                  </a:moveTo>
                  <a:cubicBezTo>
                    <a:pt x="0" y="59"/>
                    <a:pt x="3" y="81"/>
                    <a:pt x="14" y="85"/>
                  </a:cubicBezTo>
                  <a:cubicBezTo>
                    <a:pt x="26" y="89"/>
                    <a:pt x="42" y="75"/>
                    <a:pt x="51" y="53"/>
                  </a:cubicBezTo>
                  <a:cubicBezTo>
                    <a:pt x="59" y="31"/>
                    <a:pt x="57" y="9"/>
                    <a:pt x="45" y="5"/>
                  </a:cubicBezTo>
                  <a:cubicBezTo>
                    <a:pt x="33" y="0"/>
                    <a:pt x="17" y="15"/>
                    <a:pt x="9" y="37"/>
                  </a:cubicBezTo>
                  <a:close/>
                </a:path>
              </a:pathLst>
            </a:custGeom>
            <a:solidFill>
              <a:srgbClr val="CEB67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 name="ïṡľïḑé">
              <a:extLst>
                <a:ext uri="{FF2B5EF4-FFF2-40B4-BE49-F238E27FC236}">
                  <a16:creationId xmlns:a16="http://schemas.microsoft.com/office/drawing/2014/main" id="{7C53B934-D786-42AA-AB51-C1D697005336}"/>
                </a:ext>
              </a:extLst>
            </p:cNvPr>
            <p:cNvSpPr/>
            <p:nvPr/>
          </p:nvSpPr>
          <p:spPr bwMode="auto">
            <a:xfrm>
              <a:off x="5950897" y="4697815"/>
              <a:ext cx="343226" cy="530439"/>
            </a:xfrm>
            <a:custGeom>
              <a:avLst/>
              <a:gdLst>
                <a:gd name="T0" fmla="*/ 5 w 40"/>
                <a:gd name="T1" fmla="*/ 25 h 62"/>
                <a:gd name="T2" fmla="*/ 9 w 40"/>
                <a:gd name="T3" fmla="*/ 59 h 62"/>
                <a:gd name="T4" fmla="*/ 34 w 40"/>
                <a:gd name="T5" fmla="*/ 36 h 62"/>
                <a:gd name="T6" fmla="*/ 30 w 40"/>
                <a:gd name="T7" fmla="*/ 3 h 62"/>
                <a:gd name="T8" fmla="*/ 5 w 40"/>
                <a:gd name="T9" fmla="*/ 25 h 62"/>
              </a:gdLst>
              <a:ahLst/>
              <a:cxnLst>
                <a:cxn ang="0">
                  <a:pos x="T0" y="T1"/>
                </a:cxn>
                <a:cxn ang="0">
                  <a:pos x="T2" y="T3"/>
                </a:cxn>
                <a:cxn ang="0">
                  <a:pos x="T4" y="T5"/>
                </a:cxn>
                <a:cxn ang="0">
                  <a:pos x="T6" y="T7"/>
                </a:cxn>
                <a:cxn ang="0">
                  <a:pos x="T8" y="T9"/>
                </a:cxn>
              </a:cxnLst>
              <a:rect l="0" t="0" r="r" b="b"/>
              <a:pathLst>
                <a:path w="40" h="62">
                  <a:moveTo>
                    <a:pt x="5" y="25"/>
                  </a:moveTo>
                  <a:cubicBezTo>
                    <a:pt x="0" y="41"/>
                    <a:pt x="1" y="56"/>
                    <a:pt x="9" y="59"/>
                  </a:cubicBezTo>
                  <a:cubicBezTo>
                    <a:pt x="17" y="62"/>
                    <a:pt x="28" y="52"/>
                    <a:pt x="34" y="36"/>
                  </a:cubicBezTo>
                  <a:cubicBezTo>
                    <a:pt x="40" y="21"/>
                    <a:pt x="38" y="6"/>
                    <a:pt x="30" y="3"/>
                  </a:cubicBezTo>
                  <a:cubicBezTo>
                    <a:pt x="22" y="0"/>
                    <a:pt x="11" y="10"/>
                    <a:pt x="5" y="25"/>
                  </a:cubicBezTo>
                  <a:close/>
                </a:path>
              </a:pathLst>
            </a:custGeom>
            <a:noFill/>
            <a:ln w="11113" cap="flat">
              <a:solidFill>
                <a:srgbClr val="6C5953"/>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22" name="íśľidê">
              <a:extLst>
                <a:ext uri="{FF2B5EF4-FFF2-40B4-BE49-F238E27FC236}">
                  <a16:creationId xmlns:a16="http://schemas.microsoft.com/office/drawing/2014/main" id="{63A1F1CA-C563-4750-89A3-9F304F3AFD5D}"/>
                </a:ext>
              </a:extLst>
            </p:cNvPr>
            <p:cNvSpPr/>
            <p:nvPr/>
          </p:nvSpPr>
          <p:spPr bwMode="auto">
            <a:xfrm>
              <a:off x="6044501" y="4841343"/>
              <a:ext cx="156013" cy="230898"/>
            </a:xfrm>
            <a:custGeom>
              <a:avLst/>
              <a:gdLst>
                <a:gd name="T0" fmla="*/ 2 w 18"/>
                <a:gd name="T1" fmla="*/ 11 h 27"/>
                <a:gd name="T2" fmla="*/ 4 w 18"/>
                <a:gd name="T3" fmla="*/ 26 h 27"/>
                <a:gd name="T4" fmla="*/ 15 w 18"/>
                <a:gd name="T5" fmla="*/ 16 h 27"/>
                <a:gd name="T6" fmla="*/ 13 w 18"/>
                <a:gd name="T7" fmla="*/ 2 h 27"/>
                <a:gd name="T8" fmla="*/ 2 w 18"/>
                <a:gd name="T9" fmla="*/ 11 h 27"/>
              </a:gdLst>
              <a:ahLst/>
              <a:cxnLst>
                <a:cxn ang="0">
                  <a:pos x="T0" y="T1"/>
                </a:cxn>
                <a:cxn ang="0">
                  <a:pos x="T2" y="T3"/>
                </a:cxn>
                <a:cxn ang="0">
                  <a:pos x="T4" y="T5"/>
                </a:cxn>
                <a:cxn ang="0">
                  <a:pos x="T6" y="T7"/>
                </a:cxn>
                <a:cxn ang="0">
                  <a:pos x="T8" y="T9"/>
                </a:cxn>
              </a:cxnLst>
              <a:rect l="0" t="0" r="r" b="b"/>
              <a:pathLst>
                <a:path w="18" h="27">
                  <a:moveTo>
                    <a:pt x="2" y="11"/>
                  </a:moveTo>
                  <a:cubicBezTo>
                    <a:pt x="0" y="18"/>
                    <a:pt x="1" y="25"/>
                    <a:pt x="4" y="26"/>
                  </a:cubicBezTo>
                  <a:cubicBezTo>
                    <a:pt x="8" y="27"/>
                    <a:pt x="13" y="23"/>
                    <a:pt x="15" y="16"/>
                  </a:cubicBezTo>
                  <a:cubicBezTo>
                    <a:pt x="18" y="10"/>
                    <a:pt x="17" y="3"/>
                    <a:pt x="13" y="2"/>
                  </a:cubicBezTo>
                  <a:cubicBezTo>
                    <a:pt x="10" y="0"/>
                    <a:pt x="5" y="5"/>
                    <a:pt x="2" y="11"/>
                  </a:cubicBezTo>
                  <a:close/>
                </a:path>
              </a:pathLst>
            </a:custGeom>
            <a:noFill/>
            <a:ln w="11113" cap="flat">
              <a:solidFill>
                <a:srgbClr val="6C5953"/>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23" name="ísľïḍe">
              <a:extLst>
                <a:ext uri="{FF2B5EF4-FFF2-40B4-BE49-F238E27FC236}">
                  <a16:creationId xmlns:a16="http://schemas.microsoft.com/office/drawing/2014/main" id="{6F5A33DE-116D-4433-81FB-C84C020BE792}"/>
                </a:ext>
              </a:extLst>
            </p:cNvPr>
            <p:cNvSpPr/>
            <p:nvPr/>
          </p:nvSpPr>
          <p:spPr bwMode="auto">
            <a:xfrm>
              <a:off x="5975858" y="3942719"/>
              <a:ext cx="2059346" cy="1360416"/>
            </a:xfrm>
            <a:custGeom>
              <a:avLst/>
              <a:gdLst>
                <a:gd name="T0" fmla="*/ 232 w 240"/>
                <a:gd name="T1" fmla="*/ 36 h 159"/>
                <a:gd name="T2" fmla="*/ 197 w 240"/>
                <a:gd name="T3" fmla="*/ 3 h 159"/>
                <a:gd name="T4" fmla="*/ 197 w 240"/>
                <a:gd name="T5" fmla="*/ 3 h 159"/>
                <a:gd name="T6" fmla="*/ 0 w 240"/>
                <a:gd name="T7" fmla="*/ 79 h 159"/>
                <a:gd name="T8" fmla="*/ 31 w 240"/>
                <a:gd name="T9" fmla="*/ 159 h 159"/>
                <a:gd name="T10" fmla="*/ 228 w 240"/>
                <a:gd name="T11" fmla="*/ 83 h 159"/>
                <a:gd name="T12" fmla="*/ 228 w 240"/>
                <a:gd name="T13" fmla="*/ 83 h 159"/>
                <a:gd name="T14" fmla="*/ 232 w 240"/>
                <a:gd name="T15" fmla="*/ 36 h 1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0" h="159">
                  <a:moveTo>
                    <a:pt x="232" y="36"/>
                  </a:moveTo>
                  <a:cubicBezTo>
                    <a:pt x="224" y="14"/>
                    <a:pt x="209" y="0"/>
                    <a:pt x="197" y="3"/>
                  </a:cubicBezTo>
                  <a:cubicBezTo>
                    <a:pt x="197" y="3"/>
                    <a:pt x="197" y="3"/>
                    <a:pt x="197" y="3"/>
                  </a:cubicBezTo>
                  <a:cubicBezTo>
                    <a:pt x="0" y="79"/>
                    <a:pt x="0" y="79"/>
                    <a:pt x="0" y="79"/>
                  </a:cubicBezTo>
                  <a:cubicBezTo>
                    <a:pt x="31" y="159"/>
                    <a:pt x="31" y="159"/>
                    <a:pt x="31" y="159"/>
                  </a:cubicBezTo>
                  <a:cubicBezTo>
                    <a:pt x="228" y="83"/>
                    <a:pt x="228" y="83"/>
                    <a:pt x="228" y="83"/>
                  </a:cubicBezTo>
                  <a:cubicBezTo>
                    <a:pt x="228" y="83"/>
                    <a:pt x="228" y="83"/>
                    <a:pt x="228" y="83"/>
                  </a:cubicBezTo>
                  <a:cubicBezTo>
                    <a:pt x="238" y="78"/>
                    <a:pt x="240" y="57"/>
                    <a:pt x="232" y="36"/>
                  </a:cubicBezTo>
                  <a:close/>
                </a:path>
              </a:pathLst>
            </a:custGeom>
            <a:solidFill>
              <a:srgbClr val="6C595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îS1îḓe">
              <a:extLst>
                <a:ext uri="{FF2B5EF4-FFF2-40B4-BE49-F238E27FC236}">
                  <a16:creationId xmlns:a16="http://schemas.microsoft.com/office/drawing/2014/main" id="{A93CA728-D100-418B-8AFA-533225266C8B}"/>
                </a:ext>
              </a:extLst>
            </p:cNvPr>
            <p:cNvSpPr/>
            <p:nvPr/>
          </p:nvSpPr>
          <p:spPr bwMode="auto">
            <a:xfrm>
              <a:off x="5975858" y="3942719"/>
              <a:ext cx="1984461" cy="985990"/>
            </a:xfrm>
            <a:custGeom>
              <a:avLst/>
              <a:gdLst>
                <a:gd name="T0" fmla="*/ 231 w 231"/>
                <a:gd name="T1" fmla="*/ 32 h 115"/>
                <a:gd name="T2" fmla="*/ 197 w 231"/>
                <a:gd name="T3" fmla="*/ 3 h 115"/>
                <a:gd name="T4" fmla="*/ 197 w 231"/>
                <a:gd name="T5" fmla="*/ 3 h 115"/>
                <a:gd name="T6" fmla="*/ 0 w 231"/>
                <a:gd name="T7" fmla="*/ 79 h 115"/>
                <a:gd name="T8" fmla="*/ 14 w 231"/>
                <a:gd name="T9" fmla="*/ 115 h 115"/>
                <a:gd name="T10" fmla="*/ 231 w 231"/>
                <a:gd name="T11" fmla="*/ 32 h 115"/>
              </a:gdLst>
              <a:ahLst/>
              <a:cxnLst>
                <a:cxn ang="0">
                  <a:pos x="T0" y="T1"/>
                </a:cxn>
                <a:cxn ang="0">
                  <a:pos x="T2" y="T3"/>
                </a:cxn>
                <a:cxn ang="0">
                  <a:pos x="T4" y="T5"/>
                </a:cxn>
                <a:cxn ang="0">
                  <a:pos x="T6" y="T7"/>
                </a:cxn>
                <a:cxn ang="0">
                  <a:pos x="T8" y="T9"/>
                </a:cxn>
                <a:cxn ang="0">
                  <a:pos x="T10" y="T11"/>
                </a:cxn>
              </a:cxnLst>
              <a:rect l="0" t="0" r="r" b="b"/>
              <a:pathLst>
                <a:path w="231" h="115">
                  <a:moveTo>
                    <a:pt x="231" y="32"/>
                  </a:moveTo>
                  <a:cubicBezTo>
                    <a:pt x="222" y="13"/>
                    <a:pt x="208" y="0"/>
                    <a:pt x="197" y="3"/>
                  </a:cubicBezTo>
                  <a:cubicBezTo>
                    <a:pt x="197" y="3"/>
                    <a:pt x="197" y="3"/>
                    <a:pt x="197" y="3"/>
                  </a:cubicBezTo>
                  <a:cubicBezTo>
                    <a:pt x="0" y="79"/>
                    <a:pt x="0" y="79"/>
                    <a:pt x="0" y="79"/>
                  </a:cubicBezTo>
                  <a:cubicBezTo>
                    <a:pt x="14" y="115"/>
                    <a:pt x="14" y="115"/>
                    <a:pt x="14" y="115"/>
                  </a:cubicBezTo>
                  <a:lnTo>
                    <a:pt x="231" y="32"/>
                  </a:lnTo>
                  <a:close/>
                </a:path>
              </a:pathLst>
            </a:custGeom>
            <a:solidFill>
              <a:srgbClr val="7D6B6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îṥ1íḑe">
              <a:extLst>
                <a:ext uri="{FF2B5EF4-FFF2-40B4-BE49-F238E27FC236}">
                  <a16:creationId xmlns:a16="http://schemas.microsoft.com/office/drawing/2014/main" id="{6DA39186-1713-457A-BD1D-E1C43872F283}"/>
                </a:ext>
              </a:extLst>
            </p:cNvPr>
            <p:cNvSpPr/>
            <p:nvPr/>
          </p:nvSpPr>
          <p:spPr bwMode="auto">
            <a:xfrm>
              <a:off x="5857288" y="4579244"/>
              <a:ext cx="505478" cy="761334"/>
            </a:xfrm>
            <a:custGeom>
              <a:avLst/>
              <a:gdLst>
                <a:gd name="T0" fmla="*/ 51 w 59"/>
                <a:gd name="T1" fmla="*/ 37 h 89"/>
                <a:gd name="T2" fmla="*/ 45 w 59"/>
                <a:gd name="T3" fmla="*/ 85 h 89"/>
                <a:gd name="T4" fmla="*/ 9 w 59"/>
                <a:gd name="T5" fmla="*/ 53 h 89"/>
                <a:gd name="T6" fmla="*/ 14 w 59"/>
                <a:gd name="T7" fmla="*/ 5 h 89"/>
                <a:gd name="T8" fmla="*/ 51 w 59"/>
                <a:gd name="T9" fmla="*/ 37 h 89"/>
              </a:gdLst>
              <a:ahLst/>
              <a:cxnLst>
                <a:cxn ang="0">
                  <a:pos x="T0" y="T1"/>
                </a:cxn>
                <a:cxn ang="0">
                  <a:pos x="T2" y="T3"/>
                </a:cxn>
                <a:cxn ang="0">
                  <a:pos x="T4" y="T5"/>
                </a:cxn>
                <a:cxn ang="0">
                  <a:pos x="T6" y="T7"/>
                </a:cxn>
                <a:cxn ang="0">
                  <a:pos x="T8" y="T9"/>
                </a:cxn>
              </a:cxnLst>
              <a:rect l="0" t="0" r="r" b="b"/>
              <a:pathLst>
                <a:path w="59" h="89">
                  <a:moveTo>
                    <a:pt x="51" y="37"/>
                  </a:moveTo>
                  <a:cubicBezTo>
                    <a:pt x="59" y="59"/>
                    <a:pt x="56" y="81"/>
                    <a:pt x="45" y="85"/>
                  </a:cubicBezTo>
                  <a:cubicBezTo>
                    <a:pt x="33" y="89"/>
                    <a:pt x="17" y="75"/>
                    <a:pt x="9" y="53"/>
                  </a:cubicBezTo>
                  <a:cubicBezTo>
                    <a:pt x="0" y="31"/>
                    <a:pt x="3" y="9"/>
                    <a:pt x="14" y="5"/>
                  </a:cubicBezTo>
                  <a:cubicBezTo>
                    <a:pt x="26" y="0"/>
                    <a:pt x="42" y="15"/>
                    <a:pt x="51" y="37"/>
                  </a:cubicBezTo>
                  <a:close/>
                </a:path>
              </a:pathLst>
            </a:custGeom>
            <a:solidFill>
              <a:srgbClr val="CEB67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iṥľïḑé">
              <a:extLst>
                <a:ext uri="{FF2B5EF4-FFF2-40B4-BE49-F238E27FC236}">
                  <a16:creationId xmlns:a16="http://schemas.microsoft.com/office/drawing/2014/main" id="{49981E96-EC62-4F9A-BF30-C0FD062D90EB}"/>
                </a:ext>
              </a:extLst>
            </p:cNvPr>
            <p:cNvSpPr/>
            <p:nvPr/>
          </p:nvSpPr>
          <p:spPr bwMode="auto">
            <a:xfrm>
              <a:off x="5938416" y="4697815"/>
              <a:ext cx="349465" cy="530439"/>
            </a:xfrm>
            <a:custGeom>
              <a:avLst/>
              <a:gdLst>
                <a:gd name="T0" fmla="*/ 35 w 41"/>
                <a:gd name="T1" fmla="*/ 25 h 62"/>
                <a:gd name="T2" fmla="*/ 31 w 41"/>
                <a:gd name="T3" fmla="*/ 59 h 62"/>
                <a:gd name="T4" fmla="*/ 6 w 41"/>
                <a:gd name="T5" fmla="*/ 36 h 62"/>
                <a:gd name="T6" fmla="*/ 10 w 41"/>
                <a:gd name="T7" fmla="*/ 3 h 62"/>
                <a:gd name="T8" fmla="*/ 35 w 41"/>
                <a:gd name="T9" fmla="*/ 25 h 62"/>
              </a:gdLst>
              <a:ahLst/>
              <a:cxnLst>
                <a:cxn ang="0">
                  <a:pos x="T0" y="T1"/>
                </a:cxn>
                <a:cxn ang="0">
                  <a:pos x="T2" y="T3"/>
                </a:cxn>
                <a:cxn ang="0">
                  <a:pos x="T4" y="T5"/>
                </a:cxn>
                <a:cxn ang="0">
                  <a:pos x="T6" y="T7"/>
                </a:cxn>
                <a:cxn ang="0">
                  <a:pos x="T8" y="T9"/>
                </a:cxn>
              </a:cxnLst>
              <a:rect l="0" t="0" r="r" b="b"/>
              <a:pathLst>
                <a:path w="41" h="62">
                  <a:moveTo>
                    <a:pt x="35" y="25"/>
                  </a:moveTo>
                  <a:cubicBezTo>
                    <a:pt x="41" y="41"/>
                    <a:pt x="39" y="56"/>
                    <a:pt x="31" y="59"/>
                  </a:cubicBezTo>
                  <a:cubicBezTo>
                    <a:pt x="23" y="62"/>
                    <a:pt x="12" y="52"/>
                    <a:pt x="6" y="36"/>
                  </a:cubicBezTo>
                  <a:cubicBezTo>
                    <a:pt x="0" y="21"/>
                    <a:pt x="2" y="6"/>
                    <a:pt x="10" y="3"/>
                  </a:cubicBezTo>
                  <a:cubicBezTo>
                    <a:pt x="18" y="0"/>
                    <a:pt x="29" y="10"/>
                    <a:pt x="35" y="25"/>
                  </a:cubicBezTo>
                  <a:close/>
                </a:path>
              </a:pathLst>
            </a:custGeom>
            <a:noFill/>
            <a:ln w="11113" cap="flat">
              <a:solidFill>
                <a:srgbClr val="6C5953"/>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27" name="íṥḷïḓê">
              <a:extLst>
                <a:ext uri="{FF2B5EF4-FFF2-40B4-BE49-F238E27FC236}">
                  <a16:creationId xmlns:a16="http://schemas.microsoft.com/office/drawing/2014/main" id="{B3D6CE26-F777-4817-9E0F-CD85D9DDD231}"/>
                </a:ext>
              </a:extLst>
            </p:cNvPr>
            <p:cNvSpPr/>
            <p:nvPr/>
          </p:nvSpPr>
          <p:spPr bwMode="auto">
            <a:xfrm>
              <a:off x="6038263" y="4841343"/>
              <a:ext cx="143532" cy="230898"/>
            </a:xfrm>
            <a:custGeom>
              <a:avLst/>
              <a:gdLst>
                <a:gd name="T0" fmla="*/ 15 w 17"/>
                <a:gd name="T1" fmla="*/ 11 h 27"/>
                <a:gd name="T2" fmla="*/ 13 w 17"/>
                <a:gd name="T3" fmla="*/ 26 h 27"/>
                <a:gd name="T4" fmla="*/ 2 w 17"/>
                <a:gd name="T5" fmla="*/ 16 h 27"/>
                <a:gd name="T6" fmla="*/ 4 w 17"/>
                <a:gd name="T7" fmla="*/ 2 h 27"/>
                <a:gd name="T8" fmla="*/ 15 w 17"/>
                <a:gd name="T9" fmla="*/ 11 h 27"/>
              </a:gdLst>
              <a:ahLst/>
              <a:cxnLst>
                <a:cxn ang="0">
                  <a:pos x="T0" y="T1"/>
                </a:cxn>
                <a:cxn ang="0">
                  <a:pos x="T2" y="T3"/>
                </a:cxn>
                <a:cxn ang="0">
                  <a:pos x="T4" y="T5"/>
                </a:cxn>
                <a:cxn ang="0">
                  <a:pos x="T6" y="T7"/>
                </a:cxn>
                <a:cxn ang="0">
                  <a:pos x="T8" y="T9"/>
                </a:cxn>
              </a:cxnLst>
              <a:rect l="0" t="0" r="r" b="b"/>
              <a:pathLst>
                <a:path w="17" h="27">
                  <a:moveTo>
                    <a:pt x="15" y="11"/>
                  </a:moveTo>
                  <a:cubicBezTo>
                    <a:pt x="17" y="18"/>
                    <a:pt x="17" y="25"/>
                    <a:pt x="13" y="26"/>
                  </a:cubicBezTo>
                  <a:cubicBezTo>
                    <a:pt x="10" y="27"/>
                    <a:pt x="5" y="23"/>
                    <a:pt x="2" y="16"/>
                  </a:cubicBezTo>
                  <a:cubicBezTo>
                    <a:pt x="0" y="10"/>
                    <a:pt x="1" y="3"/>
                    <a:pt x="4" y="2"/>
                  </a:cubicBezTo>
                  <a:cubicBezTo>
                    <a:pt x="8" y="0"/>
                    <a:pt x="12" y="5"/>
                    <a:pt x="15" y="11"/>
                  </a:cubicBezTo>
                  <a:close/>
                </a:path>
              </a:pathLst>
            </a:custGeom>
            <a:noFill/>
            <a:ln w="11113" cap="flat">
              <a:solidFill>
                <a:srgbClr val="6C5953"/>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28" name="îṧḻîḋê">
              <a:extLst>
                <a:ext uri="{FF2B5EF4-FFF2-40B4-BE49-F238E27FC236}">
                  <a16:creationId xmlns:a16="http://schemas.microsoft.com/office/drawing/2014/main" id="{4D1B7C46-668C-4732-84DF-3C24E78127B1}"/>
                </a:ext>
              </a:extLst>
            </p:cNvPr>
            <p:cNvSpPr/>
            <p:nvPr/>
          </p:nvSpPr>
          <p:spPr bwMode="auto">
            <a:xfrm>
              <a:off x="5276929" y="2576065"/>
              <a:ext cx="1684919" cy="2471215"/>
            </a:xfrm>
            <a:custGeom>
              <a:avLst/>
              <a:gdLst>
                <a:gd name="T0" fmla="*/ 21 w 197"/>
                <a:gd name="T1" fmla="*/ 243 h 289"/>
                <a:gd name="T2" fmla="*/ 0 w 197"/>
                <a:gd name="T3" fmla="*/ 192 h 289"/>
                <a:gd name="T4" fmla="*/ 8 w 197"/>
                <a:gd name="T5" fmla="*/ 129 h 289"/>
                <a:gd name="T6" fmla="*/ 34 w 197"/>
                <a:gd name="T7" fmla="*/ 85 h 289"/>
                <a:gd name="T8" fmla="*/ 63 w 197"/>
                <a:gd name="T9" fmla="*/ 7 h 289"/>
                <a:gd name="T10" fmla="*/ 90 w 197"/>
                <a:gd name="T11" fmla="*/ 3 h 289"/>
                <a:gd name="T12" fmla="*/ 142 w 197"/>
                <a:gd name="T13" fmla="*/ 56 h 289"/>
                <a:gd name="T14" fmla="*/ 197 w 197"/>
                <a:gd name="T15" fmla="*/ 145 h 289"/>
                <a:gd name="T16" fmla="*/ 187 w 197"/>
                <a:gd name="T17" fmla="*/ 200 h 289"/>
                <a:gd name="T18" fmla="*/ 171 w 197"/>
                <a:gd name="T19" fmla="*/ 233 h 289"/>
                <a:gd name="T20" fmla="*/ 146 w 197"/>
                <a:gd name="T21" fmla="*/ 256 h 289"/>
                <a:gd name="T22" fmla="*/ 119 w 197"/>
                <a:gd name="T23" fmla="*/ 276 h 289"/>
                <a:gd name="T24" fmla="*/ 88 w 197"/>
                <a:gd name="T25" fmla="*/ 289 h 289"/>
                <a:gd name="T26" fmla="*/ 60 w 197"/>
                <a:gd name="T27" fmla="*/ 286 h 289"/>
                <a:gd name="T28" fmla="*/ 57 w 197"/>
                <a:gd name="T29" fmla="*/ 272 h 289"/>
                <a:gd name="T30" fmla="*/ 59 w 197"/>
                <a:gd name="T31" fmla="*/ 262 h 289"/>
                <a:gd name="T32" fmla="*/ 45 w 197"/>
                <a:gd name="T33" fmla="*/ 256 h 289"/>
                <a:gd name="T34" fmla="*/ 21 w 197"/>
                <a:gd name="T35" fmla="*/ 243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7" h="289">
                  <a:moveTo>
                    <a:pt x="21" y="243"/>
                  </a:moveTo>
                  <a:cubicBezTo>
                    <a:pt x="21" y="243"/>
                    <a:pt x="0" y="195"/>
                    <a:pt x="0" y="192"/>
                  </a:cubicBezTo>
                  <a:cubicBezTo>
                    <a:pt x="0" y="190"/>
                    <a:pt x="5" y="132"/>
                    <a:pt x="8" y="129"/>
                  </a:cubicBezTo>
                  <a:cubicBezTo>
                    <a:pt x="12" y="127"/>
                    <a:pt x="34" y="85"/>
                    <a:pt x="34" y="85"/>
                  </a:cubicBezTo>
                  <a:cubicBezTo>
                    <a:pt x="63" y="7"/>
                    <a:pt x="63" y="7"/>
                    <a:pt x="63" y="7"/>
                  </a:cubicBezTo>
                  <a:cubicBezTo>
                    <a:pt x="63" y="7"/>
                    <a:pt x="85" y="0"/>
                    <a:pt x="90" y="3"/>
                  </a:cubicBezTo>
                  <a:cubicBezTo>
                    <a:pt x="95" y="6"/>
                    <a:pt x="142" y="56"/>
                    <a:pt x="142" y="56"/>
                  </a:cubicBezTo>
                  <a:cubicBezTo>
                    <a:pt x="142" y="56"/>
                    <a:pt x="197" y="142"/>
                    <a:pt x="197" y="145"/>
                  </a:cubicBezTo>
                  <a:cubicBezTo>
                    <a:pt x="196" y="148"/>
                    <a:pt x="187" y="200"/>
                    <a:pt x="187" y="200"/>
                  </a:cubicBezTo>
                  <a:cubicBezTo>
                    <a:pt x="171" y="233"/>
                    <a:pt x="171" y="233"/>
                    <a:pt x="171" y="233"/>
                  </a:cubicBezTo>
                  <a:cubicBezTo>
                    <a:pt x="146" y="256"/>
                    <a:pt x="146" y="256"/>
                    <a:pt x="146" y="256"/>
                  </a:cubicBezTo>
                  <a:cubicBezTo>
                    <a:pt x="119" y="276"/>
                    <a:pt x="119" y="276"/>
                    <a:pt x="119" y="276"/>
                  </a:cubicBezTo>
                  <a:cubicBezTo>
                    <a:pt x="88" y="289"/>
                    <a:pt x="88" y="289"/>
                    <a:pt x="88" y="289"/>
                  </a:cubicBezTo>
                  <a:cubicBezTo>
                    <a:pt x="60" y="286"/>
                    <a:pt x="60" y="286"/>
                    <a:pt x="60" y="286"/>
                  </a:cubicBezTo>
                  <a:cubicBezTo>
                    <a:pt x="57" y="272"/>
                    <a:pt x="57" y="272"/>
                    <a:pt x="57" y="272"/>
                  </a:cubicBezTo>
                  <a:cubicBezTo>
                    <a:pt x="59" y="262"/>
                    <a:pt x="59" y="262"/>
                    <a:pt x="59" y="262"/>
                  </a:cubicBezTo>
                  <a:cubicBezTo>
                    <a:pt x="45" y="256"/>
                    <a:pt x="45" y="256"/>
                    <a:pt x="45" y="256"/>
                  </a:cubicBezTo>
                  <a:lnTo>
                    <a:pt x="21" y="243"/>
                  </a:lnTo>
                  <a:close/>
                </a:path>
              </a:pathLst>
            </a:custGeom>
            <a:solidFill>
              <a:srgbClr val="F6D90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ṩḻïḋé">
              <a:extLst>
                <a:ext uri="{FF2B5EF4-FFF2-40B4-BE49-F238E27FC236}">
                  <a16:creationId xmlns:a16="http://schemas.microsoft.com/office/drawing/2014/main" id="{328E7737-5664-45FA-9C1E-B8F839D1F390}"/>
                </a:ext>
              </a:extLst>
            </p:cNvPr>
            <p:cNvSpPr/>
            <p:nvPr/>
          </p:nvSpPr>
          <p:spPr bwMode="auto">
            <a:xfrm>
              <a:off x="4141168" y="4679091"/>
              <a:ext cx="2053107" cy="1360416"/>
            </a:xfrm>
            <a:custGeom>
              <a:avLst/>
              <a:gdLst>
                <a:gd name="T0" fmla="*/ 231 w 239"/>
                <a:gd name="T1" fmla="*/ 36 h 159"/>
                <a:gd name="T2" fmla="*/ 196 w 239"/>
                <a:gd name="T3" fmla="*/ 3 h 159"/>
                <a:gd name="T4" fmla="*/ 196 w 239"/>
                <a:gd name="T5" fmla="*/ 3 h 159"/>
                <a:gd name="T6" fmla="*/ 0 w 239"/>
                <a:gd name="T7" fmla="*/ 78 h 159"/>
                <a:gd name="T8" fmla="*/ 30 w 239"/>
                <a:gd name="T9" fmla="*/ 159 h 159"/>
                <a:gd name="T10" fmla="*/ 227 w 239"/>
                <a:gd name="T11" fmla="*/ 83 h 159"/>
                <a:gd name="T12" fmla="*/ 227 w 239"/>
                <a:gd name="T13" fmla="*/ 83 h 159"/>
                <a:gd name="T14" fmla="*/ 231 w 239"/>
                <a:gd name="T15" fmla="*/ 36 h 1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9" h="159">
                  <a:moveTo>
                    <a:pt x="231" y="36"/>
                  </a:moveTo>
                  <a:cubicBezTo>
                    <a:pt x="223" y="14"/>
                    <a:pt x="208" y="0"/>
                    <a:pt x="196" y="3"/>
                  </a:cubicBezTo>
                  <a:cubicBezTo>
                    <a:pt x="196" y="3"/>
                    <a:pt x="196" y="3"/>
                    <a:pt x="196" y="3"/>
                  </a:cubicBezTo>
                  <a:cubicBezTo>
                    <a:pt x="0" y="78"/>
                    <a:pt x="0" y="78"/>
                    <a:pt x="0" y="78"/>
                  </a:cubicBezTo>
                  <a:cubicBezTo>
                    <a:pt x="30" y="159"/>
                    <a:pt x="30" y="159"/>
                    <a:pt x="30" y="159"/>
                  </a:cubicBezTo>
                  <a:cubicBezTo>
                    <a:pt x="227" y="83"/>
                    <a:pt x="227" y="83"/>
                    <a:pt x="227" y="83"/>
                  </a:cubicBezTo>
                  <a:cubicBezTo>
                    <a:pt x="227" y="83"/>
                    <a:pt x="227" y="83"/>
                    <a:pt x="227" y="83"/>
                  </a:cubicBezTo>
                  <a:cubicBezTo>
                    <a:pt x="237" y="78"/>
                    <a:pt x="239" y="57"/>
                    <a:pt x="231" y="36"/>
                  </a:cubicBezTo>
                  <a:close/>
                </a:path>
              </a:pathLst>
            </a:custGeom>
            <a:solidFill>
              <a:srgbClr val="6C595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i$ḷíḋe">
              <a:extLst>
                <a:ext uri="{FF2B5EF4-FFF2-40B4-BE49-F238E27FC236}">
                  <a16:creationId xmlns:a16="http://schemas.microsoft.com/office/drawing/2014/main" id="{A23A34A9-A3A6-432A-9DFF-A6FC13739BE2}"/>
                </a:ext>
              </a:extLst>
            </p:cNvPr>
            <p:cNvSpPr/>
            <p:nvPr/>
          </p:nvSpPr>
          <p:spPr bwMode="auto">
            <a:xfrm>
              <a:off x="4141168" y="4679091"/>
              <a:ext cx="1971980" cy="985990"/>
            </a:xfrm>
            <a:custGeom>
              <a:avLst/>
              <a:gdLst>
                <a:gd name="T0" fmla="*/ 230 w 230"/>
                <a:gd name="T1" fmla="*/ 32 h 115"/>
                <a:gd name="T2" fmla="*/ 196 w 230"/>
                <a:gd name="T3" fmla="*/ 3 h 115"/>
                <a:gd name="T4" fmla="*/ 196 w 230"/>
                <a:gd name="T5" fmla="*/ 3 h 115"/>
                <a:gd name="T6" fmla="*/ 0 w 230"/>
                <a:gd name="T7" fmla="*/ 78 h 115"/>
                <a:gd name="T8" fmla="*/ 14 w 230"/>
                <a:gd name="T9" fmla="*/ 115 h 115"/>
                <a:gd name="T10" fmla="*/ 230 w 230"/>
                <a:gd name="T11" fmla="*/ 32 h 115"/>
              </a:gdLst>
              <a:ahLst/>
              <a:cxnLst>
                <a:cxn ang="0">
                  <a:pos x="T0" y="T1"/>
                </a:cxn>
                <a:cxn ang="0">
                  <a:pos x="T2" y="T3"/>
                </a:cxn>
                <a:cxn ang="0">
                  <a:pos x="T4" y="T5"/>
                </a:cxn>
                <a:cxn ang="0">
                  <a:pos x="T6" y="T7"/>
                </a:cxn>
                <a:cxn ang="0">
                  <a:pos x="T8" y="T9"/>
                </a:cxn>
                <a:cxn ang="0">
                  <a:pos x="T10" y="T11"/>
                </a:cxn>
              </a:cxnLst>
              <a:rect l="0" t="0" r="r" b="b"/>
              <a:pathLst>
                <a:path w="230" h="115">
                  <a:moveTo>
                    <a:pt x="230" y="32"/>
                  </a:moveTo>
                  <a:cubicBezTo>
                    <a:pt x="221" y="13"/>
                    <a:pt x="207" y="0"/>
                    <a:pt x="196" y="3"/>
                  </a:cubicBezTo>
                  <a:cubicBezTo>
                    <a:pt x="196" y="3"/>
                    <a:pt x="196" y="3"/>
                    <a:pt x="196" y="3"/>
                  </a:cubicBezTo>
                  <a:cubicBezTo>
                    <a:pt x="0" y="78"/>
                    <a:pt x="0" y="78"/>
                    <a:pt x="0" y="78"/>
                  </a:cubicBezTo>
                  <a:cubicBezTo>
                    <a:pt x="14" y="115"/>
                    <a:pt x="14" y="115"/>
                    <a:pt x="14" y="115"/>
                  </a:cubicBezTo>
                  <a:lnTo>
                    <a:pt x="230" y="32"/>
                  </a:lnTo>
                  <a:close/>
                </a:path>
              </a:pathLst>
            </a:custGeom>
            <a:solidFill>
              <a:srgbClr val="7D6B6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íSḷiďé">
              <a:extLst>
                <a:ext uri="{FF2B5EF4-FFF2-40B4-BE49-F238E27FC236}">
                  <a16:creationId xmlns:a16="http://schemas.microsoft.com/office/drawing/2014/main" id="{46312D92-9B72-4E4C-B229-113AFB9294F6}"/>
                </a:ext>
              </a:extLst>
            </p:cNvPr>
            <p:cNvSpPr/>
            <p:nvPr/>
          </p:nvSpPr>
          <p:spPr bwMode="auto">
            <a:xfrm>
              <a:off x="4022598" y="5315616"/>
              <a:ext cx="499235" cy="761334"/>
            </a:xfrm>
            <a:custGeom>
              <a:avLst/>
              <a:gdLst>
                <a:gd name="T0" fmla="*/ 50 w 58"/>
                <a:gd name="T1" fmla="*/ 37 h 89"/>
                <a:gd name="T2" fmla="*/ 44 w 58"/>
                <a:gd name="T3" fmla="*/ 85 h 89"/>
                <a:gd name="T4" fmla="*/ 8 w 58"/>
                <a:gd name="T5" fmla="*/ 53 h 89"/>
                <a:gd name="T6" fmla="*/ 14 w 58"/>
                <a:gd name="T7" fmla="*/ 5 h 89"/>
                <a:gd name="T8" fmla="*/ 50 w 58"/>
                <a:gd name="T9" fmla="*/ 37 h 89"/>
              </a:gdLst>
              <a:ahLst/>
              <a:cxnLst>
                <a:cxn ang="0">
                  <a:pos x="T0" y="T1"/>
                </a:cxn>
                <a:cxn ang="0">
                  <a:pos x="T2" y="T3"/>
                </a:cxn>
                <a:cxn ang="0">
                  <a:pos x="T4" y="T5"/>
                </a:cxn>
                <a:cxn ang="0">
                  <a:pos x="T6" y="T7"/>
                </a:cxn>
                <a:cxn ang="0">
                  <a:pos x="T8" y="T9"/>
                </a:cxn>
              </a:cxnLst>
              <a:rect l="0" t="0" r="r" b="b"/>
              <a:pathLst>
                <a:path w="58" h="89">
                  <a:moveTo>
                    <a:pt x="50" y="37"/>
                  </a:moveTo>
                  <a:cubicBezTo>
                    <a:pt x="58" y="59"/>
                    <a:pt x="56" y="81"/>
                    <a:pt x="44" y="85"/>
                  </a:cubicBezTo>
                  <a:cubicBezTo>
                    <a:pt x="33" y="89"/>
                    <a:pt x="16" y="75"/>
                    <a:pt x="8" y="53"/>
                  </a:cubicBezTo>
                  <a:cubicBezTo>
                    <a:pt x="0" y="30"/>
                    <a:pt x="2" y="9"/>
                    <a:pt x="14" y="5"/>
                  </a:cubicBezTo>
                  <a:cubicBezTo>
                    <a:pt x="25" y="0"/>
                    <a:pt x="41" y="15"/>
                    <a:pt x="50" y="37"/>
                  </a:cubicBezTo>
                  <a:close/>
                </a:path>
              </a:pathLst>
            </a:custGeom>
            <a:solidFill>
              <a:srgbClr val="CEB67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îśļïḍê">
              <a:extLst>
                <a:ext uri="{FF2B5EF4-FFF2-40B4-BE49-F238E27FC236}">
                  <a16:creationId xmlns:a16="http://schemas.microsoft.com/office/drawing/2014/main" id="{096DD285-1E94-4BA2-A077-DAD0B8700196}"/>
                </a:ext>
              </a:extLst>
            </p:cNvPr>
            <p:cNvSpPr/>
            <p:nvPr/>
          </p:nvSpPr>
          <p:spPr bwMode="auto">
            <a:xfrm>
              <a:off x="4103726" y="5434187"/>
              <a:ext cx="343226" cy="524197"/>
            </a:xfrm>
            <a:custGeom>
              <a:avLst/>
              <a:gdLst>
                <a:gd name="T0" fmla="*/ 34 w 40"/>
                <a:gd name="T1" fmla="*/ 25 h 61"/>
                <a:gd name="T2" fmla="*/ 30 w 40"/>
                <a:gd name="T3" fmla="*/ 58 h 61"/>
                <a:gd name="T4" fmla="*/ 5 w 40"/>
                <a:gd name="T5" fmla="*/ 36 h 61"/>
                <a:gd name="T6" fmla="*/ 9 w 40"/>
                <a:gd name="T7" fmla="*/ 3 h 61"/>
                <a:gd name="T8" fmla="*/ 34 w 40"/>
                <a:gd name="T9" fmla="*/ 25 h 61"/>
              </a:gdLst>
              <a:ahLst/>
              <a:cxnLst>
                <a:cxn ang="0">
                  <a:pos x="T0" y="T1"/>
                </a:cxn>
                <a:cxn ang="0">
                  <a:pos x="T2" y="T3"/>
                </a:cxn>
                <a:cxn ang="0">
                  <a:pos x="T4" y="T5"/>
                </a:cxn>
                <a:cxn ang="0">
                  <a:pos x="T6" y="T7"/>
                </a:cxn>
                <a:cxn ang="0">
                  <a:pos x="T8" y="T9"/>
                </a:cxn>
              </a:cxnLst>
              <a:rect l="0" t="0" r="r" b="b"/>
              <a:pathLst>
                <a:path w="40" h="61">
                  <a:moveTo>
                    <a:pt x="34" y="25"/>
                  </a:moveTo>
                  <a:cubicBezTo>
                    <a:pt x="40" y="41"/>
                    <a:pt x="38" y="55"/>
                    <a:pt x="30" y="58"/>
                  </a:cubicBezTo>
                  <a:cubicBezTo>
                    <a:pt x="22" y="61"/>
                    <a:pt x="11" y="51"/>
                    <a:pt x="5" y="36"/>
                  </a:cubicBezTo>
                  <a:cubicBezTo>
                    <a:pt x="0" y="21"/>
                    <a:pt x="1" y="6"/>
                    <a:pt x="9" y="3"/>
                  </a:cubicBezTo>
                  <a:cubicBezTo>
                    <a:pt x="17" y="0"/>
                    <a:pt x="28" y="10"/>
                    <a:pt x="34" y="25"/>
                  </a:cubicBezTo>
                  <a:close/>
                </a:path>
              </a:pathLst>
            </a:custGeom>
            <a:noFill/>
            <a:ln w="11113" cap="flat">
              <a:solidFill>
                <a:srgbClr val="6C5953"/>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33" name="iṣliďê">
              <a:extLst>
                <a:ext uri="{FF2B5EF4-FFF2-40B4-BE49-F238E27FC236}">
                  <a16:creationId xmlns:a16="http://schemas.microsoft.com/office/drawing/2014/main" id="{3B2EE304-8FC9-467A-957D-A8E492600276}"/>
                </a:ext>
              </a:extLst>
            </p:cNvPr>
            <p:cNvSpPr/>
            <p:nvPr/>
          </p:nvSpPr>
          <p:spPr bwMode="auto">
            <a:xfrm>
              <a:off x="4197330" y="5577715"/>
              <a:ext cx="149771" cy="230898"/>
            </a:xfrm>
            <a:custGeom>
              <a:avLst/>
              <a:gdLst>
                <a:gd name="T0" fmla="*/ 15 w 18"/>
                <a:gd name="T1" fmla="*/ 11 h 27"/>
                <a:gd name="T2" fmla="*/ 13 w 18"/>
                <a:gd name="T3" fmla="*/ 26 h 27"/>
                <a:gd name="T4" fmla="*/ 3 w 18"/>
                <a:gd name="T5" fmla="*/ 16 h 27"/>
                <a:gd name="T6" fmla="*/ 4 w 18"/>
                <a:gd name="T7" fmla="*/ 2 h 27"/>
                <a:gd name="T8" fmla="*/ 15 w 18"/>
                <a:gd name="T9" fmla="*/ 11 h 27"/>
              </a:gdLst>
              <a:ahLst/>
              <a:cxnLst>
                <a:cxn ang="0">
                  <a:pos x="T0" y="T1"/>
                </a:cxn>
                <a:cxn ang="0">
                  <a:pos x="T2" y="T3"/>
                </a:cxn>
                <a:cxn ang="0">
                  <a:pos x="T4" y="T5"/>
                </a:cxn>
                <a:cxn ang="0">
                  <a:pos x="T6" y="T7"/>
                </a:cxn>
                <a:cxn ang="0">
                  <a:pos x="T8" y="T9"/>
                </a:cxn>
              </a:cxnLst>
              <a:rect l="0" t="0" r="r" b="b"/>
              <a:pathLst>
                <a:path w="18" h="27">
                  <a:moveTo>
                    <a:pt x="15" y="11"/>
                  </a:moveTo>
                  <a:cubicBezTo>
                    <a:pt x="18" y="18"/>
                    <a:pt x="17" y="25"/>
                    <a:pt x="13" y="26"/>
                  </a:cubicBezTo>
                  <a:cubicBezTo>
                    <a:pt x="10" y="27"/>
                    <a:pt x="5" y="23"/>
                    <a:pt x="3" y="16"/>
                  </a:cubicBezTo>
                  <a:cubicBezTo>
                    <a:pt x="0" y="9"/>
                    <a:pt x="1" y="3"/>
                    <a:pt x="4" y="2"/>
                  </a:cubicBezTo>
                  <a:cubicBezTo>
                    <a:pt x="8" y="0"/>
                    <a:pt x="13" y="5"/>
                    <a:pt x="15" y="11"/>
                  </a:cubicBezTo>
                  <a:close/>
                </a:path>
              </a:pathLst>
            </a:custGeom>
            <a:noFill/>
            <a:ln w="11113" cap="flat">
              <a:solidFill>
                <a:srgbClr val="6C5953"/>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34" name="işľiďe">
              <a:extLst>
                <a:ext uri="{FF2B5EF4-FFF2-40B4-BE49-F238E27FC236}">
                  <a16:creationId xmlns:a16="http://schemas.microsoft.com/office/drawing/2014/main" id="{83E0A9F3-9BD6-4527-B2DE-B952E7597E80}"/>
                </a:ext>
              </a:extLst>
            </p:cNvPr>
            <p:cNvSpPr/>
            <p:nvPr/>
          </p:nvSpPr>
          <p:spPr bwMode="auto">
            <a:xfrm>
              <a:off x="5994578" y="4679091"/>
              <a:ext cx="2059346" cy="1360416"/>
            </a:xfrm>
            <a:custGeom>
              <a:avLst/>
              <a:gdLst>
                <a:gd name="T0" fmla="*/ 8 w 240"/>
                <a:gd name="T1" fmla="*/ 36 h 159"/>
                <a:gd name="T2" fmla="*/ 43 w 240"/>
                <a:gd name="T3" fmla="*/ 3 h 159"/>
                <a:gd name="T4" fmla="*/ 43 w 240"/>
                <a:gd name="T5" fmla="*/ 3 h 159"/>
                <a:gd name="T6" fmla="*/ 240 w 240"/>
                <a:gd name="T7" fmla="*/ 78 h 159"/>
                <a:gd name="T8" fmla="*/ 209 w 240"/>
                <a:gd name="T9" fmla="*/ 159 h 159"/>
                <a:gd name="T10" fmla="*/ 13 w 240"/>
                <a:gd name="T11" fmla="*/ 83 h 159"/>
                <a:gd name="T12" fmla="*/ 13 w 240"/>
                <a:gd name="T13" fmla="*/ 83 h 159"/>
                <a:gd name="T14" fmla="*/ 8 w 240"/>
                <a:gd name="T15" fmla="*/ 36 h 1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0" h="159">
                  <a:moveTo>
                    <a:pt x="8" y="36"/>
                  </a:moveTo>
                  <a:cubicBezTo>
                    <a:pt x="16" y="14"/>
                    <a:pt x="32" y="0"/>
                    <a:pt x="43" y="3"/>
                  </a:cubicBezTo>
                  <a:cubicBezTo>
                    <a:pt x="43" y="3"/>
                    <a:pt x="43" y="3"/>
                    <a:pt x="43" y="3"/>
                  </a:cubicBezTo>
                  <a:cubicBezTo>
                    <a:pt x="240" y="78"/>
                    <a:pt x="240" y="78"/>
                    <a:pt x="240" y="78"/>
                  </a:cubicBezTo>
                  <a:cubicBezTo>
                    <a:pt x="209" y="159"/>
                    <a:pt x="209" y="159"/>
                    <a:pt x="209" y="159"/>
                  </a:cubicBezTo>
                  <a:cubicBezTo>
                    <a:pt x="13" y="83"/>
                    <a:pt x="13" y="83"/>
                    <a:pt x="13" y="83"/>
                  </a:cubicBezTo>
                  <a:cubicBezTo>
                    <a:pt x="13" y="83"/>
                    <a:pt x="13" y="83"/>
                    <a:pt x="13" y="83"/>
                  </a:cubicBezTo>
                  <a:cubicBezTo>
                    <a:pt x="2" y="78"/>
                    <a:pt x="0" y="57"/>
                    <a:pt x="8" y="36"/>
                  </a:cubicBezTo>
                  <a:close/>
                </a:path>
              </a:pathLst>
            </a:custGeom>
            <a:solidFill>
              <a:srgbClr val="6C595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í$ľïďè">
              <a:extLst>
                <a:ext uri="{FF2B5EF4-FFF2-40B4-BE49-F238E27FC236}">
                  <a16:creationId xmlns:a16="http://schemas.microsoft.com/office/drawing/2014/main" id="{60C67825-7CB3-4DA8-AC8E-A59A081AF13C}"/>
                </a:ext>
              </a:extLst>
            </p:cNvPr>
            <p:cNvSpPr/>
            <p:nvPr/>
          </p:nvSpPr>
          <p:spPr bwMode="auto">
            <a:xfrm>
              <a:off x="6081944" y="4679091"/>
              <a:ext cx="1971980" cy="985990"/>
            </a:xfrm>
            <a:custGeom>
              <a:avLst/>
              <a:gdLst>
                <a:gd name="T0" fmla="*/ 0 w 230"/>
                <a:gd name="T1" fmla="*/ 32 h 115"/>
                <a:gd name="T2" fmla="*/ 33 w 230"/>
                <a:gd name="T3" fmla="*/ 3 h 115"/>
                <a:gd name="T4" fmla="*/ 33 w 230"/>
                <a:gd name="T5" fmla="*/ 3 h 115"/>
                <a:gd name="T6" fmla="*/ 230 w 230"/>
                <a:gd name="T7" fmla="*/ 78 h 115"/>
                <a:gd name="T8" fmla="*/ 216 w 230"/>
                <a:gd name="T9" fmla="*/ 115 h 115"/>
                <a:gd name="T10" fmla="*/ 0 w 230"/>
                <a:gd name="T11" fmla="*/ 32 h 115"/>
              </a:gdLst>
              <a:ahLst/>
              <a:cxnLst>
                <a:cxn ang="0">
                  <a:pos x="T0" y="T1"/>
                </a:cxn>
                <a:cxn ang="0">
                  <a:pos x="T2" y="T3"/>
                </a:cxn>
                <a:cxn ang="0">
                  <a:pos x="T4" y="T5"/>
                </a:cxn>
                <a:cxn ang="0">
                  <a:pos x="T6" y="T7"/>
                </a:cxn>
                <a:cxn ang="0">
                  <a:pos x="T8" y="T9"/>
                </a:cxn>
                <a:cxn ang="0">
                  <a:pos x="T10" y="T11"/>
                </a:cxn>
              </a:cxnLst>
              <a:rect l="0" t="0" r="r" b="b"/>
              <a:pathLst>
                <a:path w="230" h="115">
                  <a:moveTo>
                    <a:pt x="0" y="32"/>
                  </a:moveTo>
                  <a:cubicBezTo>
                    <a:pt x="8" y="13"/>
                    <a:pt x="22" y="0"/>
                    <a:pt x="33" y="3"/>
                  </a:cubicBezTo>
                  <a:cubicBezTo>
                    <a:pt x="33" y="3"/>
                    <a:pt x="33" y="3"/>
                    <a:pt x="33" y="3"/>
                  </a:cubicBezTo>
                  <a:cubicBezTo>
                    <a:pt x="230" y="78"/>
                    <a:pt x="230" y="78"/>
                    <a:pt x="230" y="78"/>
                  </a:cubicBezTo>
                  <a:cubicBezTo>
                    <a:pt x="216" y="115"/>
                    <a:pt x="216" y="115"/>
                    <a:pt x="216" y="115"/>
                  </a:cubicBezTo>
                  <a:lnTo>
                    <a:pt x="0" y="32"/>
                  </a:lnTo>
                  <a:close/>
                </a:path>
              </a:pathLst>
            </a:custGeom>
            <a:solidFill>
              <a:srgbClr val="7D6B6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ïSľïḍê">
              <a:extLst>
                <a:ext uri="{FF2B5EF4-FFF2-40B4-BE49-F238E27FC236}">
                  <a16:creationId xmlns:a16="http://schemas.microsoft.com/office/drawing/2014/main" id="{901AC95E-2EB6-4D4A-A200-6A9167EAB867}"/>
                </a:ext>
              </a:extLst>
            </p:cNvPr>
            <p:cNvSpPr/>
            <p:nvPr/>
          </p:nvSpPr>
          <p:spPr bwMode="auto">
            <a:xfrm>
              <a:off x="7667016" y="5315616"/>
              <a:ext cx="505478" cy="761334"/>
            </a:xfrm>
            <a:custGeom>
              <a:avLst/>
              <a:gdLst>
                <a:gd name="T0" fmla="*/ 9 w 59"/>
                <a:gd name="T1" fmla="*/ 37 h 89"/>
                <a:gd name="T2" fmla="*/ 14 w 59"/>
                <a:gd name="T3" fmla="*/ 85 h 89"/>
                <a:gd name="T4" fmla="*/ 50 w 59"/>
                <a:gd name="T5" fmla="*/ 53 h 89"/>
                <a:gd name="T6" fmla="*/ 45 w 59"/>
                <a:gd name="T7" fmla="*/ 5 h 89"/>
                <a:gd name="T8" fmla="*/ 9 w 59"/>
                <a:gd name="T9" fmla="*/ 37 h 89"/>
              </a:gdLst>
              <a:ahLst/>
              <a:cxnLst>
                <a:cxn ang="0">
                  <a:pos x="T0" y="T1"/>
                </a:cxn>
                <a:cxn ang="0">
                  <a:pos x="T2" y="T3"/>
                </a:cxn>
                <a:cxn ang="0">
                  <a:pos x="T4" y="T5"/>
                </a:cxn>
                <a:cxn ang="0">
                  <a:pos x="T6" y="T7"/>
                </a:cxn>
                <a:cxn ang="0">
                  <a:pos x="T8" y="T9"/>
                </a:cxn>
              </a:cxnLst>
              <a:rect l="0" t="0" r="r" b="b"/>
              <a:pathLst>
                <a:path w="59" h="89">
                  <a:moveTo>
                    <a:pt x="9" y="37"/>
                  </a:moveTo>
                  <a:cubicBezTo>
                    <a:pt x="0" y="59"/>
                    <a:pt x="3" y="81"/>
                    <a:pt x="14" y="85"/>
                  </a:cubicBezTo>
                  <a:cubicBezTo>
                    <a:pt x="26" y="89"/>
                    <a:pt x="42" y="75"/>
                    <a:pt x="50" y="53"/>
                  </a:cubicBezTo>
                  <a:cubicBezTo>
                    <a:pt x="59" y="30"/>
                    <a:pt x="56" y="9"/>
                    <a:pt x="45" y="5"/>
                  </a:cubicBezTo>
                  <a:cubicBezTo>
                    <a:pt x="33" y="0"/>
                    <a:pt x="17" y="15"/>
                    <a:pt x="9" y="37"/>
                  </a:cubicBezTo>
                  <a:close/>
                </a:path>
              </a:pathLst>
            </a:custGeom>
            <a:solidFill>
              <a:srgbClr val="CEB67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iṩḷídê">
              <a:extLst>
                <a:ext uri="{FF2B5EF4-FFF2-40B4-BE49-F238E27FC236}">
                  <a16:creationId xmlns:a16="http://schemas.microsoft.com/office/drawing/2014/main" id="{080A548D-8B02-42FC-8A91-4D158EED9932}"/>
                </a:ext>
              </a:extLst>
            </p:cNvPr>
            <p:cNvSpPr/>
            <p:nvPr/>
          </p:nvSpPr>
          <p:spPr bwMode="auto">
            <a:xfrm>
              <a:off x="7741902" y="5434187"/>
              <a:ext cx="355707" cy="524197"/>
            </a:xfrm>
            <a:custGeom>
              <a:avLst/>
              <a:gdLst>
                <a:gd name="T0" fmla="*/ 6 w 41"/>
                <a:gd name="T1" fmla="*/ 25 h 61"/>
                <a:gd name="T2" fmla="*/ 10 w 41"/>
                <a:gd name="T3" fmla="*/ 58 h 61"/>
                <a:gd name="T4" fmla="*/ 35 w 41"/>
                <a:gd name="T5" fmla="*/ 36 h 61"/>
                <a:gd name="T6" fmla="*/ 31 w 41"/>
                <a:gd name="T7" fmla="*/ 3 h 61"/>
                <a:gd name="T8" fmla="*/ 6 w 41"/>
                <a:gd name="T9" fmla="*/ 25 h 61"/>
              </a:gdLst>
              <a:ahLst/>
              <a:cxnLst>
                <a:cxn ang="0">
                  <a:pos x="T0" y="T1"/>
                </a:cxn>
                <a:cxn ang="0">
                  <a:pos x="T2" y="T3"/>
                </a:cxn>
                <a:cxn ang="0">
                  <a:pos x="T4" y="T5"/>
                </a:cxn>
                <a:cxn ang="0">
                  <a:pos x="T6" y="T7"/>
                </a:cxn>
                <a:cxn ang="0">
                  <a:pos x="T8" y="T9"/>
                </a:cxn>
              </a:cxnLst>
              <a:rect l="0" t="0" r="r" b="b"/>
              <a:pathLst>
                <a:path w="41" h="61">
                  <a:moveTo>
                    <a:pt x="6" y="25"/>
                  </a:moveTo>
                  <a:cubicBezTo>
                    <a:pt x="0" y="41"/>
                    <a:pt x="2" y="55"/>
                    <a:pt x="10" y="58"/>
                  </a:cubicBezTo>
                  <a:cubicBezTo>
                    <a:pt x="18" y="61"/>
                    <a:pt x="29" y="51"/>
                    <a:pt x="35" y="36"/>
                  </a:cubicBezTo>
                  <a:cubicBezTo>
                    <a:pt x="41" y="21"/>
                    <a:pt x="39" y="6"/>
                    <a:pt x="31" y="3"/>
                  </a:cubicBezTo>
                  <a:cubicBezTo>
                    <a:pt x="23" y="0"/>
                    <a:pt x="12" y="10"/>
                    <a:pt x="6" y="25"/>
                  </a:cubicBezTo>
                  <a:close/>
                </a:path>
              </a:pathLst>
            </a:custGeom>
            <a:noFill/>
            <a:ln w="11113" cap="flat">
              <a:solidFill>
                <a:srgbClr val="6C5953"/>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38" name="íṩ1iḓé">
              <a:extLst>
                <a:ext uri="{FF2B5EF4-FFF2-40B4-BE49-F238E27FC236}">
                  <a16:creationId xmlns:a16="http://schemas.microsoft.com/office/drawing/2014/main" id="{1151A449-D10F-4399-82D6-D634A9BDDAD7}"/>
                </a:ext>
              </a:extLst>
            </p:cNvPr>
            <p:cNvSpPr/>
            <p:nvPr/>
          </p:nvSpPr>
          <p:spPr bwMode="auto">
            <a:xfrm>
              <a:off x="7847991" y="5577715"/>
              <a:ext cx="143532" cy="230898"/>
            </a:xfrm>
            <a:custGeom>
              <a:avLst/>
              <a:gdLst>
                <a:gd name="T0" fmla="*/ 2 w 17"/>
                <a:gd name="T1" fmla="*/ 11 h 27"/>
                <a:gd name="T2" fmla="*/ 4 w 17"/>
                <a:gd name="T3" fmla="*/ 26 h 27"/>
                <a:gd name="T4" fmla="*/ 15 w 17"/>
                <a:gd name="T5" fmla="*/ 16 h 27"/>
                <a:gd name="T6" fmla="*/ 13 w 17"/>
                <a:gd name="T7" fmla="*/ 2 h 27"/>
                <a:gd name="T8" fmla="*/ 2 w 17"/>
                <a:gd name="T9" fmla="*/ 11 h 27"/>
              </a:gdLst>
              <a:ahLst/>
              <a:cxnLst>
                <a:cxn ang="0">
                  <a:pos x="T0" y="T1"/>
                </a:cxn>
                <a:cxn ang="0">
                  <a:pos x="T2" y="T3"/>
                </a:cxn>
                <a:cxn ang="0">
                  <a:pos x="T4" y="T5"/>
                </a:cxn>
                <a:cxn ang="0">
                  <a:pos x="T6" y="T7"/>
                </a:cxn>
                <a:cxn ang="0">
                  <a:pos x="T8" y="T9"/>
                </a:cxn>
              </a:cxnLst>
              <a:rect l="0" t="0" r="r" b="b"/>
              <a:pathLst>
                <a:path w="17" h="27">
                  <a:moveTo>
                    <a:pt x="2" y="11"/>
                  </a:moveTo>
                  <a:cubicBezTo>
                    <a:pt x="0" y="18"/>
                    <a:pt x="0" y="25"/>
                    <a:pt x="4" y="26"/>
                  </a:cubicBezTo>
                  <a:cubicBezTo>
                    <a:pt x="7" y="27"/>
                    <a:pt x="12" y="23"/>
                    <a:pt x="15" y="16"/>
                  </a:cubicBezTo>
                  <a:cubicBezTo>
                    <a:pt x="17" y="9"/>
                    <a:pt x="17" y="3"/>
                    <a:pt x="13" y="2"/>
                  </a:cubicBezTo>
                  <a:cubicBezTo>
                    <a:pt x="10" y="0"/>
                    <a:pt x="5" y="5"/>
                    <a:pt x="2" y="11"/>
                  </a:cubicBezTo>
                  <a:close/>
                </a:path>
              </a:pathLst>
            </a:custGeom>
            <a:noFill/>
            <a:ln w="11113" cap="flat">
              <a:solidFill>
                <a:srgbClr val="6C5953"/>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39" name="íšlïḍe">
              <a:extLst>
                <a:ext uri="{FF2B5EF4-FFF2-40B4-BE49-F238E27FC236}">
                  <a16:creationId xmlns:a16="http://schemas.microsoft.com/office/drawing/2014/main" id="{9A309C95-33D0-468C-AEE3-2B8B0F54330B}"/>
                </a:ext>
              </a:extLst>
            </p:cNvPr>
            <p:cNvSpPr/>
            <p:nvPr/>
          </p:nvSpPr>
          <p:spPr bwMode="auto">
            <a:xfrm>
              <a:off x="4883779" y="1234368"/>
              <a:ext cx="3007893" cy="3532089"/>
            </a:xfrm>
            <a:custGeom>
              <a:avLst/>
              <a:gdLst>
                <a:gd name="T0" fmla="*/ 91 w 351"/>
                <a:gd name="T1" fmla="*/ 413 h 413"/>
                <a:gd name="T2" fmla="*/ 0 w 351"/>
                <a:gd name="T3" fmla="*/ 302 h 413"/>
                <a:gd name="T4" fmla="*/ 28 w 351"/>
                <a:gd name="T5" fmla="*/ 147 h 413"/>
                <a:gd name="T6" fmla="*/ 75 w 351"/>
                <a:gd name="T7" fmla="*/ 153 h 413"/>
                <a:gd name="T8" fmla="*/ 149 w 351"/>
                <a:gd name="T9" fmla="*/ 0 h 413"/>
                <a:gd name="T10" fmla="*/ 201 w 351"/>
                <a:gd name="T11" fmla="*/ 135 h 413"/>
                <a:gd name="T12" fmla="*/ 192 w 351"/>
                <a:gd name="T13" fmla="*/ 413 h 413"/>
                <a:gd name="T14" fmla="*/ 203 w 351"/>
                <a:gd name="T15" fmla="*/ 293 h 413"/>
                <a:gd name="T16" fmla="*/ 157 w 351"/>
                <a:gd name="T17" fmla="*/ 314 h 413"/>
                <a:gd name="T18" fmla="*/ 127 w 351"/>
                <a:gd name="T19" fmla="*/ 182 h 413"/>
                <a:gd name="T20" fmla="*/ 125 w 351"/>
                <a:gd name="T21" fmla="*/ 232 h 413"/>
                <a:gd name="T22" fmla="*/ 61 w 351"/>
                <a:gd name="T23" fmla="*/ 350 h 413"/>
                <a:gd name="T24" fmla="*/ 91 w 351"/>
                <a:gd name="T25"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1" h="413">
                  <a:moveTo>
                    <a:pt x="91" y="413"/>
                  </a:moveTo>
                  <a:cubicBezTo>
                    <a:pt x="50" y="413"/>
                    <a:pt x="0" y="364"/>
                    <a:pt x="0" y="302"/>
                  </a:cubicBezTo>
                  <a:cubicBezTo>
                    <a:pt x="0" y="240"/>
                    <a:pt x="56" y="196"/>
                    <a:pt x="28" y="147"/>
                  </a:cubicBezTo>
                  <a:cubicBezTo>
                    <a:pt x="28" y="147"/>
                    <a:pt x="61" y="138"/>
                    <a:pt x="75" y="153"/>
                  </a:cubicBezTo>
                  <a:cubicBezTo>
                    <a:pt x="75" y="153"/>
                    <a:pt x="49" y="21"/>
                    <a:pt x="149" y="0"/>
                  </a:cubicBezTo>
                  <a:cubicBezTo>
                    <a:pt x="149" y="0"/>
                    <a:pt x="133" y="67"/>
                    <a:pt x="201" y="135"/>
                  </a:cubicBezTo>
                  <a:cubicBezTo>
                    <a:pt x="269" y="203"/>
                    <a:pt x="351" y="347"/>
                    <a:pt x="192" y="413"/>
                  </a:cubicBezTo>
                  <a:cubicBezTo>
                    <a:pt x="192" y="413"/>
                    <a:pt x="254" y="347"/>
                    <a:pt x="203" y="293"/>
                  </a:cubicBezTo>
                  <a:cubicBezTo>
                    <a:pt x="203" y="293"/>
                    <a:pt x="189" y="321"/>
                    <a:pt x="157" y="314"/>
                  </a:cubicBezTo>
                  <a:cubicBezTo>
                    <a:pt x="157" y="314"/>
                    <a:pt x="205" y="240"/>
                    <a:pt x="127" y="182"/>
                  </a:cubicBezTo>
                  <a:cubicBezTo>
                    <a:pt x="127" y="182"/>
                    <a:pt x="135" y="210"/>
                    <a:pt x="125" y="232"/>
                  </a:cubicBezTo>
                  <a:cubicBezTo>
                    <a:pt x="115" y="254"/>
                    <a:pt x="61" y="305"/>
                    <a:pt x="61" y="350"/>
                  </a:cubicBezTo>
                  <a:cubicBezTo>
                    <a:pt x="61" y="395"/>
                    <a:pt x="91" y="413"/>
                    <a:pt x="91" y="413"/>
                  </a:cubicBezTo>
                  <a:close/>
                </a:path>
              </a:pathLst>
            </a:custGeom>
            <a:solidFill>
              <a:srgbClr val="DB55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nvGrpSpPr>
          <p:cNvPr id="40" name="37457260-5770-418d-9f38-7c5af3f11a68"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2"/>
            </p:custDataLst>
          </p:nvPr>
        </p:nvGrpSpPr>
        <p:grpSpPr>
          <a:xfrm>
            <a:off x="8110537" y="4654849"/>
            <a:ext cx="1929956" cy="1658257"/>
            <a:chOff x="4022598" y="1234368"/>
            <a:chExt cx="4149896" cy="4842582"/>
          </a:xfrm>
        </p:grpSpPr>
        <p:sp>
          <p:nvSpPr>
            <p:cNvPr id="41" name="íṡľiḋe">
              <a:extLst>
                <a:ext uri="{FF2B5EF4-FFF2-40B4-BE49-F238E27FC236}">
                  <a16:creationId xmlns:a16="http://schemas.microsoft.com/office/drawing/2014/main" id="{43E028C3-9A0D-492D-AE60-3F51FBAFB0A4}"/>
                </a:ext>
              </a:extLst>
            </p:cNvPr>
            <p:cNvSpPr/>
            <p:nvPr/>
          </p:nvSpPr>
          <p:spPr bwMode="auto">
            <a:xfrm>
              <a:off x="4197330" y="3942719"/>
              <a:ext cx="2053107" cy="1360416"/>
            </a:xfrm>
            <a:custGeom>
              <a:avLst/>
              <a:gdLst>
                <a:gd name="T0" fmla="*/ 8 w 240"/>
                <a:gd name="T1" fmla="*/ 36 h 159"/>
                <a:gd name="T2" fmla="*/ 43 w 240"/>
                <a:gd name="T3" fmla="*/ 3 h 159"/>
                <a:gd name="T4" fmla="*/ 43 w 240"/>
                <a:gd name="T5" fmla="*/ 3 h 159"/>
                <a:gd name="T6" fmla="*/ 240 w 240"/>
                <a:gd name="T7" fmla="*/ 79 h 159"/>
                <a:gd name="T8" fmla="*/ 209 w 240"/>
                <a:gd name="T9" fmla="*/ 159 h 159"/>
                <a:gd name="T10" fmla="*/ 13 w 240"/>
                <a:gd name="T11" fmla="*/ 83 h 159"/>
                <a:gd name="T12" fmla="*/ 13 w 240"/>
                <a:gd name="T13" fmla="*/ 83 h 159"/>
                <a:gd name="T14" fmla="*/ 8 w 240"/>
                <a:gd name="T15" fmla="*/ 36 h 1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0" h="159">
                  <a:moveTo>
                    <a:pt x="8" y="36"/>
                  </a:moveTo>
                  <a:cubicBezTo>
                    <a:pt x="16" y="14"/>
                    <a:pt x="32" y="0"/>
                    <a:pt x="43" y="3"/>
                  </a:cubicBezTo>
                  <a:cubicBezTo>
                    <a:pt x="43" y="3"/>
                    <a:pt x="43" y="3"/>
                    <a:pt x="43" y="3"/>
                  </a:cubicBezTo>
                  <a:cubicBezTo>
                    <a:pt x="240" y="79"/>
                    <a:pt x="240" y="79"/>
                    <a:pt x="240" y="79"/>
                  </a:cubicBezTo>
                  <a:cubicBezTo>
                    <a:pt x="209" y="159"/>
                    <a:pt x="209" y="159"/>
                    <a:pt x="209" y="159"/>
                  </a:cubicBezTo>
                  <a:cubicBezTo>
                    <a:pt x="13" y="83"/>
                    <a:pt x="13" y="83"/>
                    <a:pt x="13" y="83"/>
                  </a:cubicBezTo>
                  <a:cubicBezTo>
                    <a:pt x="13" y="83"/>
                    <a:pt x="13" y="83"/>
                    <a:pt x="13" y="83"/>
                  </a:cubicBezTo>
                  <a:cubicBezTo>
                    <a:pt x="2" y="78"/>
                    <a:pt x="0" y="57"/>
                    <a:pt x="8" y="36"/>
                  </a:cubicBezTo>
                  <a:close/>
                </a:path>
              </a:pathLst>
            </a:custGeom>
            <a:solidFill>
              <a:srgbClr val="6C595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ïsļídê">
              <a:extLst>
                <a:ext uri="{FF2B5EF4-FFF2-40B4-BE49-F238E27FC236}">
                  <a16:creationId xmlns:a16="http://schemas.microsoft.com/office/drawing/2014/main" id="{E4FBE91A-359B-4F28-AAB6-4E2A7EF2AD26}"/>
                </a:ext>
              </a:extLst>
            </p:cNvPr>
            <p:cNvSpPr/>
            <p:nvPr/>
          </p:nvSpPr>
          <p:spPr bwMode="auto">
            <a:xfrm>
              <a:off x="4278458" y="3942719"/>
              <a:ext cx="1971980" cy="985990"/>
            </a:xfrm>
            <a:custGeom>
              <a:avLst/>
              <a:gdLst>
                <a:gd name="T0" fmla="*/ 0 w 230"/>
                <a:gd name="T1" fmla="*/ 32 h 115"/>
                <a:gd name="T2" fmla="*/ 33 w 230"/>
                <a:gd name="T3" fmla="*/ 3 h 115"/>
                <a:gd name="T4" fmla="*/ 33 w 230"/>
                <a:gd name="T5" fmla="*/ 3 h 115"/>
                <a:gd name="T6" fmla="*/ 230 w 230"/>
                <a:gd name="T7" fmla="*/ 79 h 115"/>
                <a:gd name="T8" fmla="*/ 216 w 230"/>
                <a:gd name="T9" fmla="*/ 115 h 115"/>
                <a:gd name="T10" fmla="*/ 0 w 230"/>
                <a:gd name="T11" fmla="*/ 32 h 115"/>
              </a:gdLst>
              <a:ahLst/>
              <a:cxnLst>
                <a:cxn ang="0">
                  <a:pos x="T0" y="T1"/>
                </a:cxn>
                <a:cxn ang="0">
                  <a:pos x="T2" y="T3"/>
                </a:cxn>
                <a:cxn ang="0">
                  <a:pos x="T4" y="T5"/>
                </a:cxn>
                <a:cxn ang="0">
                  <a:pos x="T6" y="T7"/>
                </a:cxn>
                <a:cxn ang="0">
                  <a:pos x="T8" y="T9"/>
                </a:cxn>
                <a:cxn ang="0">
                  <a:pos x="T10" y="T11"/>
                </a:cxn>
              </a:cxnLst>
              <a:rect l="0" t="0" r="r" b="b"/>
              <a:pathLst>
                <a:path w="230" h="115">
                  <a:moveTo>
                    <a:pt x="0" y="32"/>
                  </a:moveTo>
                  <a:cubicBezTo>
                    <a:pt x="8" y="13"/>
                    <a:pt x="22" y="0"/>
                    <a:pt x="33" y="3"/>
                  </a:cubicBezTo>
                  <a:cubicBezTo>
                    <a:pt x="33" y="3"/>
                    <a:pt x="33" y="3"/>
                    <a:pt x="33" y="3"/>
                  </a:cubicBezTo>
                  <a:cubicBezTo>
                    <a:pt x="230" y="79"/>
                    <a:pt x="230" y="79"/>
                    <a:pt x="230" y="79"/>
                  </a:cubicBezTo>
                  <a:cubicBezTo>
                    <a:pt x="216" y="115"/>
                    <a:pt x="216" y="115"/>
                    <a:pt x="216" y="115"/>
                  </a:cubicBezTo>
                  <a:lnTo>
                    <a:pt x="0" y="32"/>
                  </a:lnTo>
                  <a:close/>
                </a:path>
              </a:pathLst>
            </a:custGeom>
            <a:solidFill>
              <a:srgbClr val="7D6B6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iśḻîḑe">
              <a:extLst>
                <a:ext uri="{FF2B5EF4-FFF2-40B4-BE49-F238E27FC236}">
                  <a16:creationId xmlns:a16="http://schemas.microsoft.com/office/drawing/2014/main" id="{172E4C51-0A9D-4237-97AA-94E969C96C18}"/>
                </a:ext>
              </a:extLst>
            </p:cNvPr>
            <p:cNvSpPr/>
            <p:nvPr/>
          </p:nvSpPr>
          <p:spPr bwMode="auto">
            <a:xfrm>
              <a:off x="5869769" y="4579244"/>
              <a:ext cx="505478" cy="761334"/>
            </a:xfrm>
            <a:custGeom>
              <a:avLst/>
              <a:gdLst>
                <a:gd name="T0" fmla="*/ 9 w 59"/>
                <a:gd name="T1" fmla="*/ 37 h 89"/>
                <a:gd name="T2" fmla="*/ 14 w 59"/>
                <a:gd name="T3" fmla="*/ 85 h 89"/>
                <a:gd name="T4" fmla="*/ 51 w 59"/>
                <a:gd name="T5" fmla="*/ 53 h 89"/>
                <a:gd name="T6" fmla="*/ 45 w 59"/>
                <a:gd name="T7" fmla="*/ 5 h 89"/>
                <a:gd name="T8" fmla="*/ 9 w 59"/>
                <a:gd name="T9" fmla="*/ 37 h 89"/>
              </a:gdLst>
              <a:ahLst/>
              <a:cxnLst>
                <a:cxn ang="0">
                  <a:pos x="T0" y="T1"/>
                </a:cxn>
                <a:cxn ang="0">
                  <a:pos x="T2" y="T3"/>
                </a:cxn>
                <a:cxn ang="0">
                  <a:pos x="T4" y="T5"/>
                </a:cxn>
                <a:cxn ang="0">
                  <a:pos x="T6" y="T7"/>
                </a:cxn>
                <a:cxn ang="0">
                  <a:pos x="T8" y="T9"/>
                </a:cxn>
              </a:cxnLst>
              <a:rect l="0" t="0" r="r" b="b"/>
              <a:pathLst>
                <a:path w="59" h="89">
                  <a:moveTo>
                    <a:pt x="9" y="37"/>
                  </a:moveTo>
                  <a:cubicBezTo>
                    <a:pt x="0" y="59"/>
                    <a:pt x="3" y="81"/>
                    <a:pt x="14" y="85"/>
                  </a:cubicBezTo>
                  <a:cubicBezTo>
                    <a:pt x="26" y="89"/>
                    <a:pt x="42" y="75"/>
                    <a:pt x="51" y="53"/>
                  </a:cubicBezTo>
                  <a:cubicBezTo>
                    <a:pt x="59" y="31"/>
                    <a:pt x="57" y="9"/>
                    <a:pt x="45" y="5"/>
                  </a:cubicBezTo>
                  <a:cubicBezTo>
                    <a:pt x="33" y="0"/>
                    <a:pt x="17" y="15"/>
                    <a:pt x="9" y="37"/>
                  </a:cubicBezTo>
                  <a:close/>
                </a:path>
              </a:pathLst>
            </a:custGeom>
            <a:solidFill>
              <a:srgbClr val="CEB67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ïṡľïḑé">
              <a:extLst>
                <a:ext uri="{FF2B5EF4-FFF2-40B4-BE49-F238E27FC236}">
                  <a16:creationId xmlns:a16="http://schemas.microsoft.com/office/drawing/2014/main" id="{7C53B934-D786-42AA-AB51-C1D697005336}"/>
                </a:ext>
              </a:extLst>
            </p:cNvPr>
            <p:cNvSpPr/>
            <p:nvPr/>
          </p:nvSpPr>
          <p:spPr bwMode="auto">
            <a:xfrm>
              <a:off x="5950897" y="4697815"/>
              <a:ext cx="343226" cy="530439"/>
            </a:xfrm>
            <a:custGeom>
              <a:avLst/>
              <a:gdLst>
                <a:gd name="T0" fmla="*/ 5 w 40"/>
                <a:gd name="T1" fmla="*/ 25 h 62"/>
                <a:gd name="T2" fmla="*/ 9 w 40"/>
                <a:gd name="T3" fmla="*/ 59 h 62"/>
                <a:gd name="T4" fmla="*/ 34 w 40"/>
                <a:gd name="T5" fmla="*/ 36 h 62"/>
                <a:gd name="T6" fmla="*/ 30 w 40"/>
                <a:gd name="T7" fmla="*/ 3 h 62"/>
                <a:gd name="T8" fmla="*/ 5 w 40"/>
                <a:gd name="T9" fmla="*/ 25 h 62"/>
              </a:gdLst>
              <a:ahLst/>
              <a:cxnLst>
                <a:cxn ang="0">
                  <a:pos x="T0" y="T1"/>
                </a:cxn>
                <a:cxn ang="0">
                  <a:pos x="T2" y="T3"/>
                </a:cxn>
                <a:cxn ang="0">
                  <a:pos x="T4" y="T5"/>
                </a:cxn>
                <a:cxn ang="0">
                  <a:pos x="T6" y="T7"/>
                </a:cxn>
                <a:cxn ang="0">
                  <a:pos x="T8" y="T9"/>
                </a:cxn>
              </a:cxnLst>
              <a:rect l="0" t="0" r="r" b="b"/>
              <a:pathLst>
                <a:path w="40" h="62">
                  <a:moveTo>
                    <a:pt x="5" y="25"/>
                  </a:moveTo>
                  <a:cubicBezTo>
                    <a:pt x="0" y="41"/>
                    <a:pt x="1" y="56"/>
                    <a:pt x="9" y="59"/>
                  </a:cubicBezTo>
                  <a:cubicBezTo>
                    <a:pt x="17" y="62"/>
                    <a:pt x="28" y="52"/>
                    <a:pt x="34" y="36"/>
                  </a:cubicBezTo>
                  <a:cubicBezTo>
                    <a:pt x="40" y="21"/>
                    <a:pt x="38" y="6"/>
                    <a:pt x="30" y="3"/>
                  </a:cubicBezTo>
                  <a:cubicBezTo>
                    <a:pt x="22" y="0"/>
                    <a:pt x="11" y="10"/>
                    <a:pt x="5" y="25"/>
                  </a:cubicBezTo>
                  <a:close/>
                </a:path>
              </a:pathLst>
            </a:custGeom>
            <a:noFill/>
            <a:ln w="11113" cap="flat">
              <a:solidFill>
                <a:srgbClr val="6C5953"/>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45" name="íśľidê">
              <a:extLst>
                <a:ext uri="{FF2B5EF4-FFF2-40B4-BE49-F238E27FC236}">
                  <a16:creationId xmlns:a16="http://schemas.microsoft.com/office/drawing/2014/main" id="{63A1F1CA-C563-4750-89A3-9F304F3AFD5D}"/>
                </a:ext>
              </a:extLst>
            </p:cNvPr>
            <p:cNvSpPr/>
            <p:nvPr/>
          </p:nvSpPr>
          <p:spPr bwMode="auto">
            <a:xfrm>
              <a:off x="6044501" y="4841343"/>
              <a:ext cx="156013" cy="230898"/>
            </a:xfrm>
            <a:custGeom>
              <a:avLst/>
              <a:gdLst>
                <a:gd name="T0" fmla="*/ 2 w 18"/>
                <a:gd name="T1" fmla="*/ 11 h 27"/>
                <a:gd name="T2" fmla="*/ 4 w 18"/>
                <a:gd name="T3" fmla="*/ 26 h 27"/>
                <a:gd name="T4" fmla="*/ 15 w 18"/>
                <a:gd name="T5" fmla="*/ 16 h 27"/>
                <a:gd name="T6" fmla="*/ 13 w 18"/>
                <a:gd name="T7" fmla="*/ 2 h 27"/>
                <a:gd name="T8" fmla="*/ 2 w 18"/>
                <a:gd name="T9" fmla="*/ 11 h 27"/>
              </a:gdLst>
              <a:ahLst/>
              <a:cxnLst>
                <a:cxn ang="0">
                  <a:pos x="T0" y="T1"/>
                </a:cxn>
                <a:cxn ang="0">
                  <a:pos x="T2" y="T3"/>
                </a:cxn>
                <a:cxn ang="0">
                  <a:pos x="T4" y="T5"/>
                </a:cxn>
                <a:cxn ang="0">
                  <a:pos x="T6" y="T7"/>
                </a:cxn>
                <a:cxn ang="0">
                  <a:pos x="T8" y="T9"/>
                </a:cxn>
              </a:cxnLst>
              <a:rect l="0" t="0" r="r" b="b"/>
              <a:pathLst>
                <a:path w="18" h="27">
                  <a:moveTo>
                    <a:pt x="2" y="11"/>
                  </a:moveTo>
                  <a:cubicBezTo>
                    <a:pt x="0" y="18"/>
                    <a:pt x="1" y="25"/>
                    <a:pt x="4" y="26"/>
                  </a:cubicBezTo>
                  <a:cubicBezTo>
                    <a:pt x="8" y="27"/>
                    <a:pt x="13" y="23"/>
                    <a:pt x="15" y="16"/>
                  </a:cubicBezTo>
                  <a:cubicBezTo>
                    <a:pt x="18" y="10"/>
                    <a:pt x="17" y="3"/>
                    <a:pt x="13" y="2"/>
                  </a:cubicBezTo>
                  <a:cubicBezTo>
                    <a:pt x="10" y="0"/>
                    <a:pt x="5" y="5"/>
                    <a:pt x="2" y="11"/>
                  </a:cubicBezTo>
                  <a:close/>
                </a:path>
              </a:pathLst>
            </a:custGeom>
            <a:noFill/>
            <a:ln w="11113" cap="flat">
              <a:solidFill>
                <a:srgbClr val="6C5953"/>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46" name="ísľïḍe">
              <a:extLst>
                <a:ext uri="{FF2B5EF4-FFF2-40B4-BE49-F238E27FC236}">
                  <a16:creationId xmlns:a16="http://schemas.microsoft.com/office/drawing/2014/main" id="{6F5A33DE-116D-4433-81FB-C84C020BE792}"/>
                </a:ext>
              </a:extLst>
            </p:cNvPr>
            <p:cNvSpPr/>
            <p:nvPr/>
          </p:nvSpPr>
          <p:spPr bwMode="auto">
            <a:xfrm>
              <a:off x="5975858" y="3942719"/>
              <a:ext cx="2059346" cy="1360416"/>
            </a:xfrm>
            <a:custGeom>
              <a:avLst/>
              <a:gdLst>
                <a:gd name="T0" fmla="*/ 232 w 240"/>
                <a:gd name="T1" fmla="*/ 36 h 159"/>
                <a:gd name="T2" fmla="*/ 197 w 240"/>
                <a:gd name="T3" fmla="*/ 3 h 159"/>
                <a:gd name="T4" fmla="*/ 197 w 240"/>
                <a:gd name="T5" fmla="*/ 3 h 159"/>
                <a:gd name="T6" fmla="*/ 0 w 240"/>
                <a:gd name="T7" fmla="*/ 79 h 159"/>
                <a:gd name="T8" fmla="*/ 31 w 240"/>
                <a:gd name="T9" fmla="*/ 159 h 159"/>
                <a:gd name="T10" fmla="*/ 228 w 240"/>
                <a:gd name="T11" fmla="*/ 83 h 159"/>
                <a:gd name="T12" fmla="*/ 228 w 240"/>
                <a:gd name="T13" fmla="*/ 83 h 159"/>
                <a:gd name="T14" fmla="*/ 232 w 240"/>
                <a:gd name="T15" fmla="*/ 36 h 1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0" h="159">
                  <a:moveTo>
                    <a:pt x="232" y="36"/>
                  </a:moveTo>
                  <a:cubicBezTo>
                    <a:pt x="224" y="14"/>
                    <a:pt x="209" y="0"/>
                    <a:pt x="197" y="3"/>
                  </a:cubicBezTo>
                  <a:cubicBezTo>
                    <a:pt x="197" y="3"/>
                    <a:pt x="197" y="3"/>
                    <a:pt x="197" y="3"/>
                  </a:cubicBezTo>
                  <a:cubicBezTo>
                    <a:pt x="0" y="79"/>
                    <a:pt x="0" y="79"/>
                    <a:pt x="0" y="79"/>
                  </a:cubicBezTo>
                  <a:cubicBezTo>
                    <a:pt x="31" y="159"/>
                    <a:pt x="31" y="159"/>
                    <a:pt x="31" y="159"/>
                  </a:cubicBezTo>
                  <a:cubicBezTo>
                    <a:pt x="228" y="83"/>
                    <a:pt x="228" y="83"/>
                    <a:pt x="228" y="83"/>
                  </a:cubicBezTo>
                  <a:cubicBezTo>
                    <a:pt x="228" y="83"/>
                    <a:pt x="228" y="83"/>
                    <a:pt x="228" y="83"/>
                  </a:cubicBezTo>
                  <a:cubicBezTo>
                    <a:pt x="238" y="78"/>
                    <a:pt x="240" y="57"/>
                    <a:pt x="232" y="36"/>
                  </a:cubicBezTo>
                  <a:close/>
                </a:path>
              </a:pathLst>
            </a:custGeom>
            <a:solidFill>
              <a:srgbClr val="6C595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îS1îḓe">
              <a:extLst>
                <a:ext uri="{FF2B5EF4-FFF2-40B4-BE49-F238E27FC236}">
                  <a16:creationId xmlns:a16="http://schemas.microsoft.com/office/drawing/2014/main" id="{A93CA728-D100-418B-8AFA-533225266C8B}"/>
                </a:ext>
              </a:extLst>
            </p:cNvPr>
            <p:cNvSpPr/>
            <p:nvPr/>
          </p:nvSpPr>
          <p:spPr bwMode="auto">
            <a:xfrm>
              <a:off x="5975858" y="3942719"/>
              <a:ext cx="1984461" cy="985990"/>
            </a:xfrm>
            <a:custGeom>
              <a:avLst/>
              <a:gdLst>
                <a:gd name="T0" fmla="*/ 231 w 231"/>
                <a:gd name="T1" fmla="*/ 32 h 115"/>
                <a:gd name="T2" fmla="*/ 197 w 231"/>
                <a:gd name="T3" fmla="*/ 3 h 115"/>
                <a:gd name="T4" fmla="*/ 197 w 231"/>
                <a:gd name="T5" fmla="*/ 3 h 115"/>
                <a:gd name="T6" fmla="*/ 0 w 231"/>
                <a:gd name="T7" fmla="*/ 79 h 115"/>
                <a:gd name="T8" fmla="*/ 14 w 231"/>
                <a:gd name="T9" fmla="*/ 115 h 115"/>
                <a:gd name="T10" fmla="*/ 231 w 231"/>
                <a:gd name="T11" fmla="*/ 32 h 115"/>
              </a:gdLst>
              <a:ahLst/>
              <a:cxnLst>
                <a:cxn ang="0">
                  <a:pos x="T0" y="T1"/>
                </a:cxn>
                <a:cxn ang="0">
                  <a:pos x="T2" y="T3"/>
                </a:cxn>
                <a:cxn ang="0">
                  <a:pos x="T4" y="T5"/>
                </a:cxn>
                <a:cxn ang="0">
                  <a:pos x="T6" y="T7"/>
                </a:cxn>
                <a:cxn ang="0">
                  <a:pos x="T8" y="T9"/>
                </a:cxn>
                <a:cxn ang="0">
                  <a:pos x="T10" y="T11"/>
                </a:cxn>
              </a:cxnLst>
              <a:rect l="0" t="0" r="r" b="b"/>
              <a:pathLst>
                <a:path w="231" h="115">
                  <a:moveTo>
                    <a:pt x="231" y="32"/>
                  </a:moveTo>
                  <a:cubicBezTo>
                    <a:pt x="222" y="13"/>
                    <a:pt x="208" y="0"/>
                    <a:pt x="197" y="3"/>
                  </a:cubicBezTo>
                  <a:cubicBezTo>
                    <a:pt x="197" y="3"/>
                    <a:pt x="197" y="3"/>
                    <a:pt x="197" y="3"/>
                  </a:cubicBezTo>
                  <a:cubicBezTo>
                    <a:pt x="0" y="79"/>
                    <a:pt x="0" y="79"/>
                    <a:pt x="0" y="79"/>
                  </a:cubicBezTo>
                  <a:cubicBezTo>
                    <a:pt x="14" y="115"/>
                    <a:pt x="14" y="115"/>
                    <a:pt x="14" y="115"/>
                  </a:cubicBezTo>
                  <a:lnTo>
                    <a:pt x="231" y="32"/>
                  </a:lnTo>
                  <a:close/>
                </a:path>
              </a:pathLst>
            </a:custGeom>
            <a:solidFill>
              <a:srgbClr val="7D6B6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îṥ1íḑe">
              <a:extLst>
                <a:ext uri="{FF2B5EF4-FFF2-40B4-BE49-F238E27FC236}">
                  <a16:creationId xmlns:a16="http://schemas.microsoft.com/office/drawing/2014/main" id="{6DA39186-1713-457A-BD1D-E1C43872F283}"/>
                </a:ext>
              </a:extLst>
            </p:cNvPr>
            <p:cNvSpPr/>
            <p:nvPr/>
          </p:nvSpPr>
          <p:spPr bwMode="auto">
            <a:xfrm>
              <a:off x="5857288" y="4579244"/>
              <a:ext cx="505478" cy="761334"/>
            </a:xfrm>
            <a:custGeom>
              <a:avLst/>
              <a:gdLst>
                <a:gd name="T0" fmla="*/ 51 w 59"/>
                <a:gd name="T1" fmla="*/ 37 h 89"/>
                <a:gd name="T2" fmla="*/ 45 w 59"/>
                <a:gd name="T3" fmla="*/ 85 h 89"/>
                <a:gd name="T4" fmla="*/ 9 w 59"/>
                <a:gd name="T5" fmla="*/ 53 h 89"/>
                <a:gd name="T6" fmla="*/ 14 w 59"/>
                <a:gd name="T7" fmla="*/ 5 h 89"/>
                <a:gd name="T8" fmla="*/ 51 w 59"/>
                <a:gd name="T9" fmla="*/ 37 h 89"/>
              </a:gdLst>
              <a:ahLst/>
              <a:cxnLst>
                <a:cxn ang="0">
                  <a:pos x="T0" y="T1"/>
                </a:cxn>
                <a:cxn ang="0">
                  <a:pos x="T2" y="T3"/>
                </a:cxn>
                <a:cxn ang="0">
                  <a:pos x="T4" y="T5"/>
                </a:cxn>
                <a:cxn ang="0">
                  <a:pos x="T6" y="T7"/>
                </a:cxn>
                <a:cxn ang="0">
                  <a:pos x="T8" y="T9"/>
                </a:cxn>
              </a:cxnLst>
              <a:rect l="0" t="0" r="r" b="b"/>
              <a:pathLst>
                <a:path w="59" h="89">
                  <a:moveTo>
                    <a:pt x="51" y="37"/>
                  </a:moveTo>
                  <a:cubicBezTo>
                    <a:pt x="59" y="59"/>
                    <a:pt x="56" y="81"/>
                    <a:pt x="45" y="85"/>
                  </a:cubicBezTo>
                  <a:cubicBezTo>
                    <a:pt x="33" y="89"/>
                    <a:pt x="17" y="75"/>
                    <a:pt x="9" y="53"/>
                  </a:cubicBezTo>
                  <a:cubicBezTo>
                    <a:pt x="0" y="31"/>
                    <a:pt x="3" y="9"/>
                    <a:pt x="14" y="5"/>
                  </a:cubicBezTo>
                  <a:cubicBezTo>
                    <a:pt x="26" y="0"/>
                    <a:pt x="42" y="15"/>
                    <a:pt x="51" y="37"/>
                  </a:cubicBezTo>
                  <a:close/>
                </a:path>
              </a:pathLst>
            </a:custGeom>
            <a:solidFill>
              <a:srgbClr val="CEB67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iṥľïḑé">
              <a:extLst>
                <a:ext uri="{FF2B5EF4-FFF2-40B4-BE49-F238E27FC236}">
                  <a16:creationId xmlns:a16="http://schemas.microsoft.com/office/drawing/2014/main" id="{49981E96-EC62-4F9A-BF30-C0FD062D90EB}"/>
                </a:ext>
              </a:extLst>
            </p:cNvPr>
            <p:cNvSpPr/>
            <p:nvPr/>
          </p:nvSpPr>
          <p:spPr bwMode="auto">
            <a:xfrm>
              <a:off x="5938416" y="4697815"/>
              <a:ext cx="349465" cy="530439"/>
            </a:xfrm>
            <a:custGeom>
              <a:avLst/>
              <a:gdLst>
                <a:gd name="T0" fmla="*/ 35 w 41"/>
                <a:gd name="T1" fmla="*/ 25 h 62"/>
                <a:gd name="T2" fmla="*/ 31 w 41"/>
                <a:gd name="T3" fmla="*/ 59 h 62"/>
                <a:gd name="T4" fmla="*/ 6 w 41"/>
                <a:gd name="T5" fmla="*/ 36 h 62"/>
                <a:gd name="T6" fmla="*/ 10 w 41"/>
                <a:gd name="T7" fmla="*/ 3 h 62"/>
                <a:gd name="T8" fmla="*/ 35 w 41"/>
                <a:gd name="T9" fmla="*/ 25 h 62"/>
              </a:gdLst>
              <a:ahLst/>
              <a:cxnLst>
                <a:cxn ang="0">
                  <a:pos x="T0" y="T1"/>
                </a:cxn>
                <a:cxn ang="0">
                  <a:pos x="T2" y="T3"/>
                </a:cxn>
                <a:cxn ang="0">
                  <a:pos x="T4" y="T5"/>
                </a:cxn>
                <a:cxn ang="0">
                  <a:pos x="T6" y="T7"/>
                </a:cxn>
                <a:cxn ang="0">
                  <a:pos x="T8" y="T9"/>
                </a:cxn>
              </a:cxnLst>
              <a:rect l="0" t="0" r="r" b="b"/>
              <a:pathLst>
                <a:path w="41" h="62">
                  <a:moveTo>
                    <a:pt x="35" y="25"/>
                  </a:moveTo>
                  <a:cubicBezTo>
                    <a:pt x="41" y="41"/>
                    <a:pt x="39" y="56"/>
                    <a:pt x="31" y="59"/>
                  </a:cubicBezTo>
                  <a:cubicBezTo>
                    <a:pt x="23" y="62"/>
                    <a:pt x="12" y="52"/>
                    <a:pt x="6" y="36"/>
                  </a:cubicBezTo>
                  <a:cubicBezTo>
                    <a:pt x="0" y="21"/>
                    <a:pt x="2" y="6"/>
                    <a:pt x="10" y="3"/>
                  </a:cubicBezTo>
                  <a:cubicBezTo>
                    <a:pt x="18" y="0"/>
                    <a:pt x="29" y="10"/>
                    <a:pt x="35" y="25"/>
                  </a:cubicBezTo>
                  <a:close/>
                </a:path>
              </a:pathLst>
            </a:custGeom>
            <a:noFill/>
            <a:ln w="11113" cap="flat">
              <a:solidFill>
                <a:srgbClr val="6C5953"/>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50" name="íṥḷïḓê">
              <a:extLst>
                <a:ext uri="{FF2B5EF4-FFF2-40B4-BE49-F238E27FC236}">
                  <a16:creationId xmlns:a16="http://schemas.microsoft.com/office/drawing/2014/main" id="{B3D6CE26-F777-4817-9E0F-CD85D9DDD231}"/>
                </a:ext>
              </a:extLst>
            </p:cNvPr>
            <p:cNvSpPr/>
            <p:nvPr/>
          </p:nvSpPr>
          <p:spPr bwMode="auto">
            <a:xfrm>
              <a:off x="6038263" y="4841343"/>
              <a:ext cx="143532" cy="230898"/>
            </a:xfrm>
            <a:custGeom>
              <a:avLst/>
              <a:gdLst>
                <a:gd name="T0" fmla="*/ 15 w 17"/>
                <a:gd name="T1" fmla="*/ 11 h 27"/>
                <a:gd name="T2" fmla="*/ 13 w 17"/>
                <a:gd name="T3" fmla="*/ 26 h 27"/>
                <a:gd name="T4" fmla="*/ 2 w 17"/>
                <a:gd name="T5" fmla="*/ 16 h 27"/>
                <a:gd name="T6" fmla="*/ 4 w 17"/>
                <a:gd name="T7" fmla="*/ 2 h 27"/>
                <a:gd name="T8" fmla="*/ 15 w 17"/>
                <a:gd name="T9" fmla="*/ 11 h 27"/>
              </a:gdLst>
              <a:ahLst/>
              <a:cxnLst>
                <a:cxn ang="0">
                  <a:pos x="T0" y="T1"/>
                </a:cxn>
                <a:cxn ang="0">
                  <a:pos x="T2" y="T3"/>
                </a:cxn>
                <a:cxn ang="0">
                  <a:pos x="T4" y="T5"/>
                </a:cxn>
                <a:cxn ang="0">
                  <a:pos x="T6" y="T7"/>
                </a:cxn>
                <a:cxn ang="0">
                  <a:pos x="T8" y="T9"/>
                </a:cxn>
              </a:cxnLst>
              <a:rect l="0" t="0" r="r" b="b"/>
              <a:pathLst>
                <a:path w="17" h="27">
                  <a:moveTo>
                    <a:pt x="15" y="11"/>
                  </a:moveTo>
                  <a:cubicBezTo>
                    <a:pt x="17" y="18"/>
                    <a:pt x="17" y="25"/>
                    <a:pt x="13" y="26"/>
                  </a:cubicBezTo>
                  <a:cubicBezTo>
                    <a:pt x="10" y="27"/>
                    <a:pt x="5" y="23"/>
                    <a:pt x="2" y="16"/>
                  </a:cubicBezTo>
                  <a:cubicBezTo>
                    <a:pt x="0" y="10"/>
                    <a:pt x="1" y="3"/>
                    <a:pt x="4" y="2"/>
                  </a:cubicBezTo>
                  <a:cubicBezTo>
                    <a:pt x="8" y="0"/>
                    <a:pt x="12" y="5"/>
                    <a:pt x="15" y="11"/>
                  </a:cubicBezTo>
                  <a:close/>
                </a:path>
              </a:pathLst>
            </a:custGeom>
            <a:noFill/>
            <a:ln w="11113" cap="flat">
              <a:solidFill>
                <a:srgbClr val="6C5953"/>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51" name="îṧḻîḋê">
              <a:extLst>
                <a:ext uri="{FF2B5EF4-FFF2-40B4-BE49-F238E27FC236}">
                  <a16:creationId xmlns:a16="http://schemas.microsoft.com/office/drawing/2014/main" id="{4D1B7C46-668C-4732-84DF-3C24E78127B1}"/>
                </a:ext>
              </a:extLst>
            </p:cNvPr>
            <p:cNvSpPr/>
            <p:nvPr/>
          </p:nvSpPr>
          <p:spPr bwMode="auto">
            <a:xfrm>
              <a:off x="5276929" y="2576065"/>
              <a:ext cx="1684919" cy="2471215"/>
            </a:xfrm>
            <a:custGeom>
              <a:avLst/>
              <a:gdLst>
                <a:gd name="T0" fmla="*/ 21 w 197"/>
                <a:gd name="T1" fmla="*/ 243 h 289"/>
                <a:gd name="T2" fmla="*/ 0 w 197"/>
                <a:gd name="T3" fmla="*/ 192 h 289"/>
                <a:gd name="T4" fmla="*/ 8 w 197"/>
                <a:gd name="T5" fmla="*/ 129 h 289"/>
                <a:gd name="T6" fmla="*/ 34 w 197"/>
                <a:gd name="T7" fmla="*/ 85 h 289"/>
                <a:gd name="T8" fmla="*/ 63 w 197"/>
                <a:gd name="T9" fmla="*/ 7 h 289"/>
                <a:gd name="T10" fmla="*/ 90 w 197"/>
                <a:gd name="T11" fmla="*/ 3 h 289"/>
                <a:gd name="T12" fmla="*/ 142 w 197"/>
                <a:gd name="T13" fmla="*/ 56 h 289"/>
                <a:gd name="T14" fmla="*/ 197 w 197"/>
                <a:gd name="T15" fmla="*/ 145 h 289"/>
                <a:gd name="T16" fmla="*/ 187 w 197"/>
                <a:gd name="T17" fmla="*/ 200 h 289"/>
                <a:gd name="T18" fmla="*/ 171 w 197"/>
                <a:gd name="T19" fmla="*/ 233 h 289"/>
                <a:gd name="T20" fmla="*/ 146 w 197"/>
                <a:gd name="T21" fmla="*/ 256 h 289"/>
                <a:gd name="T22" fmla="*/ 119 w 197"/>
                <a:gd name="T23" fmla="*/ 276 h 289"/>
                <a:gd name="T24" fmla="*/ 88 w 197"/>
                <a:gd name="T25" fmla="*/ 289 h 289"/>
                <a:gd name="T26" fmla="*/ 60 w 197"/>
                <a:gd name="T27" fmla="*/ 286 h 289"/>
                <a:gd name="T28" fmla="*/ 57 w 197"/>
                <a:gd name="T29" fmla="*/ 272 h 289"/>
                <a:gd name="T30" fmla="*/ 59 w 197"/>
                <a:gd name="T31" fmla="*/ 262 h 289"/>
                <a:gd name="T32" fmla="*/ 45 w 197"/>
                <a:gd name="T33" fmla="*/ 256 h 289"/>
                <a:gd name="T34" fmla="*/ 21 w 197"/>
                <a:gd name="T35" fmla="*/ 243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7" h="289">
                  <a:moveTo>
                    <a:pt x="21" y="243"/>
                  </a:moveTo>
                  <a:cubicBezTo>
                    <a:pt x="21" y="243"/>
                    <a:pt x="0" y="195"/>
                    <a:pt x="0" y="192"/>
                  </a:cubicBezTo>
                  <a:cubicBezTo>
                    <a:pt x="0" y="190"/>
                    <a:pt x="5" y="132"/>
                    <a:pt x="8" y="129"/>
                  </a:cubicBezTo>
                  <a:cubicBezTo>
                    <a:pt x="12" y="127"/>
                    <a:pt x="34" y="85"/>
                    <a:pt x="34" y="85"/>
                  </a:cubicBezTo>
                  <a:cubicBezTo>
                    <a:pt x="63" y="7"/>
                    <a:pt x="63" y="7"/>
                    <a:pt x="63" y="7"/>
                  </a:cubicBezTo>
                  <a:cubicBezTo>
                    <a:pt x="63" y="7"/>
                    <a:pt x="85" y="0"/>
                    <a:pt x="90" y="3"/>
                  </a:cubicBezTo>
                  <a:cubicBezTo>
                    <a:pt x="95" y="6"/>
                    <a:pt x="142" y="56"/>
                    <a:pt x="142" y="56"/>
                  </a:cubicBezTo>
                  <a:cubicBezTo>
                    <a:pt x="142" y="56"/>
                    <a:pt x="197" y="142"/>
                    <a:pt x="197" y="145"/>
                  </a:cubicBezTo>
                  <a:cubicBezTo>
                    <a:pt x="196" y="148"/>
                    <a:pt x="187" y="200"/>
                    <a:pt x="187" y="200"/>
                  </a:cubicBezTo>
                  <a:cubicBezTo>
                    <a:pt x="171" y="233"/>
                    <a:pt x="171" y="233"/>
                    <a:pt x="171" y="233"/>
                  </a:cubicBezTo>
                  <a:cubicBezTo>
                    <a:pt x="146" y="256"/>
                    <a:pt x="146" y="256"/>
                    <a:pt x="146" y="256"/>
                  </a:cubicBezTo>
                  <a:cubicBezTo>
                    <a:pt x="119" y="276"/>
                    <a:pt x="119" y="276"/>
                    <a:pt x="119" y="276"/>
                  </a:cubicBezTo>
                  <a:cubicBezTo>
                    <a:pt x="88" y="289"/>
                    <a:pt x="88" y="289"/>
                    <a:pt x="88" y="289"/>
                  </a:cubicBezTo>
                  <a:cubicBezTo>
                    <a:pt x="60" y="286"/>
                    <a:pt x="60" y="286"/>
                    <a:pt x="60" y="286"/>
                  </a:cubicBezTo>
                  <a:cubicBezTo>
                    <a:pt x="57" y="272"/>
                    <a:pt x="57" y="272"/>
                    <a:pt x="57" y="272"/>
                  </a:cubicBezTo>
                  <a:cubicBezTo>
                    <a:pt x="59" y="262"/>
                    <a:pt x="59" y="262"/>
                    <a:pt x="59" y="262"/>
                  </a:cubicBezTo>
                  <a:cubicBezTo>
                    <a:pt x="45" y="256"/>
                    <a:pt x="45" y="256"/>
                    <a:pt x="45" y="256"/>
                  </a:cubicBezTo>
                  <a:lnTo>
                    <a:pt x="21" y="243"/>
                  </a:lnTo>
                  <a:close/>
                </a:path>
              </a:pathLst>
            </a:custGeom>
            <a:solidFill>
              <a:srgbClr val="F6D90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íṩḻïḋé">
              <a:extLst>
                <a:ext uri="{FF2B5EF4-FFF2-40B4-BE49-F238E27FC236}">
                  <a16:creationId xmlns:a16="http://schemas.microsoft.com/office/drawing/2014/main" id="{328E7737-5664-45FA-9C1E-B8F839D1F390}"/>
                </a:ext>
              </a:extLst>
            </p:cNvPr>
            <p:cNvSpPr/>
            <p:nvPr/>
          </p:nvSpPr>
          <p:spPr bwMode="auto">
            <a:xfrm>
              <a:off x="4141168" y="4679091"/>
              <a:ext cx="2053107" cy="1360416"/>
            </a:xfrm>
            <a:custGeom>
              <a:avLst/>
              <a:gdLst>
                <a:gd name="T0" fmla="*/ 231 w 239"/>
                <a:gd name="T1" fmla="*/ 36 h 159"/>
                <a:gd name="T2" fmla="*/ 196 w 239"/>
                <a:gd name="T3" fmla="*/ 3 h 159"/>
                <a:gd name="T4" fmla="*/ 196 w 239"/>
                <a:gd name="T5" fmla="*/ 3 h 159"/>
                <a:gd name="T6" fmla="*/ 0 w 239"/>
                <a:gd name="T7" fmla="*/ 78 h 159"/>
                <a:gd name="T8" fmla="*/ 30 w 239"/>
                <a:gd name="T9" fmla="*/ 159 h 159"/>
                <a:gd name="T10" fmla="*/ 227 w 239"/>
                <a:gd name="T11" fmla="*/ 83 h 159"/>
                <a:gd name="T12" fmla="*/ 227 w 239"/>
                <a:gd name="T13" fmla="*/ 83 h 159"/>
                <a:gd name="T14" fmla="*/ 231 w 239"/>
                <a:gd name="T15" fmla="*/ 36 h 1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9" h="159">
                  <a:moveTo>
                    <a:pt x="231" y="36"/>
                  </a:moveTo>
                  <a:cubicBezTo>
                    <a:pt x="223" y="14"/>
                    <a:pt x="208" y="0"/>
                    <a:pt x="196" y="3"/>
                  </a:cubicBezTo>
                  <a:cubicBezTo>
                    <a:pt x="196" y="3"/>
                    <a:pt x="196" y="3"/>
                    <a:pt x="196" y="3"/>
                  </a:cubicBezTo>
                  <a:cubicBezTo>
                    <a:pt x="0" y="78"/>
                    <a:pt x="0" y="78"/>
                    <a:pt x="0" y="78"/>
                  </a:cubicBezTo>
                  <a:cubicBezTo>
                    <a:pt x="30" y="159"/>
                    <a:pt x="30" y="159"/>
                    <a:pt x="30" y="159"/>
                  </a:cubicBezTo>
                  <a:cubicBezTo>
                    <a:pt x="227" y="83"/>
                    <a:pt x="227" y="83"/>
                    <a:pt x="227" y="83"/>
                  </a:cubicBezTo>
                  <a:cubicBezTo>
                    <a:pt x="227" y="83"/>
                    <a:pt x="227" y="83"/>
                    <a:pt x="227" y="83"/>
                  </a:cubicBezTo>
                  <a:cubicBezTo>
                    <a:pt x="237" y="78"/>
                    <a:pt x="239" y="57"/>
                    <a:pt x="231" y="36"/>
                  </a:cubicBezTo>
                  <a:close/>
                </a:path>
              </a:pathLst>
            </a:custGeom>
            <a:solidFill>
              <a:srgbClr val="6C595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i$ḷíḋe">
              <a:extLst>
                <a:ext uri="{FF2B5EF4-FFF2-40B4-BE49-F238E27FC236}">
                  <a16:creationId xmlns:a16="http://schemas.microsoft.com/office/drawing/2014/main" id="{A23A34A9-A3A6-432A-9DFF-A6FC13739BE2}"/>
                </a:ext>
              </a:extLst>
            </p:cNvPr>
            <p:cNvSpPr/>
            <p:nvPr/>
          </p:nvSpPr>
          <p:spPr bwMode="auto">
            <a:xfrm>
              <a:off x="4141168" y="4679091"/>
              <a:ext cx="1971980" cy="985990"/>
            </a:xfrm>
            <a:custGeom>
              <a:avLst/>
              <a:gdLst>
                <a:gd name="T0" fmla="*/ 230 w 230"/>
                <a:gd name="T1" fmla="*/ 32 h 115"/>
                <a:gd name="T2" fmla="*/ 196 w 230"/>
                <a:gd name="T3" fmla="*/ 3 h 115"/>
                <a:gd name="T4" fmla="*/ 196 w 230"/>
                <a:gd name="T5" fmla="*/ 3 h 115"/>
                <a:gd name="T6" fmla="*/ 0 w 230"/>
                <a:gd name="T7" fmla="*/ 78 h 115"/>
                <a:gd name="T8" fmla="*/ 14 w 230"/>
                <a:gd name="T9" fmla="*/ 115 h 115"/>
                <a:gd name="T10" fmla="*/ 230 w 230"/>
                <a:gd name="T11" fmla="*/ 32 h 115"/>
              </a:gdLst>
              <a:ahLst/>
              <a:cxnLst>
                <a:cxn ang="0">
                  <a:pos x="T0" y="T1"/>
                </a:cxn>
                <a:cxn ang="0">
                  <a:pos x="T2" y="T3"/>
                </a:cxn>
                <a:cxn ang="0">
                  <a:pos x="T4" y="T5"/>
                </a:cxn>
                <a:cxn ang="0">
                  <a:pos x="T6" y="T7"/>
                </a:cxn>
                <a:cxn ang="0">
                  <a:pos x="T8" y="T9"/>
                </a:cxn>
                <a:cxn ang="0">
                  <a:pos x="T10" y="T11"/>
                </a:cxn>
              </a:cxnLst>
              <a:rect l="0" t="0" r="r" b="b"/>
              <a:pathLst>
                <a:path w="230" h="115">
                  <a:moveTo>
                    <a:pt x="230" y="32"/>
                  </a:moveTo>
                  <a:cubicBezTo>
                    <a:pt x="221" y="13"/>
                    <a:pt x="207" y="0"/>
                    <a:pt x="196" y="3"/>
                  </a:cubicBezTo>
                  <a:cubicBezTo>
                    <a:pt x="196" y="3"/>
                    <a:pt x="196" y="3"/>
                    <a:pt x="196" y="3"/>
                  </a:cubicBezTo>
                  <a:cubicBezTo>
                    <a:pt x="0" y="78"/>
                    <a:pt x="0" y="78"/>
                    <a:pt x="0" y="78"/>
                  </a:cubicBezTo>
                  <a:cubicBezTo>
                    <a:pt x="14" y="115"/>
                    <a:pt x="14" y="115"/>
                    <a:pt x="14" y="115"/>
                  </a:cubicBezTo>
                  <a:lnTo>
                    <a:pt x="230" y="32"/>
                  </a:lnTo>
                  <a:close/>
                </a:path>
              </a:pathLst>
            </a:custGeom>
            <a:solidFill>
              <a:srgbClr val="7D6B6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íSḷiďé">
              <a:extLst>
                <a:ext uri="{FF2B5EF4-FFF2-40B4-BE49-F238E27FC236}">
                  <a16:creationId xmlns:a16="http://schemas.microsoft.com/office/drawing/2014/main" id="{46312D92-9B72-4E4C-B229-113AFB9294F6}"/>
                </a:ext>
              </a:extLst>
            </p:cNvPr>
            <p:cNvSpPr/>
            <p:nvPr/>
          </p:nvSpPr>
          <p:spPr bwMode="auto">
            <a:xfrm>
              <a:off x="4022598" y="5315616"/>
              <a:ext cx="499235" cy="761334"/>
            </a:xfrm>
            <a:custGeom>
              <a:avLst/>
              <a:gdLst>
                <a:gd name="T0" fmla="*/ 50 w 58"/>
                <a:gd name="T1" fmla="*/ 37 h 89"/>
                <a:gd name="T2" fmla="*/ 44 w 58"/>
                <a:gd name="T3" fmla="*/ 85 h 89"/>
                <a:gd name="T4" fmla="*/ 8 w 58"/>
                <a:gd name="T5" fmla="*/ 53 h 89"/>
                <a:gd name="T6" fmla="*/ 14 w 58"/>
                <a:gd name="T7" fmla="*/ 5 h 89"/>
                <a:gd name="T8" fmla="*/ 50 w 58"/>
                <a:gd name="T9" fmla="*/ 37 h 89"/>
              </a:gdLst>
              <a:ahLst/>
              <a:cxnLst>
                <a:cxn ang="0">
                  <a:pos x="T0" y="T1"/>
                </a:cxn>
                <a:cxn ang="0">
                  <a:pos x="T2" y="T3"/>
                </a:cxn>
                <a:cxn ang="0">
                  <a:pos x="T4" y="T5"/>
                </a:cxn>
                <a:cxn ang="0">
                  <a:pos x="T6" y="T7"/>
                </a:cxn>
                <a:cxn ang="0">
                  <a:pos x="T8" y="T9"/>
                </a:cxn>
              </a:cxnLst>
              <a:rect l="0" t="0" r="r" b="b"/>
              <a:pathLst>
                <a:path w="58" h="89">
                  <a:moveTo>
                    <a:pt x="50" y="37"/>
                  </a:moveTo>
                  <a:cubicBezTo>
                    <a:pt x="58" y="59"/>
                    <a:pt x="56" y="81"/>
                    <a:pt x="44" y="85"/>
                  </a:cubicBezTo>
                  <a:cubicBezTo>
                    <a:pt x="33" y="89"/>
                    <a:pt x="16" y="75"/>
                    <a:pt x="8" y="53"/>
                  </a:cubicBezTo>
                  <a:cubicBezTo>
                    <a:pt x="0" y="30"/>
                    <a:pt x="2" y="9"/>
                    <a:pt x="14" y="5"/>
                  </a:cubicBezTo>
                  <a:cubicBezTo>
                    <a:pt x="25" y="0"/>
                    <a:pt x="41" y="15"/>
                    <a:pt x="50" y="37"/>
                  </a:cubicBezTo>
                  <a:close/>
                </a:path>
              </a:pathLst>
            </a:custGeom>
            <a:solidFill>
              <a:srgbClr val="CEB67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îśļïḍê">
              <a:extLst>
                <a:ext uri="{FF2B5EF4-FFF2-40B4-BE49-F238E27FC236}">
                  <a16:creationId xmlns:a16="http://schemas.microsoft.com/office/drawing/2014/main" id="{096DD285-1E94-4BA2-A077-DAD0B8700196}"/>
                </a:ext>
              </a:extLst>
            </p:cNvPr>
            <p:cNvSpPr/>
            <p:nvPr/>
          </p:nvSpPr>
          <p:spPr bwMode="auto">
            <a:xfrm>
              <a:off x="4103726" y="5434187"/>
              <a:ext cx="343226" cy="524197"/>
            </a:xfrm>
            <a:custGeom>
              <a:avLst/>
              <a:gdLst>
                <a:gd name="T0" fmla="*/ 34 w 40"/>
                <a:gd name="T1" fmla="*/ 25 h 61"/>
                <a:gd name="T2" fmla="*/ 30 w 40"/>
                <a:gd name="T3" fmla="*/ 58 h 61"/>
                <a:gd name="T4" fmla="*/ 5 w 40"/>
                <a:gd name="T5" fmla="*/ 36 h 61"/>
                <a:gd name="T6" fmla="*/ 9 w 40"/>
                <a:gd name="T7" fmla="*/ 3 h 61"/>
                <a:gd name="T8" fmla="*/ 34 w 40"/>
                <a:gd name="T9" fmla="*/ 25 h 61"/>
              </a:gdLst>
              <a:ahLst/>
              <a:cxnLst>
                <a:cxn ang="0">
                  <a:pos x="T0" y="T1"/>
                </a:cxn>
                <a:cxn ang="0">
                  <a:pos x="T2" y="T3"/>
                </a:cxn>
                <a:cxn ang="0">
                  <a:pos x="T4" y="T5"/>
                </a:cxn>
                <a:cxn ang="0">
                  <a:pos x="T6" y="T7"/>
                </a:cxn>
                <a:cxn ang="0">
                  <a:pos x="T8" y="T9"/>
                </a:cxn>
              </a:cxnLst>
              <a:rect l="0" t="0" r="r" b="b"/>
              <a:pathLst>
                <a:path w="40" h="61">
                  <a:moveTo>
                    <a:pt x="34" y="25"/>
                  </a:moveTo>
                  <a:cubicBezTo>
                    <a:pt x="40" y="41"/>
                    <a:pt x="38" y="55"/>
                    <a:pt x="30" y="58"/>
                  </a:cubicBezTo>
                  <a:cubicBezTo>
                    <a:pt x="22" y="61"/>
                    <a:pt x="11" y="51"/>
                    <a:pt x="5" y="36"/>
                  </a:cubicBezTo>
                  <a:cubicBezTo>
                    <a:pt x="0" y="21"/>
                    <a:pt x="1" y="6"/>
                    <a:pt x="9" y="3"/>
                  </a:cubicBezTo>
                  <a:cubicBezTo>
                    <a:pt x="17" y="0"/>
                    <a:pt x="28" y="10"/>
                    <a:pt x="34" y="25"/>
                  </a:cubicBezTo>
                  <a:close/>
                </a:path>
              </a:pathLst>
            </a:custGeom>
            <a:noFill/>
            <a:ln w="11113" cap="flat">
              <a:solidFill>
                <a:srgbClr val="6C5953"/>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56" name="iṣliďê">
              <a:extLst>
                <a:ext uri="{FF2B5EF4-FFF2-40B4-BE49-F238E27FC236}">
                  <a16:creationId xmlns:a16="http://schemas.microsoft.com/office/drawing/2014/main" id="{3B2EE304-8FC9-467A-957D-A8E492600276}"/>
                </a:ext>
              </a:extLst>
            </p:cNvPr>
            <p:cNvSpPr/>
            <p:nvPr/>
          </p:nvSpPr>
          <p:spPr bwMode="auto">
            <a:xfrm>
              <a:off x="4197330" y="5577715"/>
              <a:ext cx="149771" cy="230898"/>
            </a:xfrm>
            <a:custGeom>
              <a:avLst/>
              <a:gdLst>
                <a:gd name="T0" fmla="*/ 15 w 18"/>
                <a:gd name="T1" fmla="*/ 11 h 27"/>
                <a:gd name="T2" fmla="*/ 13 w 18"/>
                <a:gd name="T3" fmla="*/ 26 h 27"/>
                <a:gd name="T4" fmla="*/ 3 w 18"/>
                <a:gd name="T5" fmla="*/ 16 h 27"/>
                <a:gd name="T6" fmla="*/ 4 w 18"/>
                <a:gd name="T7" fmla="*/ 2 h 27"/>
                <a:gd name="T8" fmla="*/ 15 w 18"/>
                <a:gd name="T9" fmla="*/ 11 h 27"/>
              </a:gdLst>
              <a:ahLst/>
              <a:cxnLst>
                <a:cxn ang="0">
                  <a:pos x="T0" y="T1"/>
                </a:cxn>
                <a:cxn ang="0">
                  <a:pos x="T2" y="T3"/>
                </a:cxn>
                <a:cxn ang="0">
                  <a:pos x="T4" y="T5"/>
                </a:cxn>
                <a:cxn ang="0">
                  <a:pos x="T6" y="T7"/>
                </a:cxn>
                <a:cxn ang="0">
                  <a:pos x="T8" y="T9"/>
                </a:cxn>
              </a:cxnLst>
              <a:rect l="0" t="0" r="r" b="b"/>
              <a:pathLst>
                <a:path w="18" h="27">
                  <a:moveTo>
                    <a:pt x="15" y="11"/>
                  </a:moveTo>
                  <a:cubicBezTo>
                    <a:pt x="18" y="18"/>
                    <a:pt x="17" y="25"/>
                    <a:pt x="13" y="26"/>
                  </a:cubicBezTo>
                  <a:cubicBezTo>
                    <a:pt x="10" y="27"/>
                    <a:pt x="5" y="23"/>
                    <a:pt x="3" y="16"/>
                  </a:cubicBezTo>
                  <a:cubicBezTo>
                    <a:pt x="0" y="9"/>
                    <a:pt x="1" y="3"/>
                    <a:pt x="4" y="2"/>
                  </a:cubicBezTo>
                  <a:cubicBezTo>
                    <a:pt x="8" y="0"/>
                    <a:pt x="13" y="5"/>
                    <a:pt x="15" y="11"/>
                  </a:cubicBezTo>
                  <a:close/>
                </a:path>
              </a:pathLst>
            </a:custGeom>
            <a:noFill/>
            <a:ln w="11113" cap="flat">
              <a:solidFill>
                <a:srgbClr val="6C5953"/>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57" name="işľiďe">
              <a:extLst>
                <a:ext uri="{FF2B5EF4-FFF2-40B4-BE49-F238E27FC236}">
                  <a16:creationId xmlns:a16="http://schemas.microsoft.com/office/drawing/2014/main" id="{83E0A9F3-9BD6-4527-B2DE-B952E7597E80}"/>
                </a:ext>
              </a:extLst>
            </p:cNvPr>
            <p:cNvSpPr/>
            <p:nvPr/>
          </p:nvSpPr>
          <p:spPr bwMode="auto">
            <a:xfrm>
              <a:off x="5994578" y="4679091"/>
              <a:ext cx="2059346" cy="1360416"/>
            </a:xfrm>
            <a:custGeom>
              <a:avLst/>
              <a:gdLst>
                <a:gd name="T0" fmla="*/ 8 w 240"/>
                <a:gd name="T1" fmla="*/ 36 h 159"/>
                <a:gd name="T2" fmla="*/ 43 w 240"/>
                <a:gd name="T3" fmla="*/ 3 h 159"/>
                <a:gd name="T4" fmla="*/ 43 w 240"/>
                <a:gd name="T5" fmla="*/ 3 h 159"/>
                <a:gd name="T6" fmla="*/ 240 w 240"/>
                <a:gd name="T7" fmla="*/ 78 h 159"/>
                <a:gd name="T8" fmla="*/ 209 w 240"/>
                <a:gd name="T9" fmla="*/ 159 h 159"/>
                <a:gd name="T10" fmla="*/ 13 w 240"/>
                <a:gd name="T11" fmla="*/ 83 h 159"/>
                <a:gd name="T12" fmla="*/ 13 w 240"/>
                <a:gd name="T13" fmla="*/ 83 h 159"/>
                <a:gd name="T14" fmla="*/ 8 w 240"/>
                <a:gd name="T15" fmla="*/ 36 h 1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0" h="159">
                  <a:moveTo>
                    <a:pt x="8" y="36"/>
                  </a:moveTo>
                  <a:cubicBezTo>
                    <a:pt x="16" y="14"/>
                    <a:pt x="32" y="0"/>
                    <a:pt x="43" y="3"/>
                  </a:cubicBezTo>
                  <a:cubicBezTo>
                    <a:pt x="43" y="3"/>
                    <a:pt x="43" y="3"/>
                    <a:pt x="43" y="3"/>
                  </a:cubicBezTo>
                  <a:cubicBezTo>
                    <a:pt x="240" y="78"/>
                    <a:pt x="240" y="78"/>
                    <a:pt x="240" y="78"/>
                  </a:cubicBezTo>
                  <a:cubicBezTo>
                    <a:pt x="209" y="159"/>
                    <a:pt x="209" y="159"/>
                    <a:pt x="209" y="159"/>
                  </a:cubicBezTo>
                  <a:cubicBezTo>
                    <a:pt x="13" y="83"/>
                    <a:pt x="13" y="83"/>
                    <a:pt x="13" y="83"/>
                  </a:cubicBezTo>
                  <a:cubicBezTo>
                    <a:pt x="13" y="83"/>
                    <a:pt x="13" y="83"/>
                    <a:pt x="13" y="83"/>
                  </a:cubicBezTo>
                  <a:cubicBezTo>
                    <a:pt x="2" y="78"/>
                    <a:pt x="0" y="57"/>
                    <a:pt x="8" y="36"/>
                  </a:cubicBezTo>
                  <a:close/>
                </a:path>
              </a:pathLst>
            </a:custGeom>
            <a:solidFill>
              <a:srgbClr val="6C595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í$ľïďè">
              <a:extLst>
                <a:ext uri="{FF2B5EF4-FFF2-40B4-BE49-F238E27FC236}">
                  <a16:creationId xmlns:a16="http://schemas.microsoft.com/office/drawing/2014/main" id="{60C67825-7CB3-4DA8-AC8E-A59A081AF13C}"/>
                </a:ext>
              </a:extLst>
            </p:cNvPr>
            <p:cNvSpPr/>
            <p:nvPr/>
          </p:nvSpPr>
          <p:spPr bwMode="auto">
            <a:xfrm>
              <a:off x="6081944" y="4679091"/>
              <a:ext cx="1971980" cy="985990"/>
            </a:xfrm>
            <a:custGeom>
              <a:avLst/>
              <a:gdLst>
                <a:gd name="T0" fmla="*/ 0 w 230"/>
                <a:gd name="T1" fmla="*/ 32 h 115"/>
                <a:gd name="T2" fmla="*/ 33 w 230"/>
                <a:gd name="T3" fmla="*/ 3 h 115"/>
                <a:gd name="T4" fmla="*/ 33 w 230"/>
                <a:gd name="T5" fmla="*/ 3 h 115"/>
                <a:gd name="T6" fmla="*/ 230 w 230"/>
                <a:gd name="T7" fmla="*/ 78 h 115"/>
                <a:gd name="T8" fmla="*/ 216 w 230"/>
                <a:gd name="T9" fmla="*/ 115 h 115"/>
                <a:gd name="T10" fmla="*/ 0 w 230"/>
                <a:gd name="T11" fmla="*/ 32 h 115"/>
              </a:gdLst>
              <a:ahLst/>
              <a:cxnLst>
                <a:cxn ang="0">
                  <a:pos x="T0" y="T1"/>
                </a:cxn>
                <a:cxn ang="0">
                  <a:pos x="T2" y="T3"/>
                </a:cxn>
                <a:cxn ang="0">
                  <a:pos x="T4" y="T5"/>
                </a:cxn>
                <a:cxn ang="0">
                  <a:pos x="T6" y="T7"/>
                </a:cxn>
                <a:cxn ang="0">
                  <a:pos x="T8" y="T9"/>
                </a:cxn>
                <a:cxn ang="0">
                  <a:pos x="T10" y="T11"/>
                </a:cxn>
              </a:cxnLst>
              <a:rect l="0" t="0" r="r" b="b"/>
              <a:pathLst>
                <a:path w="230" h="115">
                  <a:moveTo>
                    <a:pt x="0" y="32"/>
                  </a:moveTo>
                  <a:cubicBezTo>
                    <a:pt x="8" y="13"/>
                    <a:pt x="22" y="0"/>
                    <a:pt x="33" y="3"/>
                  </a:cubicBezTo>
                  <a:cubicBezTo>
                    <a:pt x="33" y="3"/>
                    <a:pt x="33" y="3"/>
                    <a:pt x="33" y="3"/>
                  </a:cubicBezTo>
                  <a:cubicBezTo>
                    <a:pt x="230" y="78"/>
                    <a:pt x="230" y="78"/>
                    <a:pt x="230" y="78"/>
                  </a:cubicBezTo>
                  <a:cubicBezTo>
                    <a:pt x="216" y="115"/>
                    <a:pt x="216" y="115"/>
                    <a:pt x="216" y="115"/>
                  </a:cubicBezTo>
                  <a:lnTo>
                    <a:pt x="0" y="32"/>
                  </a:lnTo>
                  <a:close/>
                </a:path>
              </a:pathLst>
            </a:custGeom>
            <a:solidFill>
              <a:srgbClr val="7D6B6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ïSľïḍê">
              <a:extLst>
                <a:ext uri="{FF2B5EF4-FFF2-40B4-BE49-F238E27FC236}">
                  <a16:creationId xmlns:a16="http://schemas.microsoft.com/office/drawing/2014/main" id="{901AC95E-2EB6-4D4A-A200-6A9167EAB867}"/>
                </a:ext>
              </a:extLst>
            </p:cNvPr>
            <p:cNvSpPr/>
            <p:nvPr/>
          </p:nvSpPr>
          <p:spPr bwMode="auto">
            <a:xfrm>
              <a:off x="7667016" y="5315616"/>
              <a:ext cx="505478" cy="761334"/>
            </a:xfrm>
            <a:custGeom>
              <a:avLst/>
              <a:gdLst>
                <a:gd name="T0" fmla="*/ 9 w 59"/>
                <a:gd name="T1" fmla="*/ 37 h 89"/>
                <a:gd name="T2" fmla="*/ 14 w 59"/>
                <a:gd name="T3" fmla="*/ 85 h 89"/>
                <a:gd name="T4" fmla="*/ 50 w 59"/>
                <a:gd name="T5" fmla="*/ 53 h 89"/>
                <a:gd name="T6" fmla="*/ 45 w 59"/>
                <a:gd name="T7" fmla="*/ 5 h 89"/>
                <a:gd name="T8" fmla="*/ 9 w 59"/>
                <a:gd name="T9" fmla="*/ 37 h 89"/>
              </a:gdLst>
              <a:ahLst/>
              <a:cxnLst>
                <a:cxn ang="0">
                  <a:pos x="T0" y="T1"/>
                </a:cxn>
                <a:cxn ang="0">
                  <a:pos x="T2" y="T3"/>
                </a:cxn>
                <a:cxn ang="0">
                  <a:pos x="T4" y="T5"/>
                </a:cxn>
                <a:cxn ang="0">
                  <a:pos x="T6" y="T7"/>
                </a:cxn>
                <a:cxn ang="0">
                  <a:pos x="T8" y="T9"/>
                </a:cxn>
              </a:cxnLst>
              <a:rect l="0" t="0" r="r" b="b"/>
              <a:pathLst>
                <a:path w="59" h="89">
                  <a:moveTo>
                    <a:pt x="9" y="37"/>
                  </a:moveTo>
                  <a:cubicBezTo>
                    <a:pt x="0" y="59"/>
                    <a:pt x="3" y="81"/>
                    <a:pt x="14" y="85"/>
                  </a:cubicBezTo>
                  <a:cubicBezTo>
                    <a:pt x="26" y="89"/>
                    <a:pt x="42" y="75"/>
                    <a:pt x="50" y="53"/>
                  </a:cubicBezTo>
                  <a:cubicBezTo>
                    <a:pt x="59" y="30"/>
                    <a:pt x="56" y="9"/>
                    <a:pt x="45" y="5"/>
                  </a:cubicBezTo>
                  <a:cubicBezTo>
                    <a:pt x="33" y="0"/>
                    <a:pt x="17" y="15"/>
                    <a:pt x="9" y="37"/>
                  </a:cubicBezTo>
                  <a:close/>
                </a:path>
              </a:pathLst>
            </a:custGeom>
            <a:solidFill>
              <a:srgbClr val="CEB67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iṩḷídê">
              <a:extLst>
                <a:ext uri="{FF2B5EF4-FFF2-40B4-BE49-F238E27FC236}">
                  <a16:creationId xmlns:a16="http://schemas.microsoft.com/office/drawing/2014/main" id="{080A548D-8B02-42FC-8A91-4D158EED9932}"/>
                </a:ext>
              </a:extLst>
            </p:cNvPr>
            <p:cNvSpPr/>
            <p:nvPr/>
          </p:nvSpPr>
          <p:spPr bwMode="auto">
            <a:xfrm>
              <a:off x="7741902" y="5434187"/>
              <a:ext cx="355707" cy="524197"/>
            </a:xfrm>
            <a:custGeom>
              <a:avLst/>
              <a:gdLst>
                <a:gd name="T0" fmla="*/ 6 w 41"/>
                <a:gd name="T1" fmla="*/ 25 h 61"/>
                <a:gd name="T2" fmla="*/ 10 w 41"/>
                <a:gd name="T3" fmla="*/ 58 h 61"/>
                <a:gd name="T4" fmla="*/ 35 w 41"/>
                <a:gd name="T5" fmla="*/ 36 h 61"/>
                <a:gd name="T6" fmla="*/ 31 w 41"/>
                <a:gd name="T7" fmla="*/ 3 h 61"/>
                <a:gd name="T8" fmla="*/ 6 w 41"/>
                <a:gd name="T9" fmla="*/ 25 h 61"/>
              </a:gdLst>
              <a:ahLst/>
              <a:cxnLst>
                <a:cxn ang="0">
                  <a:pos x="T0" y="T1"/>
                </a:cxn>
                <a:cxn ang="0">
                  <a:pos x="T2" y="T3"/>
                </a:cxn>
                <a:cxn ang="0">
                  <a:pos x="T4" y="T5"/>
                </a:cxn>
                <a:cxn ang="0">
                  <a:pos x="T6" y="T7"/>
                </a:cxn>
                <a:cxn ang="0">
                  <a:pos x="T8" y="T9"/>
                </a:cxn>
              </a:cxnLst>
              <a:rect l="0" t="0" r="r" b="b"/>
              <a:pathLst>
                <a:path w="41" h="61">
                  <a:moveTo>
                    <a:pt x="6" y="25"/>
                  </a:moveTo>
                  <a:cubicBezTo>
                    <a:pt x="0" y="41"/>
                    <a:pt x="2" y="55"/>
                    <a:pt x="10" y="58"/>
                  </a:cubicBezTo>
                  <a:cubicBezTo>
                    <a:pt x="18" y="61"/>
                    <a:pt x="29" y="51"/>
                    <a:pt x="35" y="36"/>
                  </a:cubicBezTo>
                  <a:cubicBezTo>
                    <a:pt x="41" y="21"/>
                    <a:pt x="39" y="6"/>
                    <a:pt x="31" y="3"/>
                  </a:cubicBezTo>
                  <a:cubicBezTo>
                    <a:pt x="23" y="0"/>
                    <a:pt x="12" y="10"/>
                    <a:pt x="6" y="25"/>
                  </a:cubicBezTo>
                  <a:close/>
                </a:path>
              </a:pathLst>
            </a:custGeom>
            <a:noFill/>
            <a:ln w="11113" cap="flat">
              <a:solidFill>
                <a:srgbClr val="6C5953"/>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61" name="íṩ1iḓé">
              <a:extLst>
                <a:ext uri="{FF2B5EF4-FFF2-40B4-BE49-F238E27FC236}">
                  <a16:creationId xmlns:a16="http://schemas.microsoft.com/office/drawing/2014/main" id="{1151A449-D10F-4399-82D6-D634A9BDDAD7}"/>
                </a:ext>
              </a:extLst>
            </p:cNvPr>
            <p:cNvSpPr/>
            <p:nvPr/>
          </p:nvSpPr>
          <p:spPr bwMode="auto">
            <a:xfrm>
              <a:off x="7847991" y="5577715"/>
              <a:ext cx="143532" cy="230898"/>
            </a:xfrm>
            <a:custGeom>
              <a:avLst/>
              <a:gdLst>
                <a:gd name="T0" fmla="*/ 2 w 17"/>
                <a:gd name="T1" fmla="*/ 11 h 27"/>
                <a:gd name="T2" fmla="*/ 4 w 17"/>
                <a:gd name="T3" fmla="*/ 26 h 27"/>
                <a:gd name="T4" fmla="*/ 15 w 17"/>
                <a:gd name="T5" fmla="*/ 16 h 27"/>
                <a:gd name="T6" fmla="*/ 13 w 17"/>
                <a:gd name="T7" fmla="*/ 2 h 27"/>
                <a:gd name="T8" fmla="*/ 2 w 17"/>
                <a:gd name="T9" fmla="*/ 11 h 27"/>
              </a:gdLst>
              <a:ahLst/>
              <a:cxnLst>
                <a:cxn ang="0">
                  <a:pos x="T0" y="T1"/>
                </a:cxn>
                <a:cxn ang="0">
                  <a:pos x="T2" y="T3"/>
                </a:cxn>
                <a:cxn ang="0">
                  <a:pos x="T4" y="T5"/>
                </a:cxn>
                <a:cxn ang="0">
                  <a:pos x="T6" y="T7"/>
                </a:cxn>
                <a:cxn ang="0">
                  <a:pos x="T8" y="T9"/>
                </a:cxn>
              </a:cxnLst>
              <a:rect l="0" t="0" r="r" b="b"/>
              <a:pathLst>
                <a:path w="17" h="27">
                  <a:moveTo>
                    <a:pt x="2" y="11"/>
                  </a:moveTo>
                  <a:cubicBezTo>
                    <a:pt x="0" y="18"/>
                    <a:pt x="0" y="25"/>
                    <a:pt x="4" y="26"/>
                  </a:cubicBezTo>
                  <a:cubicBezTo>
                    <a:pt x="7" y="27"/>
                    <a:pt x="12" y="23"/>
                    <a:pt x="15" y="16"/>
                  </a:cubicBezTo>
                  <a:cubicBezTo>
                    <a:pt x="17" y="9"/>
                    <a:pt x="17" y="3"/>
                    <a:pt x="13" y="2"/>
                  </a:cubicBezTo>
                  <a:cubicBezTo>
                    <a:pt x="10" y="0"/>
                    <a:pt x="5" y="5"/>
                    <a:pt x="2" y="11"/>
                  </a:cubicBezTo>
                  <a:close/>
                </a:path>
              </a:pathLst>
            </a:custGeom>
            <a:noFill/>
            <a:ln w="11113" cap="flat">
              <a:solidFill>
                <a:srgbClr val="6C5953"/>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62" name="íšlïḍe">
              <a:extLst>
                <a:ext uri="{FF2B5EF4-FFF2-40B4-BE49-F238E27FC236}">
                  <a16:creationId xmlns:a16="http://schemas.microsoft.com/office/drawing/2014/main" id="{9A309C95-33D0-468C-AEE3-2B8B0F54330B}"/>
                </a:ext>
              </a:extLst>
            </p:cNvPr>
            <p:cNvSpPr/>
            <p:nvPr/>
          </p:nvSpPr>
          <p:spPr bwMode="auto">
            <a:xfrm>
              <a:off x="4883779" y="1234368"/>
              <a:ext cx="3007893" cy="3532089"/>
            </a:xfrm>
            <a:custGeom>
              <a:avLst/>
              <a:gdLst>
                <a:gd name="T0" fmla="*/ 91 w 351"/>
                <a:gd name="T1" fmla="*/ 413 h 413"/>
                <a:gd name="T2" fmla="*/ 0 w 351"/>
                <a:gd name="T3" fmla="*/ 302 h 413"/>
                <a:gd name="T4" fmla="*/ 28 w 351"/>
                <a:gd name="T5" fmla="*/ 147 h 413"/>
                <a:gd name="T6" fmla="*/ 75 w 351"/>
                <a:gd name="T7" fmla="*/ 153 h 413"/>
                <a:gd name="T8" fmla="*/ 149 w 351"/>
                <a:gd name="T9" fmla="*/ 0 h 413"/>
                <a:gd name="T10" fmla="*/ 201 w 351"/>
                <a:gd name="T11" fmla="*/ 135 h 413"/>
                <a:gd name="T12" fmla="*/ 192 w 351"/>
                <a:gd name="T13" fmla="*/ 413 h 413"/>
                <a:gd name="T14" fmla="*/ 203 w 351"/>
                <a:gd name="T15" fmla="*/ 293 h 413"/>
                <a:gd name="T16" fmla="*/ 157 w 351"/>
                <a:gd name="T17" fmla="*/ 314 h 413"/>
                <a:gd name="T18" fmla="*/ 127 w 351"/>
                <a:gd name="T19" fmla="*/ 182 h 413"/>
                <a:gd name="T20" fmla="*/ 125 w 351"/>
                <a:gd name="T21" fmla="*/ 232 h 413"/>
                <a:gd name="T22" fmla="*/ 61 w 351"/>
                <a:gd name="T23" fmla="*/ 350 h 413"/>
                <a:gd name="T24" fmla="*/ 91 w 351"/>
                <a:gd name="T25"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1" h="413">
                  <a:moveTo>
                    <a:pt x="91" y="413"/>
                  </a:moveTo>
                  <a:cubicBezTo>
                    <a:pt x="50" y="413"/>
                    <a:pt x="0" y="364"/>
                    <a:pt x="0" y="302"/>
                  </a:cubicBezTo>
                  <a:cubicBezTo>
                    <a:pt x="0" y="240"/>
                    <a:pt x="56" y="196"/>
                    <a:pt x="28" y="147"/>
                  </a:cubicBezTo>
                  <a:cubicBezTo>
                    <a:pt x="28" y="147"/>
                    <a:pt x="61" y="138"/>
                    <a:pt x="75" y="153"/>
                  </a:cubicBezTo>
                  <a:cubicBezTo>
                    <a:pt x="75" y="153"/>
                    <a:pt x="49" y="21"/>
                    <a:pt x="149" y="0"/>
                  </a:cubicBezTo>
                  <a:cubicBezTo>
                    <a:pt x="149" y="0"/>
                    <a:pt x="133" y="67"/>
                    <a:pt x="201" y="135"/>
                  </a:cubicBezTo>
                  <a:cubicBezTo>
                    <a:pt x="269" y="203"/>
                    <a:pt x="351" y="347"/>
                    <a:pt x="192" y="413"/>
                  </a:cubicBezTo>
                  <a:cubicBezTo>
                    <a:pt x="192" y="413"/>
                    <a:pt x="254" y="347"/>
                    <a:pt x="203" y="293"/>
                  </a:cubicBezTo>
                  <a:cubicBezTo>
                    <a:pt x="203" y="293"/>
                    <a:pt x="189" y="321"/>
                    <a:pt x="157" y="314"/>
                  </a:cubicBezTo>
                  <a:cubicBezTo>
                    <a:pt x="157" y="314"/>
                    <a:pt x="205" y="240"/>
                    <a:pt x="127" y="182"/>
                  </a:cubicBezTo>
                  <a:cubicBezTo>
                    <a:pt x="127" y="182"/>
                    <a:pt x="135" y="210"/>
                    <a:pt x="125" y="232"/>
                  </a:cubicBezTo>
                  <a:cubicBezTo>
                    <a:pt x="115" y="254"/>
                    <a:pt x="61" y="305"/>
                    <a:pt x="61" y="350"/>
                  </a:cubicBezTo>
                  <a:cubicBezTo>
                    <a:pt x="61" y="395"/>
                    <a:pt x="91" y="413"/>
                    <a:pt x="91" y="413"/>
                  </a:cubicBezTo>
                  <a:close/>
                </a:path>
              </a:pathLst>
            </a:custGeom>
            <a:solidFill>
              <a:srgbClr val="DB55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63" name="标题 1"/>
          <p:cNvSpPr>
            <a:spLocks noGrp="1"/>
          </p:cNvSpPr>
          <p:nvPr>
            <p:ph type="title"/>
          </p:nvPr>
        </p:nvSpPr>
        <p:spPr>
          <a:xfrm>
            <a:off x="1137925" y="205921"/>
            <a:ext cx="10401280" cy="695186"/>
          </a:xfrm>
        </p:spPr>
        <p:txBody>
          <a:bodyPr/>
          <a:lstStyle/>
          <a:p>
            <a:r>
              <a:rPr lang="zh-CN" altLang="en-US" sz="3200" b="0" dirty="0" smtClean="0">
                <a:latin typeface="Arial"/>
                <a:ea typeface="Microsoft YaHei"/>
                <a:cs typeface="+mn-ea"/>
                <a:sym typeface="Arial"/>
              </a:rPr>
              <a:t>观察者模式</a:t>
            </a:r>
            <a:endParaRPr lang="zh-CN" altLang="en-US" sz="3200" b="0" dirty="0">
              <a:latin typeface="Arial"/>
              <a:ea typeface="Microsoft YaHei"/>
              <a:cs typeface="+mn-ea"/>
              <a:sym typeface="Arial"/>
            </a:endParaRPr>
          </a:p>
        </p:txBody>
      </p:sp>
      <p:grpSp>
        <p:nvGrpSpPr>
          <p:cNvPr id="64" name="组合 63">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65" name="椭圆 64">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66" name="椭圆 65">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
        <p:nvSpPr>
          <p:cNvPr id="67" name="î$ḷîḓê">
            <a:extLst>
              <a:ext uri="{FF2B5EF4-FFF2-40B4-BE49-F238E27FC236}">
                <a16:creationId xmlns:a16="http://schemas.microsoft.com/office/drawing/2014/main" id="{0120662D-08EC-45F4-BE9C-84021ADB4C9A}"/>
              </a:ext>
            </a:extLst>
          </p:cNvPr>
          <p:cNvSpPr/>
          <p:nvPr/>
        </p:nvSpPr>
        <p:spPr bwMode="gray">
          <a:xfrm>
            <a:off x="7211000" y="198392"/>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创建型模式</a:t>
            </a:r>
            <a:endParaRPr lang="en-US" altLang="zh-CN" sz="2400" dirty="0">
              <a:solidFill>
                <a:schemeClr val="bg1"/>
              </a:solidFill>
            </a:endParaRPr>
          </a:p>
        </p:txBody>
      </p:sp>
      <p:sp>
        <p:nvSpPr>
          <p:cNvPr id="68" name="î$ḷîḓê">
            <a:extLst>
              <a:ext uri="{FF2B5EF4-FFF2-40B4-BE49-F238E27FC236}">
                <a16:creationId xmlns:a16="http://schemas.microsoft.com/office/drawing/2014/main" id="{0120662D-08EC-45F4-BE9C-84021ADB4C9A}"/>
              </a:ext>
            </a:extLst>
          </p:cNvPr>
          <p:cNvSpPr/>
          <p:nvPr/>
        </p:nvSpPr>
        <p:spPr bwMode="gray">
          <a:xfrm>
            <a:off x="8749874" y="199746"/>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结构型模式</a:t>
            </a:r>
            <a:endParaRPr lang="en-US" altLang="zh-CN" sz="2400" dirty="0">
              <a:solidFill>
                <a:schemeClr val="bg1"/>
              </a:solidFill>
            </a:endParaRPr>
          </a:p>
        </p:txBody>
      </p:sp>
      <p:sp>
        <p:nvSpPr>
          <p:cNvPr id="69" name="î$ḷîḓê">
            <a:extLst>
              <a:ext uri="{FF2B5EF4-FFF2-40B4-BE49-F238E27FC236}">
                <a16:creationId xmlns:a16="http://schemas.microsoft.com/office/drawing/2014/main" id="{0120662D-08EC-45F4-BE9C-84021ADB4C9A}"/>
              </a:ext>
            </a:extLst>
          </p:cNvPr>
          <p:cNvSpPr/>
          <p:nvPr/>
        </p:nvSpPr>
        <p:spPr bwMode="gray">
          <a:xfrm>
            <a:off x="10282004" y="189695"/>
            <a:ext cx="1506790" cy="480145"/>
          </a:xfrm>
          <a:prstGeom prst="rect">
            <a:avLst/>
          </a:prstGeom>
          <a:solidFill>
            <a:schemeClr val="accent1"/>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行为型模式</a:t>
            </a:r>
            <a:endParaRPr lang="en-US" altLang="zh-CN" sz="2400" dirty="0">
              <a:solidFill>
                <a:schemeClr val="bg1"/>
              </a:solidFill>
            </a:endParaRPr>
          </a:p>
        </p:txBody>
      </p:sp>
    </p:spTree>
    <p:extLst>
      <p:ext uri="{BB962C8B-B14F-4D97-AF65-F5344CB8AC3E}">
        <p14:creationId xmlns:p14="http://schemas.microsoft.com/office/powerpoint/2010/main" val="2611413877"/>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标题 1"/>
          <p:cNvSpPr>
            <a:spLocks noGrp="1"/>
          </p:cNvSpPr>
          <p:nvPr>
            <p:ph type="title"/>
          </p:nvPr>
        </p:nvSpPr>
        <p:spPr>
          <a:xfrm>
            <a:off x="1137925" y="205921"/>
            <a:ext cx="10401280" cy="695186"/>
          </a:xfrm>
        </p:spPr>
        <p:txBody>
          <a:bodyPr/>
          <a:lstStyle/>
          <a:p>
            <a:r>
              <a:rPr lang="zh-CN" altLang="en-US" sz="3200" b="0" dirty="0" smtClean="0">
                <a:latin typeface="Arial"/>
                <a:ea typeface="Microsoft YaHei"/>
                <a:cs typeface="+mn-ea"/>
                <a:sym typeface="Arial"/>
              </a:rPr>
              <a:t>观察者模式</a:t>
            </a:r>
            <a:endParaRPr lang="zh-CN" altLang="en-US" sz="3200" b="0" dirty="0">
              <a:latin typeface="Arial"/>
              <a:ea typeface="Microsoft YaHei"/>
              <a:cs typeface="+mn-ea"/>
              <a:sym typeface="Arial"/>
            </a:endParaRPr>
          </a:p>
        </p:txBody>
      </p:sp>
      <p:grpSp>
        <p:nvGrpSpPr>
          <p:cNvPr id="64" name="组合 63">
            <a:extLst>
              <a:ext uri="{FF2B5EF4-FFF2-40B4-BE49-F238E27FC236}">
                <a16:creationId xmlns:a16="http://schemas.microsoft.com/office/drawing/2014/main" id="{23BFE629-291F-4A1B-ABE0-926F43501190}"/>
              </a:ext>
            </a:extLst>
          </p:cNvPr>
          <p:cNvGrpSpPr/>
          <p:nvPr/>
        </p:nvGrpSpPr>
        <p:grpSpPr>
          <a:xfrm>
            <a:off x="669925" y="210537"/>
            <a:ext cx="468000" cy="468000"/>
            <a:chOff x="669925" y="48611"/>
            <a:chExt cx="468000" cy="468000"/>
          </a:xfrm>
        </p:grpSpPr>
        <p:sp>
          <p:nvSpPr>
            <p:cNvPr id="65" name="椭圆 64">
              <a:extLst>
                <a:ext uri="{FF2B5EF4-FFF2-40B4-BE49-F238E27FC236}">
                  <a16:creationId xmlns:a16="http://schemas.microsoft.com/office/drawing/2014/main" id="{9DD2F02B-F998-4998-9DA9-E882334D0F88}"/>
                </a:ext>
              </a:extLst>
            </p:cNvPr>
            <p:cNvSpPr/>
            <p:nvPr/>
          </p:nvSpPr>
          <p:spPr>
            <a:xfrm>
              <a:off x="669925" y="48611"/>
              <a:ext cx="468000" cy="468000"/>
            </a:xfrm>
            <a:prstGeom prst="ellipse">
              <a:avLst/>
            </a:prstGeom>
            <a:solidFill>
              <a:srgbClr val="00A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sp>
          <p:nvSpPr>
            <p:cNvPr id="66" name="椭圆 65">
              <a:extLst>
                <a:ext uri="{FF2B5EF4-FFF2-40B4-BE49-F238E27FC236}">
                  <a16:creationId xmlns:a16="http://schemas.microsoft.com/office/drawing/2014/main" id="{F974D9B1-D3D9-4B91-B735-60E122B2AFE1}"/>
                </a:ext>
              </a:extLst>
            </p:cNvPr>
            <p:cNvSpPr/>
            <p:nvPr/>
          </p:nvSpPr>
          <p:spPr>
            <a:xfrm>
              <a:off x="813925" y="183902"/>
              <a:ext cx="180000" cy="180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A1E8"/>
                </a:solidFill>
                <a:latin typeface="Arial"/>
                <a:ea typeface="Microsoft YaHei"/>
                <a:cs typeface="+mn-ea"/>
                <a:sym typeface="Arial"/>
              </a:endParaRPr>
            </a:p>
          </p:txBody>
        </p:sp>
      </p:grpSp>
      <p:sp>
        <p:nvSpPr>
          <p:cNvPr id="67" name="î$ḷîḓê">
            <a:extLst>
              <a:ext uri="{FF2B5EF4-FFF2-40B4-BE49-F238E27FC236}">
                <a16:creationId xmlns:a16="http://schemas.microsoft.com/office/drawing/2014/main" id="{0120662D-08EC-45F4-BE9C-84021ADB4C9A}"/>
              </a:ext>
            </a:extLst>
          </p:cNvPr>
          <p:cNvSpPr/>
          <p:nvPr/>
        </p:nvSpPr>
        <p:spPr bwMode="gray">
          <a:xfrm>
            <a:off x="7211000" y="198392"/>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创建型模式</a:t>
            </a:r>
            <a:endParaRPr lang="en-US" altLang="zh-CN" sz="2400" dirty="0">
              <a:solidFill>
                <a:schemeClr val="bg1"/>
              </a:solidFill>
            </a:endParaRPr>
          </a:p>
        </p:txBody>
      </p:sp>
      <p:sp>
        <p:nvSpPr>
          <p:cNvPr id="68" name="î$ḷîḓê">
            <a:extLst>
              <a:ext uri="{FF2B5EF4-FFF2-40B4-BE49-F238E27FC236}">
                <a16:creationId xmlns:a16="http://schemas.microsoft.com/office/drawing/2014/main" id="{0120662D-08EC-45F4-BE9C-84021ADB4C9A}"/>
              </a:ext>
            </a:extLst>
          </p:cNvPr>
          <p:cNvSpPr/>
          <p:nvPr/>
        </p:nvSpPr>
        <p:spPr bwMode="gray">
          <a:xfrm>
            <a:off x="8749874" y="199746"/>
            <a:ext cx="1506790" cy="480145"/>
          </a:xfrm>
          <a:prstGeom prst="rect">
            <a:avLst/>
          </a:prstGeom>
          <a:solidFill>
            <a:schemeClr val="bg1">
              <a:lumMod val="85000"/>
            </a:schemeClr>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结构型模式</a:t>
            </a:r>
            <a:endParaRPr lang="en-US" altLang="zh-CN" sz="2400" dirty="0">
              <a:solidFill>
                <a:schemeClr val="bg1"/>
              </a:solidFill>
            </a:endParaRPr>
          </a:p>
        </p:txBody>
      </p:sp>
      <p:sp>
        <p:nvSpPr>
          <p:cNvPr id="69" name="î$ḷîḓê">
            <a:extLst>
              <a:ext uri="{FF2B5EF4-FFF2-40B4-BE49-F238E27FC236}">
                <a16:creationId xmlns:a16="http://schemas.microsoft.com/office/drawing/2014/main" id="{0120662D-08EC-45F4-BE9C-84021ADB4C9A}"/>
              </a:ext>
            </a:extLst>
          </p:cNvPr>
          <p:cNvSpPr/>
          <p:nvPr/>
        </p:nvSpPr>
        <p:spPr bwMode="gray">
          <a:xfrm>
            <a:off x="10282004" y="189695"/>
            <a:ext cx="1506790" cy="480145"/>
          </a:xfrm>
          <a:prstGeom prst="rect">
            <a:avLst/>
          </a:prstGeom>
          <a:solidFill>
            <a:schemeClr val="accent1"/>
          </a:solidFill>
          <a:ln w="19050">
            <a:no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fontScale="85000" lnSpcReduction="10000"/>
          </a:bodyPr>
          <a:lstStyle/>
          <a:p>
            <a:pPr algn="ctr"/>
            <a:r>
              <a:rPr lang="zh-CN" altLang="en-US" sz="2400" dirty="0" smtClean="0">
                <a:solidFill>
                  <a:schemeClr val="bg1"/>
                </a:solidFill>
              </a:rPr>
              <a:t>行为型模式</a:t>
            </a:r>
            <a:endParaRPr lang="en-US" altLang="zh-CN" sz="2400" dirty="0">
              <a:solidFill>
                <a:schemeClr val="bg1"/>
              </a:solidFill>
            </a:endParaRPr>
          </a:p>
        </p:txBody>
      </p:sp>
      <p:pic>
        <p:nvPicPr>
          <p:cNvPr id="12290" name="Picture 2" descr="../_images/Obeserver.jpg"/>
          <p:cNvPicPr>
            <a:picLocks noChangeAspect="1" noChangeArrowheads="1"/>
          </p:cNvPicPr>
          <p:nvPr/>
        </p:nvPicPr>
        <p:blipFill rotWithShape="1">
          <a:blip r:embed="rId3">
            <a:extLst>
              <a:ext uri="{28A0092B-C50C-407E-A947-70E740481C1C}">
                <a14:useLocalDpi xmlns:a14="http://schemas.microsoft.com/office/drawing/2010/main" val="0"/>
              </a:ext>
            </a:extLst>
          </a:blip>
          <a:srcRect l="687" t="1072" r="687" b="1876"/>
          <a:stretch/>
        </p:blipFill>
        <p:spPr bwMode="auto">
          <a:xfrm>
            <a:off x="254000" y="1282700"/>
            <a:ext cx="11684000" cy="4762500"/>
          </a:xfrm>
          <a:prstGeom prst="rect">
            <a:avLst/>
          </a:prstGeom>
          <a:noFill/>
          <a:extLst>
            <a:ext uri="{909E8E84-426E-40DD-AFC4-6F175D3DCCD1}">
              <a14:hiddenFill xmlns:a14="http://schemas.microsoft.com/office/drawing/2010/main">
                <a:solidFill>
                  <a:srgbClr val="FFFFFF"/>
                </a:solidFill>
              </a14:hiddenFill>
            </a:ext>
          </a:extLst>
        </p:spPr>
      </p:pic>
      <p:sp>
        <p:nvSpPr>
          <p:cNvPr id="2" name="圆角矩形 1"/>
          <p:cNvSpPr/>
          <p:nvPr/>
        </p:nvSpPr>
        <p:spPr>
          <a:xfrm>
            <a:off x="1625600" y="2006600"/>
            <a:ext cx="2819400" cy="533400"/>
          </a:xfrm>
          <a:prstGeom prst="round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3"/>
          <p:cNvSpPr/>
          <p:nvPr/>
        </p:nvSpPr>
        <p:spPr>
          <a:xfrm>
            <a:off x="4800530" y="1168400"/>
            <a:ext cx="6108770" cy="923330"/>
          </a:xfrm>
          <a:prstGeom prst="rect">
            <a:avLst/>
          </a:prstGeom>
          <a:noFill/>
        </p:spPr>
        <p:txBody>
          <a:bodyPr wrap="square" lIns="91440" tIns="45720" rIns="91440" bIns="45720">
            <a:spAutoFit/>
          </a:bodyPr>
          <a:lstStyle/>
          <a:p>
            <a:pPr algn="ctr"/>
            <a:r>
              <a:rPr lang="zh-CN" altLang="en-US" sz="2800" b="0" cap="none" spc="0" dirty="0" smtClean="0">
                <a:ln w="0"/>
                <a:solidFill>
                  <a:schemeClr val="accent1"/>
                </a:solidFill>
                <a:effectLst>
                  <a:outerShdw blurRad="38100" dist="25400" dir="5400000" algn="ctr" rotWithShape="0">
                    <a:srgbClr val="6E747A">
                      <a:alpha val="43000"/>
                    </a:srgbClr>
                  </a:outerShdw>
                </a:effectLst>
              </a:rPr>
              <a:t>通过</a:t>
            </a:r>
            <a:r>
              <a:rPr lang="en-US" altLang="zh-CN" sz="2800" b="0" cap="none" spc="0" dirty="0" smtClean="0">
                <a:ln w="0"/>
                <a:solidFill>
                  <a:schemeClr val="accent1"/>
                </a:solidFill>
                <a:effectLst>
                  <a:outerShdw blurRad="38100" dist="25400" dir="5400000" algn="ctr" rotWithShape="0">
                    <a:srgbClr val="6E747A">
                      <a:alpha val="43000"/>
                    </a:srgbClr>
                  </a:outerShdw>
                </a:effectLst>
              </a:rPr>
              <a:t>Observer</a:t>
            </a:r>
            <a:r>
              <a:rPr lang="zh-CN" altLang="en-US" sz="2800" b="0" cap="none" spc="0" dirty="0" smtClean="0">
                <a:ln w="0"/>
                <a:solidFill>
                  <a:schemeClr val="accent1"/>
                </a:solidFill>
                <a:effectLst>
                  <a:outerShdw blurRad="38100" dist="25400" dir="5400000" algn="ctr" rotWithShape="0">
                    <a:srgbClr val="6E747A">
                      <a:alpha val="43000"/>
                    </a:srgbClr>
                  </a:outerShdw>
                </a:effectLst>
              </a:rPr>
              <a:t>保持与观察者</a:t>
            </a:r>
            <a:r>
              <a:rPr lang="zh-CN" altLang="en-US" sz="5400" b="0" cap="none" spc="0" dirty="0" smtClean="0">
                <a:ln w="0"/>
                <a:solidFill>
                  <a:srgbClr val="FF0000"/>
                </a:solidFill>
                <a:effectLst>
                  <a:outerShdw blurRad="38100" dist="25400" dir="5400000" algn="ctr" rotWithShape="0">
                    <a:srgbClr val="6E747A">
                      <a:alpha val="43000"/>
                    </a:srgbClr>
                  </a:outerShdw>
                </a:effectLst>
                <a:latin typeface="华文行楷" panose="02010800040101010101" pitchFamily="2" charset="-122"/>
                <a:ea typeface="华文行楷" panose="02010800040101010101" pitchFamily="2" charset="-122"/>
              </a:rPr>
              <a:t>关联</a:t>
            </a:r>
            <a:endParaRPr lang="zh-CN" altLang="en-US" sz="5400" b="0" cap="none" spc="0" dirty="0">
              <a:ln w="0"/>
              <a:solidFill>
                <a:srgbClr val="FF0000"/>
              </a:solidFill>
              <a:effectLst>
                <a:outerShdw blurRad="38100" dist="25400" dir="5400000" algn="ctr" rotWithShape="0">
                  <a:srgbClr val="6E747A">
                    <a:alpha val="43000"/>
                  </a:srgbClr>
                </a:outerShdw>
              </a:effectLst>
              <a:latin typeface="华文行楷" panose="02010800040101010101" pitchFamily="2" charset="-122"/>
              <a:ea typeface="华文行楷" panose="02010800040101010101" pitchFamily="2" charset="-122"/>
            </a:endParaRPr>
          </a:p>
        </p:txBody>
      </p:sp>
      <p:cxnSp>
        <p:nvCxnSpPr>
          <p:cNvPr id="7" name="肘形连接符 6"/>
          <p:cNvCxnSpPr>
            <a:stCxn id="2" idx="3"/>
            <a:endCxn id="4" idx="0"/>
          </p:cNvCxnSpPr>
          <p:nvPr/>
        </p:nvCxnSpPr>
        <p:spPr>
          <a:xfrm flipV="1">
            <a:off x="4445000" y="1371304"/>
            <a:ext cx="3409915" cy="901996"/>
          </a:xfrm>
          <a:prstGeom prst="bentConnector4">
            <a:avLst>
              <a:gd name="adj1" fmla="val 5213"/>
              <a:gd name="adj2" fmla="val 163360"/>
            </a:avLst>
          </a:prstGeom>
          <a:ln w="635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1" name="圆角矩形 70"/>
          <p:cNvSpPr/>
          <p:nvPr/>
        </p:nvSpPr>
        <p:spPr>
          <a:xfrm>
            <a:off x="5651500" y="4800600"/>
            <a:ext cx="2514600" cy="508000"/>
          </a:xfrm>
          <a:prstGeom prst="round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3" name="矩形 72"/>
          <p:cNvSpPr/>
          <p:nvPr/>
        </p:nvSpPr>
        <p:spPr>
          <a:xfrm>
            <a:off x="4831520" y="5778798"/>
            <a:ext cx="6108770" cy="923330"/>
          </a:xfrm>
          <a:prstGeom prst="rect">
            <a:avLst/>
          </a:prstGeom>
          <a:noFill/>
        </p:spPr>
        <p:txBody>
          <a:bodyPr wrap="square" lIns="91440" tIns="45720" rIns="91440" bIns="45720">
            <a:spAutoFit/>
          </a:bodyPr>
          <a:lstStyle/>
          <a:p>
            <a:pPr algn="ctr"/>
            <a:r>
              <a:rPr lang="zh-CN" altLang="en-US" sz="2800" b="0" cap="none" spc="0" dirty="0" smtClean="0">
                <a:ln w="0"/>
                <a:solidFill>
                  <a:schemeClr val="accent1"/>
                </a:solidFill>
                <a:effectLst>
                  <a:outerShdw blurRad="38100" dist="25400" dir="5400000" algn="ctr" rotWithShape="0">
                    <a:srgbClr val="6E747A">
                      <a:alpha val="43000"/>
                    </a:srgbClr>
                  </a:outerShdw>
                </a:effectLst>
              </a:rPr>
              <a:t>持有被观察者保持与其</a:t>
            </a:r>
            <a:r>
              <a:rPr lang="zh-CN" altLang="en-US" sz="5400" b="0" cap="none" spc="0" dirty="0" smtClean="0">
                <a:ln w="0"/>
                <a:solidFill>
                  <a:srgbClr val="FF0000"/>
                </a:solidFill>
                <a:effectLst>
                  <a:outerShdw blurRad="38100" dist="25400" dir="5400000" algn="ctr" rotWithShape="0">
                    <a:srgbClr val="6E747A">
                      <a:alpha val="43000"/>
                    </a:srgbClr>
                  </a:outerShdw>
                </a:effectLst>
                <a:latin typeface="华文行楷" panose="02010800040101010101" pitchFamily="2" charset="-122"/>
                <a:ea typeface="华文行楷" panose="02010800040101010101" pitchFamily="2" charset="-122"/>
              </a:rPr>
              <a:t>关联</a:t>
            </a:r>
            <a:endParaRPr lang="zh-CN" altLang="en-US" sz="5400" b="0" cap="none" spc="0" dirty="0">
              <a:ln w="0"/>
              <a:solidFill>
                <a:srgbClr val="FF0000"/>
              </a:solidFill>
              <a:effectLst>
                <a:outerShdw blurRad="38100" dist="25400" dir="5400000" algn="ctr" rotWithShape="0">
                  <a:srgbClr val="6E747A">
                    <a:alpha val="43000"/>
                  </a:srgbClr>
                </a:outerShdw>
              </a:effectLst>
              <a:latin typeface="华文行楷" panose="02010800040101010101" pitchFamily="2" charset="-122"/>
              <a:ea typeface="华文行楷" panose="02010800040101010101" pitchFamily="2" charset="-122"/>
            </a:endParaRPr>
          </a:p>
        </p:txBody>
      </p:sp>
      <p:cxnSp>
        <p:nvCxnSpPr>
          <p:cNvPr id="74" name="肘形连接符 73"/>
          <p:cNvCxnSpPr>
            <a:stCxn id="71" idx="2"/>
            <a:endCxn id="73" idx="0"/>
          </p:cNvCxnSpPr>
          <p:nvPr/>
        </p:nvCxnSpPr>
        <p:spPr>
          <a:xfrm rot="16200000" flipH="1">
            <a:off x="6983015" y="5234384"/>
            <a:ext cx="828674" cy="977105"/>
          </a:xfrm>
          <a:prstGeom prst="bentConnector3">
            <a:avLst>
              <a:gd name="adj1" fmla="val 50000"/>
            </a:avLst>
          </a:prstGeom>
          <a:ln w="635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9628431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THINKCELLUNDODONOTDELETE" val="0"/>
  <p:tag name="ISLIDE.THEME" val="711fc0fd-0a81-42dd-863e-d26df87e18c0"/>
</p:tagLst>
</file>

<file path=ppt/tags/tag10.xml><?xml version="1.0" encoding="utf-8"?>
<p:tagLst xmlns:a="http://schemas.openxmlformats.org/drawingml/2006/main" xmlns:r="http://schemas.openxmlformats.org/officeDocument/2006/relationships" xmlns:p="http://schemas.openxmlformats.org/presentationml/2006/main">
  <p:tag name="ISLIDE.DIAGRAM" val="185936"/>
</p:tagLst>
</file>

<file path=ppt/tags/tag11.xml><?xml version="1.0" encoding="utf-8"?>
<p:tagLst xmlns:a="http://schemas.openxmlformats.org/drawingml/2006/main" xmlns:r="http://schemas.openxmlformats.org/officeDocument/2006/relationships" xmlns:p="http://schemas.openxmlformats.org/presentationml/2006/main">
  <p:tag name="ISLIDE.VECTOR" val="b3c88aeb-e610-49c8-a302-a1ffa75a9a25"/>
</p:tagLst>
</file>

<file path=ppt/tags/tag12.xml><?xml version="1.0" encoding="utf-8"?>
<p:tagLst xmlns:a="http://schemas.openxmlformats.org/drawingml/2006/main" xmlns:r="http://schemas.openxmlformats.org/officeDocument/2006/relationships" xmlns:p="http://schemas.openxmlformats.org/presentationml/2006/main">
  <p:tag name="ISLIDE.VECTOR" val="ebad2fad-4e2d-43d6-9957-8b5906b2485a"/>
</p:tagLst>
</file>

<file path=ppt/tags/tag13.xml><?xml version="1.0" encoding="utf-8"?>
<p:tagLst xmlns:a="http://schemas.openxmlformats.org/drawingml/2006/main" xmlns:r="http://schemas.openxmlformats.org/officeDocument/2006/relationships" xmlns:p="http://schemas.openxmlformats.org/presentationml/2006/main">
  <p:tag name="ISLIDE.DIAGRAM" val="1731"/>
</p:tagLst>
</file>

<file path=ppt/tags/tag14.xml><?xml version="1.0" encoding="utf-8"?>
<p:tagLst xmlns:a="http://schemas.openxmlformats.org/drawingml/2006/main" xmlns:r="http://schemas.openxmlformats.org/officeDocument/2006/relationships" xmlns:p="http://schemas.openxmlformats.org/presentationml/2006/main">
  <p:tag name="ISLIDE.DIAGRAM" val="4401"/>
</p:tagLst>
</file>

<file path=ppt/tags/tag15.xml><?xml version="1.0" encoding="utf-8"?>
<p:tagLst xmlns:a="http://schemas.openxmlformats.org/drawingml/2006/main" xmlns:r="http://schemas.openxmlformats.org/officeDocument/2006/relationships" xmlns:p="http://schemas.openxmlformats.org/presentationml/2006/main">
  <p:tag name="ISLIDE.DIAGRAM" val="3783"/>
</p:tagLst>
</file>

<file path=ppt/tags/tag16.xml><?xml version="1.0" encoding="utf-8"?>
<p:tagLst xmlns:a="http://schemas.openxmlformats.org/drawingml/2006/main" xmlns:r="http://schemas.openxmlformats.org/officeDocument/2006/relationships" xmlns:p="http://schemas.openxmlformats.org/presentationml/2006/main">
  <p:tag name="ISLIDE.VECTOR" val="5fa77efe-9d30-439c-a355-e0da6dbf280d"/>
</p:tagLst>
</file>

<file path=ppt/tags/tag17.xml><?xml version="1.0" encoding="utf-8"?>
<p:tagLst xmlns:a="http://schemas.openxmlformats.org/drawingml/2006/main" xmlns:r="http://schemas.openxmlformats.org/officeDocument/2006/relationships" xmlns:p="http://schemas.openxmlformats.org/presentationml/2006/main">
  <p:tag name="ISLIDE.DIAGRAM" val="1159"/>
</p:tagLst>
</file>

<file path=ppt/tags/tag18.xml><?xml version="1.0" encoding="utf-8"?>
<p:tagLst xmlns:a="http://schemas.openxmlformats.org/drawingml/2006/main" xmlns:r="http://schemas.openxmlformats.org/officeDocument/2006/relationships" xmlns:p="http://schemas.openxmlformats.org/presentationml/2006/main">
  <p:tag name="ISLIDE.DIAGRAM" val="183091"/>
</p:tagLst>
</file>

<file path=ppt/tags/tag19.xml><?xml version="1.0" encoding="utf-8"?>
<p:tagLst xmlns:a="http://schemas.openxmlformats.org/drawingml/2006/main" xmlns:r="http://schemas.openxmlformats.org/officeDocument/2006/relationships" xmlns:p="http://schemas.openxmlformats.org/presentationml/2006/main">
  <p:tag name="ISLIDE.DIAGRAM" val="280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ISLIDE.DIAGRAM" val="185989"/>
</p:tagLst>
</file>

<file path=ppt/tags/tag21.xml><?xml version="1.0" encoding="utf-8"?>
<p:tagLst xmlns:a="http://schemas.openxmlformats.org/drawingml/2006/main" xmlns:r="http://schemas.openxmlformats.org/officeDocument/2006/relationships" xmlns:p="http://schemas.openxmlformats.org/presentationml/2006/main">
  <p:tag name="ISLIDE.VECTOR" val="ace72938-a541-4a33-b0fe-87ae5e82073a"/>
</p:tagLst>
</file>

<file path=ppt/tags/tag22.xml><?xml version="1.0" encoding="utf-8"?>
<p:tagLst xmlns:a="http://schemas.openxmlformats.org/drawingml/2006/main" xmlns:r="http://schemas.openxmlformats.org/officeDocument/2006/relationships" xmlns:p="http://schemas.openxmlformats.org/presentationml/2006/main">
  <p:tag name="ISLIDE.DIAGRAM" val="195023"/>
</p:tagLst>
</file>

<file path=ppt/tags/tag23.xml><?xml version="1.0" encoding="utf-8"?>
<p:tagLst xmlns:a="http://schemas.openxmlformats.org/drawingml/2006/main" xmlns:r="http://schemas.openxmlformats.org/officeDocument/2006/relationships" xmlns:p="http://schemas.openxmlformats.org/presentationml/2006/main">
  <p:tag name="ISLIDE.VECTOR" val="37457260-5770-418d-9f38-7c5af3f11a68"/>
</p:tagLst>
</file>

<file path=ppt/tags/tag24.xml><?xml version="1.0" encoding="utf-8"?>
<p:tagLst xmlns:a="http://schemas.openxmlformats.org/drawingml/2006/main" xmlns:r="http://schemas.openxmlformats.org/officeDocument/2006/relationships" xmlns:p="http://schemas.openxmlformats.org/presentationml/2006/main">
  <p:tag name="ISLIDE.VECTOR" val="37457260-5770-418d-9f38-7c5af3f11a68"/>
</p:tagLst>
</file>

<file path=ppt/tags/tag25.xml><?xml version="1.0" encoding="utf-8"?>
<p:tagLst xmlns:a="http://schemas.openxmlformats.org/drawingml/2006/main" xmlns:r="http://schemas.openxmlformats.org/officeDocument/2006/relationships" xmlns:p="http://schemas.openxmlformats.org/presentationml/2006/main">
  <p:tag name="ISLIDE.VECTOR" val="bdfaff35-3dac-49cc-bf23-6948366d0acf"/>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4.xml><?xml version="1.0" encoding="utf-8"?>
<p:tagLst xmlns:a="http://schemas.openxmlformats.org/drawingml/2006/main" xmlns:r="http://schemas.openxmlformats.org/officeDocument/2006/relationships" xmlns:p="http://schemas.openxmlformats.org/presentationml/2006/main">
  <p:tag name="PA" val="v3.0.1"/>
</p:tagLst>
</file>

<file path=ppt/tags/tag5.xml><?xml version="1.0" encoding="utf-8"?>
<p:tagLst xmlns:a="http://schemas.openxmlformats.org/drawingml/2006/main" xmlns:r="http://schemas.openxmlformats.org/officeDocument/2006/relationships" xmlns:p="http://schemas.openxmlformats.org/presentationml/2006/main">
  <p:tag name="ISLIDE.DIAGRAM" val="185936"/>
</p:tagLst>
</file>

<file path=ppt/tags/tag6.xml><?xml version="1.0" encoding="utf-8"?>
<p:tagLst xmlns:a="http://schemas.openxmlformats.org/drawingml/2006/main" xmlns:r="http://schemas.openxmlformats.org/officeDocument/2006/relationships" xmlns:p="http://schemas.openxmlformats.org/presentationml/2006/main">
  <p:tag name="ISLIDE.DIAGRAM" val="2416"/>
</p:tagLst>
</file>

<file path=ppt/tags/tag7.xml><?xml version="1.0" encoding="utf-8"?>
<p:tagLst xmlns:a="http://schemas.openxmlformats.org/drawingml/2006/main" xmlns:r="http://schemas.openxmlformats.org/officeDocument/2006/relationships" xmlns:p="http://schemas.openxmlformats.org/presentationml/2006/main">
  <p:tag name="ISLIDE.VECTOR" val="3bb8b015-5b29-4eac-b7fc-965736038ffa"/>
</p:tagLst>
</file>

<file path=ppt/tags/tag8.xml><?xml version="1.0" encoding="utf-8"?>
<p:tagLst xmlns:a="http://schemas.openxmlformats.org/drawingml/2006/main" xmlns:r="http://schemas.openxmlformats.org/officeDocument/2006/relationships" xmlns:p="http://schemas.openxmlformats.org/presentationml/2006/main">
  <p:tag name="ISLIDE.DIAGRAM" val="186009"/>
</p:tagLst>
</file>

<file path=ppt/tags/tag9.xml><?xml version="1.0" encoding="utf-8"?>
<p:tagLst xmlns:a="http://schemas.openxmlformats.org/drawingml/2006/main" xmlns:r="http://schemas.openxmlformats.org/officeDocument/2006/relationships" xmlns:p="http://schemas.openxmlformats.org/presentationml/2006/main">
  <p:tag name="ISLIDE.DIAGRAM" val="185936"/>
</p:tagLst>
</file>

<file path=ppt/theme/theme1.xml><?xml version="1.0" encoding="utf-8"?>
<a:theme xmlns:a="http://schemas.openxmlformats.org/drawingml/2006/main" name="主题5">
  <a:themeElements>
    <a:clrScheme name="房利美">
      <a:dk1>
        <a:srgbClr val="000000"/>
      </a:dk1>
      <a:lt1>
        <a:srgbClr val="FFFFFF"/>
      </a:lt1>
      <a:dk2>
        <a:srgbClr val="768395"/>
      </a:dk2>
      <a:lt2>
        <a:srgbClr val="F0F0F0"/>
      </a:lt2>
      <a:accent1>
        <a:srgbClr val="008CD7"/>
      </a:accent1>
      <a:accent2>
        <a:srgbClr val="69747E"/>
      </a:accent2>
      <a:accent3>
        <a:srgbClr val="1A1B23"/>
      </a:accent3>
      <a:accent4>
        <a:srgbClr val="414B56"/>
      </a:accent4>
      <a:accent5>
        <a:srgbClr val="414646"/>
      </a:accent5>
      <a:accent6>
        <a:srgbClr val="313530"/>
      </a:accent6>
      <a:hlink>
        <a:srgbClr val="4472C4"/>
      </a:hlink>
      <a:folHlink>
        <a:srgbClr val="BFBFBF"/>
      </a:folHlink>
    </a:clrScheme>
    <a:fontScheme name="bu3psssr">
      <a:majorFont>
        <a:latin typeface="+mn-lt"/>
        <a:ea typeface="+mn-ea"/>
        <a:cs typeface=""/>
      </a:majorFont>
      <a:minorFont>
        <a:latin typeface="+mn-lt"/>
        <a:ea typeface="+mn-ea"/>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0" cap="flat">
          <a:solidFill>
            <a:schemeClr val="bg1"/>
          </a:solidFill>
          <a:prstDash val="sysDash"/>
          <a:round/>
          <a:tailEnd type="triangle"/>
        </a:ln>
        <a:effectLst>
          <a:outerShdw blurRad="40000" dist="23000" dir="5400000" rotWithShape="0">
            <a:srgbClr val="000000">
              <a:alpha val="35000"/>
            </a:srgbClr>
          </a:outerShdw>
          <a:softEdge rad="0"/>
        </a:effectLst>
      </a:spPr>
      <a:bodyPr/>
      <a:lstStyle/>
      <a:style>
        <a:lnRef idx="3">
          <a:schemeClr val="accent1"/>
        </a:lnRef>
        <a:fillRef idx="0">
          <a:schemeClr val="accent1"/>
        </a:fillRef>
        <a:effectRef idx="2">
          <a:schemeClr val="accent1"/>
        </a:effectRef>
        <a:fontRef idx="minor">
          <a:schemeClr val="tx1"/>
        </a:fontRef>
      </a:style>
    </a:ln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5"/>
    </a:dk2>
    <a:lt2>
      <a:srgbClr val="F0F0F0"/>
    </a:lt2>
    <a:accent1>
      <a:srgbClr val="008CD7"/>
    </a:accent1>
    <a:accent2>
      <a:srgbClr val="69747E"/>
    </a:accent2>
    <a:accent3>
      <a:srgbClr val="1A1B23"/>
    </a:accent3>
    <a:accent4>
      <a:srgbClr val="414B56"/>
    </a:accent4>
    <a:accent5>
      <a:srgbClr val="414646"/>
    </a:accent5>
    <a:accent6>
      <a:srgbClr val="313530"/>
    </a:accent6>
    <a:hlink>
      <a:srgbClr val="4472C4"/>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5"/>
    </a:dk2>
    <a:lt2>
      <a:srgbClr val="F0F0F0"/>
    </a:lt2>
    <a:accent1>
      <a:srgbClr val="008CD7"/>
    </a:accent1>
    <a:accent2>
      <a:srgbClr val="69747E"/>
    </a:accent2>
    <a:accent3>
      <a:srgbClr val="1A1B23"/>
    </a:accent3>
    <a:accent4>
      <a:srgbClr val="414B56"/>
    </a:accent4>
    <a:accent5>
      <a:srgbClr val="414646"/>
    </a:accent5>
    <a:accent6>
      <a:srgbClr val="313530"/>
    </a:accent6>
    <a:hlink>
      <a:srgbClr val="4472C4"/>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5"/>
    </a:dk2>
    <a:lt2>
      <a:srgbClr val="F0F0F0"/>
    </a:lt2>
    <a:accent1>
      <a:srgbClr val="008CD7"/>
    </a:accent1>
    <a:accent2>
      <a:srgbClr val="69747E"/>
    </a:accent2>
    <a:accent3>
      <a:srgbClr val="1A1B23"/>
    </a:accent3>
    <a:accent4>
      <a:srgbClr val="414B56"/>
    </a:accent4>
    <a:accent5>
      <a:srgbClr val="414646"/>
    </a:accent5>
    <a:accent6>
      <a:srgbClr val="313530"/>
    </a:accent6>
    <a:hlink>
      <a:srgbClr val="4472C4"/>
    </a:hlink>
    <a:folHlink>
      <a:srgbClr val="BFBFBF"/>
    </a:folHlink>
  </a:clrScheme>
</a:themeOverride>
</file>

<file path=ppt/webextensions/_rels/webextension1.xml.rels><?xml version="1.0" encoding="UTF-8" standalone="yes"?>
<Relationships xmlns="http://schemas.openxmlformats.org/package/2006/relationships"><Relationship Id="rId1" Type="http://schemas.openxmlformats.org/officeDocument/2006/relationships/image" Target="../media/image50.png"/></Relationships>
</file>

<file path=ppt/webextensions/webextension1.xml><?xml version="1.0" encoding="utf-8"?>
<we:webextension xmlns:we="http://schemas.microsoft.com/office/webextensions/webextension/2010/11" id="{87086306-2D2E-4781-A12F-27D3BDA9BEFE}">
  <we:reference id="wa104379263" version="1.0.0.1" store="zh-CN" storeType="OMEX"/>
  <we:alternateReferences>
    <we:reference id="wa104379263" version="1.0.0.1" store="wa104379263" storeType="OMEX"/>
  </we:alternateReferences>
  <we:properties>
    <we:property name="config" value="{&quot;display_lang&quot;:&quot;en&quot;,&quot;display_font&quot;:&quot;Consolas&quot;,&quot;syntax_color&quot;:{&quot;Reserved words&quot;:&quot;#0000ff&quot;,&quot;Predifined classes&quot;:&quot;#FF0000&quot;,&quot;Line comment&quot;:&quot;#008000&quot;,&quot;Block comment&quot;:&quot;#008000&quot;,&quot;Quatation&quot;:&quot;#FF00FF&quot;,&quot;Quatation 2&quot;:&quot;#FF00FF&quot;,&quot;Number&quot;:&quot;#800080&quot;},&quot;old_syntax_color&quot;:{&quot;Reserved words&quot;:&quot;#0000FF&quot;,&quot;Predifined classes&quot;:&quot;#FF0000&quot;,&quot;Line comment&quot;:&quot;#008000&quot;,&quot;Block comment&quot;:&quot;#008000&quot;,&quot;Quatation&quot;:&quot;#FF00FF&quot;,&quot;Quatation 2&quot;:&quot;#FF00FF&quot;,&quot;Number&quot;:&quot;#800080&quot;},&quot;show_line_number&quot;:true,&quot;code_lang&quot;:&quot;java&quot;,&quot;code&quot;:&quot;public class VivoNetworkController extends BroadcastReceiver {\n    private static final String TAG = \&quot;VivoNetworkController\&quot;;\n    private final Context mContext;\n    private final CallbackHandler mCallbackHandler;\n    private final Handler mReceiverHandler;\n    private final TelephonyManager mTelephonyManager;\n    private final SubscriptionManager mSubscriptionManager;\n    private StatusBar mStatusBar;\n    private NetworkModeObserver mNetworkModeObserver;\n\n    // volte\n    private int[] mIMSState;\n    private boolean[] mVolteSwitch;\n    private boolean[] mDataIsCTCC;\n    // vowifi\n    private boolean[] mVoWifiEnabled;\n    // wifi\n    private WifiManager mWifiManager;\n    private AsyncChannel mWifiChannel;\n    private boolean mWifiEnabled = false;\n    private boolean mWifiConnected = false;\n    private String mWifiSsid;\n    private int mWifiActivity = WifiManager.DATA_ACTIVITY_NONE;\n    private int mWifiRssi, mWifiLevel, mLastWifiLevel;\n    private int mWifiLevelIconId = 0;\n    private int mWifiActivityIconId = 0;\n    private int mLastWifiLevelIconId = -1;\n    private int mLastWifiActivityIconId = -1;\n    private boolean mWifiToWifi = false;\n    private boolean mWifiUnAvailable = false;\n    private int mWifiUnAvailableIconId = 0;\n    private int mLastWifiUnAvailableIconId = -1;\n\n    private int[] mSimState;\n    private int[] mLastSimState;\n    private boolean[] mSIMInserted;\n    private boolean[] mLastSIMInserted;\n    private boolean[] mSIMRadioOn;\n    private boolean[] mLastSIMRadioOn;\n    private boolean[] mAirplaneMode;\n    private boolean[] mLastAirplaneMode;\n\n    private String[] mOperatorNumeric;\n    private String[] mSubscriberId;\n    private boolean[] mNetworkMode4GPrefer;\n    private int[] mCallState;\n    private boolean[] mConnected;\n    private boolean[] mLastConnected;\n\n    // Virtual SIM\n    private boolean[] mVirtualSIM;\n    private boolean[] mLastVirtualSIM;\n    // Roaming state\n    private boolean[] mRoamState;\n    private boolean[] mLastRoamState;\n    // Network type and Icon\n    private ServiceState[] mServiceState;\n    private int[] mNetworkType;\n    private int[] mNetworkTypeIconId;\n    private int[] mNetworkTypeSmallIconId;\n    private int[] mNetworkTypeIconIdRight;\n    private int[] mLastNetworkTypeIconId;\n    private int[] mLastNetworkTypeIconIdRight;\n    // Signal level and Icon\n    private SignalStrength[] mSignalStrength;\n    private int[] mLevel;\n    private int[] mLastLevel;\n    private int[] mSignalIconId;\n    private int[] mLastSignalIconId;\n    // Data connection\n    private int[] mDataState;\n    private boolean[] mDataConnected;\n    private boolean[] mLastDataConnected;\n    // Data activity and Icon\n    private int[] mDataActivity;\n    private int[] mDataActivityIconId;\n    private int[] mLastDataActivityIconId;\n    // Apn type\n    private ArrayList&lt;String&gt; mApnTypeSIM1 = new ArrayList&lt;String&gt;();\n    private ArrayList&lt;String&gt; mApnTypeSIM2 = new ArrayList&lt;String&gt;();\n\n    private FtTelephony mFtTelephony;\n    private SIMAndNetworkHelper mSIMAndNetworkHelper;\n    private int mPhoneCount;\n    private boolean mDistinguish = VersionUtils.isUnicomTestVersion();\n\n    public static final int NETWORK_TYPE_TD_SCDMA = 17;\n    public static final int NETWORK_TYPE_LTE_CA = 19;\n    private final String[] mNotShowDataIconApns = new String[] {PhoneConstants.APN_TYPE_SUPL,PhoneConstants.APN_TYPE_IMS,PhoneConstants.APN_TYPE_EMERGENCY};\n\n    public VivoNetworkController(Context context, CallbackHandler callbackHandler, NetworkControllerImpl networkController, Looper bgLooper) {\n        mContext = context;\n        mCallbackHandler = callbackHandler;\n        mReceiverHandler = new Handler(bgLooper);\n\n        mSIMAndNetworkHelper = SIMAndNetworkHelper.getInstance(mContext);\n        mPhoneCount = mSIMAndNetworkHelper.getPhoneCount();\n        mTelephonyManager = (TelephonyManager) mContext.getSystemService(Context.TELEPHONY_SERVICE);\n        mSubscriptionManager = (SubscriptionManager) mContext.getSystemService(Context.TELEPHONY_SUBSCRIPTION_SERVICE);\n        mFtTelephony = FtTelephonyAdapter.getFtTelephony(mContext);\n\n        mIMSState = new int[mPhoneCount];\n        mVolteSwitch = new boolean[mPhoneCount];\n        mDataIsCTCC = new boolean[mPhoneCount];\n        mVoWifiEnabled = new boolean[mPhoneCount];\n        mSimState = new int[mPhoneCount];\n        mLastSimState = new int[mPhoneCount];\n        mSIMInserted = new boolean[mPhoneCount];\n        mLastSIMInserted = new boolean[mPhoneCount];\n        mSIMRadioOn = new boolean[mPhoneCount];\n        mLastSIMRadioOn = new boolean[mPhoneCount];\n        mAirplaneMode = new boolean[mPhoneCount];\n        mLastAirplaneMode = new boolean[mPhoneCount];\n\n        mSignalStrength = new SignalStrength[mPhoneCount];\n        mConnected = new boolean[mPhoneCount];\n        mVirtualSIM = new boolean[mPhoneCount];\n        mLastVirtualSIM = new boolean[mPhoneCount];\n        mRoamState = new boolean[mPhoneCount];\n        mLastRoamState = new boolean[mPhoneCount];\n        mLevel = new int[mPhoneCount];\n        mSignalIconId = new int[mPhoneCount];\n        mLastConnected = new boolean[mPhoneCount];\n        mLastLevel = new int[mPhoneCount];\n        mLastSignalIconId = new int[mPhoneCount];\n\n        mServiceState = new ServiceState[mPhoneCount];\n        mOperatorNumeric = new String[mPhoneCount];\n        mSubscriberId = new String[mPhoneCount];\n        mNetworkMode4GPrefer = new boolean[mPhoneCount];\n        mNetworkType = new int[mPhoneCount];\n        mNetworkTypeIconId = new int[mPhoneCount];\n        mNetworkTypeSmallIconId = new int[mPhoneCount];\n        mNetworkTypeIconIdRight = new int[mPhoneCount];\n        mLastNetworkTypeIconId = new int[mPhoneCount];\n        mLastNetworkTypeIconIdRight = new int[mPhoneCount];\n\n        mDataConnected = new boolean[mPhoneCount];\n        mLastDataConnected = new boolean[mPhoneCount];\n        mDataActivityIconId = new int[mPhoneCount];\n        mLastDataActivityIconId = new int[mPhoneCount];\n        mDataActivity = new int[mPhoneCount];\n        mDataState = new int[mPhoneCount];\n        mCallState = new int[mPhoneCount];\n\n        for (int i = 0; i &lt; mPhoneCount; i++) {\n            mSignalStrength[i] = new SignalStrength();\n            mServiceState[i] = new ServiceState();\n            mDataActivity[i] = TelephonyManager.DATA_ACTIVITY_NONE;\n            mDataState[i] = TelephonyManager.DATA_DISCONNECTED;\n            mCallState[i] = 0;\n            mDataConnected[i] = false;\n            mLastDataConnected[i] = false;\n            mConnected[i] = false;\n            mLastConnected[i] = false;\n            mVirtualSIM[i] = false;\n            mLastVirtualSIM[i] = false;\n            mRoamState[i] = false;\n            mLastRoamState[i] = false;\n            mLevel[i] = -1;\n            mLastLevel[i] = -1;\n\n            mSignalIconId[i] = -1;\n            mNetworkTypeIconId[i] = -1;\n            mNetworkTypeSmallIconId[i] = -1;\n            mNetworkTypeIconIdRight[i] = -1;\n        }\n        mReceiverHandler.post(mRegisterListeners);\n        initSignalStrengthDelayHandler(mReceiverHandler.getLooper());\n        createWifiHandler();\n\n        if (mTelephonyManager.getDataState() == TelephonyManager.DATA_CONNECTED) { //B170223-587\n            if (mFtTelephony.getDefaultDataPhoneId() == 0) {\n                if (!mApnTypeSIM1.contains(PhoneConstants.APN_TYPE_DEFAULT)) {\n                    mApnTypeSIM1.add(PhoneConstants.APN_TYPE_DEFAULT);\n                }\n            } else {\n                if (!mApnTypeSIM2.contains(PhoneConstants.APN_TYPE_DEFAULT)) {\n                    mApnTypeSIM2.add(PhoneConstants.APN_TYPE_DEFAULT);\n                }\n            }\n        }\n        SIMAndNetworkHelperImpl.getInstance(mContext).setRadioOnValue();\n        //B170302-461\n        updateNetworkMode(VivoConstants.Network.SIM1);\n        updateSimStateIcon(VivoConstants.Network.SIM1);\n        updateTelephonySignalStrength(VivoConstants.Network.SIM1);\n        refreshSignalViews(VivoConstants.Network.SIM1);\n        if (mSIMAndNetworkHelper.isSupportDualSIM()) {\n            updateNetworkMode(VivoConstants.Network.SIM2);\n            updateSimStateIcon(VivoConstants.Network.SIM2);\n            updateTelephonySignalStrength(VivoConstants.Network.SIM2);\n            refreshSignalViews(VivoConstants.Network.SIM2);\n        }\n        mNetworkModeObserver = new NetworkModeObserver();\n        mContext.getContentResolver().registerContentObserver(\n                SettingsUtils.Global.getUriFor(Settings.Global.PREFERRED_NETWORK_MODE), false, mNetworkModeObserver);\n    }\n\n    private final Runnable mRegisterListeners = new Runnable() {\n        @Override\n        public void run() {\n            registerListeners();\n        }\n    };\n\n    private void registerListeners() {\n        IntentFilter filter = new IntentFilter();\n        filter.addAction(VivoConstants.Actions.ACTION_WIFI_TO_WIFI);\n        filter.addAction(VivoConstants.Actions.ACTION_WIFI_AVAILABLE);\n        filter.addAction(WifiManager.RSSI_CHANGED_ACTION);\n        filter.addAction(WifiManager.WIFI_STATE_CHANGED_ACTION);\n        filter.addAction(WifiManager.NETWORK_STATE_CHANGED_ACTION);\n        filter.addAction(Intent.ACTION_AIRPLANE_MODE_CHANGED);\n        filter.addAction(TelephonyIntents.ACTION_SIM_STATE_CHANGED);\n        filter.addAction(ConnectivityManager.CONNECTIVITY_ACTION);\n        filter.addAction(TelephonyIntents.ACTION_SUBINFO_RECORD_UPDATED);\n        filter.addAction(FtTelephony.ACTION_SIM_MODE_CHANGED);\n        filter.addAction(VivoConstants.Actions.ACTION_HIGH_DEF_AUDIO);//HD icon for unicom\n        filter.addAction(FtTelephonyAdapter.getFtTelephony(mContext).getImsStateChangeBroadcast());\n        filter.addAction(\&quot;intent.action.theme.changed\&quot;);\n        filter.addAction(\&quot;vivo.intent.hvolte.feature.change\&quot;);\n        mContext.registerReceiver(this, filter, null, mReceiverHandler);\n    }\n\n    public void onReceive(Context context, Intent intent) {\n        final String action = intent.getAction();\n        LogUtils.i(TAG, \&quot;action = \&quot; + action);\n        if (action.equals(WifiManager.WIFI_STATE_CHANGED_ACTION)) {\n            mWifiEnabled = intent.getIntExtra(WifiManager.EXTRA_WIFI_STATE, WifiManager.WIFI_STATE_UNKNOWN) == WifiManager.WIFI_STATE_ENABLED;\n            LogUtils.i(TAG, \&quot;mWifiEnabled = \&quot; + mWifiEnabled);\n            refreshWifiClusterView();\n        } else if (action.equals(WifiManager.RSSI_CHANGED_ACTION)) {\n            mWifiRssi = intent.getIntExtra(WifiManager.EXTRA_NEW_RSSI, -200);\n            mWifiLevel = WifiManager.calculateSignalLevel(mWifiRssi, VivoWifiIcons.WIFI_LEVEL_COUNT);\n            mWifiLevel = (mWifiLevel &gt; (VivoWifiIcons.WIFI_LEVEL_COUNT - 1)) ? (VivoWifiIcons.WIFI_LEVEL_COUNT - 1) : mWifiLevel;\n            updateWifiLevelIcon();\n        } else if (action.equals(WifiManager.NETWORK_STATE_CHANGED_ACTION)) {\n            final NetworkInfo networkInfo = (NetworkInfo) intent.getParcelableExtra(WifiManager.EXTRA_NETWORK_INFO);\n            boolean wasConnected = mWifiConnected;\n            mWifiConnected = networkInfo != null &amp;&amp; networkInfo.isConnected();\n            LogUtils.i(TAG, \&quot;mWifiConnected = \&quot; + mWifiConnected);\n            if (mWifiConnected) {\n                mWifiToWifi = false;\n                if (!wasConnected) {\n                    WifiInfo info = (WifiInfo) intent.getParcelableExtra(WifiManager.EXTRA_WIFI_INFO);\n                    if (info == null) {\n                        info = mWifiManager.getConnectionInfo();\n                    }\n                    if (info != null) {\n                        mWifiSsid = huntForSsid(info);\n                    } else {\n                        mWifiSsid = null;\n                    }\n                }\n            } else {\n                mWifiSsid = null;\n            }\n            mCallbackHandler.setWifiToWifi(mWifiToWifi);\n            updateWifiLevelIcon();\n            updateWifiActivityIcon();\n            refreshWifiClusterView();\n        } else if (action.equals(VivoConstants.Actions.ACTION_WIFI_TO_WIFI)) {\n            mWifiToWifi = true;\n            mWifiRssi = intent.getIntExtra(\&quot;lastRssi\&quot;, WifiConfiguration.INVALID_RSSI);\n            mLastWifiLevel = WifiManager.calculateSignalLevel(mWifiRssi, VivoWifiIcons.WIFI_LEVEL_COUNT);\n            mLastWifiLevel = (mLastWifiLevel &gt; (VivoWifiIcons.WIFI_LEVEL_COUNT - 1)) ? (VivoWifiIcons.WIFI_LEVEL_COUNT - 1) : mLastWifiLevel;\n            LogUtils.i(TAG, \&quot;mWifiRssi = \&quot; + mWifiRssi + \&quot;, mLastWifiLevel = \&quot; + mLastWifiLevel);\n            mCallbackHandler.setWifiToWifi(mWifiToWifi);\n            updateWifiLevelIcon();\n        } else if (action.equals(VivoConstants.Actions.ACTION_WIFI_AVAILABLE)) {\n            mWifiUnAvailable = intent.getBooleanExtra(\&quot;no_internet_access\&quot;, false);\n            LogUtils.i(TAG, \&quot;mWifiUnAvailable = \&quot; + mWifiUnAvailable);\n            updateWifiUnAvailableIcon(mWifiUnAvailable);\n        } else if (action.equals(Intent.ACTION_AIRPLANE_MODE_CHANGED)) {\n            updateAirplaneMode();\n            refreshSignalViews(VivoConstants.Network.SIM1);\n            if (mSIMAndNetworkHelper.isSupportDualSIM()) {\n                refreshSignalViews(VivoConstants.Network.SIM2);\n            }\n        } else if (action.equals(TelephonyIntents.ACTION_SIM_STATE_CHANGED)) {\n            mSIMAndNetworkHelper.setSIMInsertState();\n            mSIMAndNetworkHelper.setRadioOnValue();\n            updateSubscriberId(intent);\n            updateSimState(intent);\n            updateSimStateIcon(VivoConstants.Network.SIM1);\n            mVirtualSIM[VivoConstants.Network.SIM1] = (SystemProperties.getInt(\&quot;gsm.radio.vivo.vsimenable\&quot; + VivoConstants.Network.SIM1, 0) == 1);\n            updateNetworkType(VivoConstants.Network.SIM1);\n            updateNetworkTypeIcon(VivoConstants.Network.SIM1);\n            updateTelephonySignalStrength(VivoConstants.Network.SIM1);\n            updateVoLTE(VivoConstants.Network.SIM1);\n            updateVoWifi(VivoConstants.Network.SIM1);\n            refreshSignalViews(VivoConstants.Network.SIM1);\n            if (mSIMAndNetworkHelper.isSupportDualSIM()) {\n                updateSimStateIcon(VivoConstants.Network.SIM2);\n                mVirtualSIM[VivoConstants.Network.SIM2] = (SystemProperties.getInt(\&quot;gsm.radio.vivo.vsimenable\&quot; + VivoConstants.Network.SIM2, 0) == 1);\n                updateNetworkType(VivoConstants.Network.SIM2);\n                updateNetworkTypeIcon(VivoConstants.Network.SIM2);\n                updateTelephonySignalStrength(VivoConstants.Network.SIM2);\n                updateVoLTE(VivoConstants.Network.SIM2);\n                updateVoWifi(VivoConstants.Network.SIM2);\n                refreshSignalViews(VivoConstants.Network.SIM2);\n            }\n        } else if (action.equals(TelephonyIntents.ACTION_SUBINFO_RECORD_UPDATED)) {\n            List&lt;SubscriptionInfo&gt; mSimInfoList;\n            long startTime = TimeoutMonitor.getStartTime();\n            mSimInfoList = SubscriptionManager.from(mContext).getActiveSubscriptionInfoList();\n            TimeoutMonitor.checkTime(startTime,\n                    \&quot;VivoNetworkController.onReceive: SubscriptionManager.getActiveSubscriptionInfoList\&quot;);\n\n            mSIMAndNetworkHelper.setSIMInsertState();\n            mSIMAndNetworkHelper.setRadioOnValue();\n            if (mSimInfoList == null || mSimInfoList.size() == 0) {\n                LogUtils.i(TAG, \&quot;mSimInfoList = \&quot; + mSimInfoList);\n                for (int i = 0; i &lt; mPhoneCount; i++) {\n                    if (!mSIMAndNetworkHelper.isSIMInserted(i)) { //B160724-425\n                        resetPhoneState(i);\n                    }\n                }\n            } else if (mSimInfoList.size() &lt; mPhoneCount) {\n                LogUtils.i(TAG, \&quot;mSimInfoList.size() =\&quot; + mSimInfoList.size() + \&quot;, mPhoneCount = \&quot; + mPhoneCount);\n                for (int i = 0; i &lt; mPhoneCount; i++) {\n                    boolean subNull = true;\n                    for (SubscriptionInfo info : mSimInfoList) {\n                        LogUtils.i(TAG, \&quot;info.slotId = \&quot; + info.getSimSlotIndex() + \&quot;, i = \&quot; + i);\n                        if (info.getSimSlotIndex() == i) {\n                            subNull = false;\n                            break;\n                        }\n                    }\n                    if (subNull) {\n                        if (!mSIMAndNetworkHelper.isSIMInserted(i)) {\n                            resetPhoneState(i);\n                        }\n                    }\n                }\n            }\n        } else if (action.equals(FtTelephony.ACTION_SIM_MODE_CHANGED)) {\n            mSIMAndNetworkHelper.setRadioOnValue();\n            updateSimState(intent);\n            updateSimStateIcon(VivoConstants.Network.SIM1);\n            updateNetworkTypeIcon(VivoConstants.Network.SIM1);\n            updateTelephonySignalStrength(VivoConstants.Network.SIM1);\n            updateVoLTE(VivoConstants.Network.SIM1);\n            updateVoWifi(VivoConstants.Network.SIM1);\n            refreshSignalViews(VivoConstants.Network.SIM1);\n            if (mSIMAndNetworkHelper.isSupportDualSIM()) {\n                updateSimStateIcon(VivoConstants.Network.SIM2);\n                updateNetworkTypeIcon(VivoConstants.Network.SIM2);\n                updateTelephonySignalStrength(VivoConstants.Network.SIM2);\n                updateVoLTE(VivoConstants.Network.SIM2);\n                updateVoWifi(VivoConstants.Network.SIM2);\n                refreshSignalViews(VivoConstants.Network.SIM2);\n            }\n        } else if (action.equals(VivoConstants.Actions.ACTION_HIGH_DEF_AUDIO)) {\n            int state = intent.getIntExtra(\&quot;HD_STATE\&quot;, 0);\n            updateHDIcon(state);\n        } else if (action.equals(ConnectivityManager.CONNECTIVITY_ACTION)) {\n            NetworkInfo info = intent.getParcelableExtra(ConnectivityManager.EXTRA_NETWORK_INFO);\n            if (info != null &amp;&amp; mCallbackHandler != null) {\n                LogUtils.i(TAG, \&quot;info.isConnected() = \&quot; + info.isConnected() + \&quot;, info.getType() = \&quot; + info.getType());\n                if (info.getType() == ConnectivityManager.TYPE_VPN) {\n                    mCallbackHandler.setVpn(info.isConnected());\n                }\n            }\n        } else if (action.equals(FtTelephonyAdapter.getFtTelephony(mContext).getImsStateChangeBroadcast())) {\n            int slotId = intent.getIntExtra(PhoneConstants.SLOT_KEY, -1);\n            if (slotId &lt; 0 || slotId &gt;= mPhoneCount) return;\n            int reg = intent.getIntExtra(\&quot;regState\&quot;, -1);\n            mVolteSwitch[slotId] = intent.getBooleanExtra(\&quot;is_switch_on\&quot;, false);\n            mDataIsCTCC[slotId] = intent.getBooleanExtra(\&quot;is_operator_ct\&quot;, false);\n            if (VersionUtils.DUAL_VOLTE_SUPPORT) {\n                mVoWifiEnabled[slotId] = intent.getBooleanExtra(\&quot;VoWiFi\&quot;, false);\n                LogUtils.i(TAG, \&quot;DUAL_VOLTE_SUPPORT, mVoWifiEnabled[\&quot;+slotId+\&quot;] = \&quot;+mVoWifiEnabled[slotId]);\n            } else {\n                mVoWifiEnabled[slotId] = intent.getBooleanExtra(\&quot;VoWiFi\&quot;, false);\n                if (!mVoWifiEnabled[slotId]) {\n                    mVoWifiEnabled[VivoConstants.Network.SIM1] = mVoWifiEnabled[slotId];\n                    mVoWifiEnabled[VivoConstants.Network.SIM2] = mVoWifiEnabled[slotId];\n                }\n                LogUtils.i(TAG, \&quot;NO DUAL_VOLTE_SUPPORT, mVoWifiEnabled[VivoConstants.Network.SIM1] = \&quot;+mVoWifiEnabled[VivoConstants.Network.SIM1]\n                        +\&quot;, mVoWifiEnabled[VivoConstants.Network.SIM2] = \&quot;+mVoWifiEnabled[VivoConstants.Network.SIM2]);\n            }\n            LogUtils.i(TAG, \&quot;onReceive from TelephonyIntents.ACTION_IMS_STATE_CHANGED: slotId = \&quot; + slotId + \&quot;, reg = \&quot; + reg\n                    +\&quot;, mVoWifiEnabled[\&quot;+slotId+\&quot;] = \&quot;+mVoWifiEnabled[slotId]);\n\n            if (VersionUtils.DUAL_VOLTE_SUPPORT) {\n                updateVoWifi(slotId);\n            } else {\n                if (!mVoWifiEnabled[slotId]) {\n                    updateVoWifi(VivoConstants.Network.SIM1);\n                    updateVoWifi(VivoConstants.Network.SIM2);\n                } else {\n                    updateVoWifi(slotId);\n                }\n            }\n            if (reg == -1) return;\n            mIMSState[slotId] = reg;\n            updateVoLTE(slotId);\n        } else if (action.equals(\&quot;intent.action.theme.changed\&quot;)) {\n            refreshSignalClusterViews(VivoConstants.Network.SIM1);\n            if (mSIMAndNetworkHelper.isSupportDualSIM()) {\n                refreshSignalClusterViews(VivoConstants.Network.SIM2);\n            }\n        } else if (action.equals(\&quot;vivo.intent.hvolte.feature.change\&quot;)) {\n            updateVoLTE(VivoConstants.Network.SIM1);\n            updateVoLTE(VivoConstants.Network.SIM2);\n        }\n    }\n\n    public void unRegisterReceiver() {\n        mContext.unregisterReceiver(this);\n    }\n\n    public void updateVoWifi(int slotId) {\n        if (mCallbackHandler != null) {\n            mCallbackHandler.setVoWifi(mVoWifiEnabled[slotId], slotId, showSimSlot());//set VoWifi icon\n        }\n    }\n\n    public void updateVoLTE(int slotId) {\n        // VoLTE on : 4G + IMS reg\n        LogUtils.i(TAG, \&quot;updateVoLTE, mDataIsCTCC[\&quot; + slotId + \&quot;] = \&quot;+ mDataIsCTCC[slotId]\n                + \&quot;, mVolteSwitch[\&quot; + slotId + \&quot;] = \&quot; + mVolteSwitch[slotId]\n                + \&quot;, mIMSState[\&quot; + slotId + \&quot;] = \&quot; + mIMSState[slotId]\n                + \&quot;, mNetworkType[\&quot; + slotId + \&quot;] = \&quot; + mNetworkType[slotId]\n                + \&quot;, isHVolteEnabled() = \&quot;+VersionUtils.isHVolteEnabled());\n        if (mVoWifiEnabled[slotId]) { //hide volte icon\n            if (mCallbackHandler != null) {\n                mCallbackHandler.setVoLte(VivoConstants.VOLTE_OFF, slotId, VersionUtils.DUAL_VOLTE_SUPPORT &amp;&amp; showSimSlot());\n            }\n            return;\n        }\n        //vivo-start TYPE[add] AUTHOR[zhangliang]\n        if (!VersionUtils.isExport()\n        //vivo-end TYPE[add] AUTHOR[zhangliang]\n                &amp;&amp; mSIMAndNetworkHelper.isSIMInserted(slotId)\n                &amp;&amp; mSIMAndNetworkHelper.isRadioOn(slotId)\n                &amp;&amp; (mCallState[0] == TelephonyManager.CALL_STATE_IDLE &amp;&amp; mCallState[1] == TelephonyManager.CALL_STATE_IDLE)\n                &amp;&amp; !mRoamState[slotId]\n                &amp;&amp; mDataIsCTCC[slotId]\n                &amp;&amp; mVolteSwitch[slotId]\n                &amp;&amp; !VersionUtils.isHVolteEnabled()\n                &amp;&amp; (mIMSState[slotId] != 1\n                &amp;&amp; (mNetworkType[slotId] == TelephonyManager.NETWORK_TYPE_LTE\n                || mNetworkType[slotId] == NETWORK_TYPE_LTE_CA\n                || mNetworkType[slotId] == TelephonyManager.NETWORK_TYPE_UNKNOWN))) {\n            if (mCallbackHandler != null) {\n                mCallbackHandler.setVoLte(VivoConstants.VOLTE_ON_UNAVAILABLE, slotId, VersionUtils.DUAL_VOLTE_SUPPORT &amp;&amp; showSimSlot());//set xHD\n            }\n        } else {\n            if (mSIMAndNetworkHelper.isSIMInserted(slotId)\n                    &amp;&amp; mSIMAndNetworkHelper.isRadioOn(slotId)\n                    &amp;&amp; (mNetworkType[slotId] == TelephonyManager.NETWORK_TYPE_LTE || mNetworkType[slotId] == NETWORK_TYPE_LTE_CA)\n                    &amp;&amp; mIMSState[slotId] == 1) {\n                if (mCallbackHandler != null) {\n                    mCallbackHandler.setVoLte(VivoConstants.VOLTE_ON_AVAILABLE, slotId, VersionUtils.DUAL_VOLTE_SUPPORT &amp;&amp; showSimSlot());//set HD\n                }\n            } else {\n                // VoLTE off case\n                if (mCallbackHandler != null) {\n                    mCallbackHandler.setVoLte(VivoConstants.VOLTE_OFF, slotId, VersionUtils.DUAL_VOLTE_SUPPORT &amp;&amp; showSimSlot());\n                }\n            }\n        }\n    }\n\n    private void updateHDIcon(int state) {\n        LogUtils.i(TAG, \&quot;updateHDIcon, state = \&quot; + state);\n        if (mCallbackHandler != null) {\n            mCallbackHandler.setHDIcon(state == 1);\n        }\n    }\n\n    private void resetPhoneState(int slotId) {\n        LogUtils.i(TAG, \&quot;resetPhoneState, slotId = \&quot; + slotId);\n        mServiceState[slotId].setStateOutOfService();\n        mSignalIconId[slotId] = 0;\n        mNetworkType[slotId] = 0;\n        mNetworkTypeIconId[slotId] = 0;\n        mNetworkTypeIconIdRight[slotId] = 0;\n        mDataState[slotId] = TelephonyManager.DATA_DISCONNECTED;\n        mDataConnected[slotId] = false;\n        mLastSIMInserted[slotId] = false;\n        mLastSIMRadioOn[slotId] = false;\n        mRoamState[slotId] = false;\n        mLastRoamState[slotId] = false;\n        mVirtualSIM[slotId] = false;\n        mLastVirtualSIM[slotId] = false;\n        updateSimStateIcon(slotId);\n        refreshSignalClusterViews(slotId);\n        if (0 == slotId &amp;&amp; mApnTypeSIM1.contains(PhoneConstants.APN_TYPE_IMS)) {\n            mApnTypeSIM1.remove(PhoneConstants.APN_TYPE_IMS);\n        } else if (1 == slotId &amp;&amp; mApnTypeSIM2.contains(PhoneConstants.APN_TYPE_IMS)) {\n            mApnTypeSIM2.remove(PhoneConstants.APN_TYPE_IMS);\n        }\n        mVolteSwitch[slotId] = false;\n        updateVoLTE(slotId);\n    }\n\n    public void setStatusBar(StatusBar bar) {\n        mStatusBar = bar;\n    }\n\n    private void updateAirplaneMode() {\n        for (int i = 0; i &lt; mPhoneCount; i++) {\n            mAirplaneMode[i] = (SettingsUtils.Global.getInt(mContext, Settings.Global.AIRPLANE_MODE_ON, 0) == 1);\n            mLastAirplaneMode[i] = !mAirplaneMode[i];\n        }\n    }\n\n    private void updateSimState(Intent intent) {\n        try {\n            if (mSIMAndNetworkHelper.isSupportDualSIM()) {\n                int slot = intent.getIntExtra(PhoneConstants.SLOT_KEY, 0);\n                mSimState[slot] = mTelephonyManager.getSimState(slot);\n                LogUtils.d(TAG, \&quot;updateSimState, mSimState[\&quot; + slot + \&quot;] = \&quot; + mSimState[slot]);\n            } else {\n                mSimState[0] = mTelephonyManager.getSimState();\n            }\n        } catch (IllegalStateException e) {\n            LogUtils.w(TAG, \&quot;updateSimState error! e: \&quot; + e);\n        }\n    }\n\n    private void updateSubscriberId(Intent intent) {\n        try {\n            String state = intent.getStringExtra(IccCardConstants.INTENT_KEY_ICC_STATE);\n            if (mSIMAndNetworkHelper.isSupportDualSIM()) {\n                int slot = intent.getIntExtra(PhoneConstants.SLOT_KEY, 0);\n                int[] subIds;\n                if (IccCardConstants.INTENT_VALUE_ICC_IMSI.equals(state)) {\n                    subIds = mSubscriptionManager.getSubId(slot);\n                    if (subIds != null) {\n                        if (mSubscriptionManager.isValidSubscriptionId(subIds[0])){\n                            mSubscriberId[slot] = mTelephonyManager.getSubscriberId(subIds[0]);\n                            LogUtils.d(TAG, \&quot;mSubscriberId[\&quot; + slot + \&quot;] = \&quot; + mSubscriberId[slot]);\n                        }\n                    }\n                }\n            } else {\n                if (IccCardConstants.INTENT_VALUE_ICC_IMSI.equals(state)) {\n                    mSubscriberId[0] = mTelephonyManager.getSubscriberId();\n                }\n            }\n        } catch (Exception e) {\n            LogUtils.w(TAG, \&quot;updateSubscriberId error! e: \&quot; + e);\n        }\n    }\n\n    private void createWifiHandler() {\n        // wifi\n        mWifiManager = (WifiManager) mContext.getSystemService(Context.WIFI_SERVICE);\n        Handler handler = new WifiHandler(mReceiverHandler.getLooper());\n        mWifiChannel = new AsyncChannel();\n        Messenger wifiMessenger = mWifiManager.getWifiServiceMessenger();\n        if (wifiMessenger != null) {\n            mWifiChannel.connect(mContext, handler, wifiMessenger);\n        }\n    }\n\n    class WifiHandler extends Handler {\n        public WifiHandler(Looper looper) {\n            super(looper);\n        }\n\n        @Override\n        public void handleMessage(Message msg) {\n            switch (msg.what) {\n                case AsyncChannel.CMD_CHANNEL_HALF_CONNECTED:\n                    if (msg.arg1 == AsyncChannel.STATUS_SUCCESSFUL) {\n                        mWifiChannel.sendMessage(Message.obtain(this, AsyncChannel.CMD_CHANNEL_FULL_CONNECTION));\n                    } else {\n                        LogUtils.e(TAG, \&quot;Failed to connect to wifi\&quot;);\n                    }\n                    break;\n                case WifiManager.DATA_ACTIVITY_NOTIFICATION:\n                    if (msg.arg1 != mWifiActivity) {\n                        mWifiActivity = msg.arg1;\n                        updateWifiActivityIcon();\n                    }\n                    break;\n                default:\n                    //Ignore\n                    break;\n            }\n        }\n    }\n\n    private String huntForSsid(WifiInfo info) {\n        String ssid = info.getSSID();\n        if (ssid != null) {\n            return ssid;\n        }\n        // OK, it's not in the connectionInfo; we have to go hunting for it\n        List&lt;WifiConfiguration&gt; networks = mWifiManager.getConfiguredNetworks();\n        for (WifiConfiguration net : networks) {\n            if (net.networkId == info.getNetworkId()) {\n                return net.SSID;\n            }\n        }\n        return null;\n    }\n\n    private void updateWifiLevelIcon() {\n        if (mWifiToWifi) {\n            mWifiLevelIconId = VivoWifiIcons.VIVO_WIFI_TO_WIFI_WHITE[mLastWifiLevel];\n        } else {\n            mWifiLevelIconId = VivoWifiIcons.VIVO_WIFI_SIGNAL_STRENGTH_WHITE[mWifiLevel];\n        }\n        if (mWifiLevelIconId != mLastWifiLevelIconId) {\n            mLastWifiLevelIconId = mWifiLevelIconId;\n            refreshWifiClusterView();\n        }\n    }\n\n    private void updateWifiActivityIcon() {\n        if (mWifiConnected) {\n            if (mWifiSsid == null) {\n                mWifiActivityIconId = 0;\n            } else {\n                mWifiActivityIconId = VivoWifiIcons.VIVO_WIFI_ACTIVITY_WHITE[mWifiActivity];\n            }\n        } else {\n            mWifiActivityIconId = 0;\n        }\n        if (mWifiActivityIconId != mLastWifiActivityIconId) {\n            mLastWifiActivityIconId = mWifiActivityIconId;\n            refreshWifiClusterView();\n        }\n    }\n\n    private void refreshWifiClusterView() {\n        LogUtils.i(TAG, \&quot;mWifiEnabled &amp;&amp; mWifiConnected = \&quot; + (mWifiEnabled &amp;&amp; mWifiConnected)\n                + \&quot;, mWifiLevelIconId = \&quot; + mWifiLevelIconId + \&quot;, mWifiActivityIconId = \&quot; + mWifiActivityIconId);\n        mCallbackHandler.setWifiIndicators(mWifiEnabled &amp;&amp; mWifiConnected, mWifiLevelIconId, mWifiActivityIconId);\n    }\n\n    private void updateWifiUnAvailableIcon(boolean wifiUnAvailable) {\n        if (wifiUnAvailable) {\n            mWifiUnAvailableIconId = R.drawable.vivo_wifi_unavailable_white;\n        } else {\n            mWifiUnAvailableIconId = 0;\n        }\n        refreshWifiUnAvailableView();\n    }\n\n    private void refreshWifiUnAvailableView() {\n        if (mLastWifiUnAvailableIconId != mWifiUnAvailableIconId) {\n            if (mCallbackHandler != null) {\n                mCallbackHandler.setWifiUnAvailableIcon(mWifiUnAvailable, mWifiUnAvailableIconId);\n            }\n            mLastWifiUnAvailableIconId = mWifiUnAvailableIconId;\n        }\n    }\n\n    public void onSignalStrengthsChanged(int phoneId, SignalStrength signalStrength) {\n        LogUtils.i(TAG, \&quot;onSignalStrengthsChanged received on phoneId : \&quot; + phoneId\n                + \&quot;, signalStrength = \&quot; + signalStrength\n                + ((signalStrength == null) ? \&quot;\&quot; : (\&quot;, level = \&quot; + signalStrength.getLevel()\n                + \&quot;, gsm level = \&quot; + signalStrength.getGsmLevel()\n                + \&quot;, cdma level = \&quot; + signalStrength.getCdmaLevel())));\n        mSignalStrength[phoneId] = signalStrength;\n        updateTelephonySignalStrength(phoneId);\n    }\n\n    public void onServiceStateChanged(int phoneId, ServiceState state) {\n        LogUtils.i(TAG, \&quot;onServiceStateChanged, phoneId = \&quot; + phoneId + \&quot;, state = \&quot; + state);\n        mServiceState[phoneId] = state;\n        mOperatorNumeric[phoneId] = mServiceState[phoneId].getOperatorNumeric();\n        LogUtils.i(TAG, \&quot;mOperatorNumeric[\&quot; + phoneId + \&quot;] = \&quot; + mOperatorNumeric[phoneId]);\n        mRoamState[phoneId] = mServiceState[phoneId].getRoaming();\n        LogUtils.i(TAG, \&quot;isRoaming(\&quot; + phoneId + \&quot;) = \&quot; + mRoamState[phoneId]);\n        updateNetworkType(phoneId);\n        updateNetworkTypeIcon(phoneId);\n        updateDataConnectionState(phoneId);\n        updateTelephonySignalStrength(phoneId);\n        refreshSignalViews(phoneId);\n        updateVoLTE(phoneId);\n    }\n\n    public void onCallStateChanged(int phoneId, int state, String incomingNumber) {\n        if (mStatusBar != null) {\n            mStatusBar.updateClockVisibility();\n        }\n        LogUtils.i(TAG, \&quot;onCallStateChanged, phoneId = \&quot; + phoneId + \&quot;, state = \&quot; + state);\n        mCallState[phoneId] = state;\n        if (VivoOperatorNumeric.TELECOM_OPERATOR_NUMERIC.contains(mOperatorNumeric[phoneId])) {\n            updateNetworkType(phoneId);\n            updateNetworkTypeIcon(phoneId);\n            updateTelephonySignalStrength(phoneId);\n            refreshSignalViews(phoneId);\n            updateVoLTE(phoneId);//Bwb180620-166\n        }\n    }\n\n    public void onDataConnectionStateChanged(int phoneId, int state, int networkType) {\n        LogUtils.i(TAG, \&quot;onDataConnectionStateChanged, phoneId = \&quot; + phoneId + \&quot;, state = \&quot; + state\n                + \&quot;, defaultDataSubId = \&quot; + SubscriptionManager.getDefaultDataSubscriptionId()\n                + \&quot;, networkType = \&quot; + networkType);\n        mDataState[phoneId] = state;\n        updateNetworkType(phoneId);\n        updateNetworkTypeIcon(phoneId);\n        updateDataConnectionState(phoneId);\n        refreshSignalViews(phoneId);\n        updateVoLTE(phoneId);\n    }\n\n    public void onDataActivity(int phoneId, int direction) {\n        mDataActivity[phoneId] = direction;\n        updateDataActivityIcon(phoneId);\n        refreshSignalViews(phoneId);\n    }\n\n    public void onPreciseDataConnectionStateChanged(int phoneId, PreciseDataConnectionState state) {\n        String apnType = state.getDataConnectionAPNType();\n        int dataState = state.getDataConnectionState();\n        LogUtils.i(TAG, \&quot;onPreciseDataConnectionStateChanged, phoneId = \&quot; + phoneId + \&quot;, dataState = \&quot; + dataState + \&quot;, apnType = \&quot; + apnType);\n\n        if (dataState == TelephonyManager.DATA_CONNECTED) {\n            if (phoneId == 0) {\n                if (!mApnTypeSIM1.contains(apnType)) {\n                    mApnTypeSIM1.add(apnType);\n                }\n            } else {\n                if (!mApnTypeSIM2.contains(apnType)) {\n                    mApnTypeSIM2.add(apnType);\n                }\n            }\n        } else {\n            if (phoneId == 0) {\n                if (mApnTypeSIM1.contains(apnType)) {\n                    mApnTypeSIM1.remove(apnType);\n                }\n            } else {\n                if (mApnTypeSIM2.contains(apnType)) {\n                    mApnTypeSIM2.remove(apnType);\n                }\n            }\n        }\n        updateDataConnectionState(phoneId);\n        refreshSignalViews(phoneId);\n    }\n\n    //vivo-start TYPE[add] AUTHOR[zhangliang] for B180119-008\n    private boolean isShowingDataByCheckingApn(ArrayList&lt;String&gt; apnTypes) {\n        if (apnTypes == null)\n            return true;\n        int currentApnSize = apnTypes.size();\n        if (currentApnSize == 0)\n            return true;\n        int num = 0;\n        for (String apn : mNotShowDataIconApns) {\n            if (apnTypes.contains(apn))\n                num++;\n        }\n        if (currentApnSize == num)\n            return false;\n        return true;\n    }\n    //vivo-end TYPE[add] AUTHOR[zhangliang]\n\n    public boolean isShowDataActivityIcon(int phoneId) {\n        boolean isShowDataActivity;\n        if (0 == phoneId) {\n            if (VersionUtils.isExport()) {\n                isShowDataActivity = isShowingDataByCheckingApn(mApnTypeSIM1);\n            } else {\n                isShowDataActivity = (0 == mApnTypeSIM1.size()) ? true :\n                    (mApnTypeSIM1.contains(PhoneConstants.APN_TYPE_DEFAULT) || !mApnTypeSIM1.contains(PhoneConstants.APN_TYPE_IMS));\n            }\n        } else {\n            if (VersionUtils.isExport()) {\n                isShowDataActivity = isShowingDataByCheckingApn(mApnTypeSIM2);\n            } else {\n                isShowDataActivity = (0 == mApnTypeSIM2.size()) ? true :\n                    (mApnTypeSIM2.contains(PhoneConstants.APN_TYPE_DEFAULT) || !mApnTypeSIM2.contains(PhoneConstants.APN_TYPE_IMS));\n            }\n        }\n        LogUtils.i(TAG, \&quot;isShowDataActivityIcon, phoneId = \&quot; + phoneId + \&quot;, isShowDataActivity = \&quot; + isShowDataActivity);\n        return isShowDataActivity;\n    }\n\n    private int getPhoneId(int subId) {\n        int phoneId = SubscriptionManager.from(mContext).getPhoneId(subId);\n        return phoneId;\n    }\n\n    private boolean isValidSlotId(int slotId) {\n        return (0 &lt;= slotId) &amp;&amp; (slotId &lt; mPhoneCount);\n    }\n\n    private void updateNetworkType(int phoneId) {\n        if (VivoOperatorNumeric.TELECOM_OPERATOR_NUMERIC.contains(mOperatorNumeric[phoneId])) {\n            if (mCallState[phoneId] == TelephonyManager.CALL_STATE_IDLE) {\n                mNetworkType[phoneId] = mServiceState[phoneId].getDataNetworkType();\n                if (mNetworkType[phoneId] == TelephonyManager.NETWORK_TYPE_UNKNOWN) {\n                    mNetworkType[phoneId] = mServiceState[phoneId].getVoiceNetworkType();\n                }\n            } else {\n                if (mIMSState[phoneId] == 1) {\n                    mNetworkType[phoneId] = mServiceState[phoneId].getDataNetworkType();\n                    if (mNetworkType[phoneId] == TelephonyManager.NETWORK_TYPE_UNKNOWN) {\n                        mNetworkType[phoneId] = mServiceState[phoneId].getVoiceNetworkType();\n                    }\n                } else {\n                    mNetworkType[phoneId] = mServiceState[phoneId].getVoiceNetworkType();\n                }\n            }\n        } else {\n            mNetworkType[phoneId] = mServiceState[phoneId].getDataNetworkType();\n            if (mNetworkType[phoneId] == TelephonyManager.NETWORK_TYPE_UNKNOWN\n                    //vivo-start TYPE[add] AUTHOR[zhangliang] for B171218-972\n                    || mNetworkType[phoneId] == TelephonyManager.NETWORK_TYPE_IWLAN){\n                    //vivo-end TYPE[add] AUTHOR[zhangliang]\n                mNetworkType[phoneId] = mServiceState[phoneId].getVoiceNetworkType();\n            }\n        }\n    }\n\n    private void updateNetworkTypeIcon(int phoneId) {\n        boolean isSIM1Insert = false;\n        boolean isSIM2Insert = false;\n        boolean isSIM1RadioOn = false;\n        boolean isSIM2RadioOn = false;\n        isSIM1Insert = mSIMAndNetworkHelper.isSIMInserted(VivoConstants.Network.SIM1);\n        if (isSIM1Insert) {\n            isSIM1RadioOn = mSIMAndNetworkHelper.isRadioOn(VivoConstants.Network.SIM1);\n        }\n        if (mSIMAndNetworkHelper.isSupportDualSIM()) {\n            isSIM2Insert = mSIMAndNetworkHelper.isSIMInserted(VivoConstants.Network.SIM2);\n            if (isSIM2Insert) {\n                isSIM2RadioOn = mSIMAndNetworkHelper.isRadioOn(VivoConstants.Network.SIM2);\n            }\n        }\n        if (!isSIM1RadioOn) {\n            mNetworkType[VivoConstants.Network.SIM1] = -1;\n        }\n        if (!isSIM2RadioOn) {\n            mNetworkType[VivoConstants.Network.SIM2] = -1;\n        }\n        int networkType = getNetWorkType(mNetworkType[phoneId], mOperatorNumeric[phoneId],\n                mNetworkMode4GPrefer[phoneId], mSubscriberId[phoneId]);\n        boolean isShowSimSlot = showSimSlot();\n\n        mNetworkTypeIconId[phoneId] = VivoTelephonyIcons.getDataTypeIconGemini(networkType);\n\n        mNetworkTypeSmallIconId[phoneId] = VivoTelephonyIcons.getDataTypeIconGemini(networkType, true);\n\n        if (isShowSimSlot) {\n            mNetworkTypeIconIdRight[phoneId] = VivoTelephonyIcons.getDataTypeIconRight(networkType, phoneId);\n        } else {\n            mNetworkTypeIconIdRight[phoneId] = VivoTelephonyIcons.getDataTypeIconRight(networkType);\n        }\n    }\n\n    private int getNetWorkType(int type, String operatorNumeric, boolean networkMode4GPrefer, String subscriberId) {\n        int netWorkType = -1;\n        switch (type) {\n            //case TelephonyManager.NETWORK_TYPE_UNKNOWN:\n            case TelephonyManager.NETWORK_TYPE_GPRS:\n            case TelephonyManager.NETWORK_TYPE_GSM:\n                if (VivoOperatorNumeric.TELECOM_OPERATOR_NUMERIC.contains(operatorNumeric)) {\n                    netWorkType = VivoTelephonyIcons.Type_2G;\n                } else {\n                    netWorkType = VivoTelephonyIcons.Type_G;\n                }\n                break;\n            case TelephonyManager.NETWORK_TYPE_EDGE:\n                //vivo-start TYPE[add] AUTHOR[zhangliang]\n                if (VersionUtils.isExport()) {\n                    netWorkType = VivoTelephonyIcons.Type_E;\n                //vivo-end TYPE[add] AUTHOR[zhangliang]\n                } else if (VivoOperatorNumeric.TELECOM_OPERATOR_NUMERIC.contains(operatorNumeric)) {\n                    netWorkType = VivoTelephonyIcons.Type_2G;\n                } else if (VivoOperatorNumeric.UNICOM_OPERATOR_NUMERIC.contains(operatorNumeric)) {\n                    netWorkType = VivoTelephonyIcons.Type_G;\n                } else {\n                    netWorkType = VivoTelephonyIcons.Type_E;\n                }\n                break;\n            case TelephonyManager.NETWORK_TYPE_CDMA:\n            case TelephonyManager.NETWORK_TYPE_1xRTT:\n            case TelephonyManager.NETWORK_TYPE_IDEN:\n                netWorkType = VivoTelephonyIcons.Type_2G;\n                break;\n            case TelephonyManager.NETWORK_TYPE_UMTS:\n            case TelephonyManager.NETWORK_TYPE_EVDO_0:\n            case TelephonyManager.NETWORK_TYPE_EVDO_A:\n            case TelephonyManager.NETWORK_TYPE_EVDO_B:\n            case TelephonyManager.NETWORK_TYPE_EHRPD:\n            case /*TelephonyManager.NETWORK_TYPE_TD_SCDMA*/ NETWORK_TYPE_TD_SCDMA:\n                netWorkType = VivoTelephonyIcons.Type_3G;\n                break;\n            case TelephonyManager.NETWORK_TYPE_HSDPA:\n            case TelephonyManager.NETWORK_TYPE_HSUPA:\n            case TelephonyManager.NETWORK_TYPE_HSPA:\n                if (VivoOperatorNumeric.CMCC_OPERATOR_NUMERIC.contains(operatorNumeric) || VersionUtils.isCmccTestVersion()) {\n                    netWorkType = VivoTelephonyIcons.Type_3G;\n                } else if (VivoOperatorNumeric.ATT_OPERATOR_NUMERIC.contains(operatorNumeric)\n                        &amp;&amp; isSubscriberIdMatch(subscriberId, VivoOperatorNumeric.ATT_OPERATOR_NUMERIC)\n                        &amp;&amp; networkMode4GPrefer){\n                    netWorkType = VivoTelephonyIcons.Type_4G;\n                } else if (VivoOperatorNumeric.TMOBILE_OPERATOR_NUMERIC.contains(operatorNumeric)\n                        &amp;&amp; isSubscriberIdMatch(subscriberId, VivoOperatorNumeric.TMOBILE_OPERATOR_NUMERIC)\n                        &amp;&amp; networkMode4GPrefer) {\n                    netWorkType = VivoTelephonyIcons.Type_4G;\n                } else {\n                    netWorkType = VivoTelephonyIcons.Type_H;\n                }\n                break;\n            case TelephonyManager.NETWORK_TYPE_HSPAP:\n                if (VivoOperatorNumeric.CMCC_OPERATOR_NUMERIC.contains(operatorNumeric) || VersionUtils.isCmccTestVersion()) {\n                    netWorkType = VivoTelephonyIcons.Type_3G;\n                } else if (VivoOperatorNumeric.ATT_OPERATOR_NUMERIC.contains(operatorNumeric)\n                        &amp;&amp; isSubscriberIdMatch(subscriberId, VivoOperatorNumeric.ATT_OPERATOR_NUMERIC)\n                        &amp;&amp; networkMode4GPrefer) {\n                    netWorkType = VivoTelephonyIcons.Type_4G;\n                } else if (VivoOperatorNumeric.TMOBILE_OPERATOR_NUMERIC.contains(operatorNumeric)\n                        &amp;&amp; isSubscriberIdMatch(subscriberId, VivoOperatorNumeric.TMOBILE_OPERATOR_NUMERIC)\n                        &amp;&amp; networkMode4GPrefer) {\n                    netWorkType = VivoTelephonyIcons.Type_4G;\n                } else {\n                    netWorkType = VivoTelephonyIcons.Type_H_PLUS;\n                }\n                break;\n            case TelephonyManager.NETWORK_TYPE_LTE:\n                //case TelephonyManager.NETWORK_TYPE_IWLAN:\n                //vivo-start TYPE[add] AUTHOR[zhangliang]\n                if (VersionUtils.isExport()) {\n                    netWorkType = VivoTelephonyIcons.Type_4G;\n                //vivo-end TYPE[add] AUTHOR[zhangliang]\n                } else if (VersionUtils.isSupportCAForMtk() ||\n                        VivoOperatorNumeric.TELECOM_OPERATOR_NUMERIC.contains(operatorNumeric) &amp;&amp; isSupportCA()) {\n                    netWorkType = VivoTelephonyIcons.Type_4G_CA;\n                } else if (VivoOperatorNumeric.ATT_OPERATOR_NUMERIC.contains(operatorNumeric)\n                        &amp;&amp; isSubscriberIdMatch(subscriberId, VivoOperatorNumeric.ATT_OPERATOR_NUMERIC)) {\n                    netWorkType = VivoTelephonyIcons.Type_LTE;\n                } else if (VivoOperatorNumeric.TMOBILE_OPERATOR_NUMERIC.contains(operatorNumeric)\n                        &amp;&amp; isSubscriberIdMatch(subscriberId, VivoOperatorNumeric.TMOBILE_OPERATOR_NUMERIC)){\n                    netWorkType = VivoTelephonyIcons.Type_LTE;\n                } else {\n                    netWorkType = VivoTelephonyIcons.Type_4G;\n                }\n                break;\n            case /*TelephonyManager.NETWORK_TYPE_LTE_CA*/ NETWORK_TYPE_LTE_CA:\n                netWorkType = VivoTelephonyIcons.Type_4G_CA;\n                break;\n            default:\n                netWorkType = -1;\n                break;\n        }\n        return netWorkType;\n    }\n\n    private boolean isSubscriberIdMatch(String subscriberId, ArrayList&lt;String&gt; numeric) {\n        for (int i = 0; i &lt; numeric.size(); i++) {\n            if (subscriberId.startsWith(numeric.get(i))) {\n                return true;\n            }\n        }\n        return false;\n    }\n\n    private boolean isSupportCA() {\n        FtTelephonyApiParams param = new FtTelephonyApiParams(\&quot;API_TAG_isSupportCA\&quot;);\n        FtTelephonyApiParams ret = mFtTelephony.commonApi(param);\n        if (ret != null) {\n            return ret.getAsBoolean(\&quot;support_ca\&quot;);\n        }\n        return false;\n    }\n\n    private void updateDataConnectionState(int phoneId) {\n        if (mNetworkType[phoneId] == TelephonyManager.NETWORK_TYPE_UNKNOWN) {\n            mDataConnected[phoneId] = false;\n        } else {\n            if (mSIMAndNetworkHelper.isSIMInserted(phoneId)\n                    &amp;&amp; mDataState[phoneId] == TelephonyManager.DATA_CONNECTED\n                    &amp;&amp; isShowDataActivityIcon(phoneId)) {\n                mDataConnected[phoneId] = true;\n            } else {\n                mDataConnected[phoneId] = false;\n            }\n        }\n        LogUtils.i(TAG, \&quot;mDataConnected[\&quot; + phoneId + \&quot;] = \&quot; + mDataConnected[phoneId]);\n    }\n\n    private void updateDataActivityIcon(int phoneId) {\n        int iconId = VivoTelephonyIcons.getDataActivityIcon(mDataActivity[phoneId]);\n        mDataActivityIconId[phoneId] = iconId;\n        LogUtils.i(TAG, \&quot;mDataActivityIconId[\&quot; + phoneId + \&quot;] = \&quot; + mDataActivityIconId[phoneId]);\n    }\n\n    private boolean showSimSlot() {\n        return mSIMAndNetworkHelper.isSupportDualSIM()\n                &amp;&amp; mSIMAndNetworkHelper.isSIMInserted(VivoConstants.Network.SIM1)\n                &amp;&amp; mSIMAndNetworkHelper.isSIMInserted(VivoConstants.Network.SIM2)\n                &amp;&amp; mSIMAndNetworkHelper.isRadioOn(VivoConstants.Network.SIM1)\n                &amp;&amp; mSIMAndNetworkHelper.isRadioOn(VivoConstants.Network.SIM2);\n    }\n\n    private boolean hasService(int phoneId) {\n        ServiceState ss = mServiceState[phoneId];\n        if (ss != null) {\n            // Consider the device to be in service if either voice or data\n            // service is available. Some SIM cards are marketed as data-only\n            // and do not support voice service, and on these SIM cards, we\n            // want to show signal bars for data service as well as the \&quot;no\n            // service\&quot; or \&quot;emergency calls only\&quot; text that indicates that voice\n            // is not available.\n\n            // add by hening for vowifi\n            LogUtils.i(TAG, \&quot;ss.getDataRegState() = \&quot;+ss.getDataRegState()\n                    +\&quot;, ss.getDataNetworkType() = \&quot;+ss.getDataNetworkType()\n                    +\&quot;, ss.getVoiceRegState() = \&quot;+ss.getVoiceRegState()\n                    +\&quot;, ss.getVoiceNetworkType() = \&quot;+ss.getVoiceNetworkType());\n            if (ss.getDataRegState() == ServiceState.STATE_IN_SERVICE\n                    &amp;&amp; ss.getDataNetworkType() == TelephonyManager.NETWORK_TYPE_IWLAN\n                    &amp;&amp; (ss.getVoiceRegState() != ServiceState.STATE_IN_SERVICE\n                        || (ss.getVoiceRegState() == ServiceState.STATE_IN_SERVICE\n                            &amp;&amp; (ss.getVoiceNetworkType() == TelephonyManager.NETWORK_TYPE_IWLAN\n                                || ss.getVoiceNetworkType() == TelephonyManager.NETWORK_TYPE_UNKNOWN)))) {\n                return false;\n            }\n            // add by hening for vowifi\n\n            switch (ss.getVoiceRegState()) {\n                case ServiceState.STATE_POWER_OFF:\n                    return false;\n                case ServiceState.STATE_OUT_OF_SERVICE:\n                case ServiceState.STATE_EMERGENCY_ONLY:\n                    return ss.getDataRegState() == ServiceState.STATE_IN_SERVICE;\n                default:\n                    return true;\n            }\n        } else {\n            return false;\n        }\n    }\n\n    private boolean isCdma(int phoneId) {\n        return (mSignalStrength[phoneId] != null) &amp;&amp; !mSignalStrength[phoneId].isGsm();\n    }\n\n    private int mGradualLevel[] = {0, 0};\n    private int mGradualDelay = 0;\n    private final int DELAY_INCREASE = 500;\n    private final int DELAY_DECREASE = 1500;\n    private final int MSG_DELAY_SIGNAL_STRENGTH = 1001;\n    private Handler mSignalStrengthDelayHandler = null;\n    private Handler mSignalStrengthDelayHandler2 = null;\n\n    private void initSignalStrengthDelayHandler(Looper looper) {\n        mSignalStrengthDelayHandler = new Handler(looper) {\n            @Override\n            public void handleMessage(Message msg) {\n                // TODO Auto-generated method stub\n                super.handleMessage(msg);\n                switch (msg.what) {\n                    case MSG_DELAY_SIGNAL_STRENGTH:\n                        updateTelephonySignalStrengthAgain(msg.arg1);\n                        break;\n                }\n            }\n        };\n        mSignalStrengthDelayHandler2 = new Handler(looper) {\n            @Override\n            public void handleMessage(Message msg) {\n                // TODO Auto-generated method stub\n                super.handleMessage(msg);\n                switch (msg.what) {\n                    case MSG_DELAY_SIGNAL_STRENGTH:\n                        updateTelephonySignalStrengthAgain(msg.arg1);\n                        break;\n                }\n            }\n        };\n    }\n\n    ;\n\n    private void updateSimStateIcon(int phoneId) {\n        boolean isSIM1Insert = false;\n        boolean isSIM2Insert = false;\n        boolean isSIM1RadioOn = false;\n        boolean isSIM2RadioOn = false;\n        isSIM1Insert = mSIMAndNetworkHelper.isSIMInserted(VivoConstants.Network.SIM1);\n        if (isSIM1Insert) {\n            isSIM1RadioOn = mSIMAndNetworkHelper.isRadioOn(VivoConstants.Network.SIM1);\n        } else {\n            mLastSIMInserted[VivoConstants.Network.SIM1] = false;\n        }\n        if (mSIMAndNetworkHelper.isSupportDualSIM()) {\n            isSIM2Insert = mSIMAndNetworkHelper.isSIMInserted(VivoConstants.Network.SIM2);\n            if (isSIM2Insert) {\n                isSIM2RadioOn = mSIMAndNetworkHelper.isRadioOn(VivoConstants.Network.SIM2);\n            } else {\n                mLastSIMInserted[VivoConstants.Network.SIM2] = false;\n            }\n        }\n        LogUtils.i(TAG, \&quot;updateSimStateIcon, isSIM1Insert = \&quot; + isSIM1Insert + \&quot;, isSIM2Insert = \&quot; + isSIM2Insert\n                + \&quot;, isSIM1RadioOn = \&quot; + isSIM1RadioOn + \&quot;, isSIM2RadioOn = \&quot; + isSIM2RadioOn);\n\n        if (phoneId == VivoConstants.Network.SIM1) {\n            if (!isSIM1Insert) {\n                if (mSIMAndNetworkHelper.alwayShowSIMIcon()) {\n                    if (mSIMAndNetworkHelper.isSupportDualSIM()) {\n                        mSignalIconId[phoneId] = R.drawable.vivo_no_sim1_4_white;\n                    } else {\n                        mSignalIconId[phoneId] = R.drawable.vivo_no_sim_4_white;\n                    }\n                } else {\n                    mSignalIconId[phoneId] = 0;\n                }\n            } else if (!isSIM1RadioOn) {\n                mLastSIMRadioOn[VivoConstants.Network.SIM1] = false;\n                if (!mSIMAndNetworkHelper.alwayShowSIMIcon()\n                        &amp;&amp; (mSIMAndNetworkHelper.isSupportDualSIM() &amp;&amp; isSIM2Insert &amp;&amp; isSIM2RadioOn)) {\n                    mSignalIconId[phoneId] = 0;\n                } else {\n                    if (!VersionUtils.isUnicomTestVersion() &amp;&amp; !VersionUtils.isNetEntryVersion()) {\n                        mSignalIconId[phoneId] = R.drawable.vivo_radio_off_4_white;\n                    } else {\n                        if (VersionUtils.isTelecomTestVersion()) {\n                            mSignalIconId[phoneId] = R.drawable.vivo_radio_off_white_telecom;\n                        } else {\n                            mSignalIconId[phoneId] = R.drawable.vivo_radio_off_4_sim1_white;\n                        }\n                    }\n                }\n            }\n        } else if (phoneId == VivoConstants.Network.SIM2) {\n            if (!isSIM2Insert) {\n                if (mSIMAndNetworkHelper.alwayShowSIMIcon()) {\n                    mSignalIconId[phoneId] = R.drawable.vivo_no_sim2_4_white;\n                } else {\n                    mSignalIconId[phoneId] = 0;\n                }\n            } else if (!isSIM2RadioOn) {\n                mLastSIMRadioOn[VivoConstants.Network.SIM2] = false;\n                if (mSIMAndNetworkHelper.alwayShowSIMIcon() || !isSIM1Insert) {\n                    if (VersionUtils.isUnicomTestVersion() || VersionUtils.isNetEntryVersion()) {\n                        mSignalIconId[phoneId] = R.drawable.vivo_radio_off_4_sim2_white;\n                    } else {\n                        mSignalIconId[phoneId] = R.drawable.vivo_radio_off_4_white;\n                    }\n                } else {\n                    mSignalIconId[phoneId] = 0;\n                }\n            }\n        }\n    }\n\n    private void updateTelephonySignalStrengthAgain(int phoneId) {\n        updateTelephonySignalStrength(phoneId);\n    }\n\n    private void updateTelephonySignalStrength(int phoneId) {\n        mSIMInserted[phoneId] = mSIMAndNetworkHelper.isSIMInserted(phoneId);\n        if (!mSIMInserted[phoneId]) return;\n        mSIMRadioOn[phoneId] = mSIMAndNetworkHelper.isRadioOn(phoneId);\n        mConnected[phoneId] = hasService(phoneId) &amp;&amp; mSignalStrength[phoneId] != null;\n        if (mConnected[phoneId]) {\n            if (VivoOperatorNumeric.TELECOM_OPERATOR_NUMERIC.contains(mOperatorNumeric[phoneId])) {\n                if (mCallState[phoneId] == TelephonyManager.CALL_STATE_IDLE) {\n                    mLevel[phoneId] = mSignalStrength[phoneId].getLevel();\n                } else {\n                    if (mIMSState[phoneId] == 1) {\n                        mLevel[phoneId] = mSignalStrength[phoneId].getLevel();\n                    } else {\n                        mLevel[phoneId] = mSignalStrength[phoneId].getCdmaLevel();\n                    }\n                }\n            } else {\n                mLevel[phoneId] = mSignalStrength[phoneId].getLevel();\n            }\n            if (mLevel[phoneId] &lt; 0) {\n                mLevel[phoneId] = 0;\n            } else if (mLevel[phoneId] &gt; (VivoTelephonyIcons.DATA_SIGNAL_LEVEL_COUNT - 1)) {\n                mLevel[phoneId] = VivoTelephonyIcons.DATA_SIGNAL_LEVEL_COUNT - 1;\n            }\n        }\n\n        boolean equals = mSIMInserted[phoneId] == mLastSIMInserted[phoneId]\n                &amp;&amp; mSIMRadioOn[phoneId] == mLastSIMRadioOn[phoneId]\n                &amp;&amp; mConnected[phoneId] == mLastConnected[phoneId]\n                &amp;&amp; mLevel[phoneId] == mLastLevel[phoneId]\n                &amp;&amp; mLevel[phoneId] == mGradualLevel[phoneId]\n                &amp;&amp; mRoamState[phoneId] == mLastRoamState[phoneId]\n                &amp;&amp; mVirtualSIM[phoneId] == mLastVirtualSIM[phoneId];\n        LogUtils.i(TAG, \&quot;updateTelephonySignalStrength, phoneId = \&quot; + phoneId + \&quot;, equals = \&quot; + equals);\n        if (!equals) {\n            mLastSIMInserted[phoneId] = mSIMInserted[phoneId];\n            mLastSIMRadioOn[phoneId] = mSIMRadioOn[phoneId];\n            mLastConnected[phoneId] = mConnected[phoneId];\n            mLastLevel[phoneId] = mLevel[phoneId];\n            mLastRoamState[phoneId] = mRoamState[phoneId];\n            mLastVirtualSIM[phoneId] = mVirtualSIM[phoneId];\n        }\n        if (!equals &amp;&amp; mSIMRadioOn[phoneId]) {\n            if (hasService(phoneId) &amp;&amp; mSignalStrength[phoneId] != null) {\n                int level = mLevel[phoneId];\n                int[] signalList;\n                if (mRoamState[phoneId] &amp;&amp; !mVirtualSIM[phoneId]) {\n                    signalList = VivoTelephonyIcons.getTelephonySignalStrengthIconListRoaming(phoneId, mDistinguish);\n                } else {\n                    if (mDistinguish) {\n                        signalList = VivoTelephonyIcons.getTelephonySignalStrengthIconList(phoneId, mVirtualSIM[phoneId]);\n                    } else {\n                        signalList = VivoTelephonyIcons.getTelephonySignalStrengthIconList(mVirtualSIM[phoneId]);\n                    }\n                }\n                mSignalIconId[phoneId] = signalList[level];\n\n                // reason: If level change is larger than 1, we shall delay it. Which means, we don't jump from level 1 to level 5,\n                // we display 1,2,3,4,5 in order.\n                if (phoneId == 0) {\n                    mSignalStrengthDelayHandler.removeMessages(MSG_DELAY_SIGNAL_STRENGTH);\n                } else {\n                    mSignalStrengthDelayHandler2.removeMessages(MSG_DELAY_SIGNAL_STRENGTH);\n                }\n                int change = level - mGradualLevel[phoneId];\n                if (change &gt; 1 || change &lt; -1) {\n                    mGradualDelay = DELAY_INCREASE;\n                    if (change &gt; 0) {\n                        level = ++mGradualLevel[phoneId];\n                    } else {\n                        mGradualDelay = DELAY_DECREASE;\n                        level = --mGradualLevel[phoneId];\n                    }\n                    mSignalIconId[phoneId] = signalList[level];\n\n                    // refresh after delay\n                    if (phoneId == 0) {\n                        Message delayMessage = mSignalStrengthDelayHandler.obtainMessage(MSG_DELAY_SIGNAL_STRENGTH);\n                        delayMessage.arg1 = phoneId;\n                        mSignalStrengthDelayHandler.sendMessageDelayed(delayMessage, mGradualDelay);\n                    } else {\n                        Message delayMessage = mSignalStrengthDelayHandler2.obtainMessage(MSG_DELAY_SIGNAL_STRENGTH);\n                        delayMessage.arg1 = phoneId;\n                        mSignalStrengthDelayHandler2.sendMessageDelayed(delayMessage, mGradualDelay);\n                    }\n                }\n                mGradualLevel[phoneId] = level;\n\n                mCallbackHandler.applyQuickly(mSignalIconId[phoneId], phoneId);\n            } else {\n                LogUtils.i(TAG, \&quot;No Service\&quot;);\n                if (mDistinguish) {\n                    if (phoneId == VivoConstants.Network.SIM1) {\n                        mSignalIconId[phoneId] = R.drawable.vivo_signal4_0_sim1_white;\n                    } else {\n                        mSignalIconId[phoneId] = R.drawable.vivo_signal4_0_sim2_white;\n                    }\n                } else {\n                    mSignalIconId[phoneId] = R.drawable.vivo_signal4_0_white;\n                }\n                if (IrregularScreenUtils.isIrregularScreen()) {\n                    mCallbackHandler.setMobileDataSmallIndicators(mSignalIconId[phoneId], mNetworkTypeSmallIconId[phoneId], phoneId);\n                } else {\n                    mCallbackHandler.setMobileDataIndicators(mSignalIconId[phoneId], mNetworkTypeIconId[phoneId], phoneId);\n                }\n            }\n        } else if (!mSIMRadioOn[phoneId]) {\n            updateSimStateIcon(phoneId);\n        }\n    }\n\n    private void refreshSignalViews(int phoneId) {\n        if (mLastAirplaneMode[phoneId] != mAirplaneMode[phoneId]\n                || mLastSignalIconId[phoneId] != mSignalIconId[phoneId]\n                || mLastNetworkTypeIconId[phoneId] != mNetworkTypeIconId[phoneId]\n                || mLastNetworkTypeIconIdRight[phoneId] != mNetworkTypeIconIdRight[phoneId]\n                || mLastDataConnected[phoneId] != mDataConnected[phoneId]\n                || mLastDataActivityIconId[phoneId] != mDataActivityIconId[phoneId]) {\n            refreshSignalClusterViews(phoneId);\n        }\n        if (mLastSignalIconId[phoneId] != mSignalIconId[phoneId]) {\n            mLastSignalIconId[phoneId] = mSignalIconId[phoneId];\n        }\n        if (mLastNetworkTypeIconId[phoneId] != mNetworkTypeIconId[phoneId]) {\n            mLastNetworkTypeIconId[phoneId] = mNetworkTypeIconId[phoneId];\n        }\n        if (mLastNetworkTypeIconIdRight[phoneId] != mNetworkTypeIconIdRight[phoneId]) {\n            mLastNetworkTypeIconIdRight[phoneId] = mNetworkTypeIconIdRight[phoneId];\n        }\n        if (mLastDataConnected[phoneId] != mDataConnected[phoneId]) {\n            mLastDataConnected[phoneId] = mDataConnected[phoneId];\n        }\n        if (mLastDataActivityIconId[phoneId] != mDataActivityIconId[phoneId]) {\n            mLastDataActivityIconId[phoneId] = mDataActivityIconId[phoneId];\n        }\n    }\n\n    public void refreshSignalClusterViews(int phoneId) {\n        LogUtils.i(TAG, \&quot;refreshSignalClusterViews, phoneId = \&quot; + phoneId\n                + \&quot;, network type = \&quot; + mNetworkTypeIconId[phoneId]\n                + \&quot;, signal = \&quot; + mSignalIconId[phoneId]\n                + \&quot;, mDataConnected = \&quot; + mDataConnected[phoneId]);\n\n        if (IrregularScreenUtils.isIrregularScreen()) {\n            mCallbackHandler.setMobileDataSmallIndicators(mSignalIconId[phoneId], mNetworkTypeSmallIconId[phoneId], phoneId);\n        } else {\n            mCallbackHandler.setMobileDataIndicators(mSignalIconId[phoneId], mNetworkTypeIconId[phoneId], phoneId);\n        }\n        mCallbackHandler.setMobileDataIndicators(mDataConnected[phoneId] &amp;&amp; isShowDataActivityIcon(phoneId),\n                mNetworkTypeIconIdRight[phoneId], mDataActivityIconId[phoneId], phoneId);\n    }\n\n    private class NetworkModeObserver extends ContentObserver {\n        public NetworkModeObserver() {\n            super(new Handler(Looper.myLooper()));\n        }\n\n        @Override\n        public void onChange(boolean selfChange) {\n            updateNetworkMode(VivoConstants.Network.SIM1);\n            if (mSIMAndNetworkHelper.isSupportDualSIM()) {\n                updateNetworkMode(VivoConstants.Network.SIM2);\n            }\n        }\n    }\n\n    public void updateNetworkMode(int phoneId) {\n        try {\n            int networkMode = mTelephonyManager.getIntAtIndex(mContext.getContentResolver(),\n                    Settings.Global.PREFERRED_NETWORK_MODE, phoneId);\n            if (VivoNetworkModeConstants.LTE_PREFERRED_NUMERIC.contains(networkMode)) {\n                mNetworkMode4GPrefer[phoneId] = true;\n            } else {\n                mNetworkMode4GPrefer[phoneId] = false;\n            }\n            LogUtils.d(TAG, \&quot;networkMode = \&quot; + networkMode + \&quot;\\t\&quot;\n                    + \&quot;mNetworkMode4GPrefer[\&quot; + phoneId + \&quot;] = \&quot; + mNetworkMode4GPrefer[phoneId]);\n        } catch (Exception e) {\n            LogUtils.w(TAG, \&quot;updateNetworkMode error! e : \&quot; + e);\n        }\n    }\n}&quot;,&quot;ctags&quot;:{&quot;DELAY_DECREASE&quot;:[{&quot;linenum&quot;:&quot;1049&quot;,&quot;signature&quot;:&quot;VivoNetworkController::DELAY_DECREASE&quot;}],&quot;DELAY_INCREASE&quot;:[{&quot;linenum&quot;:&quot;1048&quot;,&quot;signature&quot;:&quot;VivoNetworkController::DELAY_INCREASE&quot;}],&quot;MSG_DELAY_SIGNAL_STRENGTH&quot;:[{&quot;linenum&quot;:&quot;1050&quot;,&quot;signature&quot;:&quot;VivoNetworkController::MSG_DELAY_SIGNAL_STRENGTH&quot;}],&quot;NETWORK_TYPE_LTE_CA&quot;:[{&quot;linenum&quot;:&quot;88&quot;,&quot;signature&quot;:&quot;VivoNetworkController::NETWORK_TYPE_LTE_CA&quot;}],&quot;NETWORK_TYPE_TD_SCDMA&quot;:[{&quot;linenum&quot;:&quot;87&quot;,&quot;signature&quot;:&quot;VivoNetworkController::NETWORK_TYPE_TD_SCDMA&quot;}],&quot;NetworkModeObserver&quot;:[{&quot;linenum&quot;:&quot;1311&quot;,&quot;signature&quot;:&quot;VivoNetworkController::NetworkModeObserver&quot;},{&quot;linenum&quot;:&quot;1312&quot;,&quot;signature&quot;:&quot;VivoNetworkController.NetworkModeObserver::NetworkModeObserver()&quot;}],&quot;TAG&quot;:[{&quot;linenum&quot;:&quot;2&quot;,&quot;signature&quot;:&quot;VivoNetworkController::TAG&quot;}],&quot;VivoNetworkController&quot;:[{&quot;linenum&quot;:&quot;1&quot;,&quot;signature&quot;:&quot;public class VivoNetworkController extends BroadcastReceiver {&quot;},{&quot;linenum&quot;:&quot;91&quot;,&quot;signature&quot;:&quot;VivoNetworkController::VivoNetworkController(Context context, CallbackHandler callbackHandler, NetworkControllerImpl networkController, Looper bgLooper)&quot;}],&quot;WifiHandler&quot;:[{&quot;linenum&quot;:&quot;562&quot;,&quot;signature&quot;:&quot;VivoNetworkController::WifiHandler&quot;},{&quot;linenum&quot;:&quot;563&quot;,&quot;signature&quot;:&quot;VivoNetworkController.WifiHandler::WifiHandler(Looper looper)&quot;}],&quot;createWifiHandler&quot;:[{&quot;linenum&quot;:&quot;551&quot;,&quot;signature&quot;:&quot;VivoNetworkController::createWifiHandler()&quot;}],&quot;getNetWorkType&quot;:[{&quot;linenum&quot;:&quot;857&quot;,&quot;signature&quot;:&quot;VivoNetworkController::getNetWorkType(int type, String operatorNumeric, boolean networkMode4GPrefer, String subscriberId)&quot;}],&quot;getPhoneId&quot;:[{&quot;linenum&quot;:&quot;784&quot;,&quot;signature&quot;:&quot;VivoNetworkController::getPhoneId(int subId)&quot;}],&quot;handleMessage&quot;:[{&quot;linenum&quot;:&quot;568&quot;,&quot;signature&quot;:&quot;VivoNetworkController.WifiHandler::handleMessage(Message msg)&quot;}],&quot;hasService&quot;:[{&quot;linenum&quot;:&quot;1003&quot;,&quot;signature&quot;:&quot;VivoNetworkController::hasService(int phoneId)&quot;}],&quot;huntForSsid&quot;:[{&quot;linenum&quot;:&quot;590&quot;,&quot;signature&quot;:&quot;VivoNetworkController::huntForSsid(WifiInfo info)&quot;}],&quot;initSignalStrengthDelayHandler&quot;:[{&quot;linenum&quot;:&quot;1054&quot;,&quot;signature&quot;:&quot;VivoNetworkController::initSignalStrengthDelayHandler(Looper looper)&quot;}],&quot;isCdma&quot;:[{&quot;linenum&quot;:&quot;1042&quot;,&quot;signature&quot;:&quot;VivoNetworkController::isCdma(int phoneId)&quot;}],&quot;isShowDataActivityIcon&quot;:[{&quot;linenum&quot;:&quot;763&quot;,&quot;signature&quot;:&quot;VivoNetworkController::isShowDataActivityIcon(int phoneId)&quot;}],&quot;isShowingDataByCheckingApn&quot;:[{&quot;linenum&quot;:&quot;746&quot;,&quot;signature&quot;:&quot;VivoNetworkController::isShowingDataByCheckingApn(ArrayList&lt;String&gt; apnTypes)&quot;}],&quot;isSubscriberIdMatch&quot;:[{&quot;linenum&quot;:&quot;956&quot;,&quot;signature&quot;:&quot;VivoNetworkController::isSubscriberIdMatch(String subscriberId, ArrayList&lt;String&gt; numeric)&quot;}],&quot;isSupportCA&quot;:[{&quot;linenum&quot;:&quot;965&quot;,&quot;signature&quot;:&quot;VivoNetworkController::isSupportCA()&quot;}],&quot;isValidSlotId&quot;:[{&quot;linenum&quot;:&quot;789&quot;,&quot;signature&quot;:&quot;VivoNetworkController::isValidSlotId(int slotId)&quot;}],&quot;mAirplaneMode&quot;:[{&quot;linenum&quot;:&quot;40&quot;,&quot;signature&quot;:&quot;VivoNetworkController::mAirplaneMode&quot;}],&quot;mApnTypeSIM1&quot;:[{&quot;linenum&quot;:&quot;79&quot;,&quot;signature&quot;:&quot;VivoNetworkController::mApnTypeSIM1&quot;}],&quot;mApnTypeSIM2&quot;:[{&quot;linenum&quot;:&quot;80&quot;,&quot;signature&quot;:&quot;VivoNetworkController::mApnTypeSIM2&quot;}],&quot;mCallState&quot;:[{&quot;linenum&quot;:&quot;46&quot;,&quot;signature&quot;:&quot;VivoNetworkController::mCallState&quot;}],&quot;mCallbackHandler&quot;:[{&quot;linenum&quot;:&quot;4&quot;,&quot;signature&quot;:&quot;VivoNetworkController::mCallbackHandler&quot;}],&quot;mConnected&quot;:[{&quot;linenum&quot;:&quot;47&quot;,&quot;signature&quot;:&quot;VivoNetworkController::mConnected&quot;}],&quot;mContext&quot;:[{&quot;linenum&quot;:&quot;3&quot;,&quot;signature&quot;:&quot;VivoNetworkController::mContext&quot;}],&quot;mDataActivity&quot;:[{&quot;linenum&quot;:&quot;75&quot;,&quot;signature&quot;:&quot;VivoNetworkController::mDataActivity&quot;}],&quot;mDataActivityIconId&quot;:[{&quot;linenum&quot;:&quot;76&quot;,&quot;signature&quot;:&quot;VivoNetworkController::mDataActivityIconId&quot;}],&quot;mDataConnected&quot;:[{&quot;linenum&quot;:&quot;72&quot;,&quot;signature&quot;:&quot;VivoNetworkController::mDataConnected&quot;}],&quot;mDataIsCTCC&quot;:[{&quot;linenum&quot;:&quot;14&quot;,&quot;signature&quot;:&quot;VivoNetworkController::mDataIsCTCC&quot;}],&quot;mDataState&quot;:[{&quot;linenum&quot;:&quot;71&quot;,&quot;signature&quot;:&quot;VivoNetworkController::mDataState&quot;}],&quot;mDistinguish&quot;:[{&quot;linenum&quot;:&quot;85&quot;,&quot;signature&quot;:&quot;VivoNetworkController::mDistinguish&quot;}],&quot;mFtTelephony&quot;:[{&quot;linenum&quot;:&quot;82&quot;,&quot;signature&quot;:&quot;VivoNetworkController::mFtTelephony&quot;}],&quot;mGradualDelay&quot;:[{&quot;linenum&quot;:&quot;1047&quot;,&quot;signature&quot;:&quot;VivoNetworkController::mGradualDelay&quot;}],&quot;mGradualLevel&quot;:[{&quot;linenum&quot;:&quot;1046&quot;,&quot;signature&quot;:&quot;VivoNetworkController::mGradualLevel&quot;}],&quot;mIMSState&quot;:[{&quot;linenum&quot;:&quot;12&quot;,&quot;signature&quot;:&quot;VivoNetworkController::mIMSState&quot;}],&quot;mLastAirplaneMode&quot;:[{&quot;linenum&quot;:&quot;41&quot;,&quot;signature&quot;:&quot;VivoNetworkController::mLastAirplaneMode&quot;}],&quot;mLastConnected&quot;:[{&quot;linenum&quot;:&quot;48&quot;,&quot;signature&quot;:&quot;VivoNetworkController::mLastConnected&quot;}],&quot;mLastDataActivityIconId&quot;:[{&quot;linenum&quot;:&quot;77&quot;,&quot;signature&quot;:&quot;VivoNetworkController::mLastDataActivityIconId&quot;}],&quot;mLastDataConnected&quot;:[{&quot;linenum&quot;:&quot;73&quot;,&quot;signature&quot;:&quot;VivoNetworkController::mLastDataConnected&quot;}],&quot;mLastLevel&quot;:[{&quot;linenum&quot;:&quot;67&quot;,&quot;signature&quot;:&quot;VivoNetworkController::mLastLevel&quot;}],&quot;mLastNetworkTypeIconId&quot;:[{&quot;linenum&quot;:&quot;62&quot;,&quot;signature&quot;:&quot;VivoNetworkController::mLastNetworkTypeIconId&quot;}],&quot;mLastNetworkTypeIconIdRight&quot;:[{&quot;linenum&quot;:&quot;63&quot;,&quot;signature&quot;:&quot;VivoNetworkController::mLastNetworkTypeIconIdRight&quot;}],&quot;mLastRoamState&quot;:[{&quot;linenum&quot;:&quot;55&quot;,&quot;signature&quot;:&quot;VivoNetworkController::mLastRoamState&quot;}],&quot;mLastSIMInserted&quot;:[{&quot;linenum&quot;:&quot;37&quot;,&quot;signature&quot;:&quot;VivoNetworkController::mLastSIMInserted&quot;}],&quot;mLastSIMRadioOn&quot;:[{&quot;linenum&quot;:&quot;39&quot;,&quot;signature&quot;:&quot;VivoNetworkController::mLastSIMRadioOn&quot;}],&quot;mLastSignalIconId&quot;:[{&quot;linenum&quot;:&quot;69&quot;,&quot;signature&quot;:&quot;VivoNetworkController::mLastSignalIconId&quot;}],&quot;mLastSimState&quot;:[{&quot;linenum&quot;:&quot;35&quot;,&quot;signature&quot;:&quot;VivoNetworkController::mLastSimState&quot;}],&quot;mLastVirtualSIM&quot;:[{&quot;linenum&quot;:&quot;52&quot;,&quot;signature&quot;:&quot;VivoNetworkController::mLastVirtualSIM&quot;}],&quot;mLastWifiActivityIconId&quot;:[{&quot;linenum&quot;:&quot;28&quot;,&quot;signature&quot;:&quot;VivoNetworkController::mLastWifiActivityIconId&quot;}],&quot;mLastWifiLevel&quot;:[{&quot;linenum&quot;:&quot;24&quot;,&quot;signature&quot;:&quot;VivoNetworkController::mLastWifiLevel&quot;}],&quot;mLastWifiLevelIconId&quot;:[{&quot;linenum&quot;:&quot;27&quot;,&quot;signature&quot;:&quot;VivoNetworkController::mLastWifiLevelIconId&quot;}],&quot;mLastWifiUnAvailableIconId&quot;:[{&quot;linenum&quot;:&quot;32&quot;,&quot;signature&quot;:&quot;VivoNetworkController::mLastWifiUnAvailableIconId&quot;}],&quot;mLevel&quot;:[{&quot;linenum&quot;:&quot;66&quot;,&quot;signature&quot;:&quot;VivoNetworkController::mLevel&quot;}],&quot;mNetworkMode4GPrefer&quot;:[{&quot;linenum&quot;:&quot;45&quot;,&quot;signature&quot;:&quot;VivoNetworkController::mNetworkMode4GPrefer&quot;}],&quot;mNetworkModeObserver&quot;:[{&quot;linenum&quot;:&quot;9&quot;,&quot;signature&quot;:&quot;VivoNetworkController::mNetworkModeObserver&quot;}],&quot;mNetworkType&quot;:[{&quot;linenum&quot;:&quot;58&quot;,&quot;signature&quot;:&quot;VivoNetworkController::mNetworkType&quot;}],&quot;mNetworkTypeIconId&quot;:[{&quot;linenum&quot;:&quot;59&quot;,&quot;signature&quot;:&quot;VivoNetworkController::mNetworkTypeIconId&quot;}],&quot;mNetworkTypeIconIdRight&quot;:[{&quot;linenum&quot;:&quot;61&quot;,&quot;signature&quot;:&quot;VivoNetworkController::mNetworkTypeIconIdRight&quot;}],&quot;mNetworkTypeSmallIconId&quot;:[{&quot;linenum&quot;:&quot;60&quot;,&quot;signature&quot;:&quot;VivoNetworkController::mNetworkTypeSmallIconId&quot;}],&quot;mNotShowDataIconApns&quot;:[{&quot;linenum&quot;:&quot;89&quot;,&quot;signature&quot;:&quot;VivoNetworkController::mNotShowDataIconApns&quot;}],&quot;mOperatorNumeric&quot;:[{&quot;linenum&quot;:&quot;43&quot;,&quot;signature&quot;:&quot;VivoNetworkController::mOperatorNumeric&quot;}],&quot;mPhoneCount&quot;:[{&quot;linenum&quot;:&quot;84&quot;,&quot;signature&quot;:&quot;VivoNetworkController::mPhoneCount&quot;}],&quot;mReceiverHandler&quot;:[{&quot;linenum&quot;:&quot;5&quot;,&quot;signature&quot;:&quot;VivoNetworkController::mReceiverHandler&quot;}],&quot;mRegisterListeners&quot;:[{&quot;linenum&quot;:&quot;200&quot;,&quot;signature&quot;:&quot;VivoNetworkController::mRegisterListeners&quot;}],&quot;mRoamState&quot;:[{&quot;linenum&quot;:&quot;54&quot;,&quot;signature&quot;:&quot;VivoNetworkController::mRoamState&quot;}],&quot;mSIMAndNetworkHelper&quot;:[{&quot;linenum&quot;:&quot;83&quot;,&quot;signature&quot;:&quot;VivoNetworkController::mSIMAndNetworkHelper&quot;}],&quot;mSIMInserted&quot;:[{&quot;linenum&quot;:&quot;36&quot;,&quot;signature&quot;:&quot;VivoNetworkController::mSIMInserted&quot;}],&quot;mSIMRadioOn&quot;:[{&quot;linenum&quot;:&quot;38&quot;,&quot;signature&quot;:&quot;VivoNetworkController::mSIMRadioOn&quot;}],&quot;mServiceState&quot;:[{&quot;linenum&quot;:&quot;57&quot;,&quot;signature&quot;:&quot;VivoNetworkController::mServiceState&quot;}],&quot;mSignalIconId&quot;:[{&quot;linenum&quot;:&quot;68&quot;,&quot;signature&quot;:&quot;VivoNetworkController::mSignalIconId&quot;}],&quot;mSignalStrength&quot;:[{&quot;linenum&quot;:&quot;65&quot;,&quot;signature&quot;:&quot;VivoNetworkController::mSignalStrength&quot;}],&quot;mSignalStrengthDelayHandler&quot;:[{&quot;linenum&quot;:&quot;1051&quot;,&quot;signature&quot;:&quot;VivoNetworkController::mSignalStrengthDelayHandler&quot;}],&quot;mSignalStrengthDelayHandler2&quot;:[{&quot;linenum&quot;:&quot;1052&quot;,&quot;signature&quot;:&quot;VivoNetworkController::mSignalStrengthDelayHandler2&quot;}],&quot;mSimState&quot;:[{&quot;linenum&quot;:&quot;34&quot;,&quot;signature&quot;:&quot;VivoNetworkController::mSimState&quot;}],&quot;mStatusBar&quot;:[{&quot;linenum&quot;:&quot;8&quot;,&quot;signature&quot;:&quot;VivoNetworkController::mStatusBar&quot;}],&quot;mSubscriberId&quot;:[{&quot;linenum&quot;:&quot;44&quot;,&quot;signature&quot;:&quot;VivoNetworkController::mSubscriberId&quot;}],&quot;mSubscriptionManager&quot;:[{&quot;linenum&quot;:&quot;7&quot;,&quot;signature&quot;:&quot;VivoNetworkController::mSubscriptionManager&quot;}],&quot;mTelephonyManager&quot;:[{&quot;linenum&quot;:&quot;6&quot;,&quot;signature&quot;:&quot;VivoNetworkController::mTelephonyManager&quot;}],&quot;mVirtualSIM&quot;:[{&quot;linenum&quot;:&quot;51&quot;,&quot;signature&quot;:&quot;VivoNetworkController::mVirtualSIM&quot;}],&quot;mVoWifiEnabled&quot;:[{&quot;linenum&quot;:&quot;16&quot;,&quot;signature&quot;:&quot;VivoNetworkController::mVoWifiEnabled&quot;}],&quot;mVolteSwitch&quot;:[{&quot;linenum&quot;:&quot;13&quot;,&quot;signature&quot;:&quot;VivoNetworkController::mVolteSwitch&quot;}],&quot;mWifiActivity&quot;:[{&quot;linenum&quot;:&quot;23&quot;,&quot;signature&quot;:&quot;VivoNetworkController::mWifiActivity&quot;}],&quot;mWifiActivityIconId&quot;:[{&quot;linenum&quot;:&quot;26&quot;,&quot;signature&quot;:&quot;VivoNetworkController::mWifiActivityIconId&quot;}],&quot;mWifiChannel&quot;:[{&quot;linenum&quot;:&quot;19&quot;,&quot;signature&quot;:&quot;VivoNetworkController::mWifiChannel&quot;}],&quot;mWifiConnected&quot;:[{&quot;linenum&quot;:&quot;21&quot;,&quot;signature&quot;:&quot;VivoNetworkController::mWifiConnected&quot;}],&quot;mWifiEnabled&quot;:[{&quot;linenum&quot;:&quot;20&quot;,&quot;signature&quot;:&quot;VivoNetworkController::mWifiEnabled&quot;}],&quot;mWifiLevel&quot;:[{&quot;linenum&quot;:&quot;24&quot;,&quot;signature&quot;:&quot;VivoNetworkController::mWifiLevel&quot;}],&quot;mWifiLevelIconId&quot;:[{&quot;linenum&quot;:&quot;25&quot;,&quot;signature&quot;:&quot;VivoNetworkController::mWifiLevelIconId&quot;}],&quot;mWifiManager&quot;:[{&quot;linenum&quot;:&quot;18&quot;,&quot;signature&quot;:&quot;VivoNetworkController::mWifiManager&quot;}],&quot;mWifiRssi&quot;:[{&quot;linenum&quot;:&quot;24&quot;,&quot;signature&quot;:&quot;VivoNetworkController::mWifiRssi&quot;}],&quot;mWifiSsid&quot;:[{&quot;linenum&quot;:&quot;22&quot;,&quot;signature&quot;:&quot;VivoNetworkController::mWifiSsid&quot;}],&quot;mWifiToWifi&quot;:[{&quot;linenum&quot;:&quot;29&quot;,&quot;signature&quot;:&quot;VivoNetworkController::mWifiToWifi&quot;}],&quot;mWifiUnAvailable&quot;:[{&quot;linenum&quot;:&quot;30&quot;,&quot;signature&quot;:&quot;VivoNetworkController::mWifiUnAvailable&quot;}],&quot;mWifiUnAvailableIconId&quot;:[{&quot;linenum&quot;:&quot;31&quot;,&quot;signature&quot;:&quot;VivoNetworkController::mWifiUnAvailableIconId&quot;}],&quot;onCallStateChanged&quot;:[{&quot;linenum&quot;:&quot;682&quot;,&quot;signature&quot;:&quot;VivoNetworkController::onCallStateChanged(int phoneId, int state, String incomingNumber)&quot;}],&quot;onChange&quot;:[{&quot;linenum&quot;:&quot;1317&quot;,&quot;signature&quot;:&quot;VivoNetworkController.NetworkModeObserver::onChange(boolean selfChange)&quot;}],&quot;onDataActivity&quot;:[{&quot;linenum&quot;:&quot;709&quot;,&quot;signature&quot;:&quot;VivoNetworkController::onDataActivity(int phoneId, int direction)&quot;}],&quot;onDataConnectionStateChanged&quot;:[{&quot;linenum&quot;:&quot;697&quot;,&quot;signature&quot;:&quot;VivoNetworkController::onDataConnectionStateChanged(int phoneId, int state, int networkType)&quot;}],&quot;onPreciseDataConnectionStateChanged&quot;:[{&quot;linenum&quot;:&quot;715&quot;,&quot;signature&quot;:&quot;VivoNetworkController::onPreciseDataConnectionStateChanged(int phoneId, PreciseDataConnectionState state)&quot;}],&quot;onReceive&quot;:[{&quot;linenum&quot;:&quot;226&quot;,&quot;signature&quot;:&quot;VivoNetworkController::onReceive(Context context, Intent intent)&quot;}],&quot;onServiceStateChanged&quot;:[{&quot;linenum&quot;:&quot;667&quot;,&quot;signature&quot;:&quot;VivoNetworkController::onServiceStateChanged(int phoneId, ServiceState state)&quot;}],&quot;onSignalStrengthsChanged&quot;:[{&quot;linenum&quot;:&quot;657&quot;,&quot;signature&quot;:&quot;VivoNetworkController::onSignalStrengthsChanged(int phoneId, SignalStrength signalStrength)&quot;}],&quot;refreshSignalClusterViews&quot;:[{&quot;linenum&quot;:&quot;1296&quot;,&quot;signature&quot;:&quot;VivoNetworkController::refreshSignalClusterViews(int phoneId)&quot;}],&quot;refreshSignalViews&quot;:[{&quot;linenum&quot;:&quot;1270&quot;,&quot;signature&quot;:&quot;VivoNetworkController::refreshSignalViews(int phoneId)&quot;}],&quot;refreshWifiClusterView&quot;:[{&quot;linenum&quot;:&quot;633&quot;,&quot;signature&quot;:&quot;VivoNetworkController::refreshWifiClusterView()&quot;}],&quot;refreshWifiUnAvailableView&quot;:[{&quot;linenum&quot;:&quot;648&quot;,&quot;signature&quot;:&quot;VivoNetworkController::refreshWifiUnAvailableView()&quot;}],&quot;registerListeners&quot;:[{&quot;linenum&quot;:&quot;207&quot;,&quot;signature&quot;:&quot;VivoNetworkController::registerListeners()&quot;}],&quot;resetPhoneState&quot;:[{&quot;linenum&quot;:&quot;475&quot;,&quot;signature&quot;:&quot;VivoNetworkController::resetPhoneState(int slotId)&quot;}],&quot;setStatusBar&quot;:[{&quot;linenum&quot;:&quot;501&quot;,&quot;signature&quot;:&quot;VivoNetworkController::setStatusBar(StatusBar bar)&quot;}],&quot;showSimSlot&quot;:[{&quot;linenum&quot;:&quot;995&quot;,&quot;signature&quot;:&quot;VivoNetworkController::showSimSlot()&quot;}],&quot;unRegisterReceiver&quot;:[{&quot;linenum&quot;:&quot;411&quot;,&quot;signature&quot;:&quot;VivoNetworkController::unRegisterReceiver()&quot;}],&quot;updateAirplaneMode&quot;:[{&quot;linenum&quot;:&quot;505&quot;,&quot;signature&quot;:&quot;VivoNetworkController::updateAirplaneMode()&quot;}],&quot;updateDataActivityIcon&quot;:[{&quot;linenum&quot;:&quot;989&quot;,&quot;signature&quot;:&quot;VivoNetworkController::updateDataActivityIcon(int phoneId)&quot;}],&quot;updateDataConnectionState&quot;:[{&quot;linenum&quot;:&quot;974&quot;,&quot;signature&quot;:&quot;VivoNetworkController::updateDataConnectionState(int phoneId)&quot;}],&quot;updateHDIcon&quot;:[{&quot;linenum&quot;:&quot;468&quot;,&quot;signature&quot;:&quot;VivoNetworkController::updateHDIcon(int state)&quot;}],&quot;updateNetworkMode&quot;:[{&quot;linenum&quot;:&quot;1325&quot;,&quot;signature&quot;:&quot;VivoNetworkController::updateNetworkMode(int phoneId)&quot;}],&quot;updateNetworkType&quot;:[{&quot;linenum&quot;:&quot;793&quot;,&quot;signature&quot;:&quot;VivoNetworkController::updateNetworkType(int phoneId)&quot;}],&quot;updateNetworkTypeIcon&quot;:[{&quot;linenum&quot;:&quot;821&quot;,&quot;signature&quot;:&quot;VivoNetworkController::updateNetworkTypeIcon(int phoneId)&quot;}],&quot;updateSimState&quot;:[{&quot;linenum&quot;:&quot;512&quot;,&quot;signature&quot;:&quot;VivoNetworkController::updateSimState(Intent intent)&quot;}],&quot;updateSimStateIcon&quot;:[{&quot;linenum&quot;:&quot;1083&quot;,&quot;signature&quot;:&quot;VivoNetworkController::updateSimStateIcon(int phoneId)&quot;}],&quot;updateSubscriberId&quot;:[{&quot;linenum&quot;:&quot;526&quot;,&quot;signature&quot;:&quot;VivoNetworkController::updateSubscriberId(Intent intent)&quot;}],&quot;updateTelephonySignalStrength&quot;:[{&quot;linenum&quot;:&quot;1159&quot;,&quot;signature&quot;:&quot;VivoNetworkController::updateTelephonySignalStrength(int phoneId)&quot;}],&quot;updateTelephonySignalStrengthAgain&quot;:[{&quot;linenum&quot;:&quot;1155&quot;,&quot;signature&quot;:&quot;VivoNetworkController::updateTelephonySignalStrengthAgain(int phoneId)&quot;}],&quot;updateVoLTE&quot;:[{&quot;linenum&quot;:&quot;421&quot;,&quot;signature&quot;:&quot;VivoNetworkController::updateVoLTE(int slotId)&quot;}],&quot;updateVoWifi&quot;:[{&quot;linenum&quot;:&quot;415&quot;,&quot;signature&quot;:&quot;VivoNetworkController::updateVoWifi(int slotId)&quot;}],&quot;updateWifiActivityIcon&quot;:[{&quot;linenum&quot;:&quot;617&quot;,&quot;signature&quot;:&quot;VivoNetworkController::updateWifiActivityIcon()&quot;}],&quot;updateWifiLevelIcon&quot;:[{&quot;linenum&quot;:&quot;605&quot;,&quot;signature&quot;:&quot;VivoNetworkController::updateWifiLevelIcon()&quot;}],&quot;updateWifiUnAvailableIcon&quot;:[{&quot;linenum&quot;:&quot;639&quot;,&quot;signature&quot;:&quot;VivoNetworkController::updateWifiUnAvailableIcon(boolean wifiUnAvailable)&quot;}]}}"/>
  </we:properties>
  <we:bindings/>
  <we:snapshot xmlns:r="http://schemas.openxmlformats.org/officeDocument/2006/relationships" r:embed="rId1"/>
</we:webextension>
</file>

<file path=docProps/app.xml><?xml version="1.0" encoding="utf-8"?>
<Properties xmlns="http://schemas.openxmlformats.org/officeDocument/2006/extended-properties" xmlns:vt="http://schemas.openxmlformats.org/officeDocument/2006/docPropsVTypes">
  <Template>iSlide</Template>
  <TotalTime>5887</TotalTime>
  <Words>6701</Words>
  <Application>Microsoft Office PowerPoint</Application>
  <PresentationFormat>宽屏</PresentationFormat>
  <Paragraphs>1286</Paragraphs>
  <Slides>121</Slides>
  <Notes>114</Notes>
  <HiddenSlides>21</HiddenSlides>
  <MMClips>2</MMClips>
  <ScaleCrop>false</ScaleCrop>
  <HeadingPairs>
    <vt:vector size="8" baseType="variant">
      <vt:variant>
        <vt:lpstr>已用的字体</vt:lpstr>
      </vt:variant>
      <vt:variant>
        <vt:i4>12</vt:i4>
      </vt:variant>
      <vt:variant>
        <vt:lpstr>主题</vt:lpstr>
      </vt:variant>
      <vt:variant>
        <vt:i4>1</vt:i4>
      </vt:variant>
      <vt:variant>
        <vt:lpstr>嵌入 OLE 服务器</vt:lpstr>
      </vt:variant>
      <vt:variant>
        <vt:i4>1</vt:i4>
      </vt:variant>
      <vt:variant>
        <vt:lpstr>幻灯片标题</vt:lpstr>
      </vt:variant>
      <vt:variant>
        <vt:i4>121</vt:i4>
      </vt:variant>
    </vt:vector>
  </HeadingPairs>
  <TitlesOfParts>
    <vt:vector size="135" baseType="lpstr">
      <vt:lpstr>PingFang SC</vt:lpstr>
      <vt:lpstr>华文行楷</vt:lpstr>
      <vt:lpstr>宋体</vt:lpstr>
      <vt:lpstr>微软雅黑</vt:lpstr>
      <vt:lpstr>微软雅黑</vt:lpstr>
      <vt:lpstr>Arial</vt:lpstr>
      <vt:lpstr>Blackadder ITC</vt:lpstr>
      <vt:lpstr>Calibri</vt:lpstr>
      <vt:lpstr>Cooper Black</vt:lpstr>
      <vt:lpstr>Impact</vt:lpstr>
      <vt:lpstr>Ubuntu Mono</vt:lpstr>
      <vt:lpstr>Wingdings</vt:lpstr>
      <vt:lpstr>主题5</vt:lpstr>
      <vt:lpstr>think-cell Slid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练习：下列需求分解是否合理</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伪代码</vt:lpstr>
      <vt:lpstr>PowerPoint 演示文稿</vt:lpstr>
      <vt:lpstr>PowerPoint 演示文稿</vt:lpstr>
      <vt:lpstr>PowerPoint 演示文稿</vt:lpstr>
      <vt:lpstr>PowerPoint 演示文稿</vt:lpstr>
      <vt:lpstr>区分给定图类型</vt:lpstr>
      <vt:lpstr>面向对象元素之间的关系</vt:lpstr>
      <vt:lpstr>面向对象元素之间的关系</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面向对象特征</vt:lpstr>
      <vt:lpstr>面向对象原则</vt:lpstr>
      <vt:lpstr>PowerPoint 演示文稿</vt:lpstr>
      <vt:lpstr>PowerPoint 演示文稿</vt:lpstr>
      <vt:lpstr>PowerPoint 演示文稿</vt:lpstr>
      <vt:lpstr>接口隔离原则</vt:lpstr>
      <vt:lpstr>PowerPoint 演示文稿</vt:lpstr>
      <vt:lpstr>原则有什么作用？</vt:lpstr>
      <vt:lpstr>PowerPoint 演示文稿</vt:lpstr>
      <vt:lpstr>PowerPoint 演示文稿</vt:lpstr>
      <vt:lpstr>PowerPoint 演示文稿</vt:lpstr>
      <vt:lpstr>设计模式</vt:lpstr>
      <vt:lpstr>创建型模式</vt:lpstr>
      <vt:lpstr>原型模式</vt:lpstr>
      <vt:lpstr>原型模式</vt:lpstr>
      <vt:lpstr>构造者模式</vt:lpstr>
      <vt:lpstr>构造者模式</vt:lpstr>
      <vt:lpstr>单例模式</vt:lpstr>
      <vt:lpstr>工厂/抽象工厂模式</vt:lpstr>
      <vt:lpstr>工厂/抽象工厂模式</vt:lpstr>
      <vt:lpstr>工厂/抽象工厂模式</vt:lpstr>
      <vt:lpstr>工厂/抽象工厂模式</vt:lpstr>
      <vt:lpstr>结构型模式</vt:lpstr>
      <vt:lpstr>结构型模式之享元模式</vt:lpstr>
      <vt:lpstr>结构型模式</vt:lpstr>
      <vt:lpstr>适配器模式</vt:lpstr>
      <vt:lpstr>PowerPoint 演示文稿</vt:lpstr>
      <vt:lpstr>适配器模式的选择</vt:lpstr>
      <vt:lpstr>代理模式</vt:lpstr>
      <vt:lpstr>代理模式</vt:lpstr>
      <vt:lpstr>装饰器模式</vt:lpstr>
      <vt:lpstr>装饰器模式</vt:lpstr>
      <vt:lpstr>外观模式</vt:lpstr>
      <vt:lpstr>外观模式</vt:lpstr>
      <vt:lpstr>外观模式</vt:lpstr>
      <vt:lpstr>桥接模式</vt:lpstr>
      <vt:lpstr>桥接模式</vt:lpstr>
      <vt:lpstr>桥接模式</vt:lpstr>
      <vt:lpstr>行为型模式</vt:lpstr>
      <vt:lpstr>模板方法模式</vt:lpstr>
      <vt:lpstr>策略模式</vt:lpstr>
      <vt:lpstr>观察者模式</vt:lpstr>
      <vt:lpstr>观察者模式</vt:lpstr>
      <vt:lpstr>迭代器模式</vt:lpstr>
      <vt:lpstr>责任链模式</vt:lpstr>
      <vt:lpstr>命令模式</vt:lpstr>
      <vt:lpstr>状态机模式</vt:lpstr>
      <vt:lpstr>备忘录模式</vt:lpstr>
      <vt:lpstr>中介者模式</vt:lpstr>
      <vt:lpstr>中介者模式</vt:lpstr>
      <vt:lpstr>中介者模式</vt:lpstr>
      <vt:lpstr>访问者模式</vt:lpstr>
      <vt:lpstr>解释器模式</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董宇</cp:lastModifiedBy>
  <cp:revision>347</cp:revision>
  <cp:lastPrinted>2018-08-09T16:00:00Z</cp:lastPrinted>
  <dcterms:created xsi:type="dcterms:W3CDTF">2018-08-09T16:00:00Z</dcterms:created>
  <dcterms:modified xsi:type="dcterms:W3CDTF">2019-01-23T06:58: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